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6.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7.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8.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heme/themeOverride1.xml" ContentType="application/vnd.openxmlformats-officedocument.themeOverr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169" r:id="rId7"/>
    <p:sldMasterId id="2147484263" r:id="rId8"/>
    <p:sldMasterId id="2147484291" r:id="rId9"/>
    <p:sldMasterId id="2147484323" r:id="rId10"/>
    <p:sldMasterId id="2147484356" r:id="rId11"/>
    <p:sldMasterId id="2147484392" r:id="rId12"/>
    <p:sldMasterId id="2147484412" r:id="rId13"/>
    <p:sldMasterId id="2147484432" r:id="rId14"/>
    <p:sldMasterId id="2147484447" r:id="rId15"/>
  </p:sldMasterIdLst>
  <p:notesMasterIdLst>
    <p:notesMasterId r:id="rId116"/>
  </p:notesMasterIdLst>
  <p:handoutMasterIdLst>
    <p:handoutMasterId r:id="rId117"/>
  </p:handoutMasterIdLst>
  <p:sldIdLst>
    <p:sldId id="3248" r:id="rId16"/>
    <p:sldId id="4685" r:id="rId17"/>
    <p:sldId id="3252" r:id="rId18"/>
    <p:sldId id="3253" r:id="rId19"/>
    <p:sldId id="3260" r:id="rId20"/>
    <p:sldId id="3261" r:id="rId21"/>
    <p:sldId id="4698" r:id="rId22"/>
    <p:sldId id="3263" r:id="rId23"/>
    <p:sldId id="4250" r:id="rId24"/>
    <p:sldId id="4569" r:id="rId25"/>
    <p:sldId id="10605" r:id="rId26"/>
    <p:sldId id="10606" r:id="rId27"/>
    <p:sldId id="10607" r:id="rId28"/>
    <p:sldId id="3410" r:id="rId29"/>
    <p:sldId id="10611" r:id="rId30"/>
    <p:sldId id="10615" r:id="rId31"/>
    <p:sldId id="10616" r:id="rId32"/>
    <p:sldId id="10617" r:id="rId33"/>
    <p:sldId id="10618" r:id="rId34"/>
    <p:sldId id="10619" r:id="rId35"/>
    <p:sldId id="10620" r:id="rId36"/>
    <p:sldId id="10621" r:id="rId37"/>
    <p:sldId id="10622" r:id="rId38"/>
    <p:sldId id="10623" r:id="rId39"/>
    <p:sldId id="10624" r:id="rId40"/>
    <p:sldId id="10625" r:id="rId41"/>
    <p:sldId id="10626" r:id="rId42"/>
    <p:sldId id="10627" r:id="rId43"/>
    <p:sldId id="10628" r:id="rId44"/>
    <p:sldId id="10629" r:id="rId45"/>
    <p:sldId id="10630" r:id="rId46"/>
    <p:sldId id="10631" r:id="rId47"/>
    <p:sldId id="10632" r:id="rId48"/>
    <p:sldId id="10633" r:id="rId49"/>
    <p:sldId id="10634" r:id="rId50"/>
    <p:sldId id="10635" r:id="rId51"/>
    <p:sldId id="10636" r:id="rId52"/>
    <p:sldId id="10637" r:id="rId53"/>
    <p:sldId id="10638" r:id="rId54"/>
    <p:sldId id="10639" r:id="rId55"/>
    <p:sldId id="10640" r:id="rId56"/>
    <p:sldId id="10641" r:id="rId57"/>
    <p:sldId id="10642" r:id="rId58"/>
    <p:sldId id="10643" r:id="rId59"/>
    <p:sldId id="10644" r:id="rId60"/>
    <p:sldId id="3158" r:id="rId61"/>
    <p:sldId id="3180" r:id="rId62"/>
    <p:sldId id="3182" r:id="rId63"/>
    <p:sldId id="4573" r:id="rId64"/>
    <p:sldId id="4688" r:id="rId65"/>
    <p:sldId id="3214" r:id="rId66"/>
    <p:sldId id="507" r:id="rId67"/>
    <p:sldId id="3216" r:id="rId68"/>
    <p:sldId id="10604" r:id="rId69"/>
    <p:sldId id="529" r:id="rId70"/>
    <p:sldId id="3194" r:id="rId71"/>
    <p:sldId id="3195" r:id="rId72"/>
    <p:sldId id="3220" r:id="rId73"/>
    <p:sldId id="3172" r:id="rId74"/>
    <p:sldId id="4699" r:id="rId75"/>
    <p:sldId id="3310" r:id="rId76"/>
    <p:sldId id="3282" r:id="rId77"/>
    <p:sldId id="3698" r:id="rId78"/>
    <p:sldId id="4254" r:id="rId79"/>
    <p:sldId id="4914" r:id="rId80"/>
    <p:sldId id="4919" r:id="rId81"/>
    <p:sldId id="1207" r:id="rId82"/>
    <p:sldId id="674" r:id="rId83"/>
    <p:sldId id="695" r:id="rId84"/>
    <p:sldId id="676" r:id="rId85"/>
    <p:sldId id="8509" r:id="rId86"/>
    <p:sldId id="8513" r:id="rId87"/>
    <p:sldId id="8487" r:id="rId88"/>
    <p:sldId id="3537" r:id="rId89"/>
    <p:sldId id="2211" r:id="rId90"/>
    <p:sldId id="3582" r:id="rId91"/>
    <p:sldId id="1953" r:id="rId92"/>
    <p:sldId id="2241" r:id="rId93"/>
    <p:sldId id="2238" r:id="rId94"/>
    <p:sldId id="2246" r:id="rId95"/>
    <p:sldId id="3472" r:id="rId96"/>
    <p:sldId id="2219" r:id="rId97"/>
    <p:sldId id="2239" r:id="rId98"/>
    <p:sldId id="1915" r:id="rId99"/>
    <p:sldId id="2240" r:id="rId100"/>
    <p:sldId id="2658" r:id="rId101"/>
    <p:sldId id="3464" r:id="rId102"/>
    <p:sldId id="1937" r:id="rId103"/>
    <p:sldId id="4633" r:id="rId104"/>
    <p:sldId id="4634" r:id="rId105"/>
    <p:sldId id="1940" r:id="rId106"/>
    <p:sldId id="8497" r:id="rId107"/>
    <p:sldId id="3465" r:id="rId108"/>
    <p:sldId id="3583" r:id="rId109"/>
    <p:sldId id="8471" r:id="rId110"/>
    <p:sldId id="1941" r:id="rId111"/>
    <p:sldId id="3466" r:id="rId112"/>
    <p:sldId id="3584" r:id="rId113"/>
    <p:sldId id="3585" r:id="rId114"/>
    <p:sldId id="3586" r:id="rId115"/>
  </p:sldIdLst>
  <p:sldSz cx="12192000" cy="6858000"/>
  <p:notesSz cx="6934200" cy="9220200"/>
  <p:defaultText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ance" id="{0DDDA6C7-87A8-4FC2-B9F0-EAB7BACB0BFF}">
          <p14:sldIdLst>
            <p14:sldId id="3248"/>
            <p14:sldId id="4685"/>
            <p14:sldId id="3252"/>
            <p14:sldId id="3253"/>
            <p14:sldId id="3260"/>
            <p14:sldId id="3261"/>
            <p14:sldId id="4698"/>
            <p14:sldId id="3263"/>
          </p14:sldIdLst>
        </p14:section>
        <p14:section name="Appendix 1: Solution slides" id="{E64D05AF-AB37-4541-8942-514E669E5555}">
          <p14:sldIdLst>
            <p14:sldId id="4250"/>
            <p14:sldId id="4569"/>
            <p14:sldId id="10605"/>
            <p14:sldId id="10606"/>
            <p14:sldId id="10607"/>
            <p14:sldId id="3410"/>
            <p14:sldId id="10611"/>
            <p14:sldId id="10615"/>
            <p14:sldId id="10616"/>
            <p14:sldId id="10617"/>
            <p14:sldId id="10618"/>
            <p14:sldId id="10619"/>
            <p14:sldId id="10620"/>
            <p14:sldId id="10621"/>
            <p14:sldId id="10622"/>
            <p14:sldId id="10623"/>
            <p14:sldId id="10624"/>
            <p14:sldId id="10625"/>
            <p14:sldId id="10626"/>
            <p14:sldId id="10627"/>
            <p14:sldId id="10628"/>
            <p14:sldId id="10629"/>
            <p14:sldId id="10630"/>
            <p14:sldId id="10631"/>
            <p14:sldId id="10632"/>
            <p14:sldId id="10633"/>
            <p14:sldId id="10634"/>
            <p14:sldId id="10635"/>
            <p14:sldId id="10636"/>
            <p14:sldId id="10637"/>
            <p14:sldId id="10638"/>
            <p14:sldId id="10639"/>
            <p14:sldId id="10640"/>
            <p14:sldId id="10641"/>
            <p14:sldId id="10642"/>
            <p14:sldId id="10643"/>
            <p14:sldId id="10644"/>
            <p14:sldId id="3158"/>
            <p14:sldId id="3180"/>
            <p14:sldId id="3182"/>
            <p14:sldId id="4573"/>
            <p14:sldId id="4688"/>
            <p14:sldId id="3214"/>
            <p14:sldId id="507"/>
            <p14:sldId id="3216"/>
            <p14:sldId id="10604"/>
            <p14:sldId id="529"/>
            <p14:sldId id="3194"/>
            <p14:sldId id="3195"/>
            <p14:sldId id="3220"/>
          </p14:sldIdLst>
        </p14:section>
        <p14:section name="Appendix 2: Arch" id="{BA9311A6-C52C-432A-A4FB-DBF6463FE904}">
          <p14:sldIdLst>
            <p14:sldId id="3172"/>
            <p14:sldId id="4699"/>
            <p14:sldId id="3310"/>
            <p14:sldId id="3282"/>
            <p14:sldId id="3698"/>
            <p14:sldId id="4254"/>
            <p14:sldId id="4914"/>
            <p14:sldId id="4919"/>
            <p14:sldId id="1207"/>
            <p14:sldId id="674"/>
            <p14:sldId id="695"/>
            <p14:sldId id="676"/>
            <p14:sldId id="8509"/>
            <p14:sldId id="8513"/>
            <p14:sldId id="8487"/>
            <p14:sldId id="3537"/>
            <p14:sldId id="2211"/>
            <p14:sldId id="3582"/>
            <p14:sldId id="1953"/>
            <p14:sldId id="2241"/>
            <p14:sldId id="2238"/>
            <p14:sldId id="2246"/>
            <p14:sldId id="3472"/>
            <p14:sldId id="2219"/>
            <p14:sldId id="2239"/>
            <p14:sldId id="1915"/>
            <p14:sldId id="2240"/>
            <p14:sldId id="2658"/>
            <p14:sldId id="3464"/>
            <p14:sldId id="1937"/>
            <p14:sldId id="4633"/>
            <p14:sldId id="4634"/>
            <p14:sldId id="1940"/>
            <p14:sldId id="8497"/>
            <p14:sldId id="3465"/>
            <p14:sldId id="3583"/>
            <p14:sldId id="8471"/>
            <p14:sldId id="1941"/>
            <p14:sldId id="3466"/>
            <p14:sldId id="3584"/>
            <p14:sldId id="3585"/>
            <p14:sldId id="358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yne Meyer" initials="WM" lastIdx="4" clrIdx="0"/>
  <p:cmAuthor id="2" name="Nicolette Sharp (Prime 8)" initials="NS(8" lastIdx="4" clrIdx="1"/>
  <p:cmAuthor id="3" name="Megan Sharma" initials="MS" lastIdx="1" clrIdx="2">
    <p:extLst>
      <p:ext uri="{19B8F6BF-5375-455C-9EA6-DF929625EA0E}">
        <p15:presenceInfo xmlns:p15="http://schemas.microsoft.com/office/powerpoint/2012/main" userId="24d6994c40ab81dc" providerId="Windows Live"/>
      </p:ext>
    </p:extLst>
  </p:cmAuthor>
  <p:cmAuthor id="4" name="Megan Sharma" initials="MS [2]" lastIdx="2" clrIdx="3">
    <p:extLst>
      <p:ext uri="{19B8F6BF-5375-455C-9EA6-DF929625EA0E}">
        <p15:presenceInfo xmlns:p15="http://schemas.microsoft.com/office/powerpoint/2012/main" userId="4acb8b62ea7d61f7" providerId="Windows Live"/>
      </p:ext>
    </p:extLst>
  </p:cmAuthor>
  <p:cmAuthor id="5" name="Holly Kemp (Prime 8)" initials="HK(8" lastIdx="4" clrIdx="4">
    <p:extLst>
      <p:ext uri="{19B8F6BF-5375-455C-9EA6-DF929625EA0E}">
        <p15:presenceInfo xmlns:p15="http://schemas.microsoft.com/office/powerpoint/2012/main" userId="S-1-5-21-2127521184-1604012920-1887927527-23934772" providerId="AD"/>
      </p:ext>
    </p:extLst>
  </p:cmAuthor>
  <p:cmAuthor id="6" name="Louise Conroy (Prime 8 LLC)" initials="LC(8L" lastIdx="50" clrIdx="5">
    <p:extLst>
      <p:ext uri="{19B8F6BF-5375-455C-9EA6-DF929625EA0E}">
        <p15:presenceInfo xmlns:p15="http://schemas.microsoft.com/office/powerpoint/2012/main" userId="S::v-loconr@microsoft.com::1e5992da-5379-4f05-82fc-dfd67e77eb4a" providerId="AD"/>
      </p:ext>
    </p:extLst>
  </p:cmAuthor>
  <p:cmAuthor id="7" name="Caitlyn Ryan" initials="CR" lastIdx="33" clrIdx="6">
    <p:extLst>
      <p:ext uri="{19B8F6BF-5375-455C-9EA6-DF929625EA0E}">
        <p15:presenceInfo xmlns:p15="http://schemas.microsoft.com/office/powerpoint/2012/main" userId="S-1-5-21-383413107-1061881802-891584314-12522" providerId="AD"/>
      </p:ext>
    </p:extLst>
  </p:cmAuthor>
  <p:cmAuthor id="8" name="Delynn Hampton" initials="DH" lastIdx="50" clrIdx="7">
    <p:extLst>
      <p:ext uri="{19B8F6BF-5375-455C-9EA6-DF929625EA0E}">
        <p15:presenceInfo xmlns:p15="http://schemas.microsoft.com/office/powerpoint/2012/main" userId="S-1-5-21-383413107-1061881802-891584314-15947" providerId="AD"/>
      </p:ext>
    </p:extLst>
  </p:cmAuthor>
  <p:cmAuthor id="9" name="Calder Thami" initials="CT" lastIdx="1" clrIdx="8">
    <p:extLst>
      <p:ext uri="{19B8F6BF-5375-455C-9EA6-DF929625EA0E}">
        <p15:presenceInfo xmlns:p15="http://schemas.microsoft.com/office/powerpoint/2012/main" userId="S-1-5-21-383413107-1061881802-891584314-12470" providerId="AD"/>
      </p:ext>
    </p:extLst>
  </p:cmAuthor>
  <p:cmAuthor id="10" name="David Griffith" initials="DG" lastIdx="14" clrIdx="9">
    <p:extLst>
      <p:ext uri="{19B8F6BF-5375-455C-9EA6-DF929625EA0E}">
        <p15:presenceInfo xmlns:p15="http://schemas.microsoft.com/office/powerpoint/2012/main" userId="S-1-5-21-383413107-1061881802-891584314-4667" providerId="AD"/>
      </p:ext>
    </p:extLst>
  </p:cmAuthor>
  <p:cmAuthor id="11" name="Author" initials="A" lastIdx="34" clrIdx="10"/>
  <p:cmAuthor id="12" name="Sunil Tahilramani" initials="ST" lastIdx="1" clrIdx="11">
    <p:extLst>
      <p:ext uri="{19B8F6BF-5375-455C-9EA6-DF929625EA0E}">
        <p15:presenceInfo xmlns:p15="http://schemas.microsoft.com/office/powerpoint/2012/main" userId="S::sutahilr@microsoft.com::bc230929-5d31-4ecf-b32b-e2873f8b7882" providerId="AD"/>
      </p:ext>
    </p:extLst>
  </p:cmAuthor>
  <p:cmAuthor id="13" name="Susan Blanchard (Bluehawk LLC)" initials="SB(L" lastIdx="4" clrIdx="12">
    <p:extLst>
      <p:ext uri="{19B8F6BF-5375-455C-9EA6-DF929625EA0E}">
        <p15:presenceInfo xmlns:p15="http://schemas.microsoft.com/office/powerpoint/2012/main" userId="S::v-sblanc@microsoft.com::031c7a79-64be-4b8a-ac72-b5dbd7f6070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8D8D8D"/>
    <a:srgbClr val="C3C3C3"/>
    <a:srgbClr val="0072C6"/>
    <a:srgbClr val="D35B36"/>
    <a:srgbClr val="3B4890"/>
    <a:srgbClr val="002050"/>
    <a:srgbClr val="797A7D"/>
    <a:srgbClr val="0078D7"/>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7" d="100"/>
          <a:sy n="77" d="100"/>
        </p:scale>
        <p:origin x="883" y="67"/>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117" Type="http://schemas.openxmlformats.org/officeDocument/2006/relationships/handoutMaster" Target="handoutMasters/handoutMaster1.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slide" Target="slides/slide48.xml"/><Relationship Id="rId68" Type="http://schemas.openxmlformats.org/officeDocument/2006/relationships/slide" Target="slides/slide53.xml"/><Relationship Id="rId84" Type="http://schemas.openxmlformats.org/officeDocument/2006/relationships/slide" Target="slides/slide69.xml"/><Relationship Id="rId89" Type="http://schemas.openxmlformats.org/officeDocument/2006/relationships/slide" Target="slides/slide74.xml"/><Relationship Id="rId112" Type="http://schemas.openxmlformats.org/officeDocument/2006/relationships/slide" Target="slides/slide97.xml"/><Relationship Id="rId16" Type="http://schemas.openxmlformats.org/officeDocument/2006/relationships/slide" Target="slides/slide1.xml"/><Relationship Id="rId107" Type="http://schemas.openxmlformats.org/officeDocument/2006/relationships/slide" Target="slides/slide92.xml"/><Relationship Id="rId11" Type="http://schemas.openxmlformats.org/officeDocument/2006/relationships/slideMaster" Target="slideMasters/slideMaster5.xml"/><Relationship Id="rId32" Type="http://schemas.openxmlformats.org/officeDocument/2006/relationships/slide" Target="slides/slide17.xml"/><Relationship Id="rId37" Type="http://schemas.openxmlformats.org/officeDocument/2006/relationships/slide" Target="slides/slide22.xml"/><Relationship Id="rId53" Type="http://schemas.openxmlformats.org/officeDocument/2006/relationships/slide" Target="slides/slide38.xml"/><Relationship Id="rId58" Type="http://schemas.openxmlformats.org/officeDocument/2006/relationships/slide" Target="slides/slide43.xml"/><Relationship Id="rId74" Type="http://schemas.openxmlformats.org/officeDocument/2006/relationships/slide" Target="slides/slide59.xml"/><Relationship Id="rId79" Type="http://schemas.openxmlformats.org/officeDocument/2006/relationships/slide" Target="slides/slide64.xml"/><Relationship Id="rId102" Type="http://schemas.openxmlformats.org/officeDocument/2006/relationships/slide" Target="slides/slide87.xml"/><Relationship Id="rId5" Type="http://schemas.openxmlformats.org/officeDocument/2006/relationships/customXml" Target="../customXml/item5.xml"/><Relationship Id="rId90" Type="http://schemas.openxmlformats.org/officeDocument/2006/relationships/slide" Target="slides/slide75.xml"/><Relationship Id="rId95" Type="http://schemas.openxmlformats.org/officeDocument/2006/relationships/slide" Target="slides/slide80.xml"/><Relationship Id="rId22" Type="http://schemas.openxmlformats.org/officeDocument/2006/relationships/slide" Target="slides/slide7.xml"/><Relationship Id="rId27" Type="http://schemas.openxmlformats.org/officeDocument/2006/relationships/slide" Target="slides/slide12.xml"/><Relationship Id="rId43" Type="http://schemas.openxmlformats.org/officeDocument/2006/relationships/slide" Target="slides/slide28.xml"/><Relationship Id="rId48" Type="http://schemas.openxmlformats.org/officeDocument/2006/relationships/slide" Target="slides/slide33.xml"/><Relationship Id="rId64" Type="http://schemas.openxmlformats.org/officeDocument/2006/relationships/slide" Target="slides/slide49.xml"/><Relationship Id="rId69" Type="http://schemas.openxmlformats.org/officeDocument/2006/relationships/slide" Target="slides/slide54.xml"/><Relationship Id="rId113" Type="http://schemas.openxmlformats.org/officeDocument/2006/relationships/slide" Target="slides/slide98.xml"/><Relationship Id="rId118" Type="http://schemas.openxmlformats.org/officeDocument/2006/relationships/commentAuthors" Target="commentAuthors.xml"/><Relationship Id="rId80" Type="http://schemas.openxmlformats.org/officeDocument/2006/relationships/slide" Target="slides/slide65.xml"/><Relationship Id="rId85" Type="http://schemas.openxmlformats.org/officeDocument/2006/relationships/slide" Target="slides/slide70.xml"/><Relationship Id="rId12" Type="http://schemas.openxmlformats.org/officeDocument/2006/relationships/slideMaster" Target="slideMasters/slideMaster6.xml"/><Relationship Id="rId17" Type="http://schemas.openxmlformats.org/officeDocument/2006/relationships/slide" Target="slides/slide2.xml"/><Relationship Id="rId33" Type="http://schemas.openxmlformats.org/officeDocument/2006/relationships/slide" Target="slides/slide18.xml"/><Relationship Id="rId38" Type="http://schemas.openxmlformats.org/officeDocument/2006/relationships/slide" Target="slides/slide23.xml"/><Relationship Id="rId59" Type="http://schemas.openxmlformats.org/officeDocument/2006/relationships/slide" Target="slides/slide44.xml"/><Relationship Id="rId103" Type="http://schemas.openxmlformats.org/officeDocument/2006/relationships/slide" Target="slides/slide88.xml"/><Relationship Id="rId108" Type="http://schemas.openxmlformats.org/officeDocument/2006/relationships/slide" Target="slides/slide93.xml"/><Relationship Id="rId54" Type="http://schemas.openxmlformats.org/officeDocument/2006/relationships/slide" Target="slides/slide39.xml"/><Relationship Id="rId70" Type="http://schemas.openxmlformats.org/officeDocument/2006/relationships/slide" Target="slides/slide55.xml"/><Relationship Id="rId75" Type="http://schemas.openxmlformats.org/officeDocument/2006/relationships/slide" Target="slides/slide60.xml"/><Relationship Id="rId91" Type="http://schemas.openxmlformats.org/officeDocument/2006/relationships/slide" Target="slides/slide76.xml"/><Relationship Id="rId96" Type="http://schemas.openxmlformats.org/officeDocument/2006/relationships/slide" Target="slides/slide81.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slide" Target="slides/slide8.xml"/><Relationship Id="rId28" Type="http://schemas.openxmlformats.org/officeDocument/2006/relationships/slide" Target="slides/slide13.xml"/><Relationship Id="rId49" Type="http://schemas.openxmlformats.org/officeDocument/2006/relationships/slide" Target="slides/slide34.xml"/><Relationship Id="rId114" Type="http://schemas.openxmlformats.org/officeDocument/2006/relationships/slide" Target="slides/slide99.xml"/><Relationship Id="rId119" Type="http://schemas.openxmlformats.org/officeDocument/2006/relationships/presProps" Target="presProps.xml"/><Relationship Id="rId44" Type="http://schemas.openxmlformats.org/officeDocument/2006/relationships/slide" Target="slides/slide29.xml"/><Relationship Id="rId60" Type="http://schemas.openxmlformats.org/officeDocument/2006/relationships/slide" Target="slides/slide45.xml"/><Relationship Id="rId65" Type="http://schemas.openxmlformats.org/officeDocument/2006/relationships/slide" Target="slides/slide50.xml"/><Relationship Id="rId81" Type="http://schemas.openxmlformats.org/officeDocument/2006/relationships/slide" Target="slides/slide66.xml"/><Relationship Id="rId86" Type="http://schemas.openxmlformats.org/officeDocument/2006/relationships/slide" Target="slides/slide71.xml"/><Relationship Id="rId4" Type="http://schemas.openxmlformats.org/officeDocument/2006/relationships/customXml" Target="../customXml/item4.xml"/><Relationship Id="rId9" Type="http://schemas.openxmlformats.org/officeDocument/2006/relationships/slideMaster" Target="slideMasters/slideMaster3.xml"/><Relationship Id="rId13" Type="http://schemas.openxmlformats.org/officeDocument/2006/relationships/slideMaster" Target="slideMasters/slideMaster7.xml"/><Relationship Id="rId18" Type="http://schemas.openxmlformats.org/officeDocument/2006/relationships/slide" Target="slides/slide3.xml"/><Relationship Id="rId39" Type="http://schemas.openxmlformats.org/officeDocument/2006/relationships/slide" Target="slides/slide24.xml"/><Relationship Id="rId109" Type="http://schemas.openxmlformats.org/officeDocument/2006/relationships/slide" Target="slides/slide94.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slide" Target="slides/slide82.xml"/><Relationship Id="rId104" Type="http://schemas.openxmlformats.org/officeDocument/2006/relationships/slide" Target="slides/slide89.xml"/><Relationship Id="rId120" Type="http://schemas.openxmlformats.org/officeDocument/2006/relationships/viewProps" Target="viewProps.xml"/><Relationship Id="rId7" Type="http://schemas.openxmlformats.org/officeDocument/2006/relationships/slideMaster" Target="slideMasters/slideMaster1.xml"/><Relationship Id="rId71" Type="http://schemas.openxmlformats.org/officeDocument/2006/relationships/slide" Target="slides/slide56.xml"/><Relationship Id="rId92" Type="http://schemas.openxmlformats.org/officeDocument/2006/relationships/slide" Target="slides/slide77.xml"/><Relationship Id="rId2" Type="http://schemas.openxmlformats.org/officeDocument/2006/relationships/customXml" Target="../customXml/item2.xml"/><Relationship Id="rId29" Type="http://schemas.openxmlformats.org/officeDocument/2006/relationships/slide" Target="slides/slide14.xml"/><Relationship Id="rId24" Type="http://schemas.openxmlformats.org/officeDocument/2006/relationships/slide" Target="slides/slide9.xml"/><Relationship Id="rId40" Type="http://schemas.openxmlformats.org/officeDocument/2006/relationships/slide" Target="slides/slide25.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110" Type="http://schemas.openxmlformats.org/officeDocument/2006/relationships/slide" Target="slides/slide95.xml"/><Relationship Id="rId115" Type="http://schemas.openxmlformats.org/officeDocument/2006/relationships/slide" Target="slides/slide100.xml"/><Relationship Id="rId61" Type="http://schemas.openxmlformats.org/officeDocument/2006/relationships/slide" Target="slides/slide46.xml"/><Relationship Id="rId82" Type="http://schemas.openxmlformats.org/officeDocument/2006/relationships/slide" Target="slides/slide67.xml"/><Relationship Id="rId19" Type="http://schemas.openxmlformats.org/officeDocument/2006/relationships/slide" Target="slides/slide4.xml"/><Relationship Id="rId14" Type="http://schemas.openxmlformats.org/officeDocument/2006/relationships/slideMaster" Target="slideMasters/slideMaster8.xml"/><Relationship Id="rId30" Type="http://schemas.openxmlformats.org/officeDocument/2006/relationships/slide" Target="slides/slide15.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slide" Target="slides/slide62.xml"/><Relationship Id="rId100" Type="http://schemas.openxmlformats.org/officeDocument/2006/relationships/slide" Target="slides/slide85.xml"/><Relationship Id="rId105" Type="http://schemas.openxmlformats.org/officeDocument/2006/relationships/slide" Target="slides/slide90.xml"/><Relationship Id="rId8" Type="http://schemas.openxmlformats.org/officeDocument/2006/relationships/slideMaster" Target="slideMasters/slideMaster2.xml"/><Relationship Id="rId51" Type="http://schemas.openxmlformats.org/officeDocument/2006/relationships/slide" Target="slides/slide36.xml"/><Relationship Id="rId72" Type="http://schemas.openxmlformats.org/officeDocument/2006/relationships/slide" Target="slides/slide57.xml"/><Relationship Id="rId93" Type="http://schemas.openxmlformats.org/officeDocument/2006/relationships/slide" Target="slides/slide78.xml"/><Relationship Id="rId98" Type="http://schemas.openxmlformats.org/officeDocument/2006/relationships/slide" Target="slides/slide83.xml"/><Relationship Id="rId121" Type="http://schemas.openxmlformats.org/officeDocument/2006/relationships/theme" Target="theme/theme1.xml"/><Relationship Id="rId3" Type="http://schemas.openxmlformats.org/officeDocument/2006/relationships/customXml" Target="../customXml/item3.xml"/><Relationship Id="rId25" Type="http://schemas.openxmlformats.org/officeDocument/2006/relationships/slide" Target="slides/slide10.xml"/><Relationship Id="rId46" Type="http://schemas.openxmlformats.org/officeDocument/2006/relationships/slide" Target="slides/slide31.xml"/><Relationship Id="rId67" Type="http://schemas.openxmlformats.org/officeDocument/2006/relationships/slide" Target="slides/slide52.xml"/><Relationship Id="rId116" Type="http://schemas.openxmlformats.org/officeDocument/2006/relationships/notesMaster" Target="notesMasters/notesMaster1.xml"/><Relationship Id="rId20" Type="http://schemas.openxmlformats.org/officeDocument/2006/relationships/slide" Target="slides/slide5.xml"/><Relationship Id="rId41" Type="http://schemas.openxmlformats.org/officeDocument/2006/relationships/slide" Target="slides/slide26.xml"/><Relationship Id="rId62" Type="http://schemas.openxmlformats.org/officeDocument/2006/relationships/slide" Target="slides/slide47.xml"/><Relationship Id="rId83" Type="http://schemas.openxmlformats.org/officeDocument/2006/relationships/slide" Target="slides/slide68.xml"/><Relationship Id="rId88" Type="http://schemas.openxmlformats.org/officeDocument/2006/relationships/slide" Target="slides/slide73.xml"/><Relationship Id="rId111" Type="http://schemas.openxmlformats.org/officeDocument/2006/relationships/slide" Target="slides/slide96.xml"/><Relationship Id="rId15" Type="http://schemas.openxmlformats.org/officeDocument/2006/relationships/slideMaster" Target="slideMasters/slideMaster9.xml"/><Relationship Id="rId36" Type="http://schemas.openxmlformats.org/officeDocument/2006/relationships/slide" Target="slides/slide21.xml"/><Relationship Id="rId57" Type="http://schemas.openxmlformats.org/officeDocument/2006/relationships/slide" Target="slides/slide42.xml"/><Relationship Id="rId106" Type="http://schemas.openxmlformats.org/officeDocument/2006/relationships/slide" Target="slides/slide91.xml"/><Relationship Id="rId10" Type="http://schemas.openxmlformats.org/officeDocument/2006/relationships/slideMaster" Target="slideMasters/slideMaster4.xml"/><Relationship Id="rId31" Type="http://schemas.openxmlformats.org/officeDocument/2006/relationships/slide" Target="slides/slide16.xml"/><Relationship Id="rId52" Type="http://schemas.openxmlformats.org/officeDocument/2006/relationships/slide" Target="slides/slide37.xml"/><Relationship Id="rId73" Type="http://schemas.openxmlformats.org/officeDocument/2006/relationships/slide" Target="slides/slide58.xml"/><Relationship Id="rId78" Type="http://schemas.openxmlformats.org/officeDocument/2006/relationships/slide" Target="slides/slide63.xml"/><Relationship Id="rId94" Type="http://schemas.openxmlformats.org/officeDocument/2006/relationships/slide" Target="slides/slide79.xml"/><Relationship Id="rId99" Type="http://schemas.openxmlformats.org/officeDocument/2006/relationships/slide" Target="slides/slide84.xml"/><Relationship Id="rId101" Type="http://schemas.openxmlformats.org/officeDocument/2006/relationships/slide" Target="slides/slide86.xml"/><Relationship Id="rId1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BB4DFFC-B4E7-AD45-ACE5-CDFAB404B058}"/>
              </a:ext>
            </a:extLst>
          </p:cNvPr>
          <p:cNvSpPr>
            <a:spLocks noGrp="1"/>
          </p:cNvSpPr>
          <p:nvPr>
            <p:ph type="hdr" sz="quarter"/>
          </p:nvPr>
        </p:nvSpPr>
        <p:spPr>
          <a:xfrm>
            <a:off x="0" y="0"/>
            <a:ext cx="3005138" cy="46196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21C4A65-5704-E546-A247-3E2210C03FB5}"/>
              </a:ext>
            </a:extLst>
          </p:cNvPr>
          <p:cNvSpPr>
            <a:spLocks noGrp="1"/>
          </p:cNvSpPr>
          <p:nvPr>
            <p:ph type="dt" sz="quarter" idx="1"/>
          </p:nvPr>
        </p:nvSpPr>
        <p:spPr>
          <a:xfrm>
            <a:off x="3927475" y="0"/>
            <a:ext cx="3005138" cy="461963"/>
          </a:xfrm>
          <a:prstGeom prst="rect">
            <a:avLst/>
          </a:prstGeom>
        </p:spPr>
        <p:txBody>
          <a:bodyPr vert="horz" lIns="91440" tIns="45720" rIns="91440" bIns="45720" rtlCol="0"/>
          <a:lstStyle>
            <a:lvl1pPr algn="r">
              <a:defRPr sz="1200"/>
            </a:lvl1pPr>
          </a:lstStyle>
          <a:p>
            <a:fld id="{2B750920-92A4-224B-9AE0-2C8C93DBE13A}" type="datetimeFigureOut">
              <a:rPr lang="en-US" smtClean="0"/>
              <a:t>9/10/2019</a:t>
            </a:fld>
            <a:endParaRPr lang="en-US"/>
          </a:p>
        </p:txBody>
      </p:sp>
      <p:sp>
        <p:nvSpPr>
          <p:cNvPr id="4" name="Footer Placeholder 3">
            <a:extLst>
              <a:ext uri="{FF2B5EF4-FFF2-40B4-BE49-F238E27FC236}">
                <a16:creationId xmlns:a16="http://schemas.microsoft.com/office/drawing/2014/main" id="{BA6685E3-1FEC-754E-BA37-188D6CA3EA4B}"/>
              </a:ext>
            </a:extLst>
          </p:cNvPr>
          <p:cNvSpPr>
            <a:spLocks noGrp="1"/>
          </p:cNvSpPr>
          <p:nvPr>
            <p:ph type="ftr" sz="quarter" idx="2"/>
          </p:nvPr>
        </p:nvSpPr>
        <p:spPr>
          <a:xfrm>
            <a:off x="0" y="8758238"/>
            <a:ext cx="3005138" cy="46196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86ADD2A-87F8-4D4B-B9A4-FF4862683136}"/>
              </a:ext>
            </a:extLst>
          </p:cNvPr>
          <p:cNvSpPr>
            <a:spLocks noGrp="1"/>
          </p:cNvSpPr>
          <p:nvPr>
            <p:ph type="sldNum" sz="quarter" idx="3"/>
          </p:nvPr>
        </p:nvSpPr>
        <p:spPr>
          <a:xfrm>
            <a:off x="3927475" y="8758238"/>
            <a:ext cx="3005138" cy="461962"/>
          </a:xfrm>
          <a:prstGeom prst="rect">
            <a:avLst/>
          </a:prstGeom>
        </p:spPr>
        <p:txBody>
          <a:bodyPr vert="horz" lIns="91440" tIns="45720" rIns="91440" bIns="45720" rtlCol="0" anchor="b"/>
          <a:lstStyle>
            <a:lvl1pPr algn="r">
              <a:defRPr sz="1200"/>
            </a:lvl1pPr>
          </a:lstStyle>
          <a:p>
            <a:fld id="{D6DF1726-3F9B-AA43-AF69-3C84FCFF3412}" type="slidenum">
              <a:rPr lang="en-US" smtClean="0"/>
              <a:t>‹#›</a:t>
            </a:fld>
            <a:endParaRPr lang="en-US"/>
          </a:p>
        </p:txBody>
      </p:sp>
    </p:spTree>
    <p:extLst>
      <p:ext uri="{BB962C8B-B14F-4D97-AF65-F5344CB8AC3E}">
        <p14:creationId xmlns:p14="http://schemas.microsoft.com/office/powerpoint/2010/main" val="38172262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2611"/>
          </a:xfrm>
          <a:prstGeom prst="rect">
            <a:avLst/>
          </a:prstGeom>
        </p:spPr>
        <p:txBody>
          <a:bodyPr vert="horz" lIns="92309" tIns="46154" rIns="92309" bIns="46154" rtlCol="0"/>
          <a:lstStyle>
            <a:lvl1pPr algn="l">
              <a:defRPr sz="1200"/>
            </a:lvl1pPr>
          </a:lstStyle>
          <a:p>
            <a:endParaRPr lang="en-US"/>
          </a:p>
        </p:txBody>
      </p:sp>
      <p:sp>
        <p:nvSpPr>
          <p:cNvPr id="3" name="Date Placeholder 2"/>
          <p:cNvSpPr>
            <a:spLocks noGrp="1"/>
          </p:cNvSpPr>
          <p:nvPr>
            <p:ph type="dt" idx="1"/>
          </p:nvPr>
        </p:nvSpPr>
        <p:spPr>
          <a:xfrm>
            <a:off x="3927775" y="0"/>
            <a:ext cx="3004820" cy="462611"/>
          </a:xfrm>
          <a:prstGeom prst="rect">
            <a:avLst/>
          </a:prstGeom>
        </p:spPr>
        <p:txBody>
          <a:bodyPr vert="horz" lIns="92309" tIns="46154" rIns="92309" bIns="46154" rtlCol="0"/>
          <a:lstStyle>
            <a:lvl1pPr algn="r">
              <a:defRPr sz="1200"/>
            </a:lvl1pPr>
          </a:lstStyle>
          <a:p>
            <a:fld id="{68BF023B-10D3-4BAF-A407-4B4ABDDCF7DA}" type="datetimeFigureOut">
              <a:rPr lang="en-US" smtClean="0"/>
              <a:t>9/10/2019</a:t>
            </a:fld>
            <a:endParaRPr lang="en-US"/>
          </a:p>
        </p:txBody>
      </p:sp>
      <p:sp>
        <p:nvSpPr>
          <p:cNvPr id="4" name="Slide Image Placeholder 3"/>
          <p:cNvSpPr>
            <a:spLocks noGrp="1" noRot="1" noChangeAspect="1"/>
          </p:cNvSpPr>
          <p:nvPr>
            <p:ph type="sldImg" idx="2"/>
          </p:nvPr>
        </p:nvSpPr>
        <p:spPr>
          <a:xfrm>
            <a:off x="701675" y="1152525"/>
            <a:ext cx="5530850" cy="3111500"/>
          </a:xfrm>
          <a:prstGeom prst="rect">
            <a:avLst/>
          </a:prstGeom>
          <a:noFill/>
          <a:ln w="12700">
            <a:solidFill>
              <a:prstClr val="black"/>
            </a:solidFill>
          </a:ln>
        </p:spPr>
        <p:txBody>
          <a:bodyPr vert="horz" lIns="92309" tIns="46154" rIns="92309" bIns="46154" rtlCol="0" anchor="ctr"/>
          <a:lstStyle/>
          <a:p>
            <a:endParaRPr lang="en-US"/>
          </a:p>
        </p:txBody>
      </p:sp>
      <p:sp>
        <p:nvSpPr>
          <p:cNvPr id="5" name="Notes Placeholder 4"/>
          <p:cNvSpPr>
            <a:spLocks noGrp="1"/>
          </p:cNvSpPr>
          <p:nvPr>
            <p:ph type="body" sz="quarter" idx="3"/>
          </p:nvPr>
        </p:nvSpPr>
        <p:spPr>
          <a:xfrm>
            <a:off x="693420" y="4437221"/>
            <a:ext cx="5547360" cy="3630454"/>
          </a:xfrm>
          <a:prstGeom prst="rect">
            <a:avLst/>
          </a:prstGeom>
        </p:spPr>
        <p:txBody>
          <a:bodyPr vert="horz" lIns="92309" tIns="46154" rIns="92309" bIns="4615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0"/>
            <a:ext cx="3004820" cy="462610"/>
          </a:xfrm>
          <a:prstGeom prst="rect">
            <a:avLst/>
          </a:prstGeom>
        </p:spPr>
        <p:txBody>
          <a:bodyPr vert="horz" lIns="92309" tIns="46154" rIns="92309" bIns="46154" rtlCol="0" anchor="b"/>
          <a:lstStyle>
            <a:lvl1pPr algn="l">
              <a:defRPr sz="1200"/>
            </a:lvl1pPr>
          </a:lstStyle>
          <a:p>
            <a:endParaRPr lang="en-US"/>
          </a:p>
        </p:txBody>
      </p:sp>
      <p:sp>
        <p:nvSpPr>
          <p:cNvPr id="7" name="Slide Number Placeholder 6"/>
          <p:cNvSpPr>
            <a:spLocks noGrp="1"/>
          </p:cNvSpPr>
          <p:nvPr>
            <p:ph type="sldNum" sz="quarter" idx="5"/>
          </p:nvPr>
        </p:nvSpPr>
        <p:spPr>
          <a:xfrm>
            <a:off x="3927775" y="8757590"/>
            <a:ext cx="3004820" cy="462610"/>
          </a:xfrm>
          <a:prstGeom prst="rect">
            <a:avLst/>
          </a:prstGeom>
        </p:spPr>
        <p:txBody>
          <a:bodyPr vert="horz" lIns="92309" tIns="46154" rIns="92309" bIns="46154" rtlCol="0" anchor="b"/>
          <a:lstStyle>
            <a:lvl1pPr algn="r">
              <a:defRPr sz="1200"/>
            </a:lvl1pPr>
          </a:lstStyle>
          <a:p>
            <a:fld id="{3D7B9D4F-5F19-438C-92E8-037C6AE8F87D}" type="slidenum">
              <a:rPr lang="en-US" smtClean="0"/>
              <a:t>‹#›</a:t>
            </a:fld>
            <a:endParaRPr lang="en-US"/>
          </a:p>
        </p:txBody>
      </p:sp>
    </p:spTree>
    <p:extLst>
      <p:ext uri="{BB962C8B-B14F-4D97-AF65-F5344CB8AC3E}">
        <p14:creationId xmlns:p14="http://schemas.microsoft.com/office/powerpoint/2010/main" val="506843168"/>
      </p:ext>
    </p:extLst>
  </p:cSld>
  <p:clrMap bg1="lt1" tx1="dk1" bg2="lt2" tx2="dk2" accent1="accent1" accent2="accent2" accent3="accent3" accent4="accent4" accent5="accent5" accent6="accent6" hlink="hlink" folHlink="folHlink"/>
  <p:notesStyle>
    <a:lvl1pPr marL="0" algn="l" defTabSz="914314" rtl="0" eaLnBrk="1" latinLnBrk="0" hangingPunct="1">
      <a:defRPr sz="1200" kern="1200">
        <a:solidFill>
          <a:schemeClr val="tx1"/>
        </a:solidFill>
        <a:latin typeface="+mn-lt"/>
        <a:ea typeface="+mn-ea"/>
        <a:cs typeface="+mn-cs"/>
      </a:defRPr>
    </a:lvl1pPr>
    <a:lvl2pPr marL="457157" algn="l" defTabSz="914314" rtl="0" eaLnBrk="1" latinLnBrk="0" hangingPunct="1">
      <a:defRPr sz="1200" kern="1200">
        <a:solidFill>
          <a:schemeClr val="tx1"/>
        </a:solidFill>
        <a:latin typeface="+mn-lt"/>
        <a:ea typeface="+mn-ea"/>
        <a:cs typeface="+mn-cs"/>
      </a:defRPr>
    </a:lvl2pPr>
    <a:lvl3pPr marL="914314" algn="l" defTabSz="914314" rtl="0" eaLnBrk="1" latinLnBrk="0" hangingPunct="1">
      <a:defRPr sz="1200" kern="1200">
        <a:solidFill>
          <a:schemeClr val="tx1"/>
        </a:solidFill>
        <a:latin typeface="+mn-lt"/>
        <a:ea typeface="+mn-ea"/>
        <a:cs typeface="+mn-cs"/>
      </a:defRPr>
    </a:lvl3pPr>
    <a:lvl4pPr marL="1371471" algn="l" defTabSz="914314" rtl="0" eaLnBrk="1" latinLnBrk="0" hangingPunct="1">
      <a:defRPr sz="1200" kern="1200">
        <a:solidFill>
          <a:schemeClr val="tx1"/>
        </a:solidFill>
        <a:latin typeface="+mn-lt"/>
        <a:ea typeface="+mn-ea"/>
        <a:cs typeface="+mn-cs"/>
      </a:defRPr>
    </a:lvl4pPr>
    <a:lvl5pPr marL="1828628" algn="l" defTabSz="914314" rtl="0" eaLnBrk="1" latinLnBrk="0" hangingPunct="1">
      <a:defRPr sz="1200" kern="1200">
        <a:solidFill>
          <a:schemeClr val="tx1"/>
        </a:solidFill>
        <a:latin typeface="+mn-lt"/>
        <a:ea typeface="+mn-ea"/>
        <a:cs typeface="+mn-cs"/>
      </a:defRPr>
    </a:lvl5pPr>
    <a:lvl6pPr marL="2285785" algn="l" defTabSz="914314" rtl="0" eaLnBrk="1" latinLnBrk="0" hangingPunct="1">
      <a:defRPr sz="1200" kern="1200">
        <a:solidFill>
          <a:schemeClr val="tx1"/>
        </a:solidFill>
        <a:latin typeface="+mn-lt"/>
        <a:ea typeface="+mn-ea"/>
        <a:cs typeface="+mn-cs"/>
      </a:defRPr>
    </a:lvl6pPr>
    <a:lvl7pPr marL="2742942" algn="l" defTabSz="914314" rtl="0" eaLnBrk="1" latinLnBrk="0" hangingPunct="1">
      <a:defRPr sz="1200" kern="1200">
        <a:solidFill>
          <a:schemeClr val="tx1"/>
        </a:solidFill>
        <a:latin typeface="+mn-lt"/>
        <a:ea typeface="+mn-ea"/>
        <a:cs typeface="+mn-cs"/>
      </a:defRPr>
    </a:lvl7pPr>
    <a:lvl8pPr marL="3200099" algn="l" defTabSz="914314" rtl="0" eaLnBrk="1" latinLnBrk="0" hangingPunct="1">
      <a:defRPr sz="1200" kern="1200">
        <a:solidFill>
          <a:schemeClr val="tx1"/>
        </a:solidFill>
        <a:latin typeface="+mn-lt"/>
        <a:ea typeface="+mn-ea"/>
        <a:cs typeface="+mn-cs"/>
      </a:defRPr>
    </a:lvl8pPr>
    <a:lvl9pPr marL="3657256" algn="l" defTabSz="91431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azuremarketplace.microsoft.com/marketplace/apps/microsoft-ads.linux-data-science-vm-ubuntu"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azure.microsoft.com/services/hdinsight/apache-spark/"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azure.microsoft.com/en-us/blog/azure-iot-central-available-for-partners-to-manage-and-extend-customer-solutions/"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azuremarketplace.microsoft.com/marketplace/apps/microsoft-ads.linux-data-science-vm-ubuntu" TargetMode="External"/><Relationship Id="rId2" Type="http://schemas.openxmlformats.org/officeDocument/2006/relationships/slide" Target="../slides/slide81.xml"/><Relationship Id="rId1" Type="http://schemas.openxmlformats.org/officeDocument/2006/relationships/notesMaster" Target="../notesMasters/notesMaster1.xml"/><Relationship Id="rId4" Type="http://schemas.openxmlformats.org/officeDocument/2006/relationships/hyperlink" Target="https://azure.microsoft.com/services/hdinsight/apache-spark/" TargetMode="Externa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lang="en-US"/>
              <a:t>Welcome to connected world, that becomes more connected every day. Let’s talk about ways you can capture the benefits of this connectivity for your business with the Internet of Things. </a:t>
            </a:r>
          </a:p>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599917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A9D2FCC9-2ED6-40BE-B585-74722D74E164}"/>
              </a:ext>
            </a:extLst>
          </p:cNvPr>
          <p:cNvSpPr>
            <a:spLocks noGrp="1"/>
          </p:cNvSpPr>
          <p:nvPr>
            <p:ph type="body" idx="1"/>
          </p:nvPr>
        </p:nvSpPr>
        <p:spPr/>
        <p:txBody>
          <a:bodyPr/>
          <a:lstStyle/>
          <a:p>
            <a:r>
              <a:rPr lang="en-US" sz="1200" kern="1200">
                <a:solidFill>
                  <a:schemeClr val="tx1"/>
                </a:solidFill>
                <a:effectLst/>
                <a:latin typeface="+mn-lt"/>
                <a:ea typeface="+mn-ea"/>
                <a:cs typeface="+mn-cs"/>
              </a:rPr>
              <a:t> </a:t>
            </a:r>
          </a:p>
          <a:p>
            <a:endParaRPr lang="en-US"/>
          </a:p>
        </p:txBody>
      </p:sp>
    </p:spTree>
    <p:extLst>
      <p:ext uri="{BB962C8B-B14F-4D97-AF65-F5344CB8AC3E}">
        <p14:creationId xmlns:p14="http://schemas.microsoft.com/office/powerpoint/2010/main" val="37943023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baseline="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4137CCA-1DE2-48CC-8594-4DCB087C682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0/2019 11: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774507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Speaker notes:</a:t>
            </a:r>
          </a:p>
          <a:p>
            <a:pPr marL="0" marR="0" lvl="0" indent="0" algn="l" defTabSz="932688"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At the core an IoT application consists of the following subsystems: 1) </a:t>
            </a:r>
            <a:r>
              <a:rPr lang="en-US" sz="1200" b="1" kern="1200">
                <a:solidFill>
                  <a:schemeClr val="tx1"/>
                </a:solidFill>
                <a:effectLst/>
                <a:latin typeface="+mn-lt"/>
                <a:ea typeface="+mn-ea"/>
                <a:cs typeface="+mn-cs"/>
              </a:rPr>
              <a:t>devices</a:t>
            </a:r>
            <a:r>
              <a:rPr lang="en-US" sz="1200" kern="1200">
                <a:solidFill>
                  <a:schemeClr val="tx1"/>
                </a:solidFill>
                <a:effectLst/>
                <a:latin typeface="+mn-lt"/>
                <a:ea typeface="+mn-ea"/>
                <a:cs typeface="+mn-cs"/>
              </a:rPr>
              <a:t> (and/or on premise edge gateways) that have the ability to securely register with the cloud, and connectivity options for sending and receiving data with the cloud, 2) a cloud gateway service, or </a:t>
            </a:r>
            <a:r>
              <a:rPr lang="en-US" sz="1200" b="1" kern="1200">
                <a:solidFill>
                  <a:schemeClr val="tx1"/>
                </a:solidFill>
                <a:effectLst/>
                <a:latin typeface="+mn-lt"/>
                <a:ea typeface="+mn-ea"/>
                <a:cs typeface="+mn-cs"/>
              </a:rPr>
              <a:t>hub</a:t>
            </a:r>
            <a:r>
              <a:rPr lang="en-US" sz="1200" kern="1200">
                <a:solidFill>
                  <a:schemeClr val="tx1"/>
                </a:solidFill>
                <a:effectLst/>
                <a:latin typeface="+mn-lt"/>
                <a:ea typeface="+mn-ea"/>
                <a:cs typeface="+mn-cs"/>
              </a:rPr>
              <a:t>, to securely accept that data and provide device management capabilities, 3)  </a:t>
            </a:r>
            <a:r>
              <a:rPr lang="en-US" sz="1200" b="1" kern="1200">
                <a:solidFill>
                  <a:schemeClr val="tx1"/>
                </a:solidFill>
                <a:effectLst/>
                <a:latin typeface="+mn-lt"/>
                <a:ea typeface="+mn-ea"/>
                <a:cs typeface="+mn-cs"/>
              </a:rPr>
              <a:t>stream processors</a:t>
            </a:r>
            <a:r>
              <a:rPr lang="en-US" sz="1200" kern="1200">
                <a:solidFill>
                  <a:schemeClr val="tx1"/>
                </a:solidFill>
                <a:effectLst/>
                <a:latin typeface="+mn-lt"/>
                <a:ea typeface="+mn-ea"/>
                <a:cs typeface="+mn-cs"/>
              </a:rPr>
              <a:t> that consume that data, integrate with </a:t>
            </a:r>
            <a:r>
              <a:rPr lang="en-US" sz="1200" b="1" kern="1200">
                <a:solidFill>
                  <a:schemeClr val="tx1"/>
                </a:solidFill>
                <a:effectLst/>
                <a:latin typeface="+mn-lt"/>
                <a:ea typeface="+mn-ea"/>
                <a:cs typeface="+mn-cs"/>
              </a:rPr>
              <a:t>business processes</a:t>
            </a:r>
            <a:r>
              <a:rPr lang="en-US" sz="1200" kern="1200">
                <a:solidFill>
                  <a:schemeClr val="tx1"/>
                </a:solidFill>
                <a:effectLst/>
                <a:latin typeface="+mn-lt"/>
                <a:ea typeface="+mn-ea"/>
                <a:cs typeface="+mn-cs"/>
              </a:rPr>
              <a:t>, and place the data into </a:t>
            </a:r>
            <a:r>
              <a:rPr lang="en-US" sz="1200" b="1" kern="1200">
                <a:solidFill>
                  <a:schemeClr val="tx1"/>
                </a:solidFill>
                <a:effectLst/>
                <a:latin typeface="+mn-lt"/>
                <a:ea typeface="+mn-ea"/>
                <a:cs typeface="+mn-cs"/>
              </a:rPr>
              <a:t>storage</a:t>
            </a:r>
            <a:r>
              <a:rPr lang="en-US" sz="1200" kern="1200">
                <a:solidFill>
                  <a:schemeClr val="tx1"/>
                </a:solidFill>
                <a:effectLst/>
                <a:latin typeface="+mn-lt"/>
                <a:ea typeface="+mn-ea"/>
                <a:cs typeface="+mn-cs"/>
              </a:rPr>
              <a:t>, and 4) a </a:t>
            </a:r>
            <a:r>
              <a:rPr lang="en-US" sz="1200" b="1" kern="1200">
                <a:solidFill>
                  <a:schemeClr val="tx1"/>
                </a:solidFill>
                <a:effectLst/>
                <a:latin typeface="+mn-lt"/>
                <a:ea typeface="+mn-ea"/>
                <a:cs typeface="+mn-cs"/>
              </a:rPr>
              <a:t>user interface</a:t>
            </a:r>
            <a:r>
              <a:rPr lang="en-US" sz="1200" kern="1200">
                <a:solidFill>
                  <a:schemeClr val="tx1"/>
                </a:solidFill>
                <a:effectLst/>
                <a:latin typeface="+mn-lt"/>
                <a:ea typeface="+mn-ea"/>
                <a:cs typeface="+mn-cs"/>
              </a:rPr>
              <a:t> to visualize telemetry data and facilitate device management.   </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882305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b="0" dirty="0"/>
              <a:t>Azure IoT is a fully extensible solution in every part (Things, Insights, Action)</a:t>
            </a:r>
          </a:p>
          <a:p>
            <a:endParaRPr lang="en-US" b="0" dirty="0"/>
          </a:p>
          <a:p>
            <a:r>
              <a:rPr lang="en-US" b="0" u="sng" dirty="0"/>
              <a:t>Acronyms</a:t>
            </a:r>
          </a:p>
          <a:p>
            <a:r>
              <a:rPr lang="en-US" b="0" dirty="0"/>
              <a:t>AAD: Azure Active Directory</a:t>
            </a:r>
          </a:p>
          <a:p>
            <a:r>
              <a:rPr lang="en-US" b="0" dirty="0"/>
              <a:t>AMQP: </a:t>
            </a:r>
            <a:r>
              <a:rPr lang="en-US" sz="1200" b="0" i="0" u="none" strike="noStrike" kern="1200" dirty="0">
                <a:solidFill>
                  <a:schemeClr val="tx1"/>
                </a:solidFill>
                <a:effectLst/>
                <a:latin typeface="+mn-lt"/>
                <a:ea typeface="+mn-ea"/>
                <a:cs typeface="+mn-cs"/>
              </a:rPr>
              <a:t>Advanced Message Queuing Protocol </a:t>
            </a:r>
            <a:endParaRPr lang="en-US" b="0" dirty="0"/>
          </a:p>
          <a:p>
            <a:r>
              <a:rPr lang="en-US" b="0" dirty="0"/>
              <a:t>HTTP: </a:t>
            </a:r>
            <a:r>
              <a:rPr lang="en-US" sz="1200" b="0" i="0" u="none" strike="noStrike" kern="1200" dirty="0">
                <a:solidFill>
                  <a:schemeClr val="tx1"/>
                </a:solidFill>
                <a:effectLst/>
                <a:latin typeface="+mn-lt"/>
                <a:ea typeface="+mn-ea"/>
                <a:cs typeface="+mn-cs"/>
              </a:rPr>
              <a:t>Hypertext Transfer Protocol</a:t>
            </a:r>
            <a:endParaRPr lang="en-US" b="0" dirty="0"/>
          </a:p>
          <a:p>
            <a:r>
              <a:rPr lang="en-US" b="0" dirty="0"/>
              <a:t>MCU: Memory Control Unit</a:t>
            </a:r>
          </a:p>
          <a:p>
            <a:r>
              <a:rPr lang="en-US" b="0" dirty="0"/>
              <a:t>MQTT: </a:t>
            </a:r>
            <a:r>
              <a:rPr lang="en-US" sz="1200" b="0" i="0" u="none" strike="noStrike" kern="1200" dirty="0">
                <a:solidFill>
                  <a:schemeClr val="tx1"/>
                </a:solidFill>
                <a:effectLst/>
                <a:latin typeface="+mn-lt"/>
                <a:ea typeface="+mn-ea"/>
                <a:cs typeface="+mn-cs"/>
              </a:rPr>
              <a:t>machine-to-machine (M2M)/Internet of Things</a:t>
            </a:r>
            <a:endParaRPr lang="en-US" b="0" dirty="0"/>
          </a:p>
          <a:p>
            <a:r>
              <a:rPr lang="en-US" b="0" dirty="0"/>
              <a:t>OS: Operating System</a:t>
            </a:r>
          </a:p>
          <a:p>
            <a:r>
              <a:rPr lang="en-US" b="0" dirty="0"/>
              <a:t>RTOS: Real Time Operating Syste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00922B-1719-4931-9625-64F12E73284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01080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0D278F-D501-4FD3-A3EB-055F85BFCA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44768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39CF7E-134C-4B4A-9853-17D7568CBCC2}"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0/2019 11:2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95743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A9D2FCC9-2ED6-40BE-B585-74722D74E16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7692330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72F4EBB-2408-42A3-BC3C-009FE632A1B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9477676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72F4EBB-2408-42A3-BC3C-009FE632A1B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7889103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latin typeface="+mn-lt"/>
            </a:endParaRPr>
          </a:p>
        </p:txBody>
      </p:sp>
      <p:sp>
        <p:nvSpPr>
          <p:cNvPr id="4" name="Slide Number Placeholder 3"/>
          <p:cNvSpPr>
            <a:spLocks noGrp="1"/>
          </p:cNvSpPr>
          <p:nvPr>
            <p:ph type="sldNum" sz="quarter" idx="10"/>
          </p:nvPr>
        </p:nvSpPr>
        <p:spPr/>
        <p:txBody>
          <a:bodyPr/>
          <a:lstStyle/>
          <a:p>
            <a:pPr marL="0" marR="0" lvl="0" indent="0" algn="r" defTabSz="948507"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850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25001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kern="1200">
                <a:solidFill>
                  <a:schemeClr val="tx1"/>
                </a:solidFill>
                <a:effectLst/>
                <a:latin typeface="Segoe UI Light" pitchFamily="34" charset="0"/>
                <a:ea typeface="+mn-ea"/>
                <a:cs typeface="+mn-cs"/>
              </a:rPr>
              <a:t>Leveraging IoT-enabled equipment monitoring capabilities can tremendously benefit businesses across many industries, and adoption is growing by the minute.</a:t>
            </a:r>
            <a:r>
              <a:rPr lang="en-US" sz="900" b="0" i="0" u="none" strike="noStrike" kern="1200">
                <a:solidFill>
                  <a:schemeClr val="tx1"/>
                </a:solidFill>
                <a:effectLst/>
                <a:latin typeface="Segoe UI Light" pitchFamily="34" charset="0"/>
                <a:ea typeface="+mn-ea"/>
                <a:cs typeface="+mn-cs"/>
              </a:rPr>
              <a:t> The promise of digital transformation enabled by IoT, and the increased accessibility of smart, connected technology means that IoT is a lucrative and necessary investment for companies. And increased adoption creates a new imperative: embrace IoT or be left behind.</a:t>
            </a:r>
            <a:r>
              <a:rPr lang="en-US" sz="900" b="0" i="0" kern="1200">
                <a:solidFill>
                  <a:schemeClr val="tx1"/>
                </a:solidFill>
                <a:effectLst/>
                <a:latin typeface="Segoe UI Light" pitchFamily="34" charset="0"/>
                <a:ea typeface="+mn-ea"/>
                <a:cs typeface="+mn-cs"/>
              </a:rPr>
              <a:t>​</a:t>
            </a:r>
          </a:p>
          <a:p>
            <a:pPr rtl="0" fontAlgn="base"/>
            <a:endParaRPr lang="en-US" sz="900" b="0" i="0" kern="1200">
              <a:solidFill>
                <a:schemeClr val="tx1"/>
              </a:solidFill>
              <a:effectLst/>
              <a:latin typeface="Segoe UI Light" pitchFamily="34" charset="0"/>
              <a:ea typeface="+mn-ea"/>
              <a:cs typeface="+mn-cs"/>
            </a:endParaRPr>
          </a:p>
          <a:p>
            <a:pPr rtl="0" fontAlgn="base"/>
            <a:r>
              <a:rPr lang="en-US" sz="900" b="1" i="0" u="none" strike="noStrike" kern="1200">
                <a:solidFill>
                  <a:schemeClr val="tx1"/>
                </a:solidFill>
                <a:effectLst/>
                <a:latin typeface="Segoe UI Light" pitchFamily="34" charset="0"/>
                <a:ea typeface="+mn-ea"/>
                <a:cs typeface="+mn-cs"/>
              </a:rPr>
              <a:t>The proliferation of IoT offers tremendous opportunity both to dramatically improve existing processes and create new business models and revenue streams. </a:t>
            </a:r>
            <a:r>
              <a:rPr lang="en-US" sz="900" b="0" i="0" kern="1200">
                <a:solidFill>
                  <a:schemeClr val="tx1"/>
                </a:solidFill>
                <a:effectLst/>
                <a:latin typeface="Segoe UI Light" pitchFamily="34" charset="0"/>
                <a:ea typeface="+mn-ea"/>
                <a:cs typeface="+mn-cs"/>
              </a:rPr>
              <a:t>​</a:t>
            </a:r>
          </a:p>
          <a:p>
            <a:pPr rtl="0" fontAlgn="base"/>
            <a:endParaRPr lang="en-US" sz="900" b="0" i="0" kern="1200">
              <a:solidFill>
                <a:schemeClr val="tx1"/>
              </a:solidFill>
              <a:effectLst/>
              <a:latin typeface="Segoe UI Light" pitchFamily="34" charset="0"/>
              <a:ea typeface="+mn-ea"/>
              <a:cs typeface="+mn-cs"/>
            </a:endParaRPr>
          </a:p>
          <a:p>
            <a:pPr rtl="0" fontAlgn="base"/>
            <a:r>
              <a:rPr lang="en-US" sz="900" b="0" i="0" u="none" strike="noStrike" kern="1200">
                <a:solidFill>
                  <a:schemeClr val="tx1"/>
                </a:solidFill>
                <a:effectLst/>
                <a:latin typeface="Segoe UI Light" pitchFamily="34" charset="0"/>
                <a:ea typeface="+mn-ea"/>
                <a:cs typeface="+mn-cs"/>
              </a:rPr>
              <a:t>Organizations that already adopted IoT are reaping the rewards. </a:t>
            </a:r>
            <a:endParaRPr lang="en-US" sz="900" b="0" i="0" kern="120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i="0" kern="120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kern="1200">
                <a:solidFill>
                  <a:schemeClr val="tx1"/>
                </a:solidFill>
                <a:effectLst/>
                <a:latin typeface="Segoe UI Light" pitchFamily="34" charset="0"/>
                <a:ea typeface="+mn-ea"/>
                <a:cs typeface="+mn-cs"/>
              </a:rPr>
              <a:t>But don’t take it from us—the numbers speak for themselv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0" i="0" kern="1200">
                <a:solidFill>
                  <a:schemeClr val="tx1"/>
                </a:solidFill>
                <a:effectLst/>
                <a:latin typeface="Segoe UI Light" pitchFamily="34" charset="0"/>
                <a:ea typeface="+mn-ea"/>
                <a:cs typeface="+mn-cs"/>
              </a:rPr>
              <a:t>Analysts predict that IoT will lead to $177 billion in reduced costs by 2020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0" i="0" kern="1200">
                <a:solidFill>
                  <a:schemeClr val="tx1"/>
                </a:solidFill>
                <a:effectLst/>
                <a:latin typeface="Segoe UI Light" pitchFamily="34" charset="0"/>
                <a:ea typeface="+mn-ea"/>
                <a:cs typeface="+mn-cs"/>
              </a:rPr>
              <a:t>Businesses who do harness the power of IoT will be 10% more profitable than those who don’t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0" i="0" kern="1200">
                <a:solidFill>
                  <a:schemeClr val="tx1"/>
                </a:solidFill>
                <a:effectLst/>
                <a:latin typeface="Segoe UI Light" pitchFamily="34" charset="0"/>
                <a:ea typeface="+mn-ea"/>
                <a:cs typeface="+mn-cs"/>
              </a:rPr>
              <a:t>Over 80% of companies that adopt IoT report efficiency improvements</a:t>
            </a:r>
            <a:endParaRPr lang="en-US" sz="900" b="0" i="1" kern="1200">
              <a:solidFill>
                <a:schemeClr val="tx1"/>
              </a:solidFill>
              <a:effectLst/>
              <a:latin typeface="Segoe UI Light" pitchFamily="34" charset="0"/>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0" i="0" kern="1200">
                <a:solidFill>
                  <a:schemeClr val="tx1"/>
                </a:solidFill>
                <a:effectLst/>
                <a:latin typeface="Segoe UI Light" pitchFamily="34" charset="0"/>
                <a:ea typeface="+mn-ea"/>
                <a:cs typeface="+mn-cs"/>
              </a:rPr>
              <a:t>In a recent global trend study conducted by TCS, 80% of companies increased revenue by investing in IoT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900" b="0" i="0" kern="120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882" b="0" i="0" kern="1200">
                <a:solidFill>
                  <a:schemeClr val="tx1"/>
                </a:solidFill>
                <a:effectLst/>
                <a:latin typeface="Segoe UI Light" pitchFamily="34" charset="0"/>
                <a:ea typeface="+mn-ea"/>
                <a:cs typeface="+mn-cs"/>
              </a:rPr>
              <a:t>In 2016, James Brehm &amp; Associates reported that predictive maintenance with IoT resulted in 50% less downtime for device manufacturers while also noting that 73% of enterprises surveyed were pursuing IoT. McKinsey followed up with an observation that IoT and advanced analytics for product maintenance improved margins as much as 80%. These trends, along with news of more and more successful IoT deployments, and greater improvements and accessible in IoT technology precipitated companies of all sizes rushing to stand up their own solutions—driven as much by the opportunities for savings and revenue as by their fear of being left behind.</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882" b="0" i="0" kern="1200">
              <a:solidFill>
                <a:schemeClr val="tx1"/>
              </a:solidFill>
              <a:effectLst/>
              <a:latin typeface="Segoe UI Light" pitchFamily="34" charset="0"/>
              <a:ea typeface="+mn-ea"/>
              <a:cs typeface="+mn-cs"/>
            </a:endParaRPr>
          </a:p>
          <a:p>
            <a:r>
              <a:rPr lang="en-US" b="1"/>
              <a:t>Automotive: </a:t>
            </a:r>
            <a:r>
              <a:rPr lang="en-US" b="0"/>
              <a:t>Systems in cars / light trucks interacting with consumers</a:t>
            </a:r>
          </a:p>
          <a:p>
            <a:r>
              <a:rPr lang="en-US" b="0" u="sng"/>
              <a:t>Use cases</a:t>
            </a:r>
            <a:r>
              <a:rPr lang="en-US" b="0"/>
              <a:t>: In-vehicle infotainment (IVI), ADAS, remote access, telematics</a:t>
            </a:r>
          </a:p>
          <a:p>
            <a:r>
              <a:rPr lang="en-US" b="1"/>
              <a:t>Discrete Manufacturing: </a:t>
            </a:r>
            <a:r>
              <a:rPr lang="en-US" b="0"/>
              <a:t>Systems/devices in factories producing discrete goods (CPG, automobiles)</a:t>
            </a:r>
          </a:p>
          <a:p>
            <a:r>
              <a:rPr lang="en-US" b="0" u="sng"/>
              <a:t>Use cases</a:t>
            </a:r>
            <a:r>
              <a:rPr lang="en-US" b="0"/>
              <a:t>: Quality control, development process, supply chain management etc..</a:t>
            </a:r>
          </a:p>
          <a:p>
            <a:r>
              <a:rPr lang="en-US" b="1"/>
              <a:t>Process Industries</a:t>
            </a:r>
            <a:r>
              <a:rPr lang="en-US" b="0"/>
              <a:t>: Systems/ devices in factories producing bulk goods (paper, chemicals, food)</a:t>
            </a:r>
          </a:p>
          <a:p>
            <a:r>
              <a:rPr lang="en-US" b="0" u="sng"/>
              <a:t>Use cases</a:t>
            </a:r>
            <a:r>
              <a:rPr lang="en-US" b="0"/>
              <a:t>: Predictive maintenance, product mix planning, quality control, etc..</a:t>
            </a:r>
            <a:endParaRPr lang="en-US" b="1"/>
          </a:p>
          <a:p>
            <a:r>
              <a:rPr lang="en-US" b="1"/>
              <a:t>Retail</a:t>
            </a:r>
            <a:r>
              <a:rPr lang="en-US"/>
              <a:t>: Systems in place where people purchase goods or services</a:t>
            </a:r>
          </a:p>
          <a:p>
            <a:r>
              <a:rPr lang="en-US" u="sng"/>
              <a:t>Use cases</a:t>
            </a:r>
            <a:r>
              <a:rPr lang="en-US"/>
              <a:t>: inventory management, digital signage</a:t>
            </a:r>
          </a:p>
          <a:p>
            <a:r>
              <a:rPr lang="en-US" b="1"/>
              <a:t>Energy </a:t>
            </a:r>
            <a:r>
              <a:rPr lang="en-US" b="0"/>
              <a:t>(utilities): </a:t>
            </a:r>
            <a:r>
              <a:rPr lang="en-US"/>
              <a:t>Systems, networks, grids in and between cities / public spaces (</a:t>
            </a:r>
            <a:r>
              <a:rPr lang="en-US" err="1"/>
              <a:t>eg</a:t>
            </a:r>
            <a:r>
              <a:rPr lang="en-US"/>
              <a:t>: ports, borders)</a:t>
            </a:r>
          </a:p>
          <a:p>
            <a:r>
              <a:rPr lang="en-US" u="sng"/>
              <a:t>Use cases</a:t>
            </a:r>
            <a:r>
              <a:rPr lang="en-US"/>
              <a:t>: smart city, advanced metering, etc..</a:t>
            </a:r>
          </a:p>
          <a:p>
            <a:r>
              <a:rPr lang="en-US" b="1"/>
              <a:t>Transportation</a:t>
            </a:r>
            <a:r>
              <a:rPr lang="en-US"/>
              <a:t>: Systems/devices to enable transportation / logistics / military</a:t>
            </a:r>
          </a:p>
          <a:p>
            <a:r>
              <a:rPr lang="en-US" u="sng"/>
              <a:t>Use cases</a:t>
            </a:r>
            <a:r>
              <a:rPr lang="en-US"/>
              <a:t>: fleet management, telematics, platooning</a:t>
            </a:r>
          </a:p>
          <a:p>
            <a:r>
              <a:rPr lang="en-US" b="1"/>
              <a:t>Smart Cities</a:t>
            </a:r>
            <a:r>
              <a:rPr lang="en-US"/>
              <a:t>:</a:t>
            </a:r>
          </a:p>
          <a:p>
            <a:r>
              <a:rPr lang="en-US"/>
              <a:t>Systems/devices in schools, airports, transportation </a:t>
            </a:r>
            <a:r>
              <a:rPr lang="en-US" err="1"/>
              <a:t>infro</a:t>
            </a:r>
            <a:endParaRPr lang="en-US"/>
          </a:p>
          <a:p>
            <a:r>
              <a:rPr lang="en-US" u="sng"/>
              <a:t>User cases</a:t>
            </a:r>
            <a:r>
              <a:rPr lang="en-US"/>
              <a:t>: pollution monitoring, traffic control, streetlight maintenance etc..</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i="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i="0"/>
              <a:t>Natural resources, healthcare, transportation, smart spaces, retail, </a:t>
            </a:r>
            <a:r>
              <a:rPr lang="en-US" i="0" err="1"/>
              <a:t>manafacturing</a:t>
            </a:r>
            <a:r>
              <a:rPr lang="en-US" i="0"/>
              <a:t> </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0/2019 11: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350951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72F4EBB-2408-42A3-BC3C-009FE632A1B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0937769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72F4EBB-2408-42A3-BC3C-009FE632A1B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3931803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latin typeface="+mn-lt"/>
            </a:endParaRPr>
          </a:p>
        </p:txBody>
      </p:sp>
      <p:sp>
        <p:nvSpPr>
          <p:cNvPr id="4" name="Slide Number Placeholder 3"/>
          <p:cNvSpPr>
            <a:spLocks noGrp="1"/>
          </p:cNvSpPr>
          <p:nvPr>
            <p:ph type="sldNum" sz="quarter" idx="10"/>
          </p:nvPr>
        </p:nvSpPr>
        <p:spPr/>
        <p:txBody>
          <a:bodyPr/>
          <a:lstStyle/>
          <a:p>
            <a:pPr marL="0" marR="0" lvl="0" indent="0" algn="r" defTabSz="948507"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850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88500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8591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081" marR="0" lvl="0" indent="0" algn="l" defTabSz="96621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85916"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5916" rtl="0" eaLnBrk="1" fontAlgn="auto" latinLnBrk="0" hangingPunct="1">
                <a:lnSpc>
                  <a:spcPct val="100000"/>
                </a:lnSpc>
                <a:spcBef>
                  <a:spcPts val="0"/>
                </a:spcBef>
                <a:spcAft>
                  <a:spcPts val="0"/>
                </a:spcAft>
                <a:buClrTx/>
                <a:buSzTx/>
                <a:buFontTx/>
                <a:buNone/>
                <a:tabLst/>
                <a:defRPr/>
              </a:pPr>
              <a:t>9/10/2019 11: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8591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5916"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D08F7C29-348D-41AE-B707-DAB559B83F82}"/>
              </a:ext>
            </a:extLst>
          </p:cNvPr>
          <p:cNvSpPr>
            <a:spLocks noGrp="1"/>
          </p:cNvSpPr>
          <p:nvPr>
            <p:ph type="body" idx="1"/>
          </p:nvPr>
        </p:nvSpPr>
        <p:spPr/>
        <p:txBody>
          <a:bodyPr/>
          <a:lstStyle/>
          <a:p>
            <a:pPr marL="177845" indent="-177845">
              <a:buFont typeface="Arial" panose="020B0604020202020204" pitchFamily="34" charset="0"/>
              <a:buChar char="•"/>
            </a:pPr>
            <a:r>
              <a:rPr lang="en-US" dirty="0"/>
              <a:t>Azure Machine Learning Experimentation Service enables data scientists to execute their experiments using AML execution and run management capabilities.</a:t>
            </a:r>
          </a:p>
          <a:p>
            <a:pPr marL="177845" indent="-177845">
              <a:buFont typeface="Arial" panose="020B0604020202020204" pitchFamily="34" charset="0"/>
              <a:buChar char="•"/>
            </a:pPr>
            <a:r>
              <a:rPr lang="en-US"/>
              <a:t>AML SDK</a:t>
            </a:r>
            <a:r>
              <a:rPr lang="en-US" dirty="0"/>
              <a:t> allows you to start with local runs on your machine and also an easy path for scaling up / out to other environments such as remote Data Science VMs with GPU or HDInsight Clusters running Spark.</a:t>
            </a:r>
          </a:p>
          <a:p>
            <a:pPr marL="177845" indent="-177845">
              <a:buFont typeface="Arial" panose="020B0604020202020204" pitchFamily="34" charset="0"/>
              <a:buChar char="•"/>
            </a:pPr>
            <a:r>
              <a:rPr lang="en-US" dirty="0"/>
              <a:t>Experimentation Service is built for providing </a:t>
            </a:r>
            <a:r>
              <a:rPr lang="en-US" b="1" dirty="0"/>
              <a:t>isolated, reproducible, and consistent runs </a:t>
            </a:r>
            <a:r>
              <a:rPr lang="en-US" dirty="0"/>
              <a:t>of your experiments. </a:t>
            </a:r>
          </a:p>
          <a:p>
            <a:pPr marL="177845" indent="-177845">
              <a:buFont typeface="Arial" panose="020B0604020202020204" pitchFamily="34" charset="0"/>
              <a:buChar char="•"/>
            </a:pPr>
            <a:r>
              <a:rPr lang="en-US" dirty="0"/>
              <a:t>It helps you manage your compute targets, execution environments, and run configurations. </a:t>
            </a:r>
          </a:p>
          <a:p>
            <a:pPr marL="177845" indent="-177845">
              <a:buFont typeface="Arial" panose="020B0604020202020204" pitchFamily="34" charset="0"/>
              <a:buChar char="•"/>
            </a:pPr>
            <a:r>
              <a:rPr lang="en-US" dirty="0"/>
              <a:t>You can execute a Python or PySpark script in a project locally or at scale in the cloud.</a:t>
            </a:r>
          </a:p>
          <a:p>
            <a:pPr marL="177845" indent="-177845">
              <a:buFont typeface="Arial" panose="020B0604020202020204" pitchFamily="34" charset="0"/>
              <a:buChar char="•"/>
            </a:pPr>
            <a:r>
              <a:rPr lang="en-US" dirty="0"/>
              <a:t>You can run your scripts on:</a:t>
            </a:r>
          </a:p>
          <a:p>
            <a:pPr marL="403211" lvl="1" indent="-177845"/>
            <a:r>
              <a:rPr lang="en-US" dirty="0"/>
              <a:t>Python (3.5.2) environment on your local computer installed by Workbench</a:t>
            </a:r>
          </a:p>
          <a:p>
            <a:pPr marL="403211" lvl="1" indent="-177845"/>
            <a:r>
              <a:rPr lang="en-US" dirty="0"/>
              <a:t>Conda Python environment inside of a Docker container on local computer</a:t>
            </a:r>
          </a:p>
          <a:p>
            <a:pPr marL="403211" lvl="1" indent="-177845"/>
            <a:r>
              <a:rPr lang="en-US" dirty="0"/>
              <a:t>On a Python environment that you own and manage on a remote Linux Machine</a:t>
            </a:r>
          </a:p>
          <a:p>
            <a:pPr marL="403211" lvl="1" indent="-177845"/>
            <a:r>
              <a:rPr lang="en-US" dirty="0"/>
              <a:t>Conda Python environment inside of a Docker container on a remote Linux machine. For example, an </a:t>
            </a:r>
            <a:r>
              <a:rPr lang="en-US" dirty="0">
                <a:hlinkClick r:id="rId3"/>
              </a:rPr>
              <a:t>Ubuntu-based DSVM on Azure</a:t>
            </a:r>
            <a:endParaRPr lang="en-US" dirty="0"/>
          </a:p>
          <a:p>
            <a:pPr marL="403211" lvl="1" indent="-177845"/>
            <a:r>
              <a:rPr lang="en-US" dirty="0">
                <a:hlinkClick r:id="rId4"/>
              </a:rPr>
              <a:t>HDInsight for Spark</a:t>
            </a:r>
            <a:r>
              <a:rPr lang="en-US" dirty="0"/>
              <a:t> on Azure</a:t>
            </a:r>
          </a:p>
          <a:p>
            <a:endParaRPr lang="en-US" dirty="0"/>
          </a:p>
        </p:txBody>
      </p:sp>
    </p:spTree>
    <p:extLst>
      <p:ext uri="{BB962C8B-B14F-4D97-AF65-F5344CB8AC3E}">
        <p14:creationId xmlns:p14="http://schemas.microsoft.com/office/powerpoint/2010/main" val="33758635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48507"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48507" rtl="0" eaLnBrk="1" fontAlgn="auto" latinLnBrk="0" hangingPunct="1">
              <a:lnSpc>
                <a:spcPct val="100000"/>
              </a:lnSpc>
              <a:spcBef>
                <a:spcPts val="0"/>
              </a:spcBef>
              <a:spcAft>
                <a:spcPts val="0"/>
              </a:spcAft>
              <a:buClrTx/>
              <a:buSzTx/>
              <a:buFontTx/>
              <a:buNone/>
              <a:tabLst/>
              <a:defRPr/>
            </a:pPr>
            <a:r>
              <a:rPr kumimoji="0" lang="en-US" altLang="en-US" sz="1900" b="0" i="0" u="none" strike="noStrike" kern="0" cap="none" spc="0" normalizeH="0" baseline="0" noProof="0">
                <a:ln>
                  <a:noFill/>
                </a:ln>
                <a:solidFill>
                  <a:sysClr val="windowText" lastClr="000000"/>
                </a:solidFill>
                <a:effectLst/>
                <a:uLnTx/>
                <a:uFillTx/>
                <a:latin typeface="Calibri"/>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8507"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8507" rtl="0" eaLnBrk="1" fontAlgn="auto" latinLnBrk="0" hangingPunct="1">
                <a:lnSpc>
                  <a:spcPct val="100000"/>
                </a:lnSpc>
                <a:spcBef>
                  <a:spcPts val="0"/>
                </a:spcBef>
                <a:spcAft>
                  <a:spcPts val="0"/>
                </a:spcAft>
                <a:buClrTx/>
                <a:buSzTx/>
                <a:buFontTx/>
                <a:buNone/>
                <a:tabLst/>
                <a:defRPr/>
              </a:pPr>
              <a:t>9/10/2019 11:23 PM</a:t>
            </a:fld>
            <a:endParaRPr kumimoji="0" lang="en-US" alt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8507"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8507" rtl="0" eaLnBrk="1" fontAlgn="auto" latinLnBrk="0" hangingPunct="1">
                <a:lnSpc>
                  <a:spcPct val="100000"/>
                </a:lnSpc>
                <a:spcBef>
                  <a:spcPts val="0"/>
                </a:spcBef>
                <a:spcAft>
                  <a:spcPts val="0"/>
                </a:spcAft>
                <a:buClrTx/>
                <a:buSzTx/>
                <a:buFontTx/>
                <a:buNone/>
                <a:tabLst/>
                <a:defRPr/>
              </a:pPr>
              <a:t>27</a:t>
            </a:fld>
            <a:endParaRPr kumimoji="0" lang="en-US" alt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440853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72F4EBB-2408-42A3-BC3C-009FE632A1B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0908868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latin typeface="+mn-lt"/>
            </a:endParaRPr>
          </a:p>
        </p:txBody>
      </p:sp>
      <p:sp>
        <p:nvSpPr>
          <p:cNvPr id="4" name="Slide Number Placeholder 3"/>
          <p:cNvSpPr>
            <a:spLocks noGrp="1"/>
          </p:cNvSpPr>
          <p:nvPr>
            <p:ph type="sldNum" sz="quarter" idx="10"/>
          </p:nvPr>
        </p:nvSpPr>
        <p:spPr/>
        <p:txBody>
          <a:bodyPr/>
          <a:lstStyle/>
          <a:p>
            <a:pPr marL="0" marR="0" lvl="0" indent="0" algn="r" defTabSz="948507"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850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08000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72F4EBB-2408-42A3-BC3C-009FE632A1B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3143774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mn-lt"/>
              </a:rPr>
              <a:t>Azure Machine Learning Services empowers you to bring AI to everyone with an end-to-end, scalable, trusted platform.</a:t>
            </a:r>
          </a:p>
          <a:p>
            <a:endParaRPr lang="en-US" sz="1200" b="1" dirty="0">
              <a:latin typeface="+mn-lt"/>
            </a:endParaRPr>
          </a:p>
          <a:p>
            <a:r>
              <a:rPr lang="en-US" sz="1200" b="1" dirty="0">
                <a:latin typeface="+mn-lt"/>
              </a:rPr>
              <a:t>Boost your data science productivity </a:t>
            </a:r>
          </a:p>
          <a:p>
            <a:pPr marL="177845" indent="-177845">
              <a:buFont typeface="Arial" panose="020B0604020202020204" pitchFamily="34" charset="0"/>
              <a:buChar char="•"/>
            </a:pPr>
            <a:r>
              <a:rPr lang="en-US" sz="1200" dirty="0">
                <a:latin typeface="+mn-lt"/>
              </a:rPr>
              <a:t>Python pip-installable extensions for Azure Machine Learning that enable data scientists to build and deploy machine learning and deep learning models</a:t>
            </a:r>
          </a:p>
          <a:p>
            <a:pPr marL="177845" indent="-177845">
              <a:buFont typeface="Arial" panose="020B0604020202020204" pitchFamily="34" charset="0"/>
              <a:buChar char="•"/>
            </a:pPr>
            <a:r>
              <a:rPr lang="en-US" sz="1200" dirty="0">
                <a:latin typeface="+mn-lt"/>
              </a:rPr>
              <a:t>Now available for Computer Vision, Text Analytics and Time-Series Forecasting.</a:t>
            </a:r>
          </a:p>
          <a:p>
            <a:endParaRPr lang="en-US" dirty="0"/>
          </a:p>
          <a:p>
            <a:r>
              <a:rPr lang="en-US" sz="1200" b="1" dirty="0">
                <a:latin typeface="+mn-lt"/>
              </a:rPr>
              <a:t>Increase your rate of experimentation</a:t>
            </a:r>
          </a:p>
          <a:p>
            <a:pPr marL="177845" indent="-177845">
              <a:buFont typeface="Arial" panose="020B0604020202020204" pitchFamily="34" charset="0"/>
              <a:buChar char="•"/>
            </a:pPr>
            <a:r>
              <a:rPr lang="en-US" sz="1200" dirty="0">
                <a:latin typeface="+mn-lt"/>
              </a:rPr>
              <a:t>Rapidly prototype on your desktop, then easily scale up on virtual machines or scale out using Spark clusters</a:t>
            </a:r>
          </a:p>
          <a:p>
            <a:pPr marL="177845" indent="-177845">
              <a:buFont typeface="Arial" panose="020B0604020202020204" pitchFamily="34" charset="0"/>
              <a:buChar char="•"/>
            </a:pPr>
            <a:r>
              <a:rPr lang="en-US" sz="1200" dirty="0">
                <a:latin typeface="+mn-lt"/>
              </a:rPr>
              <a:t>Proactively manage model performance, identify the best model, and promote it using data-driven insights</a:t>
            </a:r>
          </a:p>
          <a:p>
            <a:pPr marL="177845" indent="-177845">
              <a:buFont typeface="Arial" panose="020B0604020202020204" pitchFamily="34" charset="0"/>
              <a:buChar char="•"/>
            </a:pPr>
            <a:r>
              <a:rPr lang="en-US" sz="1200" dirty="0">
                <a:latin typeface="+mn-lt"/>
              </a:rPr>
              <a:t>Collaborate and share solutions using popular Git repositories.</a:t>
            </a:r>
          </a:p>
          <a:p>
            <a:endParaRPr lang="en-US" dirty="0"/>
          </a:p>
          <a:p>
            <a:r>
              <a:rPr lang="en-US" sz="1200" b="1" dirty="0">
                <a:latin typeface="+mn-lt"/>
              </a:rPr>
              <a:t>Deploy and manage your models everywhere</a:t>
            </a:r>
          </a:p>
          <a:p>
            <a:pPr marL="177845" indent="-177845">
              <a:buFont typeface="Arial" panose="020B0604020202020204" pitchFamily="34" charset="0"/>
              <a:buChar char="•"/>
            </a:pPr>
            <a:r>
              <a:rPr lang="en-US" sz="1200" dirty="0">
                <a:latin typeface="+mn-lt"/>
              </a:rPr>
              <a:t>Use Docker containers to deploy models into production faster in the cloud, on-premises, or at the edge</a:t>
            </a:r>
          </a:p>
          <a:p>
            <a:pPr marL="177845" indent="-177845">
              <a:buFont typeface="Arial" panose="020B0604020202020204" pitchFamily="34" charset="0"/>
              <a:buChar char="•"/>
            </a:pPr>
            <a:r>
              <a:rPr lang="en-US" sz="1200" dirty="0">
                <a:latin typeface="+mn-lt"/>
              </a:rPr>
              <a:t>Promote your best performing models into production and retrain them when their performance degrades</a:t>
            </a:r>
          </a:p>
          <a:p>
            <a:endParaRPr lang="en-US" sz="1200" dirty="0">
              <a:latin typeface="+mn-lt"/>
            </a:endParaRPr>
          </a:p>
          <a:p>
            <a:r>
              <a:rPr lang="en-US" sz="1200" dirty="0">
                <a:latin typeface="+mn-lt"/>
              </a:rPr>
              <a:t>Azure Machine Learning Services are built with your needs in mind, providing:</a:t>
            </a:r>
          </a:p>
          <a:p>
            <a:pPr marL="177845" indent="-177845">
              <a:buFont typeface="Arial" panose="020B0604020202020204" pitchFamily="34" charset="0"/>
              <a:buChar char="•"/>
            </a:pPr>
            <a:r>
              <a:rPr lang="en-US" sz="1200" dirty="0">
                <a:latin typeface="+mn-lt"/>
              </a:rPr>
              <a:t>GPU-enabled virtual machines</a:t>
            </a:r>
          </a:p>
          <a:p>
            <a:pPr marL="177845" indent="-177845">
              <a:buFont typeface="Arial" panose="020B0604020202020204" pitchFamily="34" charset="0"/>
              <a:buChar char="•"/>
            </a:pPr>
            <a:r>
              <a:rPr lang="en-US" sz="1200" dirty="0">
                <a:latin typeface="+mn-lt"/>
              </a:rPr>
              <a:t>Low-latency predictions at scale</a:t>
            </a:r>
          </a:p>
          <a:p>
            <a:pPr marL="177845" indent="-177845">
              <a:buFont typeface="Arial" panose="020B0604020202020204" pitchFamily="34" charset="0"/>
              <a:buChar char="•"/>
            </a:pPr>
            <a:r>
              <a:rPr lang="en-US" sz="1200" dirty="0">
                <a:latin typeface="+mn-lt"/>
              </a:rPr>
              <a:t>Integration with popular Python IDEs</a:t>
            </a:r>
          </a:p>
          <a:p>
            <a:pPr marL="177845" indent="-177845">
              <a:buFont typeface="Arial" panose="020B0604020202020204" pitchFamily="34" charset="0"/>
              <a:buChar char="•"/>
            </a:pPr>
            <a:r>
              <a:rPr lang="en-US" sz="1200" dirty="0">
                <a:latin typeface="+mn-lt"/>
              </a:rPr>
              <a:t>Role-based access controls</a:t>
            </a:r>
          </a:p>
          <a:p>
            <a:pPr marL="177845" indent="-177845">
              <a:buFont typeface="Arial" panose="020B0604020202020204" pitchFamily="34" charset="0"/>
              <a:buChar char="•"/>
            </a:pPr>
            <a:r>
              <a:rPr lang="en-US" sz="1200" dirty="0">
                <a:latin typeface="+mn-lt"/>
              </a:rPr>
              <a:t>Model versioning</a:t>
            </a:r>
          </a:p>
          <a:p>
            <a:pPr marL="177845" indent="-177845">
              <a:buFont typeface="Arial" panose="020B0604020202020204" pitchFamily="34" charset="0"/>
              <a:buChar char="•"/>
            </a:pPr>
            <a:r>
              <a:rPr lang="en-US" sz="1200" dirty="0">
                <a:latin typeface="+mn-lt"/>
              </a:rPr>
              <a:t>Automated model retraining</a:t>
            </a:r>
          </a:p>
          <a:p>
            <a:endParaRPr lang="en-US" sz="1200" dirty="0">
              <a:latin typeface="+mn-lt"/>
            </a:endParaRPr>
          </a:p>
          <a:p>
            <a:r>
              <a:rPr lang="en-US" sz="1200" b="1" dirty="0">
                <a:latin typeface="+mn-lt"/>
              </a:rPr>
              <a:t>(Optional: other services)</a:t>
            </a:r>
          </a:p>
          <a:p>
            <a:pPr marL="177845" indent="-177845">
              <a:buFont typeface="Arial" panose="020B0604020202020204" pitchFamily="34" charset="0"/>
              <a:buChar char="•"/>
            </a:pPr>
            <a:r>
              <a:rPr lang="en-US" sz="1200" dirty="0">
                <a:latin typeface="+mn-lt"/>
              </a:rPr>
              <a:t>Azure Machine Learning Workbench integrates with ONNX models</a:t>
            </a:r>
          </a:p>
          <a:p>
            <a:pPr marL="177845" indent="-177845">
              <a:buFont typeface="Arial" panose="020B0604020202020204" pitchFamily="34" charset="0"/>
              <a:buChar char="•"/>
            </a:pPr>
            <a:r>
              <a:rPr lang="en-US" sz="1200" dirty="0">
                <a:latin typeface="+mn-lt"/>
              </a:rPr>
              <a:t>Work with your ONNX models from Visual Studio Code Tools for AI. </a:t>
            </a:r>
          </a:p>
          <a:p>
            <a:pPr marL="652099" lvl="1" indent="-177845"/>
            <a:r>
              <a:rPr lang="en-US" sz="1200" dirty="0">
                <a:latin typeface="+mn-lt"/>
              </a:rPr>
              <a:t>Build deep learning models and call services straight from your favorite IDE easier with Azure Machine Learning services built right in. </a:t>
            </a:r>
          </a:p>
          <a:p>
            <a:pPr marL="652099" lvl="1" indent="-177845"/>
            <a:r>
              <a:rPr lang="en-US" sz="1200" dirty="0">
                <a:latin typeface="+mn-lt"/>
              </a:rPr>
              <a:t>Create a seamless developer experience across desktop, cloud, or at the edge.</a:t>
            </a:r>
          </a:p>
          <a:p>
            <a:pPr marL="177845" indent="-177845">
              <a:buFont typeface="Arial" panose="020B0604020202020204" pitchFamily="34" charset="0"/>
              <a:buChar char="•"/>
            </a:pPr>
            <a:r>
              <a:rPr lang="en-US" sz="1200" dirty="0">
                <a:latin typeface="+mn-lt"/>
              </a:rPr>
              <a:t>AI Toolkit for Azure IoT Edge</a:t>
            </a:r>
          </a:p>
          <a:p>
            <a:pPr marL="177845" indent="-177845">
              <a:buFont typeface="Arial" panose="020B0604020202020204" pitchFamily="34" charset="0"/>
              <a:buChar char="•"/>
            </a:pPr>
            <a:r>
              <a:rPr lang="en-US" sz="1200" dirty="0" err="1">
                <a:latin typeface="+mn-lt"/>
              </a:rPr>
              <a:t>MMLSpark</a:t>
            </a:r>
            <a:r>
              <a:rPr lang="en-US" sz="1200" dirty="0">
                <a:latin typeface="+mn-lt"/>
              </a:rPr>
              <a:t> is an open-source Spark package</a:t>
            </a:r>
            <a:r>
              <a:rPr lang="en-US" sz="1200" b="1" dirty="0">
                <a:latin typeface="+mn-lt"/>
              </a:rPr>
              <a:t> </a:t>
            </a:r>
            <a:r>
              <a:rPr lang="en-US" sz="1200" dirty="0">
                <a:latin typeface="+mn-lt"/>
              </a:rPr>
              <a:t>that enables you to quickly create powerful, highly-scalable predictive and analytical models for large image and text datasets by using deep learning and data science tools for Apache Spark.</a:t>
            </a:r>
          </a:p>
          <a:p>
            <a:endParaRPr lang="en-US" sz="1200" dirty="0">
              <a:latin typeface="+mn-lt"/>
            </a:endParaRPr>
          </a:p>
          <a:p>
            <a:r>
              <a:rPr lang="en-US" sz="1200" dirty="0">
                <a:latin typeface="+mn-lt"/>
              </a:rPr>
              <a:t>Azure Machine Learning Services seamlessly integrates with the rest of the Azure portfolio.</a:t>
            </a:r>
          </a:p>
          <a:p>
            <a:endParaRPr lang="en-US" sz="1200" dirty="0">
              <a:latin typeface="+mn-lt"/>
            </a:endParaRPr>
          </a:p>
          <a:p>
            <a:r>
              <a:rPr lang="en-US" sz="1200" b="1" dirty="0">
                <a:latin typeface="+mn-lt"/>
              </a:rPr>
              <a:t>&lt;Transition&gt;: Azure Machine Learning Services allows you to deploy models to many different production environments.</a:t>
            </a:r>
          </a:p>
          <a:p>
            <a:endParaRPr lang="en-US" dirty="0"/>
          </a:p>
        </p:txBody>
      </p:sp>
      <p:sp>
        <p:nvSpPr>
          <p:cNvPr id="4" name="Slide Number Placeholder 3"/>
          <p:cNvSpPr>
            <a:spLocks noGrp="1"/>
          </p:cNvSpPr>
          <p:nvPr>
            <p:ph type="sldNum" sz="quarter" idx="10"/>
          </p:nvPr>
        </p:nvSpPr>
        <p:spPr/>
        <p:txBody>
          <a:bodyPr/>
          <a:lstStyle/>
          <a:p>
            <a:pPr marL="0" marR="0" lvl="0" indent="0" algn="r" defTabSz="948507" rtl="0" eaLnBrk="1" fontAlgn="auto" latinLnBrk="0" hangingPunct="1">
              <a:lnSpc>
                <a:spcPct val="100000"/>
              </a:lnSpc>
              <a:spcBef>
                <a:spcPts val="0"/>
              </a:spcBef>
              <a:spcAft>
                <a:spcPts val="0"/>
              </a:spcAft>
              <a:buClrTx/>
              <a:buSzTx/>
              <a:buFontTx/>
              <a:buNone/>
              <a:tabLst/>
              <a:defRPr/>
            </a:pPr>
            <a:fld id="{1CA76015-0069-40CB-B3C1-9C16255696F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850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76872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45" indent="-177845">
              <a:buFont typeface="Arial" panose="020B0604020202020204" pitchFamily="34" charset="0"/>
              <a:buChar char="•"/>
            </a:pPr>
            <a:r>
              <a:rPr lang="en-US" sz="1200">
                <a:latin typeface="+mn-lt"/>
              </a:rPr>
              <a:t>Our approach to ML frameworks is simple. </a:t>
            </a:r>
          </a:p>
          <a:p>
            <a:pPr marL="177845" indent="-177845">
              <a:buFont typeface="Arial" panose="020B0604020202020204" pitchFamily="34" charset="0"/>
              <a:buChar char="•"/>
            </a:pPr>
            <a:r>
              <a:rPr lang="en-US" sz="1200">
                <a:latin typeface="+mn-lt"/>
              </a:rPr>
              <a:t>We give customers the flexibility to choose their deep learning framework, without getting locked one framework.</a:t>
            </a:r>
          </a:p>
          <a:p>
            <a:pPr marL="177845" indent="-177845">
              <a:buFont typeface="Arial" panose="020B0604020202020204" pitchFamily="34" charset="0"/>
              <a:buChar char="•"/>
            </a:pPr>
            <a:r>
              <a:rPr lang="en-US" sz="1200">
                <a:latin typeface="+mn-lt"/>
              </a:rPr>
              <a:t>To help with this we’ve created a community project in partnership with Facebook that allows customers to train in one framework and use another one for inference</a:t>
            </a:r>
          </a:p>
          <a:p>
            <a:r>
              <a:rPr lang="en-US" sz="1200">
                <a:latin typeface="+mn-lt"/>
              </a:rPr>
              <a:t> </a:t>
            </a:r>
          </a:p>
          <a:p>
            <a:r>
              <a:rPr lang="en-US" sz="1200" i="1">
                <a:latin typeface="+mn-lt"/>
              </a:rPr>
              <a:t>Now, let me move to the ML services on Azure</a:t>
            </a:r>
            <a:endParaRPr lang="en-US" i="1"/>
          </a:p>
        </p:txBody>
      </p:sp>
      <p:sp>
        <p:nvSpPr>
          <p:cNvPr id="4" name="Header Placeholder 3"/>
          <p:cNvSpPr>
            <a:spLocks noGrp="1"/>
          </p:cNvSpPr>
          <p:nvPr>
            <p:ph type="hdr" sz="quarter" idx="10"/>
          </p:nvPr>
        </p:nvSpPr>
        <p:spPr/>
        <p:txBody>
          <a:bodyPr/>
          <a:lstStyle/>
          <a:p>
            <a:pPr marL="0" marR="0" lvl="0" indent="0" algn="l" defTabSz="966529" rtl="0" eaLnBrk="1" fontAlgn="auto" latinLnBrk="0" hangingPunct="1">
              <a:lnSpc>
                <a:spcPct val="100000"/>
              </a:lnSpc>
              <a:spcBef>
                <a:spcPts val="0"/>
              </a:spcBef>
              <a:spcAft>
                <a:spcPts val="0"/>
              </a:spcAft>
              <a:buClrTx/>
              <a:buSzTx/>
              <a:buFontTx/>
              <a:buNone/>
              <a:tabLst/>
              <a:defRPr/>
            </a:pPr>
            <a:r>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66211"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6529"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529" rtl="0" eaLnBrk="1" fontAlgn="auto" latinLnBrk="0" hangingPunct="1">
                <a:lnSpc>
                  <a:spcPct val="100000"/>
                </a:lnSpc>
                <a:spcBef>
                  <a:spcPts val="0"/>
                </a:spcBef>
                <a:spcAft>
                  <a:spcPts val="0"/>
                </a:spcAft>
                <a:buClrTx/>
                <a:buSzTx/>
                <a:buFontTx/>
                <a:buNone/>
                <a:tabLst/>
                <a:defRPr/>
              </a:pPr>
              <a:t>9/10/2019 11:23 PM</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652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529" rtl="0" eaLnBrk="1" fontAlgn="auto" latinLnBrk="0" hangingPunct="1">
                <a:lnSpc>
                  <a:spcPct val="100000"/>
                </a:lnSpc>
                <a:spcBef>
                  <a:spcPts val="0"/>
                </a:spcBef>
                <a:spcAft>
                  <a:spcPts val="0"/>
                </a:spcAft>
                <a:buClrTx/>
                <a:buSzTx/>
                <a:buFontTx/>
                <a:buNone/>
                <a:tabLst/>
                <a:defRPr/>
              </a:pPr>
              <a:t>33</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43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lang="en-US" b="0"/>
              <a:t>Examples of customers who are making IoT work for their businesses span industries and company size. There is no shortage of how IoT can apply to any organization and any industry. </a:t>
            </a:r>
          </a:p>
          <a:p>
            <a:pPr marL="0" marR="0" lvl="0" indent="0" algn="l" defTabSz="914314" rtl="0" eaLnBrk="1" fontAlgn="auto" latinLnBrk="0" hangingPunct="1">
              <a:lnSpc>
                <a:spcPct val="100000"/>
              </a:lnSpc>
              <a:spcBef>
                <a:spcPts val="0"/>
              </a:spcBef>
              <a:spcAft>
                <a:spcPts val="0"/>
              </a:spcAft>
              <a:buClrTx/>
              <a:buSzTx/>
              <a:buFontTx/>
              <a:buNone/>
              <a:tabLst/>
              <a:defRPr/>
            </a:pPr>
            <a:endParaRPr lang="en-US" b="0"/>
          </a:p>
          <a:p>
            <a:r>
              <a:rPr lang="en-US"/>
              <a:t>Businesses</a:t>
            </a:r>
            <a:r>
              <a:rPr lang="en-US" baseline="0"/>
              <a:t> move at the speed of thought and the competitive edge is measured in seconds and minutes—not days or weeks. The first and second consideration for holistic defense for businesses is data protection and business continuity. For enterprises—regardless of industry—there exists a set of common objectives for thriving in the digital landscape. Organizations that want to succeed tend to focus on:</a:t>
            </a:r>
          </a:p>
          <a:p>
            <a:endParaRPr lang="en-US" baseline="0"/>
          </a:p>
          <a:p>
            <a:pPr marL="174708" indent="-174708">
              <a:buFont typeface="Arial" panose="020B0604020202020204" pitchFamily="34" charset="0"/>
              <a:buChar char="•"/>
            </a:pPr>
            <a:r>
              <a:rPr lang="en-US" b="1" baseline="0"/>
              <a:t>Limiting downtime</a:t>
            </a:r>
          </a:p>
          <a:p>
            <a:pPr marL="396098" lvl="1" indent="-174708">
              <a:buFont typeface="Arial" panose="020B0604020202020204" pitchFamily="34" charset="0"/>
              <a:buChar char="•"/>
            </a:pPr>
            <a:r>
              <a:rPr lang="en-US" baseline="0"/>
              <a:t> Line of business applications are the lifeblood of modern enterprise and just a minute of downtime is far too long. Companies that want to succeed do everything in their power to achieve “the nine’s” of availability and uptime. </a:t>
            </a:r>
          </a:p>
          <a:p>
            <a:pPr marL="174708" indent="-174708">
              <a:buFont typeface="Arial" panose="020B0604020202020204" pitchFamily="34" charset="0"/>
              <a:buChar char="•"/>
            </a:pPr>
            <a:r>
              <a:rPr lang="en-US" b="1" baseline="0"/>
              <a:t>Reducing costs</a:t>
            </a:r>
            <a:endParaRPr lang="en-US" b="0" baseline="0"/>
          </a:p>
          <a:p>
            <a:pPr marL="396098" lvl="1" indent="-174708">
              <a:buFont typeface="Arial" panose="020B0604020202020204" pitchFamily="34" charset="0"/>
              <a:buChar char="•"/>
            </a:pPr>
            <a:r>
              <a:rPr lang="en-US" b="0" baseline="0"/>
              <a:t>Selling and increasing revenue are only part of the equation. Enterprises always look for ways to reduce costs and unnecessary overhead.</a:t>
            </a:r>
          </a:p>
          <a:p>
            <a:pPr marL="174708" indent="-174708">
              <a:buFont typeface="Arial" panose="020B0604020202020204" pitchFamily="34" charset="0"/>
              <a:buChar char="•"/>
            </a:pPr>
            <a:r>
              <a:rPr lang="en-US" b="1" baseline="0"/>
              <a:t>Managing complexity</a:t>
            </a:r>
            <a:endParaRPr lang="en-US" b="0" baseline="0"/>
          </a:p>
          <a:p>
            <a:pPr marL="396098" lvl="1" indent="-174708">
              <a:buFont typeface="Arial" panose="020B0604020202020204" pitchFamily="34" charset="0"/>
              <a:buChar char="•"/>
            </a:pPr>
            <a:r>
              <a:rPr lang="en-US" b="0" baseline="0"/>
              <a:t>Navigating some modern IT environments can be like making your way through a labyrinth. Primary, secondary, and tertiary data centers, DR protocols, heterogeneous operating environments, colocation facilities, disparate toolsets, it’s a lot to keep track of. Enterprises often look for ways to untangle the knot of 21</a:t>
            </a:r>
            <a:r>
              <a:rPr lang="en-US" b="0" baseline="30000"/>
              <a:t>st</a:t>
            </a:r>
            <a:r>
              <a:rPr lang="en-US" b="0" baseline="0"/>
              <a:t> Century IT.</a:t>
            </a:r>
          </a:p>
          <a:p>
            <a:pPr marL="174708" indent="-174708">
              <a:buFont typeface="Arial" panose="020B0604020202020204" pitchFamily="34" charset="0"/>
              <a:buChar char="•"/>
            </a:pPr>
            <a:r>
              <a:rPr lang="en-US" b="1" baseline="0"/>
              <a:t>Ensuring compliance</a:t>
            </a:r>
          </a:p>
          <a:p>
            <a:pPr marL="396098" lvl="1" indent="-174708">
              <a:buFont typeface="Arial" panose="020B0604020202020204" pitchFamily="34" charset="0"/>
              <a:buChar char="•"/>
            </a:pPr>
            <a:r>
              <a:rPr lang="en-US" b="0" baseline="0"/>
              <a:t>With modernization and globalization of business—and the vast array of business models and industries--oversight is required. Businesses need to adhere to complex (and sometimes confusing) compliance mandates from many different regulatory bodies based on a number of factors—or risk costly litigation and negative effects to their brand and bottom line.</a:t>
            </a:r>
          </a:p>
          <a:p>
            <a:pPr marL="174708" indent="-174708">
              <a:buFont typeface="Arial" panose="020B0604020202020204" pitchFamily="34" charset="0"/>
              <a:buChar char="•"/>
            </a:pPr>
            <a:r>
              <a:rPr lang="en-US" b="1" baseline="0"/>
              <a:t>Scaling protection</a:t>
            </a:r>
          </a:p>
          <a:p>
            <a:pPr marL="396098" lvl="1" indent="-174708">
              <a:buFont typeface="Arial" panose="020B0604020202020204" pitchFamily="34" charset="0"/>
              <a:buChar char="•"/>
            </a:pPr>
            <a:r>
              <a:rPr lang="en-US" b="0" baseline="0"/>
              <a:t>It’s a given that enterprises need protection when the unthinkable happens. But more than that, they need holistic defense solutions that can continue to protect them as they grow. In short, they need scalable, complete protection from human and natural disaster. </a:t>
            </a:r>
            <a:endParaRPr lang="en-US" b="1" baseline="0"/>
          </a:p>
          <a:p>
            <a:pPr marL="0" marR="0" lvl="0" indent="0" algn="l" defTabSz="914314" rtl="0" eaLnBrk="1" fontAlgn="auto" latinLnBrk="0" hangingPunct="1">
              <a:lnSpc>
                <a:spcPct val="100000"/>
              </a:lnSpc>
              <a:spcBef>
                <a:spcPts val="0"/>
              </a:spcBef>
              <a:spcAft>
                <a:spcPts val="0"/>
              </a:spcAft>
              <a:buClrTx/>
              <a:buSzTx/>
              <a:buFontTx/>
              <a:buNone/>
              <a:tabLst/>
              <a:defRPr/>
            </a:pPr>
            <a:endParaRPr lang="en-US" b="0"/>
          </a:p>
          <a:p>
            <a:endParaRPr lang="en-US" b="1" baseline="0"/>
          </a:p>
          <a:p>
            <a:endParaRPr lang="en-US"/>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10/2019 11:23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2176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45" indent="-177845">
              <a:buFont typeface="Arial" panose="020B0604020202020204" pitchFamily="34" charset="0"/>
              <a:buChar char="•"/>
            </a:pPr>
            <a:r>
              <a:rPr lang="en-US" sz="1200" dirty="0">
                <a:latin typeface="+mn-lt"/>
              </a:rPr>
              <a:t>Our approach to ML frameworks is simple. </a:t>
            </a:r>
          </a:p>
          <a:p>
            <a:pPr marL="177845" indent="-177845">
              <a:buFont typeface="Arial" panose="020B0604020202020204" pitchFamily="34" charset="0"/>
              <a:buChar char="•"/>
            </a:pPr>
            <a:r>
              <a:rPr lang="en-US" sz="1200" dirty="0">
                <a:latin typeface="+mn-lt"/>
              </a:rPr>
              <a:t>We give customers the flexibility to choose their deep learning framework, without getting locked one framework.</a:t>
            </a:r>
          </a:p>
          <a:p>
            <a:pPr marL="177845" indent="-177845">
              <a:buFont typeface="Arial" panose="020B0604020202020204" pitchFamily="34" charset="0"/>
              <a:buChar char="•"/>
            </a:pPr>
            <a:r>
              <a:rPr lang="en-US" sz="1200" dirty="0">
                <a:latin typeface="+mn-lt"/>
              </a:rPr>
              <a:t>To help with this we’ve created a community project in partnership with Facebook that allows customers to train in one framework and use another one for inference</a:t>
            </a:r>
          </a:p>
          <a:p>
            <a:r>
              <a:rPr lang="en-US" sz="1200" dirty="0">
                <a:latin typeface="+mn-lt"/>
              </a:rPr>
              <a:t> </a:t>
            </a:r>
          </a:p>
          <a:p>
            <a:r>
              <a:rPr lang="en-US" sz="1200" i="1" dirty="0">
                <a:latin typeface="+mn-lt"/>
              </a:rPr>
              <a:t>Now, let me move to the ML services on Azure</a:t>
            </a:r>
            <a:endParaRPr lang="en-US" i="1" dirty="0"/>
          </a:p>
        </p:txBody>
      </p:sp>
      <p:sp>
        <p:nvSpPr>
          <p:cNvPr id="4" name="Header Placeholder 3"/>
          <p:cNvSpPr>
            <a:spLocks noGrp="1"/>
          </p:cNvSpPr>
          <p:nvPr>
            <p:ph type="hdr" sz="quarter" idx="10"/>
          </p:nvPr>
        </p:nvSpPr>
        <p:spPr/>
        <p:txBody>
          <a:bodyPr/>
          <a:lstStyle/>
          <a:p>
            <a:pPr marL="0" marR="0" lvl="0" indent="0" algn="l" defTabSz="966529" rtl="0" eaLnBrk="1" fontAlgn="auto" latinLnBrk="0" hangingPunct="1">
              <a:lnSpc>
                <a:spcPct val="100000"/>
              </a:lnSpc>
              <a:spcBef>
                <a:spcPts val="0"/>
              </a:spcBef>
              <a:spcAft>
                <a:spcPts val="0"/>
              </a:spcAft>
              <a:buClrTx/>
              <a:buSzTx/>
              <a:buFontTx/>
              <a:buNone/>
              <a:tabLst/>
              <a:defRPr/>
            </a:pPr>
            <a:r>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66211"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6529"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529" rtl="0" eaLnBrk="1" fontAlgn="auto" latinLnBrk="0" hangingPunct="1">
                <a:lnSpc>
                  <a:spcPct val="100000"/>
                </a:lnSpc>
                <a:spcBef>
                  <a:spcPts val="0"/>
                </a:spcBef>
                <a:spcAft>
                  <a:spcPts val="0"/>
                </a:spcAft>
                <a:buClrTx/>
                <a:buSzTx/>
                <a:buFontTx/>
                <a:buNone/>
                <a:tabLst/>
                <a:defRPr/>
              </a:pPr>
              <a:t>9/10/2019 11:23 PM</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652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529" rtl="0" eaLnBrk="1" fontAlgn="auto" latinLnBrk="0" hangingPunct="1">
                <a:lnSpc>
                  <a:spcPct val="100000"/>
                </a:lnSpc>
                <a:spcBef>
                  <a:spcPts val="0"/>
                </a:spcBef>
                <a:spcAft>
                  <a:spcPts val="0"/>
                </a:spcAft>
                <a:buClrTx/>
                <a:buSzTx/>
                <a:buFontTx/>
                <a:buNone/>
                <a:tabLst/>
                <a:defRPr/>
              </a:pPr>
              <a:t>34</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335047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45" indent="-177845">
              <a:buFont typeface="Arial" panose="020B0604020202020204" pitchFamily="34" charset="0"/>
              <a:buChar char="•"/>
            </a:pPr>
            <a:r>
              <a:rPr lang="en-US" sz="1200" dirty="0">
                <a:latin typeface="+mn-lt"/>
              </a:rPr>
              <a:t>Our approach to ML frameworks is simple. </a:t>
            </a:r>
          </a:p>
          <a:p>
            <a:pPr marL="177845" indent="-177845">
              <a:buFont typeface="Arial" panose="020B0604020202020204" pitchFamily="34" charset="0"/>
              <a:buChar char="•"/>
            </a:pPr>
            <a:r>
              <a:rPr lang="en-US" sz="1200" dirty="0">
                <a:latin typeface="+mn-lt"/>
              </a:rPr>
              <a:t>We give customers the flexibility to choose their deep learning framework, without getting locked one framework.</a:t>
            </a:r>
          </a:p>
          <a:p>
            <a:pPr marL="177845" indent="-177845">
              <a:buFont typeface="Arial" panose="020B0604020202020204" pitchFamily="34" charset="0"/>
              <a:buChar char="•"/>
            </a:pPr>
            <a:r>
              <a:rPr lang="en-US" sz="1200" dirty="0">
                <a:latin typeface="+mn-lt"/>
              </a:rPr>
              <a:t>To help with this we’ve created a community project in partnership with Facebook that allows customers to train in one framework and use another one for inference</a:t>
            </a:r>
          </a:p>
          <a:p>
            <a:r>
              <a:rPr lang="en-US" sz="1200" dirty="0">
                <a:latin typeface="+mn-lt"/>
              </a:rPr>
              <a:t> </a:t>
            </a:r>
          </a:p>
          <a:p>
            <a:r>
              <a:rPr lang="en-US" sz="1200" i="1" dirty="0">
                <a:latin typeface="+mn-lt"/>
              </a:rPr>
              <a:t>Now, let me move to the ML services on Azure</a:t>
            </a:r>
            <a:endParaRPr lang="en-US" i="1" dirty="0"/>
          </a:p>
        </p:txBody>
      </p:sp>
      <p:sp>
        <p:nvSpPr>
          <p:cNvPr id="4" name="Header Placeholder 3"/>
          <p:cNvSpPr>
            <a:spLocks noGrp="1"/>
          </p:cNvSpPr>
          <p:nvPr>
            <p:ph type="hdr" sz="quarter" idx="10"/>
          </p:nvPr>
        </p:nvSpPr>
        <p:spPr/>
        <p:txBody>
          <a:bodyPr/>
          <a:lstStyle/>
          <a:p>
            <a:pPr marL="0" marR="0" lvl="0" indent="0" algn="l" defTabSz="966529" rtl="0" eaLnBrk="1" fontAlgn="auto" latinLnBrk="0" hangingPunct="1">
              <a:lnSpc>
                <a:spcPct val="100000"/>
              </a:lnSpc>
              <a:spcBef>
                <a:spcPts val="0"/>
              </a:spcBef>
              <a:spcAft>
                <a:spcPts val="0"/>
              </a:spcAft>
              <a:buClrTx/>
              <a:buSzTx/>
              <a:buFontTx/>
              <a:buNone/>
              <a:tabLst/>
              <a:defRPr/>
            </a:pPr>
            <a:r>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66211"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6529"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529" rtl="0" eaLnBrk="1" fontAlgn="auto" latinLnBrk="0" hangingPunct="1">
                <a:lnSpc>
                  <a:spcPct val="100000"/>
                </a:lnSpc>
                <a:spcBef>
                  <a:spcPts val="0"/>
                </a:spcBef>
                <a:spcAft>
                  <a:spcPts val="0"/>
                </a:spcAft>
                <a:buClrTx/>
                <a:buSzTx/>
                <a:buFontTx/>
                <a:buNone/>
                <a:tabLst/>
                <a:defRPr/>
              </a:pPr>
              <a:t>9/10/2019 11:23 PM</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652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529" rtl="0" eaLnBrk="1" fontAlgn="auto" latinLnBrk="0" hangingPunct="1">
                <a:lnSpc>
                  <a:spcPct val="100000"/>
                </a:lnSpc>
                <a:spcBef>
                  <a:spcPts val="0"/>
                </a:spcBef>
                <a:spcAft>
                  <a:spcPts val="0"/>
                </a:spcAft>
                <a:buClrTx/>
                <a:buSzTx/>
                <a:buFontTx/>
                <a:buNone/>
                <a:tabLst/>
                <a:defRPr/>
              </a:pPr>
              <a:t>35</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74994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45" indent="-177845">
              <a:buFont typeface="Arial" panose="020B0604020202020204" pitchFamily="34" charset="0"/>
              <a:buChar char="•"/>
            </a:pPr>
            <a:r>
              <a:rPr lang="en-US" sz="1200">
                <a:latin typeface="+mn-lt"/>
              </a:rPr>
              <a:t>Our approach to ML frameworks is simple. </a:t>
            </a:r>
          </a:p>
          <a:p>
            <a:pPr marL="177845" indent="-177845">
              <a:buFont typeface="Arial" panose="020B0604020202020204" pitchFamily="34" charset="0"/>
              <a:buChar char="•"/>
            </a:pPr>
            <a:r>
              <a:rPr lang="en-US" sz="1200">
                <a:latin typeface="+mn-lt"/>
              </a:rPr>
              <a:t>We give customers the flexibility to choose their deep learning framework, without getting locked one framework.</a:t>
            </a:r>
          </a:p>
          <a:p>
            <a:pPr marL="177845" indent="-177845">
              <a:buFont typeface="Arial" panose="020B0604020202020204" pitchFamily="34" charset="0"/>
              <a:buChar char="•"/>
            </a:pPr>
            <a:r>
              <a:rPr lang="en-US" sz="1200">
                <a:latin typeface="+mn-lt"/>
              </a:rPr>
              <a:t>To help with this we’ve created a community project in partnership with Facebook that allows customers to train in one framework and use another one for inference</a:t>
            </a:r>
          </a:p>
          <a:p>
            <a:r>
              <a:rPr lang="en-US" sz="1200">
                <a:latin typeface="+mn-lt"/>
              </a:rPr>
              <a:t> </a:t>
            </a:r>
          </a:p>
          <a:p>
            <a:r>
              <a:rPr lang="en-US" sz="1200" i="1">
                <a:latin typeface="+mn-lt"/>
              </a:rPr>
              <a:t>Now, let me move to the ML services on Azure</a:t>
            </a:r>
            <a:endParaRPr lang="en-US" i="1"/>
          </a:p>
        </p:txBody>
      </p:sp>
      <p:sp>
        <p:nvSpPr>
          <p:cNvPr id="4" name="Header Placeholder 3"/>
          <p:cNvSpPr>
            <a:spLocks noGrp="1"/>
          </p:cNvSpPr>
          <p:nvPr>
            <p:ph type="hdr" sz="quarter" idx="10"/>
          </p:nvPr>
        </p:nvSpPr>
        <p:spPr/>
        <p:txBody>
          <a:bodyPr/>
          <a:lstStyle/>
          <a:p>
            <a:pPr marL="0" marR="0" lvl="0" indent="0" algn="l" defTabSz="966529" rtl="0" eaLnBrk="1" fontAlgn="auto" latinLnBrk="0" hangingPunct="1">
              <a:lnSpc>
                <a:spcPct val="100000"/>
              </a:lnSpc>
              <a:spcBef>
                <a:spcPts val="0"/>
              </a:spcBef>
              <a:spcAft>
                <a:spcPts val="0"/>
              </a:spcAft>
              <a:buClrTx/>
              <a:buSzTx/>
              <a:buFontTx/>
              <a:buNone/>
              <a:tabLst/>
              <a:defRPr/>
            </a:pPr>
            <a:r>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66211"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6529"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529" rtl="0" eaLnBrk="1" fontAlgn="auto" latinLnBrk="0" hangingPunct="1">
                <a:lnSpc>
                  <a:spcPct val="100000"/>
                </a:lnSpc>
                <a:spcBef>
                  <a:spcPts val="0"/>
                </a:spcBef>
                <a:spcAft>
                  <a:spcPts val="0"/>
                </a:spcAft>
                <a:buClrTx/>
                <a:buSzTx/>
                <a:buFontTx/>
                <a:buNone/>
                <a:tabLst/>
                <a:defRPr/>
              </a:pPr>
              <a:t>9/10/2019 11:23 PM</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652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529" rtl="0" eaLnBrk="1" fontAlgn="auto" latinLnBrk="0" hangingPunct="1">
                <a:lnSpc>
                  <a:spcPct val="100000"/>
                </a:lnSpc>
                <a:spcBef>
                  <a:spcPts val="0"/>
                </a:spcBef>
                <a:spcAft>
                  <a:spcPts val="0"/>
                </a:spcAft>
                <a:buClrTx/>
                <a:buSzTx/>
                <a:buFontTx/>
                <a:buNone/>
                <a:tabLst/>
                <a:defRPr/>
              </a:pPr>
              <a:t>36</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55986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spcAft>
                <a:spcPts val="622"/>
              </a:spcAft>
            </a:pPr>
            <a:r>
              <a:rPr lang="en-US" sz="1200" dirty="0">
                <a:gradFill>
                  <a:gsLst>
                    <a:gs pos="2917">
                      <a:schemeClr val="tx1"/>
                    </a:gs>
                    <a:gs pos="30000">
                      <a:schemeClr val="tx1"/>
                    </a:gs>
                  </a:gsLst>
                  <a:lin ang="5400000" scaled="0"/>
                </a:gradFill>
              </a:rPr>
              <a:t>Explain the inner workings of machine learning by analyzing the ML pipeline and all involved steps </a:t>
            </a:r>
          </a:p>
          <a:p>
            <a:pPr>
              <a:lnSpc>
                <a:spcPct val="150000"/>
              </a:lnSpc>
              <a:spcAft>
                <a:spcPts val="622"/>
              </a:spcAft>
            </a:pPr>
            <a:r>
              <a:rPr lang="en-US" sz="1200" dirty="0">
                <a:gradFill>
                  <a:gsLst>
                    <a:gs pos="2917">
                      <a:schemeClr val="tx1"/>
                    </a:gs>
                    <a:gs pos="30000">
                      <a:schemeClr val="tx1"/>
                    </a:gs>
                  </a:gsLst>
                  <a:lin ang="5400000" scaled="0"/>
                </a:gradFill>
              </a:rPr>
              <a:t>Analyze global feature importance on-demand before finalizing a model for deployment </a:t>
            </a:r>
          </a:p>
          <a:p>
            <a:pPr>
              <a:lnSpc>
                <a:spcPct val="150000"/>
              </a:lnSpc>
              <a:spcAft>
                <a:spcPts val="622"/>
              </a:spcAft>
            </a:pPr>
            <a:r>
              <a:rPr lang="en-US" sz="1200" dirty="0">
                <a:gradFill>
                  <a:gsLst>
                    <a:gs pos="2917">
                      <a:schemeClr val="tx1"/>
                    </a:gs>
                    <a:gs pos="30000">
                      <a:schemeClr val="tx1"/>
                    </a:gs>
                  </a:gsLst>
                  <a:lin ang="5400000" scaled="0"/>
                </a:gradFill>
              </a:rPr>
              <a:t>Enable model explain-ability for every automated ML iteration, not just the optimal model </a:t>
            </a:r>
          </a:p>
          <a:p>
            <a:endParaRPr lang="en-US" sz="1200" dirty="0">
              <a:latin typeface="+mn-lt"/>
            </a:endParaRPr>
          </a:p>
        </p:txBody>
      </p:sp>
      <p:sp>
        <p:nvSpPr>
          <p:cNvPr id="4" name="Slide Number Placeholder 3"/>
          <p:cNvSpPr>
            <a:spLocks noGrp="1"/>
          </p:cNvSpPr>
          <p:nvPr>
            <p:ph type="sldNum" sz="quarter" idx="5"/>
          </p:nvPr>
        </p:nvSpPr>
        <p:spPr/>
        <p:txBody>
          <a:bodyPr/>
          <a:lstStyle/>
          <a:p>
            <a:pPr marL="0" marR="0" lvl="0" indent="0" algn="r" defTabSz="948507" rtl="0" eaLnBrk="1" fontAlgn="auto" latinLnBrk="0" hangingPunct="1">
              <a:lnSpc>
                <a:spcPct val="100000"/>
              </a:lnSpc>
              <a:spcBef>
                <a:spcPts val="0"/>
              </a:spcBef>
              <a:spcAft>
                <a:spcPts val="0"/>
              </a:spcAft>
              <a:buClrTx/>
              <a:buSzTx/>
              <a:buFontTx/>
              <a:buNone/>
              <a:tabLst/>
              <a:defRPr/>
            </a:pPr>
            <a:fld id="{4A920B32-6D80-4A6C-84E7-947AB576993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850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56006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67533" rtl="0" eaLnBrk="1" fontAlgn="auto" latinLnBrk="0" hangingPunct="1">
              <a:lnSpc>
                <a:spcPct val="100000"/>
              </a:lnSpc>
              <a:spcBef>
                <a:spcPts val="0"/>
              </a:spcBef>
              <a:spcAft>
                <a:spcPts val="0"/>
              </a:spcAft>
              <a:buClrTx/>
              <a:buSzTx/>
              <a:buFontTx/>
              <a:buNone/>
              <a:tabLst/>
              <a:defRPr/>
            </a:pPr>
            <a:fld id="{DCE49D36-8E4E-4332-BFCB-3EBC396FCEC7}" type="slidenum">
              <a:rPr kumimoji="0" lang="en-US" alt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7533" rtl="0" eaLnBrk="1" fontAlgn="auto" latinLnBrk="0" hangingPunct="1">
                <a:lnSpc>
                  <a:spcPct val="100000"/>
                </a:lnSpc>
                <a:spcBef>
                  <a:spcPts val="0"/>
                </a:spcBef>
                <a:spcAft>
                  <a:spcPts val="0"/>
                </a:spcAft>
                <a:buClrTx/>
                <a:buSzTx/>
                <a:buFontTx/>
                <a:buNone/>
                <a:tabLst/>
                <a:defRPr/>
              </a:pPr>
              <a:t>39</a:t>
            </a:fld>
            <a:endParaRPr kumimoji="0" lang="en-US" alt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478570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45" indent="-177845" fontAlgn="base">
              <a:buFont typeface="Arial" panose="020B0604020202020204" pitchFamily="34" charset="0"/>
              <a:buChar char="•"/>
            </a:pPr>
            <a:r>
              <a:rPr lang="en-US" sz="1200">
                <a:latin typeface="+mn-lt"/>
              </a:rPr>
              <a:t>We have the most comprehensive AI infrastructure </a:t>
            </a:r>
          </a:p>
          <a:p>
            <a:pPr marL="177845" indent="-177845" fontAlgn="base">
              <a:buFont typeface="Arial" panose="020B0604020202020204" pitchFamily="34" charset="0"/>
              <a:buChar char="•"/>
            </a:pPr>
            <a:r>
              <a:rPr lang="en-US" sz="1200">
                <a:latin typeface="+mn-lt"/>
              </a:rPr>
              <a:t>From general purpose CPUs to specialized HW (FPGAs) </a:t>
            </a:r>
          </a:p>
          <a:p>
            <a:pPr marL="177845" indent="-177845" fontAlgn="base">
              <a:buFont typeface="Arial" panose="020B0604020202020204" pitchFamily="34" charset="0"/>
              <a:buChar char="•"/>
            </a:pPr>
            <a:r>
              <a:rPr lang="en-US" sz="1200">
                <a:latin typeface="+mn-lt"/>
              </a:rPr>
              <a:t>FPGA -&gt; lowest cost inferencing. Lower than Google’s TPUs </a:t>
            </a:r>
          </a:p>
          <a:p>
            <a:pPr marL="177845" indent="-177845" fontAlgn="base">
              <a:buFont typeface="Arial" panose="020B0604020202020204" pitchFamily="34" charset="0"/>
              <a:buChar char="•"/>
            </a:pPr>
            <a:r>
              <a:rPr lang="en-US" sz="1200">
                <a:latin typeface="+mn-lt"/>
              </a:rPr>
              <a:t>Most comprehensive set of GPU options so customers can choose the right one for their project. (best price/performance) </a:t>
            </a:r>
          </a:p>
          <a:p>
            <a:pPr rtl="0" fontAlgn="base"/>
            <a:r>
              <a:rPr lang="en-US" sz="1200">
                <a:latin typeface="+mn-lt"/>
              </a:rPr>
              <a:t> </a:t>
            </a:r>
          </a:p>
          <a:p>
            <a:pPr rtl="0" fontAlgn="base"/>
            <a:r>
              <a:rPr lang="en-US" sz="1200">
                <a:latin typeface="+mn-lt"/>
              </a:rPr>
              <a:t>&lt;Transition&gt; Let me move to the last part of our ML portfolio.  </a:t>
            </a:r>
          </a:p>
          <a:p>
            <a:endParaRPr lang="en-US"/>
          </a:p>
        </p:txBody>
      </p:sp>
      <p:sp>
        <p:nvSpPr>
          <p:cNvPr id="4" name="Header Placeholder 3"/>
          <p:cNvSpPr>
            <a:spLocks noGrp="1"/>
          </p:cNvSpPr>
          <p:nvPr>
            <p:ph type="hdr" sz="quarter" idx="10"/>
          </p:nvPr>
        </p:nvSpPr>
        <p:spPr/>
        <p:txBody>
          <a:bodyPr/>
          <a:lstStyle/>
          <a:p>
            <a:pPr marL="0" marR="0" lvl="0" indent="0" algn="l" defTabSz="966529" rtl="0" eaLnBrk="1" fontAlgn="auto" latinLnBrk="0" hangingPunct="1">
              <a:lnSpc>
                <a:spcPct val="100000"/>
              </a:lnSpc>
              <a:spcBef>
                <a:spcPts val="0"/>
              </a:spcBef>
              <a:spcAft>
                <a:spcPts val="0"/>
              </a:spcAft>
              <a:buClrTx/>
              <a:buSzTx/>
              <a:buFontTx/>
              <a:buNone/>
              <a:tabLst/>
              <a:defRPr/>
            </a:pPr>
            <a:r>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66211"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6529"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529" rtl="0" eaLnBrk="1" fontAlgn="auto" latinLnBrk="0" hangingPunct="1">
                <a:lnSpc>
                  <a:spcPct val="100000"/>
                </a:lnSpc>
                <a:spcBef>
                  <a:spcPts val="0"/>
                </a:spcBef>
                <a:spcAft>
                  <a:spcPts val="0"/>
                </a:spcAft>
                <a:buClrTx/>
                <a:buSzTx/>
                <a:buFontTx/>
                <a:buNone/>
                <a:tabLst/>
                <a:defRPr/>
              </a:pPr>
              <a:t>9/10/2019 11:23 PM</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652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529" rtl="0" eaLnBrk="1" fontAlgn="auto" latinLnBrk="0" hangingPunct="1">
                <a:lnSpc>
                  <a:spcPct val="100000"/>
                </a:lnSpc>
                <a:spcBef>
                  <a:spcPts val="0"/>
                </a:spcBef>
                <a:spcAft>
                  <a:spcPts val="0"/>
                </a:spcAft>
                <a:buClrTx/>
                <a:buSzTx/>
                <a:buFontTx/>
                <a:buNone/>
                <a:tabLst/>
                <a:defRPr/>
              </a:pPr>
              <a:t>41</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06076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8507">
              <a:lnSpc>
                <a:spcPct val="100000"/>
              </a:lnSpc>
              <a:spcAft>
                <a:spcPts val="0"/>
              </a:spcAft>
              <a:defRPr/>
            </a:pPr>
            <a:r>
              <a:rPr lang="en-US" dirty="0"/>
              <a:t>Here is the data scientist’s inner loop of work</a:t>
            </a:r>
          </a:p>
          <a:p>
            <a:endParaRPr lang="en-US" dirty="0"/>
          </a:p>
        </p:txBody>
      </p:sp>
      <p:sp>
        <p:nvSpPr>
          <p:cNvPr id="4" name="Slide Number Placeholder 3"/>
          <p:cNvSpPr>
            <a:spLocks noGrp="1"/>
          </p:cNvSpPr>
          <p:nvPr>
            <p:ph type="sldNum" sz="quarter" idx="5"/>
          </p:nvPr>
        </p:nvSpPr>
        <p:spPr/>
        <p:txBody>
          <a:bodyPr/>
          <a:lstStyle/>
          <a:p>
            <a:pPr marL="0" marR="0" lvl="0" indent="0" algn="r" defTabSz="967533"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7533"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92630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8507">
              <a:lnSpc>
                <a:spcPct val="100000"/>
              </a:lnSpc>
              <a:spcAft>
                <a:spcPts val="0"/>
              </a:spcAft>
              <a:defRPr/>
            </a:pPr>
            <a:r>
              <a:rPr lang="en-US" dirty="0"/>
              <a:t>Here is the data scientist’s inner loop of work</a:t>
            </a:r>
          </a:p>
          <a:p>
            <a:endParaRPr lang="en-US" dirty="0"/>
          </a:p>
        </p:txBody>
      </p:sp>
      <p:sp>
        <p:nvSpPr>
          <p:cNvPr id="4" name="Slide Number Placeholder 3"/>
          <p:cNvSpPr>
            <a:spLocks noGrp="1"/>
          </p:cNvSpPr>
          <p:nvPr>
            <p:ph type="sldNum" sz="quarter" idx="5"/>
          </p:nvPr>
        </p:nvSpPr>
        <p:spPr/>
        <p:txBody>
          <a:bodyPr/>
          <a:lstStyle/>
          <a:p>
            <a:pPr marL="0" marR="0" lvl="0" indent="0" algn="r" defTabSz="967533"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7533"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095688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uces the complexity of IoT solutions with a fully managed SaaS offering for customers and partners that enables powerful IoT scenarios without requiring cloud solution expertise.</a:t>
            </a:r>
          </a:p>
          <a:p>
            <a:endParaRPr lang="en-US"/>
          </a:p>
          <a:p>
            <a:r>
              <a:rPr lang="en-US"/>
              <a:t>Simplifies the development process and makes it easy and fast for customers to get started, making digital transformation more accessible to everyone.</a:t>
            </a:r>
          </a:p>
          <a:p>
            <a:endParaRPr lang="en-US"/>
          </a:p>
          <a:p>
            <a:r>
              <a:rPr lang="en-US"/>
              <a:t>Available along with our existing platform-as-a-service (PaaS) solution, Azure IoT solution accelerators which enables deep customization and full control. </a:t>
            </a:r>
          </a:p>
          <a:p>
            <a:endParaRPr lang="en-US"/>
          </a:p>
          <a:p>
            <a:r>
              <a:rPr lang="en-US"/>
              <a:t>List from Ignite:</a:t>
            </a:r>
          </a:p>
          <a:p>
            <a:pPr marL="171450" marR="0" lvl="0" indent="-171450" algn="l" defTabSz="931969"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w="3175">
                  <a:noFill/>
                </a:ln>
                <a:solidFill>
                  <a:prstClr val="black"/>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Fully managed SaaS solution</a:t>
            </a:r>
          </a:p>
          <a:p>
            <a:pPr marL="171450" marR="0" lvl="0" indent="-171450" algn="l" defTabSz="931969"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w="3175">
                  <a:noFill/>
                </a:ln>
                <a:solidFill>
                  <a:prstClr val="black"/>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No cloud expertise required</a:t>
            </a:r>
          </a:p>
          <a:p>
            <a:pPr marL="171450" marR="0" lvl="0" indent="-171450" algn="l" defTabSz="931969"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w="3175">
                  <a:noFill/>
                </a:ln>
                <a:solidFill>
                  <a:prstClr val="black"/>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Built in security best practices</a:t>
            </a:r>
          </a:p>
          <a:p>
            <a:pPr marL="171450" marR="0" lvl="0" indent="-171450" algn="l" defTabSz="931969"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w="3175">
                  <a:noFill/>
                </a:ln>
                <a:solidFill>
                  <a:prstClr val="black"/>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New extensibility features</a:t>
            </a:r>
          </a:p>
          <a:p>
            <a:pPr marL="171450" marR="0" lvl="0" indent="-171450" algn="l" defTabSz="931969" rtl="0" eaLnBrk="1" fontAlgn="auto" latinLnBrk="0" hangingPunct="1">
              <a:lnSpc>
                <a:spcPct val="100000"/>
              </a:lnSpc>
              <a:spcBef>
                <a:spcPct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w="3175">
                  <a:noFill/>
                </a:ln>
                <a:solidFill>
                  <a:prstClr val="black"/>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Transparent and predictable per device pricing</a:t>
            </a:r>
          </a:p>
          <a:p>
            <a:endParaRPr lang="en-US"/>
          </a:p>
          <a:p>
            <a:endParaRPr lang="en-US"/>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a:effectLst/>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effectLst/>
              </a:rPr>
              <a:t>--------------------------------------------------------------------</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a:effectLs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effectLst/>
              </a:rPr>
              <a:t>Azure IoT Central is a market differentiating first SaaS offering for IoT by a hyperscale cloud provider designed to make IoT simple and accessible to large number of customers </a:t>
            </a:r>
            <a:r>
              <a:rPr lang="en-US" sz="1200" kern="1200">
                <a:solidFill>
                  <a:schemeClr val="tx1"/>
                </a:solidFill>
                <a:effectLst/>
                <a:latin typeface="+mn-lt"/>
                <a:ea typeface="+mn-ea"/>
                <a:cs typeface="+mn-cs"/>
              </a:rPr>
              <a:t>who want to take advantage of IoT without knowing anything about the clou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effectLst/>
              </a:rPr>
              <a:t>Built on the Microsoft Cloud, Azure IoT Central is a Software-as-a-Service (SaaS) solution, designed to enable the rapid innovation, design, configuration and integration of smart products with enterprise-grade systems and applications to reduce product manufacturer’s go-to-market cycle and increase the speed at which they can innovate, so they can stay ahead of their competition and deliver smart products that delight their customers.</a:t>
            </a:r>
            <a:endParaRPr lang="en-US">
              <a:effectLs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mn-ea"/>
                <a:cs typeface="+mn-cs"/>
              </a:rPr>
              <a:t>With IoT Central, we harness the key complexities of </a:t>
            </a:r>
            <a:r>
              <a:rPr lang="en-US" sz="1200" b="1" kern="1200">
                <a:solidFill>
                  <a:schemeClr val="tx1"/>
                </a:solidFill>
                <a:effectLst/>
                <a:latin typeface="+mn-lt"/>
                <a:ea typeface="+mn-ea"/>
                <a:cs typeface="+mn-cs"/>
              </a:rPr>
              <a:t>operating, managing, securing and scaling</a:t>
            </a:r>
            <a:r>
              <a:rPr lang="en-US" sz="1200" kern="1200">
                <a:solidFill>
                  <a:schemeClr val="tx1"/>
                </a:solidFill>
                <a:effectLst/>
                <a:latin typeface="+mn-lt"/>
                <a:ea typeface="+mn-ea"/>
                <a:cs typeface="+mn-cs"/>
              </a:rPr>
              <a:t> an IoT solution so customers can get results fast bring their connected product vision to life faster, without requiring cloud solution expertis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mn-ea"/>
                <a:cs typeface="+mn-cs"/>
              </a:rPr>
              <a:t>Connect devices, set monitoring rules over your devices and get results fast by leveraging a fully-managed solution with built-in analytics for quick insights.</a:t>
            </a:r>
          </a:p>
          <a:p>
            <a:pPr marL="171450" indent="-171450">
              <a:buFont typeface="Arial" panose="020B0604020202020204" pitchFamily="34" charset="0"/>
              <a:buChar char="•"/>
            </a:pPr>
            <a:r>
              <a:rPr lang="en-US" sz="1200" kern="1200">
                <a:solidFill>
                  <a:schemeClr val="tx1"/>
                </a:solidFill>
                <a:effectLst/>
                <a:latin typeface="+mn-lt"/>
                <a:ea typeface="+mn-ea"/>
                <a:cs typeface="+mn-cs"/>
              </a:rPr>
              <a:t>Azure IoT Central enables manufacturers to create a true digital representation of their products by modelling and connecting their products, collecting and analyzing data they send, and integrating with backend business proces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tx1"/>
              </a:solidFill>
              <a:effectLst/>
              <a:latin typeface="+mn-lt"/>
              <a:ea typeface="+mn-ea"/>
              <a:cs typeface="+mn-cs"/>
            </a:endParaRPr>
          </a:p>
          <a:p>
            <a:pPr marL="0" indent="0">
              <a:buFontTx/>
              <a:buNone/>
            </a:pPr>
            <a:r>
              <a:rPr lang="en-US" b="1"/>
              <a:t>Auto scaling</a:t>
            </a:r>
          </a:p>
          <a:p>
            <a:pPr marL="628650" lvl="1" indent="-171450">
              <a:buFontTx/>
              <a:buChar char="-"/>
            </a:pPr>
            <a:r>
              <a:rPr lang="en-US"/>
              <a:t>IoT Hub is a cutting edge IoT service to ingest massive amount of IoT data</a:t>
            </a:r>
          </a:p>
          <a:p>
            <a:pPr marL="628650" lvl="1" indent="-171450">
              <a:buFontTx/>
              <a:buChar char="-"/>
            </a:pPr>
            <a:r>
              <a:rPr lang="en-US"/>
              <a:t>If 1 device, certain scale. if a million, manual or code to scale</a:t>
            </a:r>
          </a:p>
          <a:p>
            <a:pPr marL="628650" lvl="1" indent="-171450">
              <a:buFontTx/>
              <a:buChar char="-"/>
            </a:pPr>
            <a:r>
              <a:rPr lang="en-US"/>
              <a:t>we handle this, we scale not only the Hub but all the underlying tech</a:t>
            </a:r>
          </a:p>
          <a:p>
            <a:pPr marL="628650" lvl="1" indent="-171450">
              <a:buFontTx/>
              <a:buChar char="-"/>
            </a:pPr>
            <a:endParaRPr lang="en-US"/>
          </a:p>
          <a:p>
            <a:pPr marL="0" lvl="0" indent="0">
              <a:buFontTx/>
              <a:buNone/>
            </a:pPr>
            <a:r>
              <a:rPr lang="en-US" b="1"/>
              <a:t>Extensibil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In addition to the recently announced set of </a:t>
            </a:r>
            <a:r>
              <a:rPr lang="en-US" sz="1200" u="sng" kern="1200">
                <a:solidFill>
                  <a:schemeClr val="tx1"/>
                </a:solidFill>
                <a:effectLst/>
                <a:latin typeface="+mn-lt"/>
                <a:ea typeface="+mn-ea"/>
                <a:cs typeface="+mn-cs"/>
                <a:hlinkClick r:id="rId3"/>
              </a:rPr>
              <a:t>extensibility features</a:t>
            </a:r>
            <a:r>
              <a:rPr lang="en-US" sz="1200" kern="1200">
                <a:solidFill>
                  <a:schemeClr val="tx1"/>
                </a:solidFill>
                <a:effectLst/>
                <a:latin typeface="+mn-lt"/>
                <a:ea typeface="+mn-ea"/>
                <a:cs typeface="+mn-cs"/>
              </a:rPr>
              <a:t>, customers can now use Azure Functions to trigger serverless workflows that execute business logic without the need for setting up custom applications or infrastructure. The IoT Central connector for Microsoft Flow opens up hundreds of published connectors for no-code integrations to enable powerful scenarios like Connected Field Service (CFS) that help reduce costly scheduled maintenance by proactively detecting and resolving issues.</a:t>
            </a:r>
          </a:p>
          <a:p>
            <a:pPr marL="0" lvl="0" indent="0">
              <a:buFontTx/>
              <a:buNone/>
            </a:pPr>
            <a:endParaRPr lang="en-US"/>
          </a:p>
          <a:p>
            <a:pPr marL="0" lvl="0" indent="0">
              <a:buFontTx/>
              <a:buNone/>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Additional features worth calling out &lt;not included in slide bullets&gt;</a:t>
            </a:r>
          </a:p>
          <a:p>
            <a:pPr marL="171450" lvl="0" indent="-171450">
              <a:buFontTx/>
              <a:buChar char="-"/>
            </a:pPr>
            <a:r>
              <a:rPr lang="en-US"/>
              <a:t>ARM template: create solutions larger than </a:t>
            </a:r>
            <a:r>
              <a:rPr lang="en-US" err="1"/>
              <a:t>IoTC</a:t>
            </a:r>
            <a:r>
              <a:rPr lang="en-US"/>
              <a:t> and deploy everything at once in marketplace or within your specific app</a:t>
            </a:r>
          </a:p>
          <a:p>
            <a:pPr marL="171450" lvl="0" indent="-171450">
              <a:buFontTx/>
              <a:buChar char="-"/>
            </a:pPr>
            <a:r>
              <a:rPr lang="en-US" err="1"/>
              <a:t>IoTC</a:t>
            </a:r>
            <a:r>
              <a:rPr lang="en-US"/>
              <a:t> has Single-Sign-On so you use a single account to benefit from services across Azure and Office</a:t>
            </a:r>
          </a:p>
          <a:p>
            <a:pPr marL="171450" lvl="0" indent="-171450">
              <a:buFontTx/>
              <a:buChar char="-"/>
            </a:pPr>
            <a:r>
              <a:rPr lang="en-US"/>
              <a:t>Transparent and predictable pricing - price per device: makes it super easy to understand and plan cost of IoT solution</a:t>
            </a:r>
          </a:p>
          <a:p>
            <a:r>
              <a:rPr lang="en-US"/>
              <a:t>-   Free trial: no need for Azure subscription</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661584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653834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 important factor in selecting a company to work with in creating an IoT solution is their customer portfolio and how they have been able to bring IoT to life for their customers. Azure IoT customers span many industries and scenarios. </a:t>
            </a:r>
          </a:p>
          <a:p>
            <a:endParaRPr lang="en-US"/>
          </a:p>
          <a:p>
            <a:r>
              <a:rPr lang="en-US"/>
              <a:t>Let’s take a look at some of the examples with these demo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7292232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2396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205">
              <a:lnSpc>
                <a:spcPct val="90000"/>
              </a:lnSpc>
              <a:spcAft>
                <a:spcPts val="600"/>
              </a:spcAft>
              <a:defRPr/>
            </a:pPr>
            <a:r>
              <a:rPr lang="en-US" sz="1200" kern="0">
                <a:latin typeface="Segoe UI Light"/>
              </a:rPr>
              <a:t> </a:t>
            </a:r>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29672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A9D2FCC9-2ED6-40BE-B585-74722D74E164}"/>
              </a:ext>
            </a:extLst>
          </p:cNvPr>
          <p:cNvSpPr>
            <a:spLocks noGrp="1"/>
          </p:cNvSpPr>
          <p:nvPr>
            <p:ph type="body" idx="1"/>
          </p:nvPr>
        </p:nvSpPr>
        <p:spPr/>
        <p:txBody>
          <a:bodyPr/>
          <a:lstStyle/>
          <a:p>
            <a:r>
              <a:rPr lang="en-US" sz="1200" kern="1200">
                <a:solidFill>
                  <a:schemeClr val="tx1"/>
                </a:solidFill>
                <a:effectLst/>
                <a:latin typeface="+mn-lt"/>
                <a:ea typeface="+mn-ea"/>
                <a:cs typeface="+mn-cs"/>
              </a:rPr>
              <a:t> </a:t>
            </a:r>
          </a:p>
          <a:p>
            <a:endParaRPr lang="en-US"/>
          </a:p>
        </p:txBody>
      </p:sp>
    </p:spTree>
    <p:extLst>
      <p:ext uri="{BB962C8B-B14F-4D97-AF65-F5344CB8AC3E}">
        <p14:creationId xmlns:p14="http://schemas.microsoft.com/office/powerpoint/2010/main" val="18923550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13913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0DDCC18-5A0B-504D-8CCE-4D3433E3ADB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87918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lang="en-US"/>
              <a:t>Talk about IoT Hub device management and IoT Hub Device Provisioning Service in the context of device lifecycle.</a:t>
            </a:r>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438663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86002">
              <a:defRPr/>
            </a:pPr>
            <a:fld id="{0DBB4822-08FA-4ACE-A0FE-23159A244C4B}" type="slidenum">
              <a:rPr lang="en-US">
                <a:solidFill>
                  <a:prstClr val="black"/>
                </a:solidFill>
              </a:rPr>
              <a:pPr defTabSz="986002">
                <a:defRPr/>
              </a:pPr>
              <a:t>55</a:t>
            </a:fld>
            <a:endParaRPr lang="en-US">
              <a:solidFill>
                <a:prstClr val="black"/>
              </a:solidFill>
            </a:endParaRPr>
          </a:p>
        </p:txBody>
      </p:sp>
    </p:spTree>
    <p:extLst>
      <p:ext uri="{BB962C8B-B14F-4D97-AF65-F5344CB8AC3E}">
        <p14:creationId xmlns:p14="http://schemas.microsoft.com/office/powerpoint/2010/main" val="394476644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563367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600258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1855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0DDCC18-5A0B-504D-8CCE-4D3433E3AD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442851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633E1FF-1329-4EEF-BF00-ED2310E0CD12}" type="slidenum">
              <a:rPr lang="en-US" smtClean="0"/>
              <a:t>59</a:t>
            </a:fld>
            <a:endParaRPr lang="en-US"/>
          </a:p>
        </p:txBody>
      </p:sp>
    </p:spTree>
    <p:extLst>
      <p:ext uri="{BB962C8B-B14F-4D97-AF65-F5344CB8AC3E}">
        <p14:creationId xmlns:p14="http://schemas.microsoft.com/office/powerpoint/2010/main" val="31317016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a:t>An intelligent edge </a:t>
            </a:r>
            <a:r>
              <a:rPr lang="en-US" sz="800"/>
              <a:t>is a set of connected systems and devices that gather and analyze data closest to where users/data reside to deliver real-time insights and experiences that are highly responsive and contextually aware.  The </a:t>
            </a:r>
            <a:r>
              <a:rPr lang="en-US" sz="800" b="1"/>
              <a:t>intelligent cloud </a:t>
            </a:r>
            <a:r>
              <a:rPr lang="en-US" sz="800"/>
              <a:t>exists to ingest, store, analyze and route data and derived insights in a public cloud environment that provides scale, value and security to customers.</a:t>
            </a:r>
          </a:p>
          <a:p>
            <a:endParaRPr lang="en-US" sz="800" b="1"/>
          </a:p>
          <a:p>
            <a:r>
              <a:rPr lang="en-US" sz="800" b="1"/>
              <a:t>Going forward, companies will need a ubiquitous computing fabric from the cloud to the edge. </a:t>
            </a:r>
            <a:r>
              <a:rPr lang="en-US" sz="800"/>
              <a:t>That's what we're building with Azure.</a:t>
            </a:r>
            <a:endParaRPr lang="en-US" sz="800">
              <a:cs typeface="Calibri"/>
            </a:endParaRPr>
          </a:p>
          <a:p>
            <a:endParaRPr lang="en-US" sz="800"/>
          </a:p>
          <a:p>
            <a:r>
              <a:rPr lang="en-US" sz="800"/>
              <a:t>Azure is being built as the world's computer.  It already has 50-plus regions, 70-plus certifications, more regions and more certifications than any other public cloud.  And that's so that we can meet the real world needs of customers, their digitally sovereignty needs, their regulatory needs.</a:t>
            </a:r>
            <a:endParaRPr lang="en-US" sz="800">
              <a:cs typeface="Calibri"/>
            </a:endParaRPr>
          </a:p>
          <a:p>
            <a:endParaRPr lang="en-US" sz="800"/>
          </a:p>
          <a:p>
            <a:pPr defTabSz="931774">
              <a:defRPr/>
            </a:pPr>
            <a:r>
              <a:rPr lang="en-US" sz="800"/>
              <a:t>But we're not stopping there.  In fact, as computing spreads, as there is need for computing at the edge, we are building out Azure, Azure Sphere, Azure IoT edge, Windows 10 IoT, Windows, Windows Server, as this one computing fabric.</a:t>
            </a:r>
            <a:endParaRPr lang="en-US" sz="800">
              <a:cs typeface="Calibri"/>
            </a:endParaRPr>
          </a:p>
          <a:p>
            <a:pPr defTabSz="931774">
              <a:lnSpc>
                <a:spcPct val="100000"/>
              </a:lnSpc>
              <a:spcAft>
                <a:spcPts val="0"/>
              </a:spcAft>
              <a:defRPr/>
            </a:pPr>
            <a:endParaRPr lang="en-US" sz="800"/>
          </a:p>
          <a:p>
            <a:pPr defTabSz="931774">
              <a:lnSpc>
                <a:spcPct val="100000"/>
              </a:lnSpc>
              <a:spcAft>
                <a:spcPts val="0"/>
              </a:spcAft>
              <a:defRPr/>
            </a:pPr>
            <a:r>
              <a:rPr lang="en-US" sz="800" b="1"/>
              <a:t>We are talking about computing from the smallest chip to the largest server. We think about it as a continuum of devices that we can design, build and sell together.</a:t>
            </a:r>
            <a:endParaRPr lang="en-US" sz="800"/>
          </a:p>
          <a:p>
            <a:endParaRPr lang="en-US" sz="80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0/2019 11: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7180904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baseline="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4137CCA-1DE2-48CC-8594-4DCB087C682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0/2019 11: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4814198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Speaker notes:</a:t>
            </a:r>
          </a:p>
          <a:p>
            <a:pPr marL="0" marR="0" lvl="0" indent="0" algn="l" defTabSz="932688"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At the core an IoT application consists of the following subsystems: 1) </a:t>
            </a:r>
            <a:r>
              <a:rPr lang="en-US" sz="1200" b="1" kern="1200">
                <a:solidFill>
                  <a:schemeClr val="tx1"/>
                </a:solidFill>
                <a:effectLst/>
                <a:latin typeface="+mn-lt"/>
                <a:ea typeface="+mn-ea"/>
                <a:cs typeface="+mn-cs"/>
              </a:rPr>
              <a:t>devices</a:t>
            </a:r>
            <a:r>
              <a:rPr lang="en-US" sz="1200" kern="1200">
                <a:solidFill>
                  <a:schemeClr val="tx1"/>
                </a:solidFill>
                <a:effectLst/>
                <a:latin typeface="+mn-lt"/>
                <a:ea typeface="+mn-ea"/>
                <a:cs typeface="+mn-cs"/>
              </a:rPr>
              <a:t> (and/or on premise edge gateways) that have the ability to securely register with the cloud, and connectivity options for sending and receiving data with the cloud, 2) a cloud gateway service, or </a:t>
            </a:r>
            <a:r>
              <a:rPr lang="en-US" sz="1200" b="1" kern="1200">
                <a:solidFill>
                  <a:schemeClr val="tx1"/>
                </a:solidFill>
                <a:effectLst/>
                <a:latin typeface="+mn-lt"/>
                <a:ea typeface="+mn-ea"/>
                <a:cs typeface="+mn-cs"/>
              </a:rPr>
              <a:t>hub</a:t>
            </a:r>
            <a:r>
              <a:rPr lang="en-US" sz="1200" kern="1200">
                <a:solidFill>
                  <a:schemeClr val="tx1"/>
                </a:solidFill>
                <a:effectLst/>
                <a:latin typeface="+mn-lt"/>
                <a:ea typeface="+mn-ea"/>
                <a:cs typeface="+mn-cs"/>
              </a:rPr>
              <a:t>, to securely accept that data and provide device management capabilities, 3)  </a:t>
            </a:r>
            <a:r>
              <a:rPr lang="en-US" sz="1200" b="1" kern="1200">
                <a:solidFill>
                  <a:schemeClr val="tx1"/>
                </a:solidFill>
                <a:effectLst/>
                <a:latin typeface="+mn-lt"/>
                <a:ea typeface="+mn-ea"/>
                <a:cs typeface="+mn-cs"/>
              </a:rPr>
              <a:t>stream processors</a:t>
            </a:r>
            <a:r>
              <a:rPr lang="en-US" sz="1200" kern="1200">
                <a:solidFill>
                  <a:schemeClr val="tx1"/>
                </a:solidFill>
                <a:effectLst/>
                <a:latin typeface="+mn-lt"/>
                <a:ea typeface="+mn-ea"/>
                <a:cs typeface="+mn-cs"/>
              </a:rPr>
              <a:t> that consume that data, integrate with </a:t>
            </a:r>
            <a:r>
              <a:rPr lang="en-US" sz="1200" b="1" kern="1200">
                <a:solidFill>
                  <a:schemeClr val="tx1"/>
                </a:solidFill>
                <a:effectLst/>
                <a:latin typeface="+mn-lt"/>
                <a:ea typeface="+mn-ea"/>
                <a:cs typeface="+mn-cs"/>
              </a:rPr>
              <a:t>business processes</a:t>
            </a:r>
            <a:r>
              <a:rPr lang="en-US" sz="1200" kern="1200">
                <a:solidFill>
                  <a:schemeClr val="tx1"/>
                </a:solidFill>
                <a:effectLst/>
                <a:latin typeface="+mn-lt"/>
                <a:ea typeface="+mn-ea"/>
                <a:cs typeface="+mn-cs"/>
              </a:rPr>
              <a:t>, and place the data into </a:t>
            </a:r>
            <a:r>
              <a:rPr lang="en-US" sz="1200" b="1" kern="1200">
                <a:solidFill>
                  <a:schemeClr val="tx1"/>
                </a:solidFill>
                <a:effectLst/>
                <a:latin typeface="+mn-lt"/>
                <a:ea typeface="+mn-ea"/>
                <a:cs typeface="+mn-cs"/>
              </a:rPr>
              <a:t>storage</a:t>
            </a:r>
            <a:r>
              <a:rPr lang="en-US" sz="1200" kern="1200">
                <a:solidFill>
                  <a:schemeClr val="tx1"/>
                </a:solidFill>
                <a:effectLst/>
                <a:latin typeface="+mn-lt"/>
                <a:ea typeface="+mn-ea"/>
                <a:cs typeface="+mn-cs"/>
              </a:rPr>
              <a:t>, and 4) a </a:t>
            </a:r>
            <a:r>
              <a:rPr lang="en-US" sz="1200" b="1" kern="1200">
                <a:solidFill>
                  <a:schemeClr val="tx1"/>
                </a:solidFill>
                <a:effectLst/>
                <a:latin typeface="+mn-lt"/>
                <a:ea typeface="+mn-ea"/>
                <a:cs typeface="+mn-cs"/>
              </a:rPr>
              <a:t>user interface</a:t>
            </a:r>
            <a:r>
              <a:rPr lang="en-US" sz="1200" kern="1200">
                <a:solidFill>
                  <a:schemeClr val="tx1"/>
                </a:solidFill>
                <a:effectLst/>
                <a:latin typeface="+mn-lt"/>
                <a:ea typeface="+mn-ea"/>
                <a:cs typeface="+mn-cs"/>
              </a:rPr>
              <a:t> to visualize telemetry data and facilitate device management.   </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5157354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b="0" dirty="0"/>
              <a:t>Azure IoT is a fully extensible solution in every part (Things, Insights, Action)</a:t>
            </a:r>
          </a:p>
          <a:p>
            <a:endParaRPr lang="en-US" b="0" dirty="0"/>
          </a:p>
          <a:p>
            <a:r>
              <a:rPr lang="en-US" b="0" u="sng" dirty="0"/>
              <a:t>Acronyms</a:t>
            </a:r>
          </a:p>
          <a:p>
            <a:r>
              <a:rPr lang="en-US" b="0" dirty="0"/>
              <a:t>AAD: Azure Active Directory</a:t>
            </a:r>
          </a:p>
          <a:p>
            <a:r>
              <a:rPr lang="en-US" b="0" dirty="0"/>
              <a:t>AMQP: </a:t>
            </a:r>
            <a:r>
              <a:rPr lang="en-US" sz="1200" b="0" i="0" u="none" strike="noStrike" kern="1200" dirty="0">
                <a:solidFill>
                  <a:schemeClr val="tx1"/>
                </a:solidFill>
                <a:effectLst/>
                <a:latin typeface="+mn-lt"/>
                <a:ea typeface="+mn-ea"/>
                <a:cs typeface="+mn-cs"/>
              </a:rPr>
              <a:t>Advanced Message Queuing Protocol </a:t>
            </a:r>
            <a:endParaRPr lang="en-US" b="0" dirty="0"/>
          </a:p>
          <a:p>
            <a:r>
              <a:rPr lang="en-US" b="0" dirty="0"/>
              <a:t>HTTP: </a:t>
            </a:r>
            <a:r>
              <a:rPr lang="en-US" sz="1200" b="0" i="0" u="none" strike="noStrike" kern="1200" dirty="0">
                <a:solidFill>
                  <a:schemeClr val="tx1"/>
                </a:solidFill>
                <a:effectLst/>
                <a:latin typeface="+mn-lt"/>
                <a:ea typeface="+mn-ea"/>
                <a:cs typeface="+mn-cs"/>
              </a:rPr>
              <a:t>Hypertext Transfer Protocol</a:t>
            </a:r>
            <a:endParaRPr lang="en-US" b="0" dirty="0"/>
          </a:p>
          <a:p>
            <a:r>
              <a:rPr lang="en-US" b="0" dirty="0"/>
              <a:t>MCU: Memory Control Unit</a:t>
            </a:r>
          </a:p>
          <a:p>
            <a:r>
              <a:rPr lang="en-US" b="0" dirty="0"/>
              <a:t>MQTT: </a:t>
            </a:r>
            <a:r>
              <a:rPr lang="en-US" sz="1200" b="0" i="0" u="none" strike="noStrike" kern="1200" dirty="0">
                <a:solidFill>
                  <a:schemeClr val="tx1"/>
                </a:solidFill>
                <a:effectLst/>
                <a:latin typeface="+mn-lt"/>
                <a:ea typeface="+mn-ea"/>
                <a:cs typeface="+mn-cs"/>
              </a:rPr>
              <a:t>machine-to-machine (M2M)/Internet of Things</a:t>
            </a:r>
            <a:endParaRPr lang="en-US" b="0" dirty="0"/>
          </a:p>
          <a:p>
            <a:r>
              <a:rPr lang="en-US" b="0" dirty="0"/>
              <a:t>OS: Operating System</a:t>
            </a:r>
          </a:p>
          <a:p>
            <a:r>
              <a:rPr lang="en-US" b="0" dirty="0"/>
              <a:t>RTOS: Real Time Operating Syste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00922B-1719-4931-9625-64F12E73284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824448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b="0" dirty="0"/>
              <a:t>We saw in the previous slide the flexibility and extensibility of Insight IoT. This is what is included in Insight IoT to help you begin your journey.</a:t>
            </a:r>
          </a:p>
          <a:p>
            <a:endParaRPr lang="en-US" b="0" dirty="0"/>
          </a:p>
          <a:p>
            <a:r>
              <a:rPr lang="en-US" b="0" dirty="0"/>
              <a:t>Considering additional values</a:t>
            </a:r>
          </a:p>
          <a:p>
            <a:endParaRPr lang="en-US" b="0" dirty="0"/>
          </a:p>
          <a:p>
            <a:r>
              <a:rPr lang="en-US" b="0" dirty="0"/>
              <a:t>NOTE: Azure IoT Edge can be added as a custom addon to the offer more information is available at </a:t>
            </a:r>
            <a:r>
              <a:rPr lang="en-US" b="0" u="sng" dirty="0"/>
              <a:t>https://aka.ms/insightiot-wiki-custom </a:t>
            </a:r>
          </a:p>
          <a:p>
            <a:endParaRPr lang="en-US" b="0" dirty="0"/>
          </a:p>
          <a:p>
            <a:endParaRPr lang="en-US" b="0" dirty="0"/>
          </a:p>
          <a:p>
            <a:endParaRPr lang="en-US" b="0" dirty="0"/>
          </a:p>
          <a:p>
            <a:endParaRPr lang="en-US" b="0" dirty="0"/>
          </a:p>
          <a:p>
            <a:r>
              <a:rPr lang="en-US" b="0" u="sng" dirty="0"/>
              <a:t>Acronyms</a:t>
            </a:r>
          </a:p>
          <a:p>
            <a:r>
              <a:rPr lang="en-US" b="0" dirty="0"/>
              <a:t>AAD: Azure Active Directory</a:t>
            </a:r>
          </a:p>
          <a:p>
            <a:r>
              <a:rPr lang="en-US" b="0" dirty="0"/>
              <a:t>AMQP: </a:t>
            </a:r>
            <a:r>
              <a:rPr lang="en-US" sz="1200" b="0" i="0" u="none" strike="noStrike" kern="1200" dirty="0">
                <a:solidFill>
                  <a:schemeClr val="tx1"/>
                </a:solidFill>
                <a:effectLst/>
                <a:latin typeface="+mn-lt"/>
                <a:ea typeface="+mn-ea"/>
                <a:cs typeface="+mn-cs"/>
              </a:rPr>
              <a:t>Advanced Message Queuing Protocol </a:t>
            </a:r>
            <a:endParaRPr lang="en-US" b="0" dirty="0"/>
          </a:p>
          <a:p>
            <a:r>
              <a:rPr lang="en-US" b="0" dirty="0"/>
              <a:t>HTTP: </a:t>
            </a:r>
            <a:r>
              <a:rPr lang="en-US" sz="1200" b="0" i="0" u="none" strike="noStrike" kern="1200" dirty="0">
                <a:solidFill>
                  <a:schemeClr val="tx1"/>
                </a:solidFill>
                <a:effectLst/>
                <a:latin typeface="+mn-lt"/>
                <a:ea typeface="+mn-ea"/>
                <a:cs typeface="+mn-cs"/>
              </a:rPr>
              <a:t>Hypertext Transfer Protocol</a:t>
            </a:r>
            <a:endParaRPr lang="en-US" b="0" dirty="0"/>
          </a:p>
          <a:p>
            <a:r>
              <a:rPr lang="en-US" b="0" dirty="0"/>
              <a:t>MCU: Memory Control Unit</a:t>
            </a:r>
          </a:p>
          <a:p>
            <a:r>
              <a:rPr lang="en-US" b="0" dirty="0"/>
              <a:t>MQTT: </a:t>
            </a:r>
            <a:r>
              <a:rPr lang="en-US" sz="1200" b="0" i="0" u="none" strike="noStrike" kern="1200" dirty="0">
                <a:solidFill>
                  <a:schemeClr val="tx1"/>
                </a:solidFill>
                <a:effectLst/>
                <a:latin typeface="+mn-lt"/>
                <a:ea typeface="+mn-ea"/>
                <a:cs typeface="+mn-cs"/>
              </a:rPr>
              <a:t>machine-to-machine (M2M)/Internet of Things</a:t>
            </a:r>
            <a:endParaRPr lang="en-US" b="0" dirty="0"/>
          </a:p>
          <a:p>
            <a:r>
              <a:rPr lang="en-US" b="0" dirty="0"/>
              <a:t>OS: Operating System</a:t>
            </a:r>
          </a:p>
          <a:p>
            <a:r>
              <a:rPr lang="en-US" b="0" dirty="0"/>
              <a:t>RTOS: Real Time Operating Syste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00922B-1719-4931-9625-64F12E73284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559190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39CF7E-134C-4B4A-9853-17D7568CBCC2}"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0/2019 11:2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542862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While many developers are already benefitting from connecting </a:t>
            </a:r>
            <a:r>
              <a:rPr lang="en-US" sz="900" kern="1200" err="1">
                <a:solidFill>
                  <a:schemeClr val="tx1"/>
                </a:solidFill>
                <a:effectLst/>
                <a:latin typeface="Segoe UI Light" pitchFamily="34" charset="0"/>
                <a:ea typeface="+mn-ea"/>
                <a:cs typeface="+mn-cs"/>
              </a:rPr>
              <a:t>IoT</a:t>
            </a:r>
            <a:r>
              <a:rPr lang="en-US" sz="900" kern="1200">
                <a:solidFill>
                  <a:schemeClr val="tx1"/>
                </a:solidFill>
                <a:effectLst/>
                <a:latin typeface="Segoe UI Light" pitchFamily="34" charset="0"/>
                <a:ea typeface="+mn-ea"/>
                <a:cs typeface="+mn-cs"/>
              </a:rPr>
              <a:t> devices directly to the cloud, some scenarios require edge intelligence to get the most out of an </a:t>
            </a:r>
            <a:r>
              <a:rPr lang="en-US" sz="900" kern="1200" err="1">
                <a:solidFill>
                  <a:schemeClr val="tx1"/>
                </a:solidFill>
                <a:effectLst/>
                <a:latin typeface="Segoe UI Light" pitchFamily="34" charset="0"/>
                <a:ea typeface="+mn-ea"/>
                <a:cs typeface="+mn-cs"/>
              </a:rPr>
              <a:t>IoT</a:t>
            </a:r>
            <a:r>
              <a:rPr lang="en-US" sz="900" kern="1200">
                <a:solidFill>
                  <a:schemeClr val="tx1"/>
                </a:solidFill>
                <a:effectLst/>
                <a:latin typeface="Segoe UI Light" pitchFamily="34" charset="0"/>
                <a:ea typeface="+mn-ea"/>
                <a:cs typeface="+mn-cs"/>
              </a:rPr>
              <a:t> solution. </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E935C7-66EA-4CB3-9540-EAF16F668D5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0/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407504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a:solidFill>
                  <a:schemeClr val="tx1"/>
                </a:solidFill>
                <a:effectLst/>
                <a:latin typeface="Segoe UI Light" pitchFamily="34" charset="0"/>
                <a:ea typeface="+mn-ea"/>
                <a:cs typeface="+mn-cs"/>
              </a:rPr>
              <a:t>While many developers are already benefitting from connecting </a:t>
            </a:r>
            <a:r>
              <a:rPr lang="en-US" sz="900" kern="1200" err="1">
                <a:solidFill>
                  <a:schemeClr val="tx1"/>
                </a:solidFill>
                <a:effectLst/>
                <a:latin typeface="Segoe UI Light" pitchFamily="34" charset="0"/>
                <a:ea typeface="+mn-ea"/>
                <a:cs typeface="+mn-cs"/>
              </a:rPr>
              <a:t>IoT</a:t>
            </a:r>
            <a:r>
              <a:rPr lang="en-US" sz="900" kern="1200">
                <a:solidFill>
                  <a:schemeClr val="tx1"/>
                </a:solidFill>
                <a:effectLst/>
                <a:latin typeface="Segoe UI Light" pitchFamily="34" charset="0"/>
                <a:ea typeface="+mn-ea"/>
                <a:cs typeface="+mn-cs"/>
              </a:rPr>
              <a:t> devices directly to the cloud, some scenarios require edge intelligence to get the most out of an </a:t>
            </a:r>
            <a:r>
              <a:rPr lang="en-US" sz="900" kern="1200" err="1">
                <a:solidFill>
                  <a:schemeClr val="tx1"/>
                </a:solidFill>
                <a:effectLst/>
                <a:latin typeface="Segoe UI Light" pitchFamily="34" charset="0"/>
                <a:ea typeface="+mn-ea"/>
                <a:cs typeface="+mn-cs"/>
              </a:rPr>
              <a:t>IoT</a:t>
            </a:r>
            <a:r>
              <a:rPr lang="en-US" sz="900" kern="1200">
                <a:solidFill>
                  <a:schemeClr val="tx1"/>
                </a:solidFill>
                <a:effectLst/>
                <a:latin typeface="Segoe UI Light" pitchFamily="34" charset="0"/>
                <a:ea typeface="+mn-ea"/>
                <a:cs typeface="+mn-cs"/>
              </a:rPr>
              <a:t> solution.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a:solidFill>
                  <a:schemeClr val="tx1"/>
                </a:solidFill>
                <a:effectLst/>
                <a:latin typeface="Segoe UI Light" pitchFamily="34" charset="0"/>
                <a:ea typeface="+mn-ea"/>
                <a:cs typeface="+mn-cs"/>
              </a:rPr>
              <a:t>In 2016, Microsoft launched the Gateway SDK which enables developers and ISVs to easily build and deploy gateway intelligence tailored to their specific scenario.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a:solidFill>
                  <a:schemeClr val="tx1"/>
                </a:solidFill>
                <a:effectLst/>
                <a:latin typeface="Segoe UI Light" pitchFamily="34" charset="0"/>
                <a:ea typeface="+mn-ea"/>
                <a:cs typeface="+mn-cs"/>
              </a:rPr>
              <a:t>Today, Microsoft is announcing the preview of Azure Stream Analytics (ASA) on edge devices extending all the benefits of our unique streaming technology from the cloud down to the device level.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a:solidFill>
                  <a:schemeClr val="tx1"/>
                </a:solidFill>
                <a:effectLst/>
                <a:latin typeface="Segoe UI Light" pitchFamily="34" charset="0"/>
                <a:ea typeface="+mn-ea"/>
                <a:cs typeface="+mn-cs"/>
              </a:rPr>
              <a:t>It enables organizations to use streaming analytics in scenarios where connectivity to the cloud is limited or inconsistent, and the need of quick insight and proactive actions are essential to run your business.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a:solidFill>
                  <a:schemeClr val="tx1"/>
                </a:solidFill>
                <a:effectLst/>
                <a:latin typeface="Segoe UI Light" pitchFamily="34" charset="0"/>
                <a:ea typeface="+mn-ea"/>
                <a:cs typeface="+mn-cs"/>
              </a:rPr>
              <a:t>Azure Stream Analytics on edge devices has the same unified cloud-managed experience for stream analytics running across edge devices and the cloud.</a:t>
            </a: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0/2019 11:23 PM</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574827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A9D2FCC9-2ED6-40BE-B585-74722D74E16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6728160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800"/>
              <a:t>Mentioned earlier that Edge is more than PC…</a:t>
            </a:r>
          </a:p>
          <a:p>
            <a:r>
              <a:rPr lang="en-US" sz="2800"/>
              <a:t>This is a commercial play for us, not just consumer…</a:t>
            </a:r>
          </a:p>
          <a:p>
            <a:r>
              <a:rPr lang="en-US" sz="2800"/>
              <a:t>The Intelligent Edge is composed of the devices that you are making</a:t>
            </a:r>
          </a:p>
          <a:p>
            <a:endParaRPr lang="en-US" sz="2800"/>
          </a:p>
          <a:p>
            <a:r>
              <a:rPr lang="en-US" sz="2400"/>
              <a:t>IoT is complex… We are working together to try and make it easier to be successful in this space.</a:t>
            </a:r>
          </a:p>
          <a:p>
            <a:r>
              <a:rPr lang="en-US" sz="2400"/>
              <a:t>There are two main ways to think about Azure and your business.  SaaS or PaaS.  Do you need a high level of customization, or do you need a managed service.</a:t>
            </a:r>
          </a:p>
          <a:p>
            <a:pPr marL="228600" indent="-228600">
              <a:buFont typeface="Arial" panose="020B0604020202020204" pitchFamily="34" charset="0"/>
              <a:buChar char="•"/>
            </a:pPr>
            <a:r>
              <a:rPr lang="en-US" sz="2400"/>
              <a:t>The first is SaaS.  Whether you are building a managed service for yourself or on behalf of a customer, Azure IoT Central can remove complexity, allowing you to quickly deploy and manage a fleet of connected devices at scale. From digital devices to connected equipment, and consumer white goods; these are all examples that are perfect for Azure IoT Central</a:t>
            </a:r>
          </a:p>
          <a:p>
            <a:pPr marL="228600" indent="-228600">
              <a:buFont typeface="Arial" panose="020B0604020202020204" pitchFamily="34" charset="0"/>
              <a:buChar char="•"/>
            </a:pPr>
            <a:r>
              <a:rPr lang="en-US" sz="2400"/>
              <a:t>We have customers examples, industry use cases, partners, tools and resources in place to help you transition your business to a managed services.  The service is in public preview now and we are already working with lots of customers and partners. Azure IoT Central will come later this year</a:t>
            </a:r>
          </a:p>
          <a:p>
            <a:pPr marL="228600" indent="-228600">
              <a:buFont typeface="Arial" panose="020B0604020202020204" pitchFamily="34" charset="0"/>
              <a:buChar char="•"/>
            </a:pPr>
            <a:endParaRPr lang="en-US" sz="2400"/>
          </a:p>
          <a:p>
            <a:pPr marL="228600" indent="-228600">
              <a:buFont typeface="Arial" panose="020B0604020202020204" pitchFamily="34" charset="0"/>
              <a:buChar char="•"/>
            </a:pPr>
            <a:r>
              <a:rPr lang="en-US" sz="2400"/>
              <a:t>Sometimes you have a need for greater customization and control, and in these situations PaaS is a better fit.  Microsoft has a the industry leading portfolio of platform services to help you create an IoT solution spanning the Intelligent Cloud and Intelligent Edge.</a:t>
            </a:r>
          </a:p>
          <a:p>
            <a:pPr marL="685800" lvl="1" indent="-228600">
              <a:buFont typeface="Arial" panose="020B0604020202020204" pitchFamily="34" charset="0"/>
              <a:buChar char="•"/>
            </a:pPr>
            <a:r>
              <a:rPr lang="en-US" sz="2400"/>
              <a:t>Azure IoT Hub is the starting point for IoT in the cloud and the way that you scale the intelligent Edge</a:t>
            </a:r>
          </a:p>
          <a:p>
            <a:pPr marL="685800" lvl="1" indent="-228600">
              <a:buFont typeface="Arial" panose="020B0604020202020204" pitchFamily="34" charset="0"/>
              <a:buChar char="•"/>
            </a:pPr>
            <a:r>
              <a:rPr lang="en-US" sz="2400"/>
              <a:t>Azure IoT Edge allows you to run intelligence at the edge and only connect to the cloud for monitoring and maintenance </a:t>
            </a:r>
          </a:p>
          <a:p>
            <a:pPr marL="685800" lvl="1" indent="-228600">
              <a:buFont typeface="Arial" panose="020B0604020202020204" pitchFamily="34" charset="0"/>
              <a:buChar char="•"/>
            </a:pPr>
            <a:r>
              <a:rPr lang="en-US" sz="2400"/>
              <a:t>Microsoft has build Solution Accelerators for the most common IoT scenarios, designed to help you get started more quickly</a:t>
            </a:r>
          </a:p>
          <a:p>
            <a:pPr marL="685800" lvl="1" indent="-228600">
              <a:buFont typeface="Arial" panose="020B0604020202020204" pitchFamily="34" charset="0"/>
              <a:buChar char="•"/>
            </a:pPr>
            <a:endParaRPr lang="en-US" sz="2400"/>
          </a:p>
          <a:p>
            <a:endParaRPr lang="en-US" sz="2800"/>
          </a:p>
        </p:txBody>
      </p:sp>
      <p:sp>
        <p:nvSpPr>
          <p:cNvPr id="4" name="Slide Number Placeholder 3"/>
          <p:cNvSpPr>
            <a:spLocks noGrp="1"/>
          </p:cNvSpPr>
          <p:nvPr>
            <p:ph type="sldNum" sz="quarter" idx="10"/>
          </p:nvPr>
        </p:nvSpPr>
        <p:spPr/>
        <p:txBody>
          <a:bodyPr/>
          <a:lstStyle/>
          <a:p>
            <a:pPr marL="0" marR="0" lvl="0" indent="0" algn="r" defTabSz="1341135" rtl="0" eaLnBrk="1" fontAlgn="auto" latinLnBrk="0" hangingPunct="1">
              <a:lnSpc>
                <a:spcPct val="100000"/>
              </a:lnSpc>
              <a:spcBef>
                <a:spcPts val="0"/>
              </a:spcBef>
              <a:spcAft>
                <a:spcPts val="0"/>
              </a:spcAft>
              <a:buClrTx/>
              <a:buSzTx/>
              <a:buFontTx/>
              <a:buNone/>
              <a:tabLst/>
              <a:defRPr/>
            </a:pPr>
            <a:fld id="{F137CF32-F027-42DE-81E0-EF8B86164A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341135"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743749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72F4EBB-2408-42A3-BC3C-009FE632A1B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02309259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72F4EBB-2408-42A3-BC3C-009FE632A1B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30668916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latin typeface="+mn-lt"/>
            </a:endParaRPr>
          </a:p>
        </p:txBody>
      </p:sp>
      <p:sp>
        <p:nvSpPr>
          <p:cNvPr id="4" name="Slide Number Placeholder 3"/>
          <p:cNvSpPr>
            <a:spLocks noGrp="1"/>
          </p:cNvSpPr>
          <p:nvPr>
            <p:ph type="sldNum" sz="quarter" idx="10"/>
          </p:nvPr>
        </p:nvSpPr>
        <p:spPr/>
        <p:txBody>
          <a:bodyPr/>
          <a:lstStyle/>
          <a:p>
            <a:pPr marL="0" marR="0" lvl="0" indent="0" algn="r" defTabSz="948507"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8507"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273471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72F4EBB-2408-42A3-BC3C-009FE632A1B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13079550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72F4EBB-2408-42A3-BC3C-009FE632A1B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7876437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latin typeface="+mn-lt"/>
            </a:endParaRPr>
          </a:p>
        </p:txBody>
      </p:sp>
      <p:sp>
        <p:nvSpPr>
          <p:cNvPr id="4" name="Slide Number Placeholder 3"/>
          <p:cNvSpPr>
            <a:spLocks noGrp="1"/>
          </p:cNvSpPr>
          <p:nvPr>
            <p:ph type="sldNum" sz="quarter" idx="10"/>
          </p:nvPr>
        </p:nvSpPr>
        <p:spPr/>
        <p:txBody>
          <a:bodyPr/>
          <a:lstStyle/>
          <a:p>
            <a:pPr marL="0" marR="0" lvl="0" indent="0" algn="r" defTabSz="948507"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8507"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428379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8591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081" marR="0" lvl="0" indent="0" algn="l" defTabSz="96621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85916"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5916" rtl="0" eaLnBrk="1" fontAlgn="auto" latinLnBrk="0" hangingPunct="1">
                <a:lnSpc>
                  <a:spcPct val="100000"/>
                </a:lnSpc>
                <a:spcBef>
                  <a:spcPts val="0"/>
                </a:spcBef>
                <a:spcAft>
                  <a:spcPts val="0"/>
                </a:spcAft>
                <a:buClrTx/>
                <a:buSzTx/>
                <a:buFontTx/>
                <a:buNone/>
                <a:tabLst/>
                <a:defRPr/>
              </a:pPr>
              <a:t>9/10/2019 11: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8591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5916"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D08F7C29-348D-41AE-B707-DAB559B83F82}"/>
              </a:ext>
            </a:extLst>
          </p:cNvPr>
          <p:cNvSpPr>
            <a:spLocks noGrp="1"/>
          </p:cNvSpPr>
          <p:nvPr>
            <p:ph type="body" idx="1"/>
          </p:nvPr>
        </p:nvSpPr>
        <p:spPr/>
        <p:txBody>
          <a:bodyPr/>
          <a:lstStyle/>
          <a:p>
            <a:pPr marL="177845" indent="-177845">
              <a:buFont typeface="Arial" panose="020B0604020202020204" pitchFamily="34" charset="0"/>
              <a:buChar char="•"/>
            </a:pPr>
            <a:r>
              <a:rPr lang="en-US" dirty="0"/>
              <a:t>Azure Machine Learning Experimentation Service enables data scientists to execute their experiments using AML execution and run management capabilities.</a:t>
            </a:r>
          </a:p>
          <a:p>
            <a:pPr marL="177845" indent="-177845">
              <a:buFont typeface="Arial" panose="020B0604020202020204" pitchFamily="34" charset="0"/>
              <a:buChar char="•"/>
            </a:pPr>
            <a:r>
              <a:rPr lang="en-US"/>
              <a:t>AML SDK</a:t>
            </a:r>
            <a:r>
              <a:rPr lang="en-US" dirty="0"/>
              <a:t> allows you to start with local runs on your machine and also an easy path for scaling up / out to other environments such as remote Data Science VMs with GPU or HDInsight Clusters running Spark.</a:t>
            </a:r>
          </a:p>
          <a:p>
            <a:pPr marL="177845" indent="-177845">
              <a:buFont typeface="Arial" panose="020B0604020202020204" pitchFamily="34" charset="0"/>
              <a:buChar char="•"/>
            </a:pPr>
            <a:r>
              <a:rPr lang="en-US" dirty="0"/>
              <a:t>Experimentation Service is built for providing </a:t>
            </a:r>
            <a:r>
              <a:rPr lang="en-US" b="1" dirty="0"/>
              <a:t>isolated, reproducible, and consistent runs </a:t>
            </a:r>
            <a:r>
              <a:rPr lang="en-US" dirty="0"/>
              <a:t>of your experiments. </a:t>
            </a:r>
          </a:p>
          <a:p>
            <a:pPr marL="177845" indent="-177845">
              <a:buFont typeface="Arial" panose="020B0604020202020204" pitchFamily="34" charset="0"/>
              <a:buChar char="•"/>
            </a:pPr>
            <a:r>
              <a:rPr lang="en-US" dirty="0"/>
              <a:t>It helps you manage your compute targets, execution environments, and run configurations. </a:t>
            </a:r>
          </a:p>
          <a:p>
            <a:pPr marL="177845" indent="-177845">
              <a:buFont typeface="Arial" panose="020B0604020202020204" pitchFamily="34" charset="0"/>
              <a:buChar char="•"/>
            </a:pPr>
            <a:r>
              <a:rPr lang="en-US" dirty="0"/>
              <a:t>You can execute a Python or PySpark script in a project locally or at scale in the cloud.</a:t>
            </a:r>
          </a:p>
          <a:p>
            <a:pPr marL="177845" indent="-177845">
              <a:buFont typeface="Arial" panose="020B0604020202020204" pitchFamily="34" charset="0"/>
              <a:buChar char="•"/>
            </a:pPr>
            <a:r>
              <a:rPr lang="en-US" dirty="0"/>
              <a:t>You can run your scripts on:</a:t>
            </a:r>
          </a:p>
          <a:p>
            <a:pPr marL="403211" lvl="1" indent="-177845"/>
            <a:r>
              <a:rPr lang="en-US" dirty="0"/>
              <a:t>Python (3.5.2) environment on your local computer installed by Workbench</a:t>
            </a:r>
          </a:p>
          <a:p>
            <a:pPr marL="403211" lvl="1" indent="-177845"/>
            <a:r>
              <a:rPr lang="en-US" dirty="0"/>
              <a:t>Conda Python environment inside of a Docker container on local computer</a:t>
            </a:r>
          </a:p>
          <a:p>
            <a:pPr marL="403211" lvl="1" indent="-177845"/>
            <a:r>
              <a:rPr lang="en-US" dirty="0"/>
              <a:t>On a Python environment that you own and manage on a remote Linux Machine</a:t>
            </a:r>
          </a:p>
          <a:p>
            <a:pPr marL="403211" lvl="1" indent="-177845"/>
            <a:r>
              <a:rPr lang="en-US" dirty="0"/>
              <a:t>Conda Python environment inside of a Docker container on a remote Linux machine. For example, an </a:t>
            </a:r>
            <a:r>
              <a:rPr lang="en-US" dirty="0">
                <a:hlinkClick r:id="rId3"/>
              </a:rPr>
              <a:t>Ubuntu-based DSVM on Azure</a:t>
            </a:r>
            <a:endParaRPr lang="en-US" dirty="0"/>
          </a:p>
          <a:p>
            <a:pPr marL="403211" lvl="1" indent="-177845"/>
            <a:r>
              <a:rPr lang="en-US" dirty="0">
                <a:hlinkClick r:id="rId4"/>
              </a:rPr>
              <a:t>HDInsight for Spark</a:t>
            </a:r>
            <a:r>
              <a:rPr lang="en-US" dirty="0"/>
              <a:t> on Azure</a:t>
            </a:r>
          </a:p>
          <a:p>
            <a:endParaRPr lang="en-US" dirty="0"/>
          </a:p>
        </p:txBody>
      </p:sp>
    </p:spTree>
    <p:extLst>
      <p:ext uri="{BB962C8B-B14F-4D97-AF65-F5344CB8AC3E}">
        <p14:creationId xmlns:p14="http://schemas.microsoft.com/office/powerpoint/2010/main" val="405300176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48507"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48507" rtl="0" eaLnBrk="1" fontAlgn="auto" latinLnBrk="0" hangingPunct="1">
              <a:lnSpc>
                <a:spcPct val="100000"/>
              </a:lnSpc>
              <a:spcBef>
                <a:spcPts val="0"/>
              </a:spcBef>
              <a:spcAft>
                <a:spcPts val="0"/>
              </a:spcAft>
              <a:buClrTx/>
              <a:buSzTx/>
              <a:buFontTx/>
              <a:buNone/>
              <a:tabLst/>
              <a:defRPr/>
            </a:pPr>
            <a:r>
              <a:rPr kumimoji="0" lang="en-US" altLang="en-US" sz="1900" b="0" i="0" u="none" strike="noStrike" kern="0" cap="none" spc="0" normalizeH="0" baseline="0" noProof="0">
                <a:ln>
                  <a:noFill/>
                </a:ln>
                <a:solidFill>
                  <a:sysClr val="windowText" lastClr="000000"/>
                </a:solidFill>
                <a:effectLst/>
                <a:uLnTx/>
                <a:uFillTx/>
                <a:latin typeface="Calibri"/>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8507"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8507" rtl="0" eaLnBrk="1" fontAlgn="auto" latinLnBrk="0" hangingPunct="1">
                <a:lnSpc>
                  <a:spcPct val="100000"/>
                </a:lnSpc>
                <a:spcBef>
                  <a:spcPts val="0"/>
                </a:spcBef>
                <a:spcAft>
                  <a:spcPts val="0"/>
                </a:spcAft>
                <a:buClrTx/>
                <a:buSzTx/>
                <a:buFontTx/>
                <a:buNone/>
                <a:tabLst/>
                <a:defRPr/>
              </a:pPr>
              <a:t>9/10/2019 11:23 PM</a:t>
            </a:fld>
            <a:endParaRPr kumimoji="0" lang="en-US" alt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8507"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8507" rtl="0" eaLnBrk="1" fontAlgn="auto" latinLnBrk="0" hangingPunct="1">
                <a:lnSpc>
                  <a:spcPct val="100000"/>
                </a:lnSpc>
                <a:spcBef>
                  <a:spcPts val="0"/>
                </a:spcBef>
                <a:spcAft>
                  <a:spcPts val="0"/>
                </a:spcAft>
                <a:buClrTx/>
                <a:buSzTx/>
                <a:buFontTx/>
                <a:buNone/>
                <a:tabLst/>
                <a:defRPr/>
              </a:pPr>
              <a:t>82</a:t>
            </a:fld>
            <a:endParaRPr kumimoji="0" lang="en-US" alt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790557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72F4EBB-2408-42A3-BC3C-009FE632A1B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45915590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latin typeface="+mn-lt"/>
            </a:endParaRPr>
          </a:p>
        </p:txBody>
      </p:sp>
      <p:sp>
        <p:nvSpPr>
          <p:cNvPr id="4" name="Slide Number Placeholder 3"/>
          <p:cNvSpPr>
            <a:spLocks noGrp="1"/>
          </p:cNvSpPr>
          <p:nvPr>
            <p:ph type="sldNum" sz="quarter" idx="10"/>
          </p:nvPr>
        </p:nvSpPr>
        <p:spPr/>
        <p:txBody>
          <a:bodyPr/>
          <a:lstStyle/>
          <a:p>
            <a:pPr marL="0" marR="0" lvl="0" indent="0" algn="r" defTabSz="948507"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8507"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21584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a:t>An intelligent edge </a:t>
            </a:r>
            <a:r>
              <a:rPr lang="en-US" sz="800"/>
              <a:t>is a set of connected systems and devices that gather and analyze data closest to where users/data reside to deliver real-time insights and experiences that are highly responsive and contextually aware.  The </a:t>
            </a:r>
            <a:r>
              <a:rPr lang="en-US" sz="800" b="1"/>
              <a:t>intelligent cloud </a:t>
            </a:r>
            <a:r>
              <a:rPr lang="en-US" sz="800"/>
              <a:t>exists to ingest, store, analyze and route data and derived insights in a public cloud environment that provides scale, value and security to customers.</a:t>
            </a:r>
          </a:p>
          <a:p>
            <a:endParaRPr lang="en-US" sz="800" b="1"/>
          </a:p>
          <a:p>
            <a:r>
              <a:rPr lang="en-US" sz="800" b="1"/>
              <a:t>Going forward, companies will need a ubiquitous computing fabric from the cloud to the edge. </a:t>
            </a:r>
            <a:r>
              <a:rPr lang="en-US" sz="800"/>
              <a:t>That's what we're building with Azure.</a:t>
            </a:r>
            <a:endParaRPr lang="en-US" sz="800">
              <a:cs typeface="Calibri"/>
            </a:endParaRPr>
          </a:p>
          <a:p>
            <a:endParaRPr lang="en-US" sz="800"/>
          </a:p>
          <a:p>
            <a:r>
              <a:rPr lang="en-US" sz="800"/>
              <a:t>Azure is being built as the world's computer.  It already has 50-plus regions, 70-plus certifications, more regions and more certifications than any other public cloud.  And that's so that we can meet the real world needs of customers, their digitally sovereignty needs, their regulatory needs.</a:t>
            </a:r>
            <a:endParaRPr lang="en-US" sz="800">
              <a:cs typeface="Calibri"/>
            </a:endParaRPr>
          </a:p>
          <a:p>
            <a:endParaRPr lang="en-US" sz="800"/>
          </a:p>
          <a:p>
            <a:pPr defTabSz="931774">
              <a:defRPr/>
            </a:pPr>
            <a:r>
              <a:rPr lang="en-US" sz="800"/>
              <a:t>But we're not stopping there.  In fact, as computing spreads, as there is need for computing at the edge, we are building out Azure, Azure Sphere, Azure IoT edge, Windows 10 IoT, Windows, Windows Server, as this one computing fabric.</a:t>
            </a:r>
            <a:endParaRPr lang="en-US" sz="800">
              <a:cs typeface="Calibri"/>
            </a:endParaRPr>
          </a:p>
          <a:p>
            <a:pPr defTabSz="931774">
              <a:lnSpc>
                <a:spcPct val="100000"/>
              </a:lnSpc>
              <a:spcAft>
                <a:spcPts val="0"/>
              </a:spcAft>
              <a:defRPr/>
            </a:pPr>
            <a:endParaRPr lang="en-US" sz="800"/>
          </a:p>
          <a:p>
            <a:pPr defTabSz="931774">
              <a:lnSpc>
                <a:spcPct val="100000"/>
              </a:lnSpc>
              <a:spcAft>
                <a:spcPts val="0"/>
              </a:spcAft>
              <a:defRPr/>
            </a:pPr>
            <a:r>
              <a:rPr lang="en-US" sz="800" b="1"/>
              <a:t>We are talking about computing from the smallest chip to the largest server. We think about it as a continuum of devices that we can design, build and sell together.</a:t>
            </a:r>
            <a:endParaRPr lang="en-US" sz="800"/>
          </a:p>
          <a:p>
            <a:endParaRPr lang="en-US" sz="80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0/2019 11: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7180904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72F4EBB-2408-42A3-BC3C-009FE632A1B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28614853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mn-lt"/>
              </a:rPr>
              <a:t>Azure Machine Learning Services empowers you to bring AI to everyone with an end-to-end, scalable, trusted platform.</a:t>
            </a:r>
          </a:p>
          <a:p>
            <a:endParaRPr lang="en-US" sz="1200" b="1" dirty="0">
              <a:latin typeface="+mn-lt"/>
            </a:endParaRPr>
          </a:p>
          <a:p>
            <a:r>
              <a:rPr lang="en-US" sz="1200" b="1" dirty="0">
                <a:latin typeface="+mn-lt"/>
              </a:rPr>
              <a:t>Boost your data science productivity </a:t>
            </a:r>
          </a:p>
          <a:p>
            <a:pPr marL="177845" indent="-177845">
              <a:buFont typeface="Arial" panose="020B0604020202020204" pitchFamily="34" charset="0"/>
              <a:buChar char="•"/>
            </a:pPr>
            <a:r>
              <a:rPr lang="en-US" sz="1200" dirty="0">
                <a:latin typeface="+mn-lt"/>
              </a:rPr>
              <a:t>Python pip-installable extensions for Azure Machine Learning that enable data scientists to build and deploy machine learning and deep learning models</a:t>
            </a:r>
          </a:p>
          <a:p>
            <a:pPr marL="177845" indent="-177845">
              <a:buFont typeface="Arial" panose="020B0604020202020204" pitchFamily="34" charset="0"/>
              <a:buChar char="•"/>
            </a:pPr>
            <a:r>
              <a:rPr lang="en-US" sz="1200" dirty="0">
                <a:latin typeface="+mn-lt"/>
              </a:rPr>
              <a:t>Now available for Computer Vision, Text Analytics and Time-Series Forecasting.</a:t>
            </a:r>
          </a:p>
          <a:p>
            <a:endParaRPr lang="en-US" dirty="0"/>
          </a:p>
          <a:p>
            <a:r>
              <a:rPr lang="en-US" sz="1200" b="1" dirty="0">
                <a:latin typeface="+mn-lt"/>
              </a:rPr>
              <a:t>Increase your rate of experimentation</a:t>
            </a:r>
          </a:p>
          <a:p>
            <a:pPr marL="177845" indent="-177845">
              <a:buFont typeface="Arial" panose="020B0604020202020204" pitchFamily="34" charset="0"/>
              <a:buChar char="•"/>
            </a:pPr>
            <a:r>
              <a:rPr lang="en-US" sz="1200" dirty="0">
                <a:latin typeface="+mn-lt"/>
              </a:rPr>
              <a:t>Rapidly prototype on your desktop, then easily scale up on virtual machines or scale out using Spark clusters</a:t>
            </a:r>
          </a:p>
          <a:p>
            <a:pPr marL="177845" indent="-177845">
              <a:buFont typeface="Arial" panose="020B0604020202020204" pitchFamily="34" charset="0"/>
              <a:buChar char="•"/>
            </a:pPr>
            <a:r>
              <a:rPr lang="en-US" sz="1200" dirty="0">
                <a:latin typeface="+mn-lt"/>
              </a:rPr>
              <a:t>Proactively manage model performance, identify the best model, and promote it using data-driven insights</a:t>
            </a:r>
          </a:p>
          <a:p>
            <a:pPr marL="177845" indent="-177845">
              <a:buFont typeface="Arial" panose="020B0604020202020204" pitchFamily="34" charset="0"/>
              <a:buChar char="•"/>
            </a:pPr>
            <a:r>
              <a:rPr lang="en-US" sz="1200" dirty="0">
                <a:latin typeface="+mn-lt"/>
              </a:rPr>
              <a:t>Collaborate and share solutions using popular Git repositories.</a:t>
            </a:r>
          </a:p>
          <a:p>
            <a:endParaRPr lang="en-US" dirty="0"/>
          </a:p>
          <a:p>
            <a:r>
              <a:rPr lang="en-US" sz="1200" b="1" dirty="0">
                <a:latin typeface="+mn-lt"/>
              </a:rPr>
              <a:t>Deploy and manage your models everywhere</a:t>
            </a:r>
          </a:p>
          <a:p>
            <a:pPr marL="177845" indent="-177845">
              <a:buFont typeface="Arial" panose="020B0604020202020204" pitchFamily="34" charset="0"/>
              <a:buChar char="•"/>
            </a:pPr>
            <a:r>
              <a:rPr lang="en-US" sz="1200" dirty="0">
                <a:latin typeface="+mn-lt"/>
              </a:rPr>
              <a:t>Use Docker containers to deploy models into production faster in the cloud, on-premises, or at the edge</a:t>
            </a:r>
          </a:p>
          <a:p>
            <a:pPr marL="177845" indent="-177845">
              <a:buFont typeface="Arial" panose="020B0604020202020204" pitchFamily="34" charset="0"/>
              <a:buChar char="•"/>
            </a:pPr>
            <a:r>
              <a:rPr lang="en-US" sz="1200" dirty="0">
                <a:latin typeface="+mn-lt"/>
              </a:rPr>
              <a:t>Promote your best performing models into production and retrain them when their performance degrades</a:t>
            </a:r>
          </a:p>
          <a:p>
            <a:endParaRPr lang="en-US" sz="1200" dirty="0">
              <a:latin typeface="+mn-lt"/>
            </a:endParaRPr>
          </a:p>
          <a:p>
            <a:r>
              <a:rPr lang="en-US" sz="1200" dirty="0">
                <a:latin typeface="+mn-lt"/>
              </a:rPr>
              <a:t>Azure Machine Learning Services are built with your needs in mind, providing:</a:t>
            </a:r>
          </a:p>
          <a:p>
            <a:pPr marL="177845" indent="-177845">
              <a:buFont typeface="Arial" panose="020B0604020202020204" pitchFamily="34" charset="0"/>
              <a:buChar char="•"/>
            </a:pPr>
            <a:r>
              <a:rPr lang="en-US" sz="1200" dirty="0">
                <a:latin typeface="+mn-lt"/>
              </a:rPr>
              <a:t>GPU-enabled virtual machines</a:t>
            </a:r>
          </a:p>
          <a:p>
            <a:pPr marL="177845" indent="-177845">
              <a:buFont typeface="Arial" panose="020B0604020202020204" pitchFamily="34" charset="0"/>
              <a:buChar char="•"/>
            </a:pPr>
            <a:r>
              <a:rPr lang="en-US" sz="1200" dirty="0">
                <a:latin typeface="+mn-lt"/>
              </a:rPr>
              <a:t>Low-latency predictions at scale</a:t>
            </a:r>
          </a:p>
          <a:p>
            <a:pPr marL="177845" indent="-177845">
              <a:buFont typeface="Arial" panose="020B0604020202020204" pitchFamily="34" charset="0"/>
              <a:buChar char="•"/>
            </a:pPr>
            <a:r>
              <a:rPr lang="en-US" sz="1200" dirty="0">
                <a:latin typeface="+mn-lt"/>
              </a:rPr>
              <a:t>Integration with popular Python IDEs</a:t>
            </a:r>
          </a:p>
          <a:p>
            <a:pPr marL="177845" indent="-177845">
              <a:buFont typeface="Arial" panose="020B0604020202020204" pitchFamily="34" charset="0"/>
              <a:buChar char="•"/>
            </a:pPr>
            <a:r>
              <a:rPr lang="en-US" sz="1200" dirty="0">
                <a:latin typeface="+mn-lt"/>
              </a:rPr>
              <a:t>Role-based access controls</a:t>
            </a:r>
          </a:p>
          <a:p>
            <a:pPr marL="177845" indent="-177845">
              <a:buFont typeface="Arial" panose="020B0604020202020204" pitchFamily="34" charset="0"/>
              <a:buChar char="•"/>
            </a:pPr>
            <a:r>
              <a:rPr lang="en-US" sz="1200" dirty="0">
                <a:latin typeface="+mn-lt"/>
              </a:rPr>
              <a:t>Model versioning</a:t>
            </a:r>
          </a:p>
          <a:p>
            <a:pPr marL="177845" indent="-177845">
              <a:buFont typeface="Arial" panose="020B0604020202020204" pitchFamily="34" charset="0"/>
              <a:buChar char="•"/>
            </a:pPr>
            <a:r>
              <a:rPr lang="en-US" sz="1200" dirty="0">
                <a:latin typeface="+mn-lt"/>
              </a:rPr>
              <a:t>Automated model retraining</a:t>
            </a:r>
          </a:p>
          <a:p>
            <a:endParaRPr lang="en-US" sz="1200" dirty="0">
              <a:latin typeface="+mn-lt"/>
            </a:endParaRPr>
          </a:p>
          <a:p>
            <a:r>
              <a:rPr lang="en-US" sz="1200" b="1" dirty="0">
                <a:latin typeface="+mn-lt"/>
              </a:rPr>
              <a:t>(Optional: other services)</a:t>
            </a:r>
          </a:p>
          <a:p>
            <a:pPr marL="177845" indent="-177845">
              <a:buFont typeface="Arial" panose="020B0604020202020204" pitchFamily="34" charset="0"/>
              <a:buChar char="•"/>
            </a:pPr>
            <a:r>
              <a:rPr lang="en-US" sz="1200" dirty="0">
                <a:latin typeface="+mn-lt"/>
              </a:rPr>
              <a:t>Azure Machine Learning Workbench integrates with ONNX models</a:t>
            </a:r>
          </a:p>
          <a:p>
            <a:pPr marL="177845" indent="-177845">
              <a:buFont typeface="Arial" panose="020B0604020202020204" pitchFamily="34" charset="0"/>
              <a:buChar char="•"/>
            </a:pPr>
            <a:r>
              <a:rPr lang="en-US" sz="1200" dirty="0">
                <a:latin typeface="+mn-lt"/>
              </a:rPr>
              <a:t>Work with your ONNX models from Visual Studio Code Tools for AI. </a:t>
            </a:r>
          </a:p>
          <a:p>
            <a:pPr marL="652099" lvl="1" indent="-177845"/>
            <a:r>
              <a:rPr lang="en-US" sz="1200" dirty="0">
                <a:latin typeface="+mn-lt"/>
              </a:rPr>
              <a:t>Build deep learning models and call services straight from your favorite IDE easier with Azure Machine Learning services built right in. </a:t>
            </a:r>
          </a:p>
          <a:p>
            <a:pPr marL="652099" lvl="1" indent="-177845"/>
            <a:r>
              <a:rPr lang="en-US" sz="1200" dirty="0">
                <a:latin typeface="+mn-lt"/>
              </a:rPr>
              <a:t>Create a seamless developer experience across desktop, cloud, or at the edge.</a:t>
            </a:r>
          </a:p>
          <a:p>
            <a:pPr marL="177845" indent="-177845">
              <a:buFont typeface="Arial" panose="020B0604020202020204" pitchFamily="34" charset="0"/>
              <a:buChar char="•"/>
            </a:pPr>
            <a:r>
              <a:rPr lang="en-US" sz="1200" dirty="0">
                <a:latin typeface="+mn-lt"/>
              </a:rPr>
              <a:t>AI Toolkit for Azure IoT Edge</a:t>
            </a:r>
          </a:p>
          <a:p>
            <a:pPr marL="177845" indent="-177845">
              <a:buFont typeface="Arial" panose="020B0604020202020204" pitchFamily="34" charset="0"/>
              <a:buChar char="•"/>
            </a:pPr>
            <a:r>
              <a:rPr lang="en-US" sz="1200" dirty="0" err="1">
                <a:latin typeface="+mn-lt"/>
              </a:rPr>
              <a:t>MMLSpark</a:t>
            </a:r>
            <a:r>
              <a:rPr lang="en-US" sz="1200" dirty="0">
                <a:latin typeface="+mn-lt"/>
              </a:rPr>
              <a:t> is an open-source Spark package</a:t>
            </a:r>
            <a:r>
              <a:rPr lang="en-US" sz="1200" b="1" dirty="0">
                <a:latin typeface="+mn-lt"/>
              </a:rPr>
              <a:t> </a:t>
            </a:r>
            <a:r>
              <a:rPr lang="en-US" sz="1200" dirty="0">
                <a:latin typeface="+mn-lt"/>
              </a:rPr>
              <a:t>that enables you to quickly create powerful, highly-scalable predictive and analytical models for large image and text datasets by using deep learning and data science tools for Apache Spark.</a:t>
            </a:r>
          </a:p>
          <a:p>
            <a:endParaRPr lang="en-US" sz="1200" dirty="0">
              <a:latin typeface="+mn-lt"/>
            </a:endParaRPr>
          </a:p>
          <a:p>
            <a:r>
              <a:rPr lang="en-US" sz="1200" dirty="0">
                <a:latin typeface="+mn-lt"/>
              </a:rPr>
              <a:t>Azure Machine Learning Services seamlessly integrates with the rest of the Azure portfolio.</a:t>
            </a:r>
          </a:p>
          <a:p>
            <a:endParaRPr lang="en-US" sz="1200" dirty="0">
              <a:latin typeface="+mn-lt"/>
            </a:endParaRPr>
          </a:p>
          <a:p>
            <a:r>
              <a:rPr lang="en-US" sz="1200" b="1" dirty="0">
                <a:latin typeface="+mn-lt"/>
              </a:rPr>
              <a:t>&lt;Transition&gt;: Azure Machine Learning Services allows you to deploy models to many different production environments.</a:t>
            </a:r>
          </a:p>
          <a:p>
            <a:endParaRPr lang="en-US" dirty="0"/>
          </a:p>
        </p:txBody>
      </p:sp>
      <p:sp>
        <p:nvSpPr>
          <p:cNvPr id="4" name="Slide Number Placeholder 3"/>
          <p:cNvSpPr>
            <a:spLocks noGrp="1"/>
          </p:cNvSpPr>
          <p:nvPr>
            <p:ph type="sldNum" sz="quarter" idx="10"/>
          </p:nvPr>
        </p:nvSpPr>
        <p:spPr/>
        <p:txBody>
          <a:bodyPr/>
          <a:lstStyle/>
          <a:p>
            <a:pPr marL="0" marR="0" lvl="0" indent="0" algn="r" defTabSz="948507" rtl="0" eaLnBrk="1" fontAlgn="auto" latinLnBrk="0" hangingPunct="1">
              <a:lnSpc>
                <a:spcPct val="100000"/>
              </a:lnSpc>
              <a:spcBef>
                <a:spcPts val="0"/>
              </a:spcBef>
              <a:spcAft>
                <a:spcPts val="0"/>
              </a:spcAft>
              <a:buClrTx/>
              <a:buSzTx/>
              <a:buFontTx/>
              <a:buNone/>
              <a:tabLst/>
              <a:defRPr/>
            </a:pPr>
            <a:fld id="{1CA76015-0069-40CB-B3C1-9C16255696F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8507"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156373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45" indent="-177845">
              <a:buFont typeface="Arial" panose="020B0604020202020204" pitchFamily="34" charset="0"/>
              <a:buChar char="•"/>
            </a:pPr>
            <a:r>
              <a:rPr lang="en-US" sz="1200">
                <a:latin typeface="+mn-lt"/>
              </a:rPr>
              <a:t>Our approach to ML frameworks is simple. </a:t>
            </a:r>
          </a:p>
          <a:p>
            <a:pPr marL="177845" indent="-177845">
              <a:buFont typeface="Arial" panose="020B0604020202020204" pitchFamily="34" charset="0"/>
              <a:buChar char="•"/>
            </a:pPr>
            <a:r>
              <a:rPr lang="en-US" sz="1200">
                <a:latin typeface="+mn-lt"/>
              </a:rPr>
              <a:t>We give customers the flexibility to choose their deep learning framework, without getting locked one framework.</a:t>
            </a:r>
          </a:p>
          <a:p>
            <a:pPr marL="177845" indent="-177845">
              <a:buFont typeface="Arial" panose="020B0604020202020204" pitchFamily="34" charset="0"/>
              <a:buChar char="•"/>
            </a:pPr>
            <a:r>
              <a:rPr lang="en-US" sz="1200">
                <a:latin typeface="+mn-lt"/>
              </a:rPr>
              <a:t>To help with this we’ve created a community project in partnership with Facebook that allows customers to train in one framework and use another one for inference</a:t>
            </a:r>
          </a:p>
          <a:p>
            <a:r>
              <a:rPr lang="en-US" sz="1200">
                <a:latin typeface="+mn-lt"/>
              </a:rPr>
              <a:t> </a:t>
            </a:r>
          </a:p>
          <a:p>
            <a:r>
              <a:rPr lang="en-US" sz="1200" i="1">
                <a:latin typeface="+mn-lt"/>
              </a:rPr>
              <a:t>Now, let me move to the ML services on Azure</a:t>
            </a:r>
            <a:endParaRPr lang="en-US" i="1"/>
          </a:p>
        </p:txBody>
      </p:sp>
      <p:sp>
        <p:nvSpPr>
          <p:cNvPr id="4" name="Header Placeholder 3"/>
          <p:cNvSpPr>
            <a:spLocks noGrp="1"/>
          </p:cNvSpPr>
          <p:nvPr>
            <p:ph type="hdr" sz="quarter" idx="10"/>
          </p:nvPr>
        </p:nvSpPr>
        <p:spPr/>
        <p:txBody>
          <a:bodyPr/>
          <a:lstStyle/>
          <a:p>
            <a:pPr marL="0" marR="0" lvl="0" indent="0" algn="l" defTabSz="966529" rtl="0" eaLnBrk="1" fontAlgn="auto" latinLnBrk="0" hangingPunct="1">
              <a:lnSpc>
                <a:spcPct val="100000"/>
              </a:lnSpc>
              <a:spcBef>
                <a:spcPts val="0"/>
              </a:spcBef>
              <a:spcAft>
                <a:spcPts val="0"/>
              </a:spcAft>
              <a:buClrTx/>
              <a:buSzTx/>
              <a:buFontTx/>
              <a:buNone/>
              <a:tabLst/>
              <a:defRPr/>
            </a:pPr>
            <a:r>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66211"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6529"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529" rtl="0" eaLnBrk="1" fontAlgn="auto" latinLnBrk="0" hangingPunct="1">
                <a:lnSpc>
                  <a:spcPct val="100000"/>
                </a:lnSpc>
                <a:spcBef>
                  <a:spcPts val="0"/>
                </a:spcBef>
                <a:spcAft>
                  <a:spcPts val="0"/>
                </a:spcAft>
                <a:buClrTx/>
                <a:buSzTx/>
                <a:buFontTx/>
                <a:buNone/>
                <a:tabLst/>
                <a:defRPr/>
              </a:pPr>
              <a:t>9/10/2019 11:23 PM</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652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529" rtl="0" eaLnBrk="1" fontAlgn="auto" latinLnBrk="0" hangingPunct="1">
                <a:lnSpc>
                  <a:spcPct val="100000"/>
                </a:lnSpc>
                <a:spcBef>
                  <a:spcPts val="0"/>
                </a:spcBef>
                <a:spcAft>
                  <a:spcPts val="0"/>
                </a:spcAft>
                <a:buClrTx/>
                <a:buSzTx/>
                <a:buFontTx/>
                <a:buNone/>
                <a:tabLst/>
                <a:defRPr/>
              </a:pPr>
              <a:t>88</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6866675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45" indent="-177845">
              <a:buFont typeface="Arial" panose="020B0604020202020204" pitchFamily="34" charset="0"/>
              <a:buChar char="•"/>
            </a:pPr>
            <a:r>
              <a:rPr lang="en-US" sz="1200" dirty="0">
                <a:latin typeface="+mn-lt"/>
              </a:rPr>
              <a:t>Our approach to ML frameworks is simple. </a:t>
            </a:r>
          </a:p>
          <a:p>
            <a:pPr marL="177845" indent="-177845">
              <a:buFont typeface="Arial" panose="020B0604020202020204" pitchFamily="34" charset="0"/>
              <a:buChar char="•"/>
            </a:pPr>
            <a:r>
              <a:rPr lang="en-US" sz="1200" dirty="0">
                <a:latin typeface="+mn-lt"/>
              </a:rPr>
              <a:t>We give customers the flexibility to choose their deep learning framework, without getting locked one framework.</a:t>
            </a:r>
          </a:p>
          <a:p>
            <a:pPr marL="177845" indent="-177845">
              <a:buFont typeface="Arial" panose="020B0604020202020204" pitchFamily="34" charset="0"/>
              <a:buChar char="•"/>
            </a:pPr>
            <a:r>
              <a:rPr lang="en-US" sz="1200" dirty="0">
                <a:latin typeface="+mn-lt"/>
              </a:rPr>
              <a:t>To help with this we’ve created a community project in partnership with Facebook that allows customers to train in one framework and use another one for inference</a:t>
            </a:r>
          </a:p>
          <a:p>
            <a:r>
              <a:rPr lang="en-US" sz="1200" dirty="0">
                <a:latin typeface="+mn-lt"/>
              </a:rPr>
              <a:t> </a:t>
            </a:r>
          </a:p>
          <a:p>
            <a:r>
              <a:rPr lang="en-US" sz="1200" i="1" dirty="0">
                <a:latin typeface="+mn-lt"/>
              </a:rPr>
              <a:t>Now, let me move to the ML services on Azure</a:t>
            </a:r>
            <a:endParaRPr lang="en-US" i="1" dirty="0"/>
          </a:p>
        </p:txBody>
      </p:sp>
      <p:sp>
        <p:nvSpPr>
          <p:cNvPr id="4" name="Header Placeholder 3"/>
          <p:cNvSpPr>
            <a:spLocks noGrp="1"/>
          </p:cNvSpPr>
          <p:nvPr>
            <p:ph type="hdr" sz="quarter" idx="10"/>
          </p:nvPr>
        </p:nvSpPr>
        <p:spPr/>
        <p:txBody>
          <a:bodyPr/>
          <a:lstStyle/>
          <a:p>
            <a:pPr marL="0" marR="0" lvl="0" indent="0" algn="l" defTabSz="966529" rtl="0" eaLnBrk="1" fontAlgn="auto" latinLnBrk="0" hangingPunct="1">
              <a:lnSpc>
                <a:spcPct val="100000"/>
              </a:lnSpc>
              <a:spcBef>
                <a:spcPts val="0"/>
              </a:spcBef>
              <a:spcAft>
                <a:spcPts val="0"/>
              </a:spcAft>
              <a:buClrTx/>
              <a:buSzTx/>
              <a:buFontTx/>
              <a:buNone/>
              <a:tabLst/>
              <a:defRPr/>
            </a:pPr>
            <a:r>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66211"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6529"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529" rtl="0" eaLnBrk="1" fontAlgn="auto" latinLnBrk="0" hangingPunct="1">
                <a:lnSpc>
                  <a:spcPct val="100000"/>
                </a:lnSpc>
                <a:spcBef>
                  <a:spcPts val="0"/>
                </a:spcBef>
                <a:spcAft>
                  <a:spcPts val="0"/>
                </a:spcAft>
                <a:buClrTx/>
                <a:buSzTx/>
                <a:buFontTx/>
                <a:buNone/>
                <a:tabLst/>
                <a:defRPr/>
              </a:pPr>
              <a:t>9/10/2019 11:23 PM</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652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529" rtl="0" eaLnBrk="1" fontAlgn="auto" latinLnBrk="0" hangingPunct="1">
                <a:lnSpc>
                  <a:spcPct val="100000"/>
                </a:lnSpc>
                <a:spcBef>
                  <a:spcPts val="0"/>
                </a:spcBef>
                <a:spcAft>
                  <a:spcPts val="0"/>
                </a:spcAft>
                <a:buClrTx/>
                <a:buSzTx/>
                <a:buFontTx/>
                <a:buNone/>
                <a:tabLst/>
                <a:defRPr/>
              </a:pPr>
              <a:t>89</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7824070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45" indent="-177845">
              <a:buFont typeface="Arial" panose="020B0604020202020204" pitchFamily="34" charset="0"/>
              <a:buChar char="•"/>
            </a:pPr>
            <a:r>
              <a:rPr lang="en-US" sz="1200" dirty="0">
                <a:latin typeface="+mn-lt"/>
              </a:rPr>
              <a:t>Our approach to ML frameworks is simple. </a:t>
            </a:r>
          </a:p>
          <a:p>
            <a:pPr marL="177845" indent="-177845">
              <a:buFont typeface="Arial" panose="020B0604020202020204" pitchFamily="34" charset="0"/>
              <a:buChar char="•"/>
            </a:pPr>
            <a:r>
              <a:rPr lang="en-US" sz="1200" dirty="0">
                <a:latin typeface="+mn-lt"/>
              </a:rPr>
              <a:t>We give customers the flexibility to choose their deep learning framework, without getting locked one framework.</a:t>
            </a:r>
          </a:p>
          <a:p>
            <a:pPr marL="177845" indent="-177845">
              <a:buFont typeface="Arial" panose="020B0604020202020204" pitchFamily="34" charset="0"/>
              <a:buChar char="•"/>
            </a:pPr>
            <a:r>
              <a:rPr lang="en-US" sz="1200" dirty="0">
                <a:latin typeface="+mn-lt"/>
              </a:rPr>
              <a:t>To help with this we’ve created a community project in partnership with Facebook that allows customers to train in one framework and use another one for inference</a:t>
            </a:r>
          </a:p>
          <a:p>
            <a:r>
              <a:rPr lang="en-US" sz="1200" dirty="0">
                <a:latin typeface="+mn-lt"/>
              </a:rPr>
              <a:t> </a:t>
            </a:r>
          </a:p>
          <a:p>
            <a:r>
              <a:rPr lang="en-US" sz="1200" i="1" dirty="0">
                <a:latin typeface="+mn-lt"/>
              </a:rPr>
              <a:t>Now, let me move to the ML services on Azure</a:t>
            </a:r>
            <a:endParaRPr lang="en-US" i="1" dirty="0"/>
          </a:p>
        </p:txBody>
      </p:sp>
      <p:sp>
        <p:nvSpPr>
          <p:cNvPr id="4" name="Header Placeholder 3"/>
          <p:cNvSpPr>
            <a:spLocks noGrp="1"/>
          </p:cNvSpPr>
          <p:nvPr>
            <p:ph type="hdr" sz="quarter" idx="10"/>
          </p:nvPr>
        </p:nvSpPr>
        <p:spPr/>
        <p:txBody>
          <a:bodyPr/>
          <a:lstStyle/>
          <a:p>
            <a:pPr marL="0" marR="0" lvl="0" indent="0" algn="l" defTabSz="966529" rtl="0" eaLnBrk="1" fontAlgn="auto" latinLnBrk="0" hangingPunct="1">
              <a:lnSpc>
                <a:spcPct val="100000"/>
              </a:lnSpc>
              <a:spcBef>
                <a:spcPts val="0"/>
              </a:spcBef>
              <a:spcAft>
                <a:spcPts val="0"/>
              </a:spcAft>
              <a:buClrTx/>
              <a:buSzTx/>
              <a:buFontTx/>
              <a:buNone/>
              <a:tabLst/>
              <a:defRPr/>
            </a:pPr>
            <a:r>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66211"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6529"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529" rtl="0" eaLnBrk="1" fontAlgn="auto" latinLnBrk="0" hangingPunct="1">
                <a:lnSpc>
                  <a:spcPct val="100000"/>
                </a:lnSpc>
                <a:spcBef>
                  <a:spcPts val="0"/>
                </a:spcBef>
                <a:spcAft>
                  <a:spcPts val="0"/>
                </a:spcAft>
                <a:buClrTx/>
                <a:buSzTx/>
                <a:buFontTx/>
                <a:buNone/>
                <a:tabLst/>
                <a:defRPr/>
              </a:pPr>
              <a:t>9/10/2019 11:23 PM</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652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529" rtl="0" eaLnBrk="1" fontAlgn="auto" latinLnBrk="0" hangingPunct="1">
                <a:lnSpc>
                  <a:spcPct val="100000"/>
                </a:lnSpc>
                <a:spcBef>
                  <a:spcPts val="0"/>
                </a:spcBef>
                <a:spcAft>
                  <a:spcPts val="0"/>
                </a:spcAft>
                <a:buClrTx/>
                <a:buSzTx/>
                <a:buFontTx/>
                <a:buNone/>
                <a:tabLst/>
                <a:defRPr/>
              </a:pPr>
              <a:t>90</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54316178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45" indent="-177845">
              <a:buFont typeface="Arial" panose="020B0604020202020204" pitchFamily="34" charset="0"/>
              <a:buChar char="•"/>
            </a:pPr>
            <a:r>
              <a:rPr lang="en-US" sz="1200">
                <a:latin typeface="+mn-lt"/>
              </a:rPr>
              <a:t>Our approach to ML frameworks is simple. </a:t>
            </a:r>
          </a:p>
          <a:p>
            <a:pPr marL="177845" indent="-177845">
              <a:buFont typeface="Arial" panose="020B0604020202020204" pitchFamily="34" charset="0"/>
              <a:buChar char="•"/>
            </a:pPr>
            <a:r>
              <a:rPr lang="en-US" sz="1200">
                <a:latin typeface="+mn-lt"/>
              </a:rPr>
              <a:t>We give customers the flexibility to choose their deep learning framework, without getting locked one framework.</a:t>
            </a:r>
          </a:p>
          <a:p>
            <a:pPr marL="177845" indent="-177845">
              <a:buFont typeface="Arial" panose="020B0604020202020204" pitchFamily="34" charset="0"/>
              <a:buChar char="•"/>
            </a:pPr>
            <a:r>
              <a:rPr lang="en-US" sz="1200">
                <a:latin typeface="+mn-lt"/>
              </a:rPr>
              <a:t>To help with this we’ve created a community project in partnership with Facebook that allows customers to train in one framework and use another one for inference</a:t>
            </a:r>
          </a:p>
          <a:p>
            <a:r>
              <a:rPr lang="en-US" sz="1200">
                <a:latin typeface="+mn-lt"/>
              </a:rPr>
              <a:t> </a:t>
            </a:r>
          </a:p>
          <a:p>
            <a:r>
              <a:rPr lang="en-US" sz="1200" i="1">
                <a:latin typeface="+mn-lt"/>
              </a:rPr>
              <a:t>Now, let me move to the ML services on Azure</a:t>
            </a:r>
            <a:endParaRPr lang="en-US" i="1"/>
          </a:p>
        </p:txBody>
      </p:sp>
      <p:sp>
        <p:nvSpPr>
          <p:cNvPr id="4" name="Header Placeholder 3"/>
          <p:cNvSpPr>
            <a:spLocks noGrp="1"/>
          </p:cNvSpPr>
          <p:nvPr>
            <p:ph type="hdr" sz="quarter" idx="10"/>
          </p:nvPr>
        </p:nvSpPr>
        <p:spPr/>
        <p:txBody>
          <a:bodyPr/>
          <a:lstStyle/>
          <a:p>
            <a:pPr marL="0" marR="0" lvl="0" indent="0" algn="l" defTabSz="966529" rtl="0" eaLnBrk="1" fontAlgn="auto" latinLnBrk="0" hangingPunct="1">
              <a:lnSpc>
                <a:spcPct val="100000"/>
              </a:lnSpc>
              <a:spcBef>
                <a:spcPts val="0"/>
              </a:spcBef>
              <a:spcAft>
                <a:spcPts val="0"/>
              </a:spcAft>
              <a:buClrTx/>
              <a:buSzTx/>
              <a:buFontTx/>
              <a:buNone/>
              <a:tabLst/>
              <a:defRPr/>
            </a:pPr>
            <a:r>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66211"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6529"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529" rtl="0" eaLnBrk="1" fontAlgn="auto" latinLnBrk="0" hangingPunct="1">
                <a:lnSpc>
                  <a:spcPct val="100000"/>
                </a:lnSpc>
                <a:spcBef>
                  <a:spcPts val="0"/>
                </a:spcBef>
                <a:spcAft>
                  <a:spcPts val="0"/>
                </a:spcAft>
                <a:buClrTx/>
                <a:buSzTx/>
                <a:buFontTx/>
                <a:buNone/>
                <a:tabLst/>
                <a:defRPr/>
              </a:pPr>
              <a:t>9/10/2019 11:23 PM</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652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529" rtl="0" eaLnBrk="1" fontAlgn="auto" latinLnBrk="0" hangingPunct="1">
                <a:lnSpc>
                  <a:spcPct val="100000"/>
                </a:lnSpc>
                <a:spcBef>
                  <a:spcPts val="0"/>
                </a:spcBef>
                <a:spcAft>
                  <a:spcPts val="0"/>
                </a:spcAft>
                <a:buClrTx/>
                <a:buSzTx/>
                <a:buFontTx/>
                <a:buNone/>
                <a:tabLst/>
                <a:defRPr/>
              </a:pPr>
              <a:t>91</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8305774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spcAft>
                <a:spcPts val="622"/>
              </a:spcAft>
            </a:pPr>
            <a:r>
              <a:rPr lang="en-US" sz="1200" dirty="0">
                <a:gradFill>
                  <a:gsLst>
                    <a:gs pos="2917">
                      <a:schemeClr val="tx1"/>
                    </a:gs>
                    <a:gs pos="30000">
                      <a:schemeClr val="tx1"/>
                    </a:gs>
                  </a:gsLst>
                  <a:lin ang="5400000" scaled="0"/>
                </a:gradFill>
              </a:rPr>
              <a:t>Explain the inner workings of machine learning by analyzing the ML pipeline and all involved steps </a:t>
            </a:r>
          </a:p>
          <a:p>
            <a:pPr>
              <a:lnSpc>
                <a:spcPct val="150000"/>
              </a:lnSpc>
              <a:spcAft>
                <a:spcPts val="622"/>
              </a:spcAft>
            </a:pPr>
            <a:r>
              <a:rPr lang="en-US" sz="1200" dirty="0">
                <a:gradFill>
                  <a:gsLst>
                    <a:gs pos="2917">
                      <a:schemeClr val="tx1"/>
                    </a:gs>
                    <a:gs pos="30000">
                      <a:schemeClr val="tx1"/>
                    </a:gs>
                  </a:gsLst>
                  <a:lin ang="5400000" scaled="0"/>
                </a:gradFill>
              </a:rPr>
              <a:t>Analyze global feature importance on-demand before finalizing a model for deployment </a:t>
            </a:r>
          </a:p>
          <a:p>
            <a:pPr>
              <a:lnSpc>
                <a:spcPct val="150000"/>
              </a:lnSpc>
              <a:spcAft>
                <a:spcPts val="622"/>
              </a:spcAft>
            </a:pPr>
            <a:r>
              <a:rPr lang="en-US" sz="1200" dirty="0">
                <a:gradFill>
                  <a:gsLst>
                    <a:gs pos="2917">
                      <a:schemeClr val="tx1"/>
                    </a:gs>
                    <a:gs pos="30000">
                      <a:schemeClr val="tx1"/>
                    </a:gs>
                  </a:gsLst>
                  <a:lin ang="5400000" scaled="0"/>
                </a:gradFill>
              </a:rPr>
              <a:t>Enable model explain-ability for every automated ML iteration, not just the optimal model </a:t>
            </a:r>
          </a:p>
          <a:p>
            <a:endParaRPr lang="en-US" sz="1200" dirty="0">
              <a:latin typeface="+mn-lt"/>
            </a:endParaRPr>
          </a:p>
        </p:txBody>
      </p:sp>
      <p:sp>
        <p:nvSpPr>
          <p:cNvPr id="4" name="Slide Number Placeholder 3"/>
          <p:cNvSpPr>
            <a:spLocks noGrp="1"/>
          </p:cNvSpPr>
          <p:nvPr>
            <p:ph type="sldNum" sz="quarter" idx="5"/>
          </p:nvPr>
        </p:nvSpPr>
        <p:spPr/>
        <p:txBody>
          <a:bodyPr/>
          <a:lstStyle/>
          <a:p>
            <a:pPr marL="0" marR="0" lvl="0" indent="0" algn="r" defTabSz="948507" rtl="0" eaLnBrk="1" fontAlgn="auto" latinLnBrk="0" hangingPunct="1">
              <a:lnSpc>
                <a:spcPct val="100000"/>
              </a:lnSpc>
              <a:spcBef>
                <a:spcPts val="0"/>
              </a:spcBef>
              <a:spcAft>
                <a:spcPts val="0"/>
              </a:spcAft>
              <a:buClrTx/>
              <a:buSzTx/>
              <a:buFontTx/>
              <a:buNone/>
              <a:tabLst/>
              <a:defRPr/>
            </a:pPr>
            <a:fld id="{4A920B32-6D80-4A6C-84E7-947AB576993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8507"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277578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67533" rtl="0" eaLnBrk="1" fontAlgn="auto" latinLnBrk="0" hangingPunct="1">
              <a:lnSpc>
                <a:spcPct val="100000"/>
              </a:lnSpc>
              <a:spcBef>
                <a:spcPts val="0"/>
              </a:spcBef>
              <a:spcAft>
                <a:spcPts val="0"/>
              </a:spcAft>
              <a:buClrTx/>
              <a:buSzTx/>
              <a:buFontTx/>
              <a:buNone/>
              <a:tabLst/>
              <a:defRPr/>
            </a:pPr>
            <a:fld id="{DCE49D36-8E4E-4332-BFCB-3EBC396FCEC7}" type="slidenum">
              <a:rPr kumimoji="0" lang="en-US" alt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7533" rtl="0" eaLnBrk="1" fontAlgn="auto" latinLnBrk="0" hangingPunct="1">
                <a:lnSpc>
                  <a:spcPct val="100000"/>
                </a:lnSpc>
                <a:spcBef>
                  <a:spcPts val="0"/>
                </a:spcBef>
                <a:spcAft>
                  <a:spcPts val="0"/>
                </a:spcAft>
                <a:buClrTx/>
                <a:buSzTx/>
                <a:buFontTx/>
                <a:buNone/>
                <a:tabLst/>
                <a:defRPr/>
              </a:pPr>
              <a:t>94</a:t>
            </a:fld>
            <a:endParaRPr kumimoji="0" lang="en-US" alt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6240628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45" indent="-177845" fontAlgn="base">
              <a:buFont typeface="Arial" panose="020B0604020202020204" pitchFamily="34" charset="0"/>
              <a:buChar char="•"/>
            </a:pPr>
            <a:r>
              <a:rPr lang="en-US" sz="1200">
                <a:latin typeface="+mn-lt"/>
              </a:rPr>
              <a:t>We have the most comprehensive AI infrastructure </a:t>
            </a:r>
          </a:p>
          <a:p>
            <a:pPr marL="177845" indent="-177845" fontAlgn="base">
              <a:buFont typeface="Arial" panose="020B0604020202020204" pitchFamily="34" charset="0"/>
              <a:buChar char="•"/>
            </a:pPr>
            <a:r>
              <a:rPr lang="en-US" sz="1200">
                <a:latin typeface="+mn-lt"/>
              </a:rPr>
              <a:t>From general purpose CPUs to specialized HW (FPGAs) </a:t>
            </a:r>
          </a:p>
          <a:p>
            <a:pPr marL="177845" indent="-177845" fontAlgn="base">
              <a:buFont typeface="Arial" panose="020B0604020202020204" pitchFamily="34" charset="0"/>
              <a:buChar char="•"/>
            </a:pPr>
            <a:r>
              <a:rPr lang="en-US" sz="1200">
                <a:latin typeface="+mn-lt"/>
              </a:rPr>
              <a:t>FPGA -&gt; lowest cost inferencing. Lower than Google’s TPUs </a:t>
            </a:r>
          </a:p>
          <a:p>
            <a:pPr marL="177845" indent="-177845" fontAlgn="base">
              <a:buFont typeface="Arial" panose="020B0604020202020204" pitchFamily="34" charset="0"/>
              <a:buChar char="•"/>
            </a:pPr>
            <a:r>
              <a:rPr lang="en-US" sz="1200">
                <a:latin typeface="+mn-lt"/>
              </a:rPr>
              <a:t>Most comprehensive set of GPU options so customers can choose the right one for their project. (best price/performance) </a:t>
            </a:r>
          </a:p>
          <a:p>
            <a:pPr rtl="0" fontAlgn="base"/>
            <a:r>
              <a:rPr lang="en-US" sz="1200">
                <a:latin typeface="+mn-lt"/>
              </a:rPr>
              <a:t> </a:t>
            </a:r>
          </a:p>
          <a:p>
            <a:pPr rtl="0" fontAlgn="base"/>
            <a:r>
              <a:rPr lang="en-US" sz="1200">
                <a:latin typeface="+mn-lt"/>
              </a:rPr>
              <a:t>&lt;Transition&gt; Let me move to the last part of our ML portfolio.  </a:t>
            </a:r>
          </a:p>
          <a:p>
            <a:endParaRPr lang="en-US"/>
          </a:p>
        </p:txBody>
      </p:sp>
      <p:sp>
        <p:nvSpPr>
          <p:cNvPr id="4" name="Header Placeholder 3"/>
          <p:cNvSpPr>
            <a:spLocks noGrp="1"/>
          </p:cNvSpPr>
          <p:nvPr>
            <p:ph type="hdr" sz="quarter" idx="10"/>
          </p:nvPr>
        </p:nvSpPr>
        <p:spPr/>
        <p:txBody>
          <a:bodyPr/>
          <a:lstStyle/>
          <a:p>
            <a:pPr marL="0" marR="0" lvl="0" indent="0" algn="l" defTabSz="966529" rtl="0" eaLnBrk="1" fontAlgn="auto" latinLnBrk="0" hangingPunct="1">
              <a:lnSpc>
                <a:spcPct val="100000"/>
              </a:lnSpc>
              <a:spcBef>
                <a:spcPts val="0"/>
              </a:spcBef>
              <a:spcAft>
                <a:spcPts val="0"/>
              </a:spcAft>
              <a:buClrTx/>
              <a:buSzTx/>
              <a:buFontTx/>
              <a:buNone/>
              <a:tabLst/>
              <a:defRPr/>
            </a:pPr>
            <a:r>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66211"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6529"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529" rtl="0" eaLnBrk="1" fontAlgn="auto" latinLnBrk="0" hangingPunct="1">
                <a:lnSpc>
                  <a:spcPct val="100000"/>
                </a:lnSpc>
                <a:spcBef>
                  <a:spcPts val="0"/>
                </a:spcBef>
                <a:spcAft>
                  <a:spcPts val="0"/>
                </a:spcAft>
                <a:buClrTx/>
                <a:buSzTx/>
                <a:buFontTx/>
                <a:buNone/>
                <a:tabLst/>
                <a:defRPr/>
              </a:pPr>
              <a:t>9/10/2019 11:23 PM</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652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529" rtl="0" eaLnBrk="1" fontAlgn="auto" latinLnBrk="0" hangingPunct="1">
                <a:lnSpc>
                  <a:spcPct val="100000"/>
                </a:lnSpc>
                <a:spcBef>
                  <a:spcPts val="0"/>
                </a:spcBef>
                <a:spcAft>
                  <a:spcPts val="0"/>
                </a:spcAft>
                <a:buClrTx/>
                <a:buSzTx/>
                <a:buFontTx/>
                <a:buNone/>
                <a:tabLst/>
                <a:defRPr/>
              </a:pPr>
              <a:t>96</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12222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8507">
              <a:lnSpc>
                <a:spcPct val="100000"/>
              </a:lnSpc>
              <a:spcAft>
                <a:spcPts val="0"/>
              </a:spcAft>
              <a:defRPr/>
            </a:pPr>
            <a:r>
              <a:rPr lang="en-US" dirty="0"/>
              <a:t>Here is the data scientist’s inner loop of work</a:t>
            </a:r>
          </a:p>
          <a:p>
            <a:endParaRPr lang="en-US" dirty="0"/>
          </a:p>
        </p:txBody>
      </p:sp>
      <p:sp>
        <p:nvSpPr>
          <p:cNvPr id="4" name="Slide Number Placeholder 3"/>
          <p:cNvSpPr>
            <a:spLocks noGrp="1"/>
          </p:cNvSpPr>
          <p:nvPr>
            <p:ph type="sldNum" sz="quarter" idx="5"/>
          </p:nvPr>
        </p:nvSpPr>
        <p:spPr/>
        <p:txBody>
          <a:bodyPr/>
          <a:lstStyle/>
          <a:p>
            <a:pPr marL="0" marR="0" lvl="0" indent="0" algn="r" defTabSz="967533"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7533"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66549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a:t>IoT is complex… We are working together to try and make it easier to be successful in this space.</a:t>
            </a:r>
          </a:p>
          <a:p>
            <a:r>
              <a:rPr lang="en-US" sz="2400"/>
              <a:t>There are two main ways to think about Azure and your business.  SaaS or PaaS.  Do you need a high level of </a:t>
            </a:r>
            <a:r>
              <a:rPr lang="en-US" sz="2400" err="1"/>
              <a:t>custobmization</a:t>
            </a:r>
            <a:r>
              <a:rPr lang="en-US" sz="2400"/>
              <a:t>, or do you need a managed service.</a:t>
            </a:r>
          </a:p>
          <a:p>
            <a:pPr marL="228600" indent="-228600">
              <a:buFont typeface="Arial" panose="020B0604020202020204" pitchFamily="34" charset="0"/>
              <a:buChar char="•"/>
            </a:pPr>
            <a:r>
              <a:rPr lang="en-US" sz="2400"/>
              <a:t>The first is SaaS.  Whether you are building a managed service for yourself or on behalf of a customer, Azure IoT Central can remove complexity, allowing you to quickly deploy and manage a fleet of connected devices at scale. From digital devices to connected equipment, and consumer white goods; these are all examples that are perfect for Azure IoT Central</a:t>
            </a:r>
          </a:p>
          <a:p>
            <a:pPr marL="228600" indent="-228600">
              <a:buFont typeface="Arial" panose="020B0604020202020204" pitchFamily="34" charset="0"/>
              <a:buChar char="•"/>
            </a:pPr>
            <a:r>
              <a:rPr lang="en-US" sz="2400"/>
              <a:t>We have customers examples, industry use cases, partners, tools and resources in place to help you transition your business to a managed services.  The service is in public preview now and we are already working with lots of customers and partners. Azure IoT Central will come later this year</a:t>
            </a:r>
          </a:p>
          <a:p>
            <a:pPr marL="228600" indent="-228600">
              <a:buFont typeface="Arial" panose="020B0604020202020204" pitchFamily="34" charset="0"/>
              <a:buChar char="•"/>
            </a:pPr>
            <a:endParaRPr lang="en-US" sz="2400"/>
          </a:p>
          <a:p>
            <a:pPr marL="228600" indent="-228600">
              <a:buFont typeface="Arial" panose="020B0604020202020204" pitchFamily="34" charset="0"/>
              <a:buChar char="•"/>
            </a:pPr>
            <a:r>
              <a:rPr lang="en-US" sz="2400"/>
              <a:t>Sometimes you have a need for greater customization and control, and in these situations PaaS is a better fit.  Microsoft has a the industry leading portfolio of platform services to help you create an IoT solution spanning the Intelligent Cloud and Intelligent Edge.</a:t>
            </a:r>
          </a:p>
          <a:p>
            <a:pPr marL="685800" lvl="1" indent="-228600">
              <a:buFont typeface="Arial" panose="020B0604020202020204" pitchFamily="34" charset="0"/>
              <a:buChar char="•"/>
            </a:pPr>
            <a:r>
              <a:rPr lang="en-US" sz="2400"/>
              <a:t>Azure IoT Hub is the starting point for IoT in the cloud and the way that you scale the intelligent Edge</a:t>
            </a:r>
          </a:p>
          <a:p>
            <a:pPr marL="685800" lvl="1" indent="-228600">
              <a:buFont typeface="Arial" panose="020B0604020202020204" pitchFamily="34" charset="0"/>
              <a:buChar char="•"/>
            </a:pPr>
            <a:r>
              <a:rPr lang="en-US" sz="2400"/>
              <a:t>Azure IoT Edge allows you to run intelligence at the edge and only connect to the cloud for monitoring and maintenance </a:t>
            </a:r>
          </a:p>
          <a:p>
            <a:pPr marL="685800" lvl="1" indent="-228600">
              <a:buFont typeface="Arial" panose="020B0604020202020204" pitchFamily="34" charset="0"/>
              <a:buChar char="•"/>
            </a:pPr>
            <a:r>
              <a:rPr lang="en-US" sz="2400"/>
              <a:t>Microsoft has build Solution Accelerators for the most common IoT scenarios, designed to help you get started more quickly</a:t>
            </a:r>
          </a:p>
          <a:p>
            <a:pPr marL="685800" lvl="1" indent="-228600">
              <a:buFont typeface="Arial" panose="020B0604020202020204" pitchFamily="34" charset="0"/>
              <a:buChar char="•"/>
            </a:pPr>
            <a:endParaRPr lang="en-US" sz="2400"/>
          </a:p>
          <a:p>
            <a:pPr marL="685800" lvl="1" indent="-228600">
              <a:buFont typeface="Arial" panose="020B0604020202020204" pitchFamily="34" charset="0"/>
              <a:buChar char="•"/>
            </a:pPr>
            <a:endParaRPr lang="en-US" sz="2400"/>
          </a:p>
          <a:p>
            <a:pPr marL="228600" indent="-228600">
              <a:buFont typeface="+mj-lt"/>
              <a:buAutoNum type="arabicPeriod"/>
            </a:pPr>
            <a:endParaRPr lang="en-US" sz="2400"/>
          </a:p>
          <a:p>
            <a:pPr marL="228600" indent="-228600">
              <a:buFont typeface="+mj-lt"/>
              <a:buAutoNum type="arabicPeriod"/>
            </a:pPr>
            <a:endParaRPr lang="en-US" sz="2400"/>
          </a:p>
          <a:p>
            <a:pPr marL="228600" lvl="0" indent="-228600">
              <a:buFont typeface="+mj-lt"/>
              <a:buAutoNum type="arabicPeriod"/>
            </a:pPr>
            <a:endParaRPr lang="en-US" sz="2400"/>
          </a:p>
          <a:p>
            <a:pPr marL="228600" indent="-228600">
              <a:buFont typeface="+mj-lt"/>
              <a:buAutoNum type="arabicPeriod"/>
            </a:pPr>
            <a:endParaRPr lang="en-US" sz="2400"/>
          </a:p>
          <a:p>
            <a:endParaRPr lang="en-US" sz="2400"/>
          </a:p>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0DDCC18-5A0B-504D-8CCE-4D3433E3AD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3229185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8507">
              <a:lnSpc>
                <a:spcPct val="100000"/>
              </a:lnSpc>
              <a:spcAft>
                <a:spcPts val="0"/>
              </a:spcAft>
              <a:defRPr/>
            </a:pPr>
            <a:r>
              <a:rPr lang="en-US" dirty="0"/>
              <a:t>Here is the data scientist’s inner loop of work</a:t>
            </a:r>
          </a:p>
          <a:p>
            <a:endParaRPr lang="en-US" dirty="0"/>
          </a:p>
        </p:txBody>
      </p:sp>
      <p:sp>
        <p:nvSpPr>
          <p:cNvPr id="4" name="Slide Number Placeholder 3"/>
          <p:cNvSpPr>
            <a:spLocks noGrp="1"/>
          </p:cNvSpPr>
          <p:nvPr>
            <p:ph type="sldNum" sz="quarter" idx="5"/>
          </p:nvPr>
        </p:nvSpPr>
        <p:spPr/>
        <p:txBody>
          <a:bodyPr/>
          <a:lstStyle/>
          <a:p>
            <a:pPr marL="0" marR="0" lvl="0" indent="0" algn="r" defTabSz="967533"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7533"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47653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90000"/>
              </a:lnSpc>
              <a:spcBef>
                <a:spcPts val="0"/>
              </a:spcBef>
              <a:spcAft>
                <a:spcPts val="600"/>
              </a:spcAft>
              <a:buClrTx/>
              <a:buSzPct val="100000"/>
              <a:buFontTx/>
              <a:buNone/>
              <a:tabLst/>
              <a:defRPr/>
            </a:pPr>
            <a:r>
              <a:rPr kumimoji="0" lang="en-US" sz="1200" b="1" i="0" u="none" strike="noStrike" kern="1200" cap="none" spc="0" normalizeH="0" baseline="0" noProof="0" dirty="0">
                <a:ln>
                  <a:noFill/>
                </a:ln>
                <a:solidFill>
                  <a:srgbClr val="1A1A1A"/>
                </a:solidFill>
                <a:effectLst/>
                <a:uLnTx/>
                <a:uFillTx/>
                <a:latin typeface="Segoe UI Semibold"/>
                <a:cs typeface="Segoe UI Semilight" panose="020B0402040204020203" pitchFamily="34" charset="0"/>
              </a:rPr>
              <a:t>Key message:</a:t>
            </a:r>
          </a:p>
          <a:p>
            <a:pPr marL="0" marR="0" lvl="0" indent="0" algn="l" defTabSz="914400" rtl="0" eaLnBrk="1" fontAlgn="base" latinLnBrk="0" hangingPunct="1">
              <a:lnSpc>
                <a:spcPct val="90000"/>
              </a:lnSpc>
              <a:spcBef>
                <a:spcPts val="0"/>
              </a:spcBef>
              <a:spcAft>
                <a:spcPts val="600"/>
              </a:spcAft>
              <a:buClrTx/>
              <a:buSzPct val="100000"/>
              <a:buFontTx/>
              <a:buNone/>
              <a:tabLst/>
              <a:defRPr/>
            </a:pPr>
            <a:r>
              <a:rPr lang="en-US" noProof="0" dirty="0"/>
              <a:t>Here are the 3 key reasons to start with Insight IoT. </a:t>
            </a:r>
          </a:p>
          <a:p>
            <a:pPr marL="0" marR="0" lvl="0" indent="0" algn="l" defTabSz="914400" rtl="0" eaLnBrk="1" fontAlgn="base" latinLnBrk="0" hangingPunct="1">
              <a:lnSpc>
                <a:spcPct val="90000"/>
              </a:lnSpc>
              <a:spcBef>
                <a:spcPts val="0"/>
              </a:spcBef>
              <a:spcAft>
                <a:spcPts val="600"/>
              </a:spcAft>
              <a:buClrTx/>
              <a:buSzPct val="100000"/>
              <a:buFontTx/>
              <a:buNone/>
              <a:tabLst/>
              <a:defRPr/>
            </a:pPr>
            <a:endParaRPr kumimoji="0" lang="en-US" sz="1200" b="1" i="0" u="none" strike="noStrike" kern="1200" cap="none" spc="0" normalizeH="0" baseline="0" noProof="0" dirty="0">
              <a:ln>
                <a:noFill/>
              </a:ln>
              <a:solidFill>
                <a:srgbClr val="1A1A1A"/>
              </a:solidFill>
              <a:effectLst/>
              <a:uLnTx/>
              <a:uFillTx/>
              <a:latin typeface="Segoe UI Semibold"/>
              <a:cs typeface="Segoe UI Semilight" panose="020B0402040204020203" pitchFamily="34" charset="0"/>
            </a:endParaRPr>
          </a:p>
          <a:p>
            <a:pPr marL="0" marR="0" lvl="0" indent="0" algn="l" defTabSz="914400" rtl="0" eaLnBrk="1" fontAlgn="base" latinLnBrk="0" hangingPunct="1">
              <a:lnSpc>
                <a:spcPct val="90000"/>
              </a:lnSpc>
              <a:spcBef>
                <a:spcPts val="0"/>
              </a:spcBef>
              <a:spcAft>
                <a:spcPts val="600"/>
              </a:spcAft>
              <a:buClrTx/>
              <a:buSzPct val="100000"/>
              <a:buFontTx/>
              <a:buNone/>
              <a:tabLst/>
              <a:defRPr/>
            </a:pPr>
            <a:endParaRPr kumimoji="0" lang="en-US" sz="1200" b="1" i="0" u="none" strike="noStrike" kern="1200" cap="none" spc="0" normalizeH="0" baseline="0" noProof="0" dirty="0">
              <a:ln>
                <a:noFill/>
              </a:ln>
              <a:solidFill>
                <a:srgbClr val="1A1A1A"/>
              </a:solidFill>
              <a:effectLst/>
              <a:uLnTx/>
              <a:uFillTx/>
              <a:latin typeface="Segoe UI Semibold"/>
              <a:cs typeface="Segoe UI Semilight" panose="020B0402040204020203" pitchFamily="34" charset="0"/>
            </a:endParaRPr>
          </a:p>
          <a:p>
            <a:r>
              <a:rPr lang="en-US" b="1" dirty="0"/>
              <a:t>Start Fa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1A1A1A"/>
                </a:solidFill>
                <a:latin typeface="Segoe UI Semibold"/>
                <a:cs typeface="Segoe UI Semilight" panose="020B0402040204020203" pitchFamily="34" charset="0"/>
              </a:rPr>
              <a:t>Solution that includes comprehensive minimum set of components using a PaaS solution</a:t>
            </a:r>
          </a:p>
          <a:p>
            <a:pPr marL="0" marR="0" lvl="0" indent="0" algn="l" defTabSz="914400" rtl="0" eaLnBrk="1" fontAlgn="base" latinLnBrk="0" hangingPunct="1">
              <a:lnSpc>
                <a:spcPct val="90000"/>
              </a:lnSpc>
              <a:spcBef>
                <a:spcPts val="0"/>
              </a:spcBef>
              <a:spcAft>
                <a:spcPts val="600"/>
              </a:spcAft>
              <a:buClrTx/>
              <a:buSzPct val="100000"/>
              <a:buFontTx/>
              <a:buNone/>
              <a:tabLst/>
              <a:defRPr/>
            </a:pPr>
            <a:endParaRPr kumimoji="0" lang="en-US" sz="1200" b="1" i="0" u="none" strike="noStrike" kern="1200" cap="none" spc="0" normalizeH="0" baseline="0" noProof="0" dirty="0">
              <a:ln>
                <a:noFill/>
              </a:ln>
              <a:solidFill>
                <a:srgbClr val="1A1A1A"/>
              </a:solidFill>
              <a:effectLst/>
              <a:uLnTx/>
              <a:uFillTx/>
              <a:latin typeface="Segoe UI Semibold"/>
              <a:cs typeface="Segoe UI Semilight" panose="020B0402040204020203" pitchFamily="34" charset="0"/>
            </a:endParaRPr>
          </a:p>
          <a:p>
            <a:pPr marL="0" marR="0" lvl="0" indent="0" algn="l" defTabSz="914400" rtl="0" eaLnBrk="1" fontAlgn="base" latinLnBrk="0" hangingPunct="1">
              <a:lnSpc>
                <a:spcPct val="90000"/>
              </a:lnSpc>
              <a:spcBef>
                <a:spcPts val="0"/>
              </a:spcBef>
              <a:spcAft>
                <a:spcPts val="600"/>
              </a:spcAft>
              <a:buClrTx/>
              <a:buSzPct val="100000"/>
              <a:buFontTx/>
              <a:buNone/>
              <a:tabLst/>
              <a:defRPr/>
            </a:pPr>
            <a:r>
              <a:rPr kumimoji="0" lang="en-US" sz="1200" b="1" i="0" u="none" strike="noStrike" kern="1200" cap="none" spc="0" normalizeH="0" baseline="0" noProof="0" dirty="0">
                <a:ln>
                  <a:noFill/>
                </a:ln>
                <a:solidFill>
                  <a:srgbClr val="1A1A1A"/>
                </a:solidFill>
                <a:effectLst/>
                <a:uLnTx/>
                <a:uFillTx/>
                <a:latin typeface="Segoe UI Semibold"/>
                <a:cs typeface="Segoe UI Semilight" panose="020B0402040204020203" pitchFamily="34" charset="0"/>
              </a:rPr>
              <a:t>Create values with insights </a:t>
            </a:r>
          </a:p>
          <a:p>
            <a:pPr marL="0" marR="0" lvl="0" indent="0" algn="l" defTabSz="914400" rtl="0" eaLnBrk="1" fontAlgn="base" latinLnBrk="0" hangingPunct="1">
              <a:lnSpc>
                <a:spcPct val="90000"/>
              </a:lnSpc>
              <a:spcBef>
                <a:spcPts val="0"/>
              </a:spcBef>
              <a:spcAft>
                <a:spcPts val="600"/>
              </a:spcAft>
              <a:buClrTx/>
              <a:buSzPct val="100000"/>
              <a:buFontTx/>
              <a:buNone/>
              <a:tabLst/>
              <a:defRPr/>
            </a:pPr>
            <a:r>
              <a:rPr kumimoji="0" lang="en-US" sz="1200" i="0" u="none" strike="noStrike" kern="1200" cap="none" spc="0" normalizeH="0" baseline="0" noProof="0" dirty="0">
                <a:ln>
                  <a:noFill/>
                </a:ln>
                <a:solidFill>
                  <a:srgbClr val="1A1A1A"/>
                </a:solidFill>
                <a:effectLst/>
                <a:uLnTx/>
                <a:uFillTx/>
                <a:latin typeface="Segoe UI Semibold"/>
                <a:cs typeface="Segoe UI Semilight" panose="020B0402040204020203" pitchFamily="34" charset="0"/>
              </a:rPr>
              <a:t>Address</a:t>
            </a:r>
            <a:r>
              <a:rPr kumimoji="0" lang="en-US" sz="1200" i="0" u="none" strike="noStrike" kern="1200" cap="none" spc="0" normalizeH="0" noProof="0" dirty="0">
                <a:ln>
                  <a:noFill/>
                </a:ln>
                <a:solidFill>
                  <a:srgbClr val="1A1A1A"/>
                </a:solidFill>
                <a:effectLst/>
                <a:uLnTx/>
                <a:uFillTx/>
                <a:latin typeface="Segoe UI Semibold"/>
                <a:cs typeface="Segoe UI Semilight" panose="020B0402040204020203" pitchFamily="34" charset="0"/>
              </a:rPr>
              <a:t> specific business scenario</a:t>
            </a:r>
          </a:p>
          <a:p>
            <a:pPr marL="0" marR="0" lvl="0" indent="0" algn="l" defTabSz="914400" rtl="0" eaLnBrk="1" fontAlgn="base" latinLnBrk="0" hangingPunct="1">
              <a:lnSpc>
                <a:spcPct val="90000"/>
              </a:lnSpc>
              <a:spcBef>
                <a:spcPts val="0"/>
              </a:spcBef>
              <a:spcAft>
                <a:spcPts val="600"/>
              </a:spcAft>
              <a:buClrTx/>
              <a:buSzPct val="100000"/>
              <a:buFontTx/>
              <a:buNone/>
              <a:tabLst/>
              <a:defRPr/>
            </a:pPr>
            <a:r>
              <a:rPr lang="en-US" sz="1200" baseline="0" dirty="0">
                <a:solidFill>
                  <a:srgbClr val="1A1A1A"/>
                </a:solidFill>
                <a:latin typeface="Segoe UI Semibold"/>
                <a:cs typeface="Segoe UI Semilight" panose="020B0402040204020203" pitchFamily="34" charset="0"/>
              </a:rPr>
              <a:t>Provides</a:t>
            </a:r>
            <a:r>
              <a:rPr lang="en-US" sz="1200" dirty="0">
                <a:solidFill>
                  <a:srgbClr val="1A1A1A"/>
                </a:solidFill>
                <a:latin typeface="Segoe UI Semibold"/>
                <a:cs typeface="Segoe UI Semilight" panose="020B0402040204020203" pitchFamily="34" charset="0"/>
              </a:rPr>
              <a:t> insights by combining near real-time data with other data sources</a:t>
            </a:r>
          </a:p>
          <a:p>
            <a:pPr marL="0" marR="0" lvl="0" indent="0" algn="l" defTabSz="914400" rtl="0" eaLnBrk="1" fontAlgn="base" latinLnBrk="0" hangingPunct="1">
              <a:lnSpc>
                <a:spcPct val="90000"/>
              </a:lnSpc>
              <a:spcBef>
                <a:spcPts val="0"/>
              </a:spcBef>
              <a:spcAft>
                <a:spcPts val="600"/>
              </a:spcAft>
              <a:buClrTx/>
              <a:buSzPct val="100000"/>
              <a:buFontTx/>
              <a:buNone/>
              <a:tabLst/>
              <a:defRPr/>
            </a:pPr>
            <a:r>
              <a:rPr lang="en-US" sz="1200" dirty="0">
                <a:solidFill>
                  <a:srgbClr val="1A1A1A"/>
                </a:solidFill>
                <a:latin typeface="Segoe UI Semibold"/>
                <a:cs typeface="Segoe UI Semilight" panose="020B0402040204020203" pitchFamily="34" charset="0"/>
              </a:rPr>
              <a:t>Provides a platform to performs advanced analytics</a:t>
            </a:r>
          </a:p>
          <a:p>
            <a:endParaRPr lang="en-US" dirty="0"/>
          </a:p>
          <a:p>
            <a:r>
              <a:rPr lang="en-US" b="1" dirty="0"/>
              <a:t>Build to stay</a:t>
            </a:r>
          </a:p>
          <a:p>
            <a:pPr lvl="0" algn="l">
              <a:spcAft>
                <a:spcPts val="600"/>
              </a:spcAft>
              <a:buSzPct val="100000"/>
              <a:defRPr/>
            </a:pPr>
            <a:r>
              <a:rPr lang="en-US" dirty="0">
                <a:solidFill>
                  <a:srgbClr val="1A1A1A"/>
                </a:solidFill>
                <a:latin typeface="Segoe UI Semibold"/>
                <a:cs typeface="Segoe UI Semilight" panose="020B0402040204020203" pitchFamily="34" charset="0"/>
              </a:rPr>
              <a:t>Enterprise-ready solution</a:t>
            </a:r>
          </a:p>
          <a:p>
            <a:pPr lvl="0" algn="l">
              <a:spcAft>
                <a:spcPts val="600"/>
              </a:spcAft>
              <a:buSzPct val="100000"/>
              <a:defRPr/>
            </a:pPr>
            <a:r>
              <a:rPr lang="en-US" dirty="0">
                <a:solidFill>
                  <a:srgbClr val="1A1A1A"/>
                </a:solidFill>
                <a:latin typeface="Segoe UI Semibold"/>
                <a:cs typeface="Segoe UI Semilight" panose="020B0402040204020203" pitchFamily="34" charset="0"/>
              </a:rPr>
              <a:t>Secure by design </a:t>
            </a:r>
          </a:p>
          <a:p>
            <a:pPr lvl="0" algn="l">
              <a:spcAft>
                <a:spcPts val="600"/>
              </a:spcAft>
              <a:buSzPct val="100000"/>
              <a:defRPr/>
            </a:pPr>
            <a:r>
              <a:rPr lang="en-US" dirty="0">
                <a:solidFill>
                  <a:srgbClr val="1A1A1A"/>
                </a:solidFill>
                <a:latin typeface="Segoe UI Semibold"/>
                <a:cs typeface="Segoe UI Semilight" panose="020B0402040204020203" pitchFamily="34" charset="0"/>
              </a:rPr>
              <a:t>Build with using Microsoft recommended practices</a:t>
            </a:r>
          </a:p>
          <a:p>
            <a:pPr lvl="0" algn="l">
              <a:spcAft>
                <a:spcPts val="600"/>
              </a:spcAft>
              <a:buSzPct val="100000"/>
              <a:defRPr/>
            </a:pPr>
            <a:r>
              <a:rPr lang="en-US" dirty="0">
                <a:solidFill>
                  <a:srgbClr val="1A1A1A"/>
                </a:solidFill>
                <a:latin typeface="Segoe UI Semibold"/>
                <a:cs typeface="Segoe UI Semilight" panose="020B0402040204020203" pitchFamily="34" charset="0"/>
              </a:rPr>
              <a:t>Extensible and scalable</a:t>
            </a:r>
          </a:p>
          <a:p>
            <a:pPr lvl="0" algn="l">
              <a:spcAft>
                <a:spcPts val="600"/>
              </a:spcAft>
              <a:buSzPct val="100000"/>
              <a:defRPr/>
            </a:pPr>
            <a:r>
              <a:rPr lang="en-US" dirty="0">
                <a:solidFill>
                  <a:srgbClr val="1A1A1A"/>
                </a:solidFill>
                <a:latin typeface="Segoe UI Semibold"/>
                <a:cs typeface="Segoe UI Semilight" panose="020B0402040204020203" pitchFamily="34" charset="0"/>
              </a:rPr>
              <a:t>Agile methodology</a:t>
            </a:r>
            <a:endParaRPr lang="en-US" dirty="0"/>
          </a:p>
          <a:p>
            <a:endParaRPr lang="en-US" b="1" dirty="0"/>
          </a:p>
        </p:txBody>
      </p:sp>
      <p:sp>
        <p:nvSpPr>
          <p:cNvPr id="4" name="Slide Number Placeholder 3"/>
          <p:cNvSpPr>
            <a:spLocks noGrp="1"/>
          </p:cNvSpPr>
          <p:nvPr>
            <p:ph type="sldNum" sz="quarter" idx="10"/>
          </p:nvPr>
        </p:nvSpPr>
        <p:spPr/>
        <p:txBody>
          <a:bodyPr/>
          <a:lstStyle/>
          <a:p>
            <a:pPr defTabSz="931774">
              <a:defRPr/>
            </a:pPr>
            <a:fld id="{3D7B9D4F-5F19-438C-92E8-037C6AE8F87D}" type="slidenum">
              <a:rPr lang="en-US">
                <a:solidFill>
                  <a:prstClr val="black"/>
                </a:solidFill>
                <a:latin typeface="Calibri" panose="020F0502020204030204"/>
              </a:rPr>
              <a:pPr defTabSz="931774">
                <a:defRPr/>
              </a:pPr>
              <a:t>9</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42836753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g"/><Relationship Id="rId1" Type="http://schemas.openxmlformats.org/officeDocument/2006/relationships/slideMaster" Target="../slideMasters/slideMaster4.xml"/><Relationship Id="rId4" Type="http://schemas.openxmlformats.org/officeDocument/2006/relationships/image" Target="../media/image13.jp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7.xml"/><Relationship Id="rId4" Type="http://schemas.openxmlformats.org/officeDocument/2006/relationships/image" Target="../media/image39.jpe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g"/><Relationship Id="rId1" Type="http://schemas.openxmlformats.org/officeDocument/2006/relationships/slideMaster" Target="../slideMasters/slideMaster3.xml"/><Relationship Id="rId4" Type="http://schemas.openxmlformats.org/officeDocument/2006/relationships/image" Target="../media/image13.jp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27495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92C42-1AAE-45AE-8CAA-862BAAD9FD91}"/>
              </a:ext>
            </a:extLst>
          </p:cNvPr>
          <p:cNvSpPr>
            <a:spLocks noGrp="1"/>
          </p:cNvSpPr>
          <p:nvPr>
            <p:ph type="title"/>
          </p:nvPr>
        </p:nvSpPr>
        <p:spPr>
          <a:xfrm>
            <a:off x="588263" y="1560033"/>
            <a:ext cx="11018520" cy="553998"/>
          </a:xfrm>
        </p:spPr>
        <p:txBody>
          <a:bodyPr/>
          <a:lstStyle/>
          <a:p>
            <a:r>
              <a:rPr lang="en-US"/>
              <a:t>Click to edit Master title style</a:t>
            </a:r>
          </a:p>
        </p:txBody>
      </p:sp>
      <p:sp>
        <p:nvSpPr>
          <p:cNvPr id="3" name="Text Placeholder 3">
            <a:extLst>
              <a:ext uri="{FF2B5EF4-FFF2-40B4-BE49-F238E27FC236}">
                <a16:creationId xmlns:a16="http://schemas.microsoft.com/office/drawing/2014/main" id="{88DE2748-D303-4805-BE5A-8270C908BC7E}"/>
              </a:ext>
            </a:extLst>
          </p:cNvPr>
          <p:cNvSpPr>
            <a:spLocks noGrp="1"/>
          </p:cNvSpPr>
          <p:nvPr>
            <p:ph type="body" sz="quarter" idx="10"/>
          </p:nvPr>
        </p:nvSpPr>
        <p:spPr>
          <a:xfrm>
            <a:off x="585217" y="2114031"/>
            <a:ext cx="10856912" cy="307777"/>
          </a:xfrm>
        </p:spPr>
        <p:txBody>
          <a:bodyPr/>
          <a:lstStyle>
            <a:lvl1pPr marL="0" indent="0" algn="ctr">
              <a:buNone/>
              <a:defRPr sz="2000">
                <a:solidFill>
                  <a:schemeClr val="accent1"/>
                </a:solidFill>
              </a:defRPr>
            </a:lvl1pPr>
            <a:lvl2pPr marL="228600" indent="0">
              <a:buNone/>
              <a:defRPr/>
            </a:lvl2pPr>
          </a:lstStyle>
          <a:p>
            <a:pPr lvl="0"/>
            <a:r>
              <a:rPr lang="en-US"/>
              <a:t>Edit Master text styles</a:t>
            </a:r>
          </a:p>
        </p:txBody>
      </p:sp>
    </p:spTree>
    <p:extLst>
      <p:ext uri="{BB962C8B-B14F-4D97-AF65-F5344CB8AC3E}">
        <p14:creationId xmlns:p14="http://schemas.microsoft.com/office/powerpoint/2010/main" val="28254958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Title Only st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D0DDC16-BBB9-486F-A6F2-9C2AED9A5532}"/>
              </a:ext>
            </a:extLst>
          </p:cNvPr>
          <p:cNvSpPr/>
          <p:nvPr userDrawn="1"/>
        </p:nvSpPr>
        <p:spPr>
          <a:xfrm>
            <a:off x="-1" y="-7782"/>
            <a:ext cx="6096000" cy="6865783"/>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049">
              <a:defRPr/>
            </a:pPr>
            <a:endParaRPr lang="en-US" sz="1800" kern="0">
              <a:solidFill>
                <a:prstClr val="white"/>
              </a:solidFill>
              <a:latin typeface="Segoe UI"/>
            </a:endParaRPr>
          </a:p>
        </p:txBody>
      </p:sp>
      <p:sp>
        <p:nvSpPr>
          <p:cNvPr id="2" name="Title 1"/>
          <p:cNvSpPr>
            <a:spLocks noGrp="1"/>
          </p:cNvSpPr>
          <p:nvPr>
            <p:ph type="title"/>
          </p:nvPr>
        </p:nvSpPr>
        <p:spPr>
          <a:xfrm>
            <a:off x="269240" y="289514"/>
            <a:ext cx="5602653" cy="899665"/>
          </a:xfrm>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03504957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Only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1654EB-4FD8-493A-AEF8-AD340286371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FF1654EB-4FD8-493A-AEF8-AD340286371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8D37971-7106-41B6-BA4B-50DBB7D288C6}"/>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3600" b="0" i="0" baseline="0" dirty="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8" name="Title 1">
            <a:extLst>
              <a:ext uri="{FF2B5EF4-FFF2-40B4-BE49-F238E27FC236}">
                <a16:creationId xmlns:a16="http://schemas.microsoft.com/office/drawing/2014/main" id="{22B93658-3036-D949-9B7A-B168026818F9}"/>
              </a:ext>
            </a:extLst>
          </p:cNvPr>
          <p:cNvSpPr>
            <a:spLocks noGrp="1"/>
          </p:cNvSpPr>
          <p:nvPr>
            <p:ph type="title"/>
          </p:nvPr>
        </p:nvSpPr>
        <p:spPr>
          <a:xfrm>
            <a:off x="588263" y="406400"/>
            <a:ext cx="11018520" cy="553998"/>
          </a:xfrm>
          <a:prstGeom prst="rect">
            <a:avLst/>
          </a:prstGeom>
        </p:spPr>
        <p:txBody>
          <a:bodyPr lIns="0"/>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28266483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07160"/>
            <a:ext cx="11280010"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76264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dirty="0"/>
              <a:t>Title</a:t>
            </a:r>
          </a:p>
        </p:txBody>
      </p:sp>
    </p:spTree>
    <p:extLst>
      <p:ext uri="{BB962C8B-B14F-4D97-AF65-F5344CB8AC3E}">
        <p14:creationId xmlns:p14="http://schemas.microsoft.com/office/powerpoint/2010/main" val="165636064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dirty="0"/>
              <a:t>Heading Segoe UI </a:t>
            </a:r>
            <a:r>
              <a:rPr lang="en-US" dirty="0" err="1"/>
              <a:t>Semibold</a:t>
            </a:r>
            <a:r>
              <a:rPr lang="en-US" dirty="0"/>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91608"/>
            <a:ext cx="11339774" cy="271592"/>
          </a:xfrm>
        </p:spPr>
        <p:txBody>
          <a:bodyPr wrap="square" lIns="0" tIns="0" rIns="0" bIns="0">
            <a:spAutoFit/>
          </a:bodyPr>
          <a:lstStyle>
            <a:lvl1pPr marL="0" indent="0">
              <a:lnSpc>
                <a:spcPct val="90000"/>
              </a:lnSpc>
              <a:spcBef>
                <a:spcPts val="0"/>
              </a:spcBef>
              <a:spcAft>
                <a:spcPts val="1274"/>
              </a:spcAft>
              <a:buNone/>
              <a:defRPr sz="1961"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dirty="0"/>
              <a:t>Subtitle Segoe UI</a:t>
            </a:r>
          </a:p>
        </p:txBody>
      </p:sp>
    </p:spTree>
    <p:extLst>
      <p:ext uri="{BB962C8B-B14F-4D97-AF65-F5344CB8AC3E}">
        <p14:creationId xmlns:p14="http://schemas.microsoft.com/office/powerpoint/2010/main" val="102614009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4132839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5784385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2975683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Rectangle 17"/>
          <p:cNvSpPr/>
          <p:nvPr userDrawn="1"/>
        </p:nvSpPr>
        <p:spPr bwMode="gray">
          <a:xfrm>
            <a:off x="269239" y="2084172"/>
            <a:ext cx="6274974" cy="3586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a:t>Presentation title</a:t>
            </a:r>
          </a:p>
        </p:txBody>
      </p:sp>
      <p:sp>
        <p:nvSpPr>
          <p:cNvPr id="3" name="Text Placeholder 2"/>
          <p:cNvSpPr>
            <a:spLocks noGrp="1"/>
          </p:cNvSpPr>
          <p:nvPr>
            <p:ph type="body" sz="quarter" idx="14" hasCustomPrompt="1"/>
          </p:nvPr>
        </p:nvSpPr>
        <p:spPr bwMode="ltGray">
          <a:xfrm>
            <a:off x="269239" y="4146242"/>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625518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sp>
        <p:nvSpPr>
          <p:cNvPr id="18" name="Rectangle 17"/>
          <p:cNvSpPr/>
          <p:nvPr userDrawn="1"/>
        </p:nvSpPr>
        <p:spPr bwMode="gray">
          <a:xfrm>
            <a:off x="269239" y="2084172"/>
            <a:ext cx="6274974" cy="26896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a:t>Presentation title</a:t>
            </a:r>
          </a:p>
        </p:txBody>
      </p:sp>
      <p:sp>
        <p:nvSpPr>
          <p:cNvPr id="3" name="Text Placeholder 2"/>
          <p:cNvSpPr>
            <a:spLocks noGrp="1"/>
          </p:cNvSpPr>
          <p:nvPr>
            <p:ph type="body" sz="quarter" idx="14" hasCustomPrompt="1"/>
          </p:nvPr>
        </p:nvSpPr>
        <p:spPr bwMode="ltGray">
          <a:xfrm>
            <a:off x="269239" y="3249691"/>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412345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92C42-1AAE-45AE-8CAA-862BAAD9FD91}"/>
              </a:ext>
            </a:extLst>
          </p:cNvPr>
          <p:cNvSpPr>
            <a:spLocks noGrp="1"/>
          </p:cNvSpPr>
          <p:nvPr>
            <p:ph type="title"/>
          </p:nvPr>
        </p:nvSpPr>
        <p:spPr>
          <a:xfrm>
            <a:off x="588263" y="1560033"/>
            <a:ext cx="11018520" cy="553998"/>
          </a:xfrm>
        </p:spPr>
        <p:txBody>
          <a:bodyPr/>
          <a:lstStyle/>
          <a:p>
            <a:r>
              <a:rPr lang="en-US"/>
              <a:t>Click to edit Master title style</a:t>
            </a:r>
          </a:p>
        </p:txBody>
      </p:sp>
    </p:spTree>
    <p:extLst>
      <p:ext uri="{BB962C8B-B14F-4D97-AF65-F5344CB8AC3E}">
        <p14:creationId xmlns:p14="http://schemas.microsoft.com/office/powerpoint/2010/main" val="26993157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2481318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4232560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925055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39432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a:t>Video title</a:t>
            </a:r>
          </a:p>
        </p:txBody>
      </p:sp>
    </p:spTree>
    <p:extLst>
      <p:ext uri="{BB962C8B-B14F-4D97-AF65-F5344CB8AC3E}">
        <p14:creationId xmlns:p14="http://schemas.microsoft.com/office/powerpoint/2010/main" val="15425031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43354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220640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09794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6547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423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60938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3319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1970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562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0922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8985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6758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3121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p>
        </p:txBody>
      </p:sp>
    </p:spTree>
    <p:extLst>
      <p:ext uri="{BB962C8B-B14F-4D97-AF65-F5344CB8AC3E}">
        <p14:creationId xmlns:p14="http://schemas.microsoft.com/office/powerpoint/2010/main" val="1614678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3437348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1239691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3398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34199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419525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433489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59355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803758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362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37905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4024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43824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8964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9959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557257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07160"/>
            <a:ext cx="11280010"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5516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162733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7689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8466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176853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702460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555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501983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227491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4899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176627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4101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825010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378174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226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16489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2840141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3025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309408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31673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87248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05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dirty="0"/>
              <a:t>Microsoft Azure</a:t>
            </a:r>
            <a:br>
              <a:rPr lang="en-US" dirty="0"/>
            </a:br>
            <a:r>
              <a:rPr lang="en-US" dirty="0"/>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dirty="0"/>
              <a:t>Author name</a:t>
            </a:r>
          </a:p>
          <a:p>
            <a:pPr lvl="0"/>
            <a:r>
              <a:rPr lang="en-US" dirty="0"/>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7310" y="241380"/>
            <a:ext cx="1279717" cy="573660"/>
          </a:xfrm>
          <a:prstGeom prst="rect">
            <a:avLst/>
          </a:prstGeom>
        </p:spPr>
      </p:pic>
    </p:spTree>
    <p:extLst>
      <p:ext uri="{BB962C8B-B14F-4D97-AF65-F5344CB8AC3E}">
        <p14:creationId xmlns:p14="http://schemas.microsoft.com/office/powerpoint/2010/main" val="647485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dirty="0"/>
              <a:t>Microsoft Azure</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8824797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dirty="0"/>
              <a:t>Microsoft Azure</a:t>
            </a:r>
            <a:br>
              <a:rPr lang="en-US" dirty="0"/>
            </a:br>
            <a:r>
              <a:rPr lang="en-US" dirty="0"/>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dirty="0"/>
              <a:t>Author name</a:t>
            </a:r>
          </a:p>
          <a:p>
            <a:pPr lvl="0"/>
            <a:r>
              <a:rPr lang="en-US" dirty="0"/>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04853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p:txBody>
      </p:sp>
    </p:spTree>
    <p:extLst>
      <p:ext uri="{BB962C8B-B14F-4D97-AF65-F5344CB8AC3E}">
        <p14:creationId xmlns:p14="http://schemas.microsoft.com/office/powerpoint/2010/main" val="1447122441"/>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dirty="0"/>
              <a:t>First level Segoe UI 26pt</a:t>
            </a:r>
          </a:p>
          <a:p>
            <a:pPr lvl="1"/>
            <a:r>
              <a:rPr lang="en-US" dirty="0"/>
              <a:t>Second level Segoe UI 20pt</a:t>
            </a:r>
          </a:p>
          <a:p>
            <a:pPr lvl="2"/>
            <a:r>
              <a:rPr lang="en-US" dirty="0"/>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302551"/>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dirty="0"/>
              <a:t>Heading Segoe UI </a:t>
            </a:r>
            <a:r>
              <a:rPr lang="en-US" dirty="0" err="1"/>
              <a:t>Semibold</a:t>
            </a:r>
            <a:r>
              <a:rPr lang="en-US" dirty="0"/>
              <a:t> 32pt</a:t>
            </a:r>
          </a:p>
        </p:txBody>
      </p:sp>
    </p:spTree>
    <p:extLst>
      <p:ext uri="{BB962C8B-B14F-4D97-AF65-F5344CB8AC3E}">
        <p14:creationId xmlns:p14="http://schemas.microsoft.com/office/powerpoint/2010/main" val="93052771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dirty="0"/>
              <a:t>Heading Segoe UI </a:t>
            </a:r>
            <a:r>
              <a:rPr lang="en-US" dirty="0" err="1"/>
              <a:t>Semibold</a:t>
            </a:r>
            <a:r>
              <a:rPr lang="en-US" dirty="0"/>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91608"/>
            <a:ext cx="11339774" cy="271592"/>
          </a:xfrm>
        </p:spPr>
        <p:txBody>
          <a:bodyPr wrap="square" lIns="0" tIns="0" rIns="0" bIns="0">
            <a:spAutoFit/>
          </a:bodyPr>
          <a:lstStyle>
            <a:lvl1pPr marL="0" indent="0">
              <a:lnSpc>
                <a:spcPct val="90000"/>
              </a:lnSpc>
              <a:spcBef>
                <a:spcPts val="0"/>
              </a:spcBef>
              <a:spcAft>
                <a:spcPts val="1274"/>
              </a:spcAft>
              <a:buNone/>
              <a:defRPr sz="1961"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dirty="0"/>
              <a:t>Subtitle Segoe UI</a:t>
            </a:r>
          </a:p>
        </p:txBody>
      </p:sp>
    </p:spTree>
    <p:extLst>
      <p:ext uri="{BB962C8B-B14F-4D97-AF65-F5344CB8AC3E}">
        <p14:creationId xmlns:p14="http://schemas.microsoft.com/office/powerpoint/2010/main" val="302979722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dirty="0"/>
              <a:t>Title</a:t>
            </a:r>
          </a:p>
        </p:txBody>
      </p:sp>
    </p:spTree>
    <p:extLst>
      <p:ext uri="{BB962C8B-B14F-4D97-AF65-F5344CB8AC3E}">
        <p14:creationId xmlns:p14="http://schemas.microsoft.com/office/powerpoint/2010/main" val="1725540915"/>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bold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dirty="0"/>
              <a:t>Photo layout 2</a:t>
            </a:r>
          </a:p>
        </p:txBody>
      </p:sp>
    </p:spTree>
    <p:extLst>
      <p:ext uri="{BB962C8B-B14F-4D97-AF65-F5344CB8AC3E}">
        <p14:creationId xmlns:p14="http://schemas.microsoft.com/office/powerpoint/2010/main" val="49375622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dirty="0"/>
              <a:t>Subhead Segoe UI 26pt</a:t>
            </a:r>
          </a:p>
          <a:p>
            <a:pPr lvl="0"/>
            <a:r>
              <a:rPr lang="pt-BR" dirty="0"/>
              <a:t>Subhead Segoe UI 26pt</a:t>
            </a:r>
          </a:p>
          <a:p>
            <a:pPr lvl="0"/>
            <a:r>
              <a:rPr lang="pt-BR" dirty="0"/>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dirty="0"/>
              <a:t>Device layout</a:t>
            </a:r>
          </a:p>
        </p:txBody>
      </p:sp>
    </p:spTree>
    <p:extLst>
      <p:ext uri="{BB962C8B-B14F-4D97-AF65-F5344CB8AC3E}">
        <p14:creationId xmlns:p14="http://schemas.microsoft.com/office/powerpoint/2010/main" val="187730049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822616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dirty="0"/>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bold 16</a:t>
            </a:r>
          </a:p>
          <a:p>
            <a:pPr lvl="1"/>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Tree>
    <p:extLst>
      <p:ext uri="{BB962C8B-B14F-4D97-AF65-F5344CB8AC3E}">
        <p14:creationId xmlns:p14="http://schemas.microsoft.com/office/powerpoint/2010/main" val="1158152164"/>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dirty="0"/>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bold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bold 16</a:t>
            </a:r>
          </a:p>
          <a:p>
            <a:pPr lvl="1"/>
            <a:r>
              <a:rPr lang="en-US" dirty="0"/>
              <a:t>Body copy Segoe Regular 16. </a:t>
            </a:r>
            <a:r>
              <a:rPr lang="en-US" dirty="0" err="1"/>
              <a:t>Cavorest</a:t>
            </a:r>
            <a:r>
              <a:rPr lang="en-US" dirty="0"/>
              <a:t> a </a:t>
            </a:r>
            <a:r>
              <a:rPr lang="en-US" dirty="0" err="1"/>
              <a:t>aut</a:t>
            </a:r>
            <a:r>
              <a:rPr lang="en-US" dirty="0"/>
              <a:t> arum quam id eat ape </a:t>
            </a:r>
            <a:r>
              <a:rPr lang="en-US" dirty="0" err="1"/>
              <a:t>est</a:t>
            </a:r>
            <a:r>
              <a:rPr lang="en-US" dirty="0"/>
              <a:t>, qui </a:t>
            </a:r>
            <a:r>
              <a:rPr lang="en-US" dirty="0" err="1"/>
              <a:t>sinc</a:t>
            </a:r>
            <a:r>
              <a:rPr lang="en-US" dirty="0"/>
              <a:t>.</a:t>
            </a:r>
          </a:p>
        </p:txBody>
      </p:sp>
    </p:spTree>
    <p:extLst>
      <p:ext uri="{BB962C8B-B14F-4D97-AF65-F5344CB8AC3E}">
        <p14:creationId xmlns:p14="http://schemas.microsoft.com/office/powerpoint/2010/main" val="186637701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endParaRPr lang="en-US" dirty="0"/>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dirty="0"/>
              <a:t>Table layout</a:t>
            </a:r>
          </a:p>
        </p:txBody>
      </p:sp>
    </p:spTree>
    <p:extLst>
      <p:ext uri="{BB962C8B-B14F-4D97-AF65-F5344CB8AC3E}">
        <p14:creationId xmlns:p14="http://schemas.microsoft.com/office/powerpoint/2010/main" val="3135100806"/>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215795960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1484509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4010927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4068591244"/>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064698"/>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dirty="0"/>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22889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dirty="0"/>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4069623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030999AA-34C5-44F4-8F6C-73860992DDF6}"/>
              </a:ext>
            </a:extLst>
          </p:cNvPr>
          <p:cNvSpPr>
            <a:spLocks noGrp="1"/>
          </p:cNvSpPr>
          <p:nvPr>
            <p:ph type="body" sz="quarter" idx="10"/>
          </p:nvPr>
        </p:nvSpPr>
        <p:spPr>
          <a:xfrm>
            <a:off x="588963" y="1011238"/>
            <a:ext cx="10856912" cy="307777"/>
          </a:xfrm>
        </p:spPr>
        <p:txBody>
          <a:bodyPr/>
          <a:lstStyle>
            <a:lvl1pPr marL="0" indent="0" algn="ctr">
              <a:buNone/>
              <a:defRPr sz="2000">
                <a:solidFill>
                  <a:schemeClr val="accent1"/>
                </a:solidFill>
              </a:defRPr>
            </a:lvl1pPr>
            <a:lvl2pPr marL="228600" indent="0">
              <a:buNone/>
              <a:defRPr/>
            </a:lvl2pPr>
          </a:lstStyle>
          <a:p>
            <a:pPr lvl="0"/>
            <a:r>
              <a:rPr lang="en-US"/>
              <a:t>Edit Master text styles</a:t>
            </a:r>
          </a:p>
        </p:txBody>
      </p:sp>
    </p:spTree>
    <p:extLst>
      <p:ext uri="{BB962C8B-B14F-4D97-AF65-F5344CB8AC3E}">
        <p14:creationId xmlns:p14="http://schemas.microsoft.com/office/powerpoint/2010/main" val="28543441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2_Title with photo and tile">
    <p:spTree>
      <p:nvGrpSpPr>
        <p:cNvPr id="1" name=""/>
        <p:cNvGrpSpPr/>
        <p:nvPr/>
      </p:nvGrpSpPr>
      <p:grpSpPr>
        <a:xfrm>
          <a:off x="0" y="0"/>
          <a:ext cx="0" cy="0"/>
          <a:chOff x="0" y="0"/>
          <a:chExt cx="0" cy="0"/>
        </a:xfrm>
      </p:grpSpPr>
      <p:pic>
        <p:nvPicPr>
          <p:cNvPr id="7" name="Picture 6" descr="A person sitting at a table using a computer&#10;&#10;Description generated with high confidence">
            <a:extLst>
              <a:ext uri="{FF2B5EF4-FFF2-40B4-BE49-F238E27FC236}">
                <a16:creationId xmlns:a16="http://schemas.microsoft.com/office/drawing/2014/main" id="{AC14534E-46CD-4303-B862-80358F1BA8C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 y="0"/>
            <a:ext cx="12192000" cy="6858000"/>
          </a:xfrm>
          <a:prstGeom prst="rect">
            <a:avLst/>
          </a:prstGeom>
        </p:spPr>
      </p:pic>
      <p:sp>
        <p:nvSpPr>
          <p:cNvPr id="4" name="Rectangle 3"/>
          <p:cNvSpPr/>
          <p:nvPr userDrawn="1"/>
        </p:nvSpPr>
        <p:spPr bwMode="auto">
          <a:xfrm>
            <a:off x="-2" y="-5304"/>
            <a:ext cx="4526282" cy="6863304"/>
          </a:xfrm>
          <a:prstGeom prst="rect">
            <a:avLst/>
          </a:prstGeom>
          <a:gradFill>
            <a:gsLst>
              <a:gs pos="0">
                <a:schemeClr val="bg1">
                  <a:alpha val="71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6292" y="256398"/>
            <a:ext cx="1829371" cy="673018"/>
          </a:xfrm>
          <a:prstGeom prst="rect">
            <a:avLst/>
          </a:prstGeom>
        </p:spPr>
      </p:pic>
      <p:sp>
        <p:nvSpPr>
          <p:cNvPr id="2" name="Rectangle 1"/>
          <p:cNvSpPr/>
          <p:nvPr userDrawn="1"/>
        </p:nvSpPr>
        <p:spPr bwMode="auto">
          <a:xfrm>
            <a:off x="267682" y="2084172"/>
            <a:ext cx="8125315"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77814"/>
            <a:ext cx="6274911" cy="1793104"/>
          </a:xfrm>
          <a:noFill/>
        </p:spPr>
        <p:txBody>
          <a:bodyPr lIns="146304" tIns="91440" rIns="146304" bIns="91440" anchor="t" anchorCtr="0"/>
          <a:lstStyle>
            <a:lvl1pPr>
              <a:defRPr sz="4704" spc="-98"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8"/>
            <a:ext cx="6276530" cy="651821"/>
          </a:xfrm>
        </p:spPr>
        <p:txBody>
          <a:bodyPr wrap="square" lIns="164592" tIns="109728" rIns="164592" bIns="109728">
            <a:spAutoFit/>
          </a:bodyPr>
          <a:lstStyle>
            <a:lvl1pPr marL="0" indent="0">
              <a:spcBef>
                <a:spcPts val="0"/>
              </a:spcBef>
              <a:buNone/>
              <a:defRPr sz="3136">
                <a:gradFill>
                  <a:gsLst>
                    <a:gs pos="1307">
                      <a:srgbClr val="353535"/>
                    </a:gs>
                    <a:gs pos="30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167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9489847"/>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lgn="ctr">
              <a:defRPr kumimoji="0" lang="en-US" sz="2400" b="0" i="0" u="none" strike="noStrike" kern="1200" cap="all" spc="800" normalizeH="0" baseline="0" dirty="0">
                <a:ln w="3175">
                  <a:noFill/>
                </a:ln>
                <a:solidFill>
                  <a:srgbClr val="0078D7"/>
                </a:solidFill>
                <a:effectLst/>
                <a:uLnTx/>
                <a:uFillTx/>
                <a:latin typeface="Segoe UI Light" charset="0"/>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404729531"/>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Only st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D0DDC16-BBB9-486F-A6F2-9C2AED9A5532}"/>
              </a:ext>
            </a:extLst>
          </p:cNvPr>
          <p:cNvSpPr/>
          <p:nvPr userDrawn="1"/>
        </p:nvSpPr>
        <p:spPr>
          <a:xfrm>
            <a:off x="-1" y="-7783"/>
            <a:ext cx="6096000" cy="6865783"/>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a:solidFill>
                <a:prstClr val="white"/>
              </a:solidFill>
              <a:latin typeface="Segoe UI"/>
            </a:endParaRPr>
          </a:p>
        </p:txBody>
      </p:sp>
      <p:sp>
        <p:nvSpPr>
          <p:cNvPr id="2" name="Title 1"/>
          <p:cNvSpPr>
            <a:spLocks noGrp="1"/>
          </p:cNvSpPr>
          <p:nvPr>
            <p:ph type="title"/>
          </p:nvPr>
        </p:nvSpPr>
        <p:spPr>
          <a:xfrm>
            <a:off x="269240" y="289513"/>
            <a:ext cx="5602653" cy="899665"/>
          </a:xfrm>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301759884"/>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AEC1168-A0A4-46A4-9795-88987B31181A}"/>
              </a:ext>
            </a:extLst>
          </p:cNvPr>
          <p:cNvSpPr>
            <a:spLocks noGrp="1"/>
          </p:cNvSpPr>
          <p:nvPr>
            <p:ph type="body" sz="quarter" idx="10"/>
          </p:nvPr>
        </p:nvSpPr>
        <p:spPr>
          <a:xfrm>
            <a:off x="269240" y="1221953"/>
            <a:ext cx="11655840" cy="1348908"/>
          </a:xfrm>
        </p:spPr>
        <p:txBody>
          <a:bodyPr vert="horz" wrap="square" lIns="146304" tIns="91440" rIns="146304" bIns="91440" rtlCol="0">
            <a:spAutoFit/>
          </a:bodyPr>
          <a:lstStyle>
            <a:lvl1pPr>
              <a:defRPr lang="en-US" sz="1961" smtClean="0"/>
            </a:lvl1pPr>
            <a:lvl2pPr>
              <a:defRPr lang="en-US" sz="1568" smtClean="0"/>
            </a:lvl2pPr>
            <a:lvl3pPr>
              <a:defRPr lang="en-US" sz="1372" smtClean="0"/>
            </a:lvl3pPr>
            <a:lvl4pPr>
              <a:defRPr lang="en-US" sz="1176" smtClean="0"/>
            </a:lvl4pPr>
            <a:lvl5pPr>
              <a:defRPr lang="en-US" sz="1176"/>
            </a:lvl5pPr>
          </a:lstStyle>
          <a:p>
            <a:pPr lvl="0">
              <a:buClr>
                <a:schemeClr val="tx2"/>
              </a:buClr>
            </a:pPr>
            <a:r>
              <a:rPr lang="en-US"/>
              <a:t>Edit Master text styles</a:t>
            </a:r>
          </a:p>
          <a:p>
            <a:pPr lvl="1">
              <a:buClr>
                <a:schemeClr val="tx2"/>
              </a:buClr>
            </a:pPr>
            <a:r>
              <a:rPr lang="en-US"/>
              <a:t>Second level</a:t>
            </a:r>
          </a:p>
          <a:p>
            <a:pPr lvl="2">
              <a:buClr>
                <a:schemeClr val="tx2"/>
              </a:buClr>
            </a:pPr>
            <a:r>
              <a:rPr lang="en-US"/>
              <a:t>Third level</a:t>
            </a:r>
          </a:p>
          <a:p>
            <a:pPr lvl="3">
              <a:buClr>
                <a:schemeClr val="tx2"/>
              </a:buClr>
            </a:pPr>
            <a:r>
              <a:rPr lang="en-US"/>
              <a:t>Fourth level</a:t>
            </a:r>
          </a:p>
          <a:p>
            <a:pPr lvl="4">
              <a:buClr>
                <a:schemeClr val="tx2"/>
              </a:buClr>
            </a:pPr>
            <a:r>
              <a:rPr lang="en-US"/>
              <a:t>Fifth level</a:t>
            </a:r>
          </a:p>
        </p:txBody>
      </p:sp>
      <p:sp>
        <p:nvSpPr>
          <p:cNvPr id="3" name="Title 2">
            <a:extLst>
              <a:ext uri="{FF2B5EF4-FFF2-40B4-BE49-F238E27FC236}">
                <a16:creationId xmlns:a16="http://schemas.microsoft.com/office/drawing/2014/main" id="{38B3623B-BAF3-4EA6-AEDA-9BA28ACF9B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675721"/>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ullet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51C7F-EDB0-43D4-AC00-C35AC221C05C}"/>
              </a:ext>
            </a:extLst>
          </p:cNvPr>
          <p:cNvSpPr>
            <a:spLocks noGrp="1"/>
          </p:cNvSpPr>
          <p:nvPr>
            <p:ph type="title"/>
          </p:nvPr>
        </p:nvSpPr>
        <p:spPr>
          <a:xfrm>
            <a:off x="697277" y="2309700"/>
            <a:ext cx="5115694" cy="1139030"/>
          </a:xfrm>
        </p:spPr>
        <p:txBody>
          <a:bodyPr wrap="square" lIns="91440" rIns="91440" anchor="b" anchorCtr="0">
            <a:spAutoFit/>
          </a:bodyPr>
          <a:lstStyle>
            <a:lvl1pPr>
              <a:defRPr lang="en-US" sz="3200" kern="0" spc="49">
                <a:solidFill>
                  <a:srgbClr val="0078D7"/>
                </a:solidFill>
                <a:latin typeface="Segoe UI Semilight" charset="0"/>
                <a:ea typeface="Segoe UI Semilight" charset="0"/>
                <a:cs typeface="Segoe UI Semilight" charset="0"/>
              </a:defRPr>
            </a:lvl1pPr>
          </a:lstStyle>
          <a:p>
            <a:pPr marL="0" lvl="0" defTabSz="913927" fontAlgn="base">
              <a:lnSpc>
                <a:spcPct val="95000"/>
              </a:lnSpc>
              <a:spcAft>
                <a:spcPct val="0"/>
              </a:spcAft>
            </a:pPr>
            <a:r>
              <a:rPr lang="en-US"/>
              <a:t>Click to edit Master title style</a:t>
            </a:r>
          </a:p>
        </p:txBody>
      </p:sp>
      <p:cxnSp>
        <p:nvCxnSpPr>
          <p:cNvPr id="6" name="Straight Connector 5">
            <a:extLst>
              <a:ext uri="{FF2B5EF4-FFF2-40B4-BE49-F238E27FC236}">
                <a16:creationId xmlns:a16="http://schemas.microsoft.com/office/drawing/2014/main" id="{8A778CC4-406A-442C-8E86-E42BCD000C36}"/>
              </a:ext>
            </a:extLst>
          </p:cNvPr>
          <p:cNvCxnSpPr/>
          <p:nvPr userDrawn="1"/>
        </p:nvCxnSpPr>
        <p:spPr>
          <a:xfrm flipH="1">
            <a:off x="697278" y="3510463"/>
            <a:ext cx="4314648"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FEC9E0D8-FE56-4E49-BC3A-B9AC9692609E}"/>
              </a:ext>
            </a:extLst>
          </p:cNvPr>
          <p:cNvSpPr>
            <a:spLocks noGrp="1"/>
          </p:cNvSpPr>
          <p:nvPr>
            <p:ph type="pic" sz="quarter" idx="10"/>
          </p:nvPr>
        </p:nvSpPr>
        <p:spPr>
          <a:xfrm>
            <a:off x="6116826" y="0"/>
            <a:ext cx="6075175" cy="700320"/>
          </a:xfrm>
        </p:spPr>
        <p:txBody>
          <a:bodyPr/>
          <a:lstStyle/>
          <a:p>
            <a:endParaRPr lang="en-US"/>
          </a:p>
        </p:txBody>
      </p:sp>
      <p:sp>
        <p:nvSpPr>
          <p:cNvPr id="10" name="Text Placeholder 9">
            <a:extLst>
              <a:ext uri="{FF2B5EF4-FFF2-40B4-BE49-F238E27FC236}">
                <a16:creationId xmlns:a16="http://schemas.microsoft.com/office/drawing/2014/main" id="{1C5D8C4F-E2E3-496B-A612-EEDE8B4214BC}"/>
              </a:ext>
            </a:extLst>
          </p:cNvPr>
          <p:cNvSpPr>
            <a:spLocks noGrp="1"/>
          </p:cNvSpPr>
          <p:nvPr>
            <p:ph type="body" sz="quarter" idx="11"/>
          </p:nvPr>
        </p:nvSpPr>
        <p:spPr>
          <a:xfrm>
            <a:off x="697278" y="3695664"/>
            <a:ext cx="4314649" cy="1317284"/>
          </a:xfrm>
        </p:spPr>
        <p:txBody>
          <a:bodyPr lIns="91440" rIns="91440"/>
          <a:lstStyle>
            <a:lvl1pPr>
              <a:spcBef>
                <a:spcPts val="200"/>
              </a:spcBef>
              <a:spcAft>
                <a:spcPts val="1200"/>
              </a:spcAft>
              <a:defRPr lang="en-US" sz="1200" b="1" kern="1200" spc="170" dirty="0" smtClean="0">
                <a:solidFill>
                  <a:srgbClr val="505050"/>
                </a:solidFill>
                <a:latin typeface="Segoe UI Semibold" charset="0"/>
                <a:ea typeface="Segoe UI Semibold" charset="0"/>
                <a:cs typeface="Segoe UI Semibold" charset="0"/>
              </a:defRPr>
            </a:lvl1pPr>
            <a:lvl2pPr>
              <a:defRPr lang="en-US" sz="1200" b="1" kern="1200" spc="170" dirty="0" smtClean="0">
                <a:solidFill>
                  <a:srgbClr val="505050"/>
                </a:solidFill>
                <a:latin typeface="Segoe UI Semibold" charset="0"/>
                <a:ea typeface="Segoe UI Semibold" charset="0"/>
                <a:cs typeface="Segoe UI Semibold" charset="0"/>
              </a:defRPr>
            </a:lvl2pPr>
            <a:lvl3pPr>
              <a:defRPr lang="en-US" sz="1200" b="1" kern="1200" spc="170" dirty="0" smtClean="0">
                <a:solidFill>
                  <a:srgbClr val="505050"/>
                </a:solidFill>
                <a:latin typeface="Segoe UI Semibold" charset="0"/>
                <a:ea typeface="Segoe UI Semibold" charset="0"/>
                <a:cs typeface="Segoe UI Semibold" charset="0"/>
              </a:defRPr>
            </a:lvl3pPr>
            <a:lvl4pPr>
              <a:defRPr lang="en-US" sz="1200" b="1" kern="1200" spc="170" dirty="0" smtClean="0">
                <a:solidFill>
                  <a:srgbClr val="505050"/>
                </a:solidFill>
                <a:latin typeface="Segoe UI Semibold" charset="0"/>
                <a:ea typeface="Segoe UI Semibold" charset="0"/>
                <a:cs typeface="Segoe UI Semibold" charset="0"/>
              </a:defRPr>
            </a:lvl4pPr>
            <a:lvl5pPr>
              <a:defRPr lang="en-US" sz="1200" b="1" kern="1200" spc="170" dirty="0">
                <a:solidFill>
                  <a:srgbClr val="505050"/>
                </a:solidFill>
                <a:latin typeface="Segoe UI Semibold" charset="0"/>
                <a:ea typeface="Segoe UI Semibold" charset="0"/>
                <a:cs typeface="Segoe UI Semibold"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0168222"/>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1" y="-3821"/>
            <a:ext cx="6095999" cy="700320"/>
          </a:xfrm>
        </p:spPr>
        <p:txBody>
          <a:bodyPr/>
          <a:lstStyle/>
          <a:p>
            <a:endParaRPr lang="en-US"/>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6334937" y="204565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283" indent="-285695">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803" indent="-223795">
              <a:lnSpc>
                <a:spcPct val="100000"/>
              </a:lnSpc>
              <a:buClr>
                <a:schemeClr val="tx2"/>
              </a:buClr>
              <a:defRPr sz="1400"/>
            </a:lvl3pPr>
            <a:lvl4pPr marL="914225" indent="-223795">
              <a:lnSpc>
                <a:spcPct val="100000"/>
              </a:lnSpc>
              <a:buClr>
                <a:schemeClr val="tx2"/>
              </a:buClr>
              <a:defRPr sz="1200"/>
            </a:lvl4pPr>
            <a:lvl5pPr>
              <a:lnSpc>
                <a:spcPct val="100000"/>
              </a:lnSpc>
              <a:buClr>
                <a:schemeClr val="tx2"/>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6334935" y="289512"/>
            <a:ext cx="5581874" cy="899665"/>
          </a:xfrm>
        </p:spPr>
        <p:txBody>
          <a:bodyPr/>
          <a:lstStyle>
            <a:lvl1pPr>
              <a:defRPr lang="en-US" sz="3200" b="0" kern="0" cap="none" spc="49" baseline="0" dirty="0">
                <a:ln w="3175">
                  <a:noFill/>
                </a:ln>
                <a:solidFill>
                  <a:srgbClr val="0078D7"/>
                </a:solidFill>
                <a:effectLst/>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303209428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1068408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4780989"/>
            <a:ext cx="1068239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8" name="Title 1">
            <a:extLst>
              <a:ext uri="{FF2B5EF4-FFF2-40B4-BE49-F238E27FC236}">
                <a16:creationId xmlns:a16="http://schemas.microsoft.com/office/drawing/2014/main" id="{F4FC6F59-C64A-465E-8411-D0ED37ACDAB2}"/>
              </a:ext>
            </a:extLst>
          </p:cNvPr>
          <p:cNvSpPr txBox="1">
            <a:spLocks/>
          </p:cNvSpPr>
          <p:nvPr userDrawn="1"/>
        </p:nvSpPr>
        <p:spPr>
          <a:xfrm>
            <a:off x="269240" y="-306633"/>
            <a:ext cx="11655840" cy="899665"/>
          </a:xfrm>
          <a:prstGeom prst="rect">
            <a:avLst/>
          </a:prstGeom>
        </p:spPr>
        <p:txBody>
          <a:bodyPr vert="horz" wrap="square" lIns="143428" tIns="89642" rIns="143428" bIns="89642" rtlCol="0" anchor="ctr">
            <a:noAutofit/>
          </a:bodyPr>
          <a:lstStyle>
            <a:lvl1pPr algn="ctr" defTabSz="932384" rtl="0" eaLnBrk="1" latinLnBrk="0" hangingPunct="1">
              <a:lnSpc>
                <a:spcPct val="90000"/>
              </a:lnSpc>
              <a:spcBef>
                <a:spcPct val="0"/>
              </a:spcBef>
              <a:buNone/>
              <a:defRPr kumimoji="0" lang="en-US" sz="2448" b="0" i="0" u="none" strike="noStrike" kern="1200" cap="all" spc="816" normalizeH="0" baseline="0" dirty="0">
                <a:ln w="3175">
                  <a:noFill/>
                </a:ln>
                <a:solidFill>
                  <a:srgbClr val="0078D7"/>
                </a:solidFill>
                <a:effectLst/>
                <a:uLnTx/>
                <a:uFillTx/>
                <a:latin typeface="Segoe UI Light" charset="0"/>
                <a:ea typeface="+mn-ea"/>
                <a:cs typeface="Segoe UI Light" charset="0"/>
              </a:defRPr>
            </a:lvl1pPr>
          </a:lstStyle>
          <a:p>
            <a:r>
              <a:rPr lang="en-US" sz="2400"/>
              <a:t>Click to edit Master title style</a:t>
            </a:r>
          </a:p>
        </p:txBody>
      </p:sp>
    </p:spTree>
    <p:extLst>
      <p:ext uri="{BB962C8B-B14F-4D97-AF65-F5344CB8AC3E}">
        <p14:creationId xmlns:p14="http://schemas.microsoft.com/office/powerpoint/2010/main" val="2277642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07160"/>
            <a:ext cx="11280010"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598040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9287217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208990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3254005240"/>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2" y="3145042"/>
            <a:ext cx="3288506" cy="704445"/>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39922181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9094949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61636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973087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235792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42885363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426087"/>
            <a:ext cx="11339774" cy="998222"/>
          </a:xfrm>
        </p:spPr>
        <p:txBody>
          <a:bodyPr wrap="square" lIns="0" tIns="0" rIns="0" bIns="0">
            <a:spAutoFit/>
          </a:bodyPr>
          <a:lstStyle>
            <a:lvl1pPr marL="0" indent="0">
              <a:lnSpc>
                <a:spcPct val="90000"/>
              </a:lnSpc>
              <a:spcBef>
                <a:spcPts val="0"/>
              </a:spcBef>
              <a:spcAft>
                <a:spcPts val="1273"/>
              </a:spcAft>
              <a:buNone/>
              <a:defRPr sz="1800" b="0" i="0">
                <a:solidFill>
                  <a:srgbClr val="000000"/>
                </a:solidFill>
                <a:latin typeface="+mn-lt"/>
              </a:defRPr>
            </a:lvl1pPr>
            <a:lvl2pPr marL="224054" indent="0">
              <a:lnSpc>
                <a:spcPct val="90000"/>
              </a:lnSpc>
              <a:spcBef>
                <a:spcPts val="0"/>
              </a:spcBef>
              <a:spcAft>
                <a:spcPts val="1273"/>
              </a:spcAft>
              <a:buNone/>
              <a:defRPr sz="1600">
                <a:solidFill>
                  <a:srgbClr val="000000"/>
                </a:solidFill>
              </a:defRPr>
            </a:lvl2pPr>
            <a:lvl3pPr marL="448107" indent="0">
              <a:spcBef>
                <a:spcPts val="0"/>
              </a:spcBef>
              <a:spcAft>
                <a:spcPts val="1273"/>
              </a:spcAft>
              <a:buNone/>
              <a:defRPr sz="1400">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18pt</a:t>
            </a:r>
          </a:p>
          <a:p>
            <a:pPr lvl="1"/>
            <a:r>
              <a:rPr lang="en-US"/>
              <a:t>Second level Segoe UI 16pt</a:t>
            </a:r>
          </a:p>
          <a:p>
            <a:pPr lvl="2"/>
            <a:r>
              <a:rPr lang="en-US"/>
              <a:t>Third level Segoe UI 14</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98226662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2"/>
            <a:ext cx="11339774" cy="249299"/>
          </a:xfrm>
        </p:spPr>
        <p:txBody>
          <a:bodyPr wrap="square" lIns="0" tIns="0" rIns="0" bIns="0">
            <a:spAutoFit/>
          </a:bodyPr>
          <a:lstStyle>
            <a:lvl1pPr marL="0" indent="0">
              <a:lnSpc>
                <a:spcPct val="90000"/>
              </a:lnSpc>
              <a:spcBef>
                <a:spcPts val="0"/>
              </a:spcBef>
              <a:spcAft>
                <a:spcPts val="1273"/>
              </a:spcAft>
              <a:buNone/>
              <a:defRPr sz="1800"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7" name="Text Placeholder 3">
            <a:extLst>
              <a:ext uri="{FF2B5EF4-FFF2-40B4-BE49-F238E27FC236}">
                <a16:creationId xmlns:a16="http://schemas.microsoft.com/office/drawing/2014/main" id="{7F157DD4-5908-0746-85BD-95DE103B35D8}"/>
              </a:ext>
            </a:extLst>
          </p:cNvPr>
          <p:cNvSpPr>
            <a:spLocks noGrp="1"/>
          </p:cNvSpPr>
          <p:nvPr>
            <p:ph type="body" sz="quarter" idx="13" hasCustomPrompt="1"/>
          </p:nvPr>
        </p:nvSpPr>
        <p:spPr>
          <a:xfrm>
            <a:off x="437318" y="1602732"/>
            <a:ext cx="11339774" cy="998222"/>
          </a:xfrm>
        </p:spPr>
        <p:txBody>
          <a:bodyPr wrap="square" lIns="0" tIns="0" rIns="0" bIns="0">
            <a:spAutoFit/>
          </a:bodyPr>
          <a:lstStyle>
            <a:lvl1pPr marL="0" indent="0">
              <a:lnSpc>
                <a:spcPct val="90000"/>
              </a:lnSpc>
              <a:spcBef>
                <a:spcPts val="0"/>
              </a:spcBef>
              <a:spcAft>
                <a:spcPts val="1273"/>
              </a:spcAft>
              <a:buNone/>
              <a:defRPr sz="1800" b="0" i="0">
                <a:solidFill>
                  <a:srgbClr val="000000"/>
                </a:solidFill>
                <a:latin typeface="+mn-lt"/>
              </a:defRPr>
            </a:lvl1pPr>
            <a:lvl2pPr marL="224054" indent="0">
              <a:lnSpc>
                <a:spcPct val="90000"/>
              </a:lnSpc>
              <a:spcBef>
                <a:spcPts val="0"/>
              </a:spcBef>
              <a:spcAft>
                <a:spcPts val="1273"/>
              </a:spcAft>
              <a:buNone/>
              <a:defRPr sz="1600">
                <a:solidFill>
                  <a:srgbClr val="000000"/>
                </a:solidFill>
              </a:defRPr>
            </a:lvl2pPr>
            <a:lvl3pPr marL="448107" indent="0">
              <a:spcBef>
                <a:spcPts val="0"/>
              </a:spcBef>
              <a:spcAft>
                <a:spcPts val="1273"/>
              </a:spcAft>
              <a:buNone/>
              <a:defRPr sz="1400">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18pt</a:t>
            </a:r>
          </a:p>
          <a:p>
            <a:pPr lvl="1"/>
            <a:r>
              <a:rPr lang="en-US"/>
              <a:t>Second level Segoe UI 16pt</a:t>
            </a:r>
          </a:p>
          <a:p>
            <a:pPr lvl="2"/>
            <a:r>
              <a:rPr lang="en-US"/>
              <a:t>Third level Segoe UI 14</a:t>
            </a:r>
          </a:p>
        </p:txBody>
      </p:sp>
    </p:spTree>
    <p:extLst>
      <p:ext uri="{BB962C8B-B14F-4D97-AF65-F5344CB8AC3E}">
        <p14:creationId xmlns:p14="http://schemas.microsoft.com/office/powerpoint/2010/main" val="3231216904"/>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63565191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84276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4">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6794079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839005980"/>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949066291"/>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735725" y="2448911"/>
            <a:ext cx="7168690" cy="2270441"/>
          </a:xfrm>
          <a:noFill/>
        </p:spPr>
        <p:txBody>
          <a:bodyPr vert="horz" wrap="square" lIns="0" tIns="0" rIns="0" bIns="0" rtlCol="0" anchor="t" anchorCtr="0">
            <a:noAutofit/>
          </a:bodyPr>
          <a:lstStyle>
            <a:lvl1pPr>
              <a:lnSpc>
                <a:spcPct val="90000"/>
              </a:lnSpc>
              <a:defRPr lang="en-US" sz="40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405974491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4000"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1479991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4000"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2046936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272847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3542837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3460521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23" name="Group 21">
            <a:extLst>
              <a:ext uri="{FF2B5EF4-FFF2-40B4-BE49-F238E27FC236}">
                <a16:creationId xmlns:a16="http://schemas.microsoft.com/office/drawing/2014/main" id="{E1FEE244-FDD2-45A4-B9BF-BD32415AF239}"/>
              </a:ext>
            </a:extLst>
          </p:cNvPr>
          <p:cNvGrpSpPr>
            <a:grpSpLocks noChangeAspect="1"/>
          </p:cNvGrpSpPr>
          <p:nvPr userDrawn="1"/>
        </p:nvGrpSpPr>
        <p:grpSpPr bwMode="auto">
          <a:xfrm>
            <a:off x="584200" y="585789"/>
            <a:ext cx="2032492" cy="292608"/>
            <a:chOff x="428" y="664"/>
            <a:chExt cx="4126" cy="594"/>
          </a:xfrm>
        </p:grpSpPr>
        <p:sp>
          <p:nvSpPr>
            <p:cNvPr id="24" name="Freeform 22">
              <a:extLst>
                <a:ext uri="{FF2B5EF4-FFF2-40B4-BE49-F238E27FC236}">
                  <a16:creationId xmlns:a16="http://schemas.microsoft.com/office/drawing/2014/main" id="{8135A547-0519-4204-B212-EB7084748A67}"/>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25" name="Freeform 23">
              <a:extLst>
                <a:ext uri="{FF2B5EF4-FFF2-40B4-BE49-F238E27FC236}">
                  <a16:creationId xmlns:a16="http://schemas.microsoft.com/office/drawing/2014/main" id="{03419E32-D223-42CF-8570-A04DBBECD41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26" name="Freeform 24">
              <a:extLst>
                <a:ext uri="{FF2B5EF4-FFF2-40B4-BE49-F238E27FC236}">
                  <a16:creationId xmlns:a16="http://schemas.microsoft.com/office/drawing/2014/main" id="{396CCFB2-CF0D-482C-9CC8-0F73D26B9A1C}"/>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27" name="Freeform 25">
              <a:extLst>
                <a:ext uri="{FF2B5EF4-FFF2-40B4-BE49-F238E27FC236}">
                  <a16:creationId xmlns:a16="http://schemas.microsoft.com/office/drawing/2014/main" id="{ED5C5BC4-DDF6-44C2-8C5B-5F930A4D5B68}"/>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28" name="Freeform 26">
              <a:extLst>
                <a:ext uri="{FF2B5EF4-FFF2-40B4-BE49-F238E27FC236}">
                  <a16:creationId xmlns:a16="http://schemas.microsoft.com/office/drawing/2014/main" id="{633BBD4B-C10D-4906-960A-BEFCC4CDC05A}"/>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29" name="Freeform 27">
              <a:extLst>
                <a:ext uri="{FF2B5EF4-FFF2-40B4-BE49-F238E27FC236}">
                  <a16:creationId xmlns:a16="http://schemas.microsoft.com/office/drawing/2014/main" id="{354B65B7-9C63-4CE4-B430-4A27761B47F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30" name="Rectangle 28">
              <a:extLst>
                <a:ext uri="{FF2B5EF4-FFF2-40B4-BE49-F238E27FC236}">
                  <a16:creationId xmlns:a16="http://schemas.microsoft.com/office/drawing/2014/main" id="{D4AA7E16-0603-418C-9792-CA986990EFCF}"/>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31" name="Rectangle 29">
              <a:extLst>
                <a:ext uri="{FF2B5EF4-FFF2-40B4-BE49-F238E27FC236}">
                  <a16:creationId xmlns:a16="http://schemas.microsoft.com/office/drawing/2014/main" id="{594501B0-8ED1-4460-AB1D-493FAB5BCE47}"/>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32" name="Rectangle 30">
              <a:extLst>
                <a:ext uri="{FF2B5EF4-FFF2-40B4-BE49-F238E27FC236}">
                  <a16:creationId xmlns:a16="http://schemas.microsoft.com/office/drawing/2014/main" id="{37E72F66-5883-4285-8FFF-CD7B9502A9CE}"/>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33" name="Rectangle 31">
              <a:extLst>
                <a:ext uri="{FF2B5EF4-FFF2-40B4-BE49-F238E27FC236}">
                  <a16:creationId xmlns:a16="http://schemas.microsoft.com/office/drawing/2014/main" id="{DA5FC26F-C159-4670-A03E-5834B08DF517}"/>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34" name="Rectangle 32">
              <a:extLst>
                <a:ext uri="{FF2B5EF4-FFF2-40B4-BE49-F238E27FC236}">
                  <a16:creationId xmlns:a16="http://schemas.microsoft.com/office/drawing/2014/main" id="{05E4C2D0-C66A-4D81-AA6C-97FBC74CDA63}"/>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35" name="Rectangle 33">
              <a:extLst>
                <a:ext uri="{FF2B5EF4-FFF2-40B4-BE49-F238E27FC236}">
                  <a16:creationId xmlns:a16="http://schemas.microsoft.com/office/drawing/2014/main" id="{78CF0401-A7A7-488E-ADF3-CCA09DFEC323}"/>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36" name="Rectangle 34">
              <a:extLst>
                <a:ext uri="{FF2B5EF4-FFF2-40B4-BE49-F238E27FC236}">
                  <a16:creationId xmlns:a16="http://schemas.microsoft.com/office/drawing/2014/main" id="{EC159A60-6B2F-4F43-9264-86566AB6129E}"/>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37" name="Rectangle 35">
              <a:extLst>
                <a:ext uri="{FF2B5EF4-FFF2-40B4-BE49-F238E27FC236}">
                  <a16:creationId xmlns:a16="http://schemas.microsoft.com/office/drawing/2014/main" id="{6D777A0B-5012-4E42-AD5C-669C9E7A2B97}"/>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grpSp>
    </p:spTree>
    <p:extLst>
      <p:ext uri="{BB962C8B-B14F-4D97-AF65-F5344CB8AC3E}">
        <p14:creationId xmlns:p14="http://schemas.microsoft.com/office/powerpoint/2010/main" val="32625693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9C8537-D3A3-6541-B4CB-37F457260EE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098" t="2837" b="12619"/>
          <a:stretch/>
        </p:blipFill>
        <p:spPr>
          <a:xfrm>
            <a:off x="1" y="1"/>
            <a:ext cx="12058185" cy="6858001"/>
          </a:xfrm>
          <a:prstGeom prst="rect">
            <a:avLst/>
          </a:prstGeom>
        </p:spPr>
      </p:pic>
      <p:sp>
        <p:nvSpPr>
          <p:cNvPr id="37" name="Rectangle 36">
            <a:extLst>
              <a:ext uri="{FF2B5EF4-FFF2-40B4-BE49-F238E27FC236}">
                <a16:creationId xmlns:a16="http://schemas.microsoft.com/office/drawing/2014/main" id="{ECE62850-5FE2-3B45-9E3F-CF6715534C81}"/>
              </a:ext>
            </a:extLst>
          </p:cNvPr>
          <p:cNvSpPr/>
          <p:nvPr userDrawn="1"/>
        </p:nvSpPr>
        <p:spPr bwMode="auto">
          <a:xfrm>
            <a:off x="-1012371" y="1"/>
            <a:ext cx="15185571" cy="6858000"/>
          </a:xfrm>
          <a:prstGeom prst="rect">
            <a:avLst/>
          </a:prstGeom>
          <a:gradFill flip="none" rotWithShape="1">
            <a:gsLst>
              <a:gs pos="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000" err="1">
              <a:solidFill>
                <a:schemeClr val="bg1"/>
              </a:soli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8BCCA059-E904-4849-B856-034AD6DE845D}"/>
              </a:ext>
            </a:extLst>
          </p:cNvPr>
          <p:cNvGrpSpPr/>
          <p:nvPr userDrawn="1"/>
        </p:nvGrpSpPr>
        <p:grpSpPr>
          <a:xfrm>
            <a:off x="584200" y="585789"/>
            <a:ext cx="2032492" cy="292608"/>
            <a:chOff x="584200" y="585788"/>
            <a:chExt cx="2032492" cy="292608"/>
          </a:xfrm>
        </p:grpSpPr>
        <p:sp>
          <p:nvSpPr>
            <p:cNvPr id="49" name="Rectangle 28">
              <a:extLst>
                <a:ext uri="{FF2B5EF4-FFF2-40B4-BE49-F238E27FC236}">
                  <a16:creationId xmlns:a16="http://schemas.microsoft.com/office/drawing/2014/main" id="{3FE0ECFD-1B86-3348-BB33-91D40F0D291B}"/>
                </a:ext>
              </a:extLst>
            </p:cNvPr>
            <p:cNvSpPr>
              <a:spLocks noChangeArrowheads="1"/>
            </p:cNvSpPr>
            <p:nvPr userDrawn="1"/>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50" name="Rectangle 29">
              <a:extLst>
                <a:ext uri="{FF2B5EF4-FFF2-40B4-BE49-F238E27FC236}">
                  <a16:creationId xmlns:a16="http://schemas.microsoft.com/office/drawing/2014/main" id="{DBD46591-BA2D-D643-823B-CCF9456D5532}"/>
                </a:ext>
              </a:extLst>
            </p:cNvPr>
            <p:cNvSpPr>
              <a:spLocks noChangeArrowheads="1"/>
            </p:cNvSpPr>
            <p:nvPr userDrawn="1"/>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51" name="Rectangle 30">
              <a:extLst>
                <a:ext uri="{FF2B5EF4-FFF2-40B4-BE49-F238E27FC236}">
                  <a16:creationId xmlns:a16="http://schemas.microsoft.com/office/drawing/2014/main" id="{BD3C47C7-7DB3-D94A-BA08-F07A8492AA33}"/>
                </a:ext>
              </a:extLst>
            </p:cNvPr>
            <p:cNvSpPr>
              <a:spLocks noChangeArrowheads="1"/>
            </p:cNvSpPr>
            <p:nvPr userDrawn="1"/>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52" name="Rectangle 31">
              <a:extLst>
                <a:ext uri="{FF2B5EF4-FFF2-40B4-BE49-F238E27FC236}">
                  <a16:creationId xmlns:a16="http://schemas.microsoft.com/office/drawing/2014/main" id="{881A41DB-E573-A34F-9057-376A2951B043}"/>
                </a:ext>
              </a:extLst>
            </p:cNvPr>
            <p:cNvSpPr>
              <a:spLocks noChangeArrowheads="1"/>
            </p:cNvSpPr>
            <p:nvPr userDrawn="1"/>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grpSp>
          <p:nvGrpSpPr>
            <p:cNvPr id="53" name="Group 52">
              <a:extLst>
                <a:ext uri="{FF2B5EF4-FFF2-40B4-BE49-F238E27FC236}">
                  <a16:creationId xmlns:a16="http://schemas.microsoft.com/office/drawing/2014/main" id="{9D872837-FE1F-8048-9E7B-F8CE33D9024D}"/>
                </a:ext>
              </a:extLst>
            </p:cNvPr>
            <p:cNvGrpSpPr/>
            <p:nvPr userDrawn="1"/>
          </p:nvGrpSpPr>
          <p:grpSpPr>
            <a:xfrm>
              <a:off x="584200" y="585788"/>
              <a:ext cx="2032492" cy="292608"/>
              <a:chOff x="584200" y="585788"/>
              <a:chExt cx="2032492" cy="292608"/>
            </a:xfrm>
          </p:grpSpPr>
          <p:sp>
            <p:nvSpPr>
              <p:cNvPr id="54" name="Freeform 22">
                <a:extLst>
                  <a:ext uri="{FF2B5EF4-FFF2-40B4-BE49-F238E27FC236}">
                    <a16:creationId xmlns:a16="http://schemas.microsoft.com/office/drawing/2014/main" id="{685A4EF1-2D17-9043-BE90-89964A6B8181}"/>
                  </a:ext>
                </a:extLst>
              </p:cNvPr>
              <p:cNvSpPr>
                <a:spLocks noEditPoints="1"/>
              </p:cNvSpPr>
              <p:nvPr/>
            </p:nvSpPr>
            <p:spPr bwMode="auto">
              <a:xfrm>
                <a:off x="1996994" y="644901"/>
                <a:ext cx="165023" cy="174383"/>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sz="1800">
                  <a:solidFill>
                    <a:schemeClr val="bg1"/>
                  </a:solidFill>
                </a:endParaRPr>
              </a:p>
            </p:txBody>
          </p:sp>
          <p:sp>
            <p:nvSpPr>
              <p:cNvPr id="55" name="Freeform 23">
                <a:extLst>
                  <a:ext uri="{FF2B5EF4-FFF2-40B4-BE49-F238E27FC236}">
                    <a16:creationId xmlns:a16="http://schemas.microsoft.com/office/drawing/2014/main" id="{20CFD7C2-62C8-144D-B3D6-29CA385D6F1D}"/>
                  </a:ext>
                </a:extLst>
              </p:cNvPr>
              <p:cNvSpPr>
                <a:spLocks/>
              </p:cNvSpPr>
              <p:nvPr/>
            </p:nvSpPr>
            <p:spPr bwMode="auto">
              <a:xfrm>
                <a:off x="2171869" y="693669"/>
                <a:ext cx="104925" cy="12561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sz="1800">
                  <a:solidFill>
                    <a:schemeClr val="bg1"/>
                  </a:solidFill>
                </a:endParaRPr>
              </a:p>
            </p:txBody>
          </p:sp>
          <p:sp>
            <p:nvSpPr>
              <p:cNvPr id="56" name="Freeform 24">
                <a:extLst>
                  <a:ext uri="{FF2B5EF4-FFF2-40B4-BE49-F238E27FC236}">
                    <a16:creationId xmlns:a16="http://schemas.microsoft.com/office/drawing/2014/main" id="{AFF7E8C1-7227-1945-8EA5-9AEE297F45B2}"/>
                  </a:ext>
                </a:extLst>
              </p:cNvPr>
              <p:cNvSpPr>
                <a:spLocks/>
              </p:cNvSpPr>
              <p:nvPr/>
            </p:nvSpPr>
            <p:spPr bwMode="auto">
              <a:xfrm>
                <a:off x="2289602" y="693669"/>
                <a:ext cx="111822" cy="128078"/>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sz="1800">
                  <a:solidFill>
                    <a:schemeClr val="bg1"/>
                  </a:solidFill>
                </a:endParaRPr>
              </a:p>
            </p:txBody>
          </p:sp>
          <p:sp>
            <p:nvSpPr>
              <p:cNvPr id="57" name="Freeform 25">
                <a:extLst>
                  <a:ext uri="{FF2B5EF4-FFF2-40B4-BE49-F238E27FC236}">
                    <a16:creationId xmlns:a16="http://schemas.microsoft.com/office/drawing/2014/main" id="{CB68B529-3098-0340-BC94-0C7B5753F5F4}"/>
                  </a:ext>
                </a:extLst>
              </p:cNvPr>
              <p:cNvSpPr>
                <a:spLocks/>
              </p:cNvSpPr>
              <p:nvPr/>
            </p:nvSpPr>
            <p:spPr bwMode="auto">
              <a:xfrm>
                <a:off x="2428517" y="691698"/>
                <a:ext cx="72413" cy="127585"/>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sz="1800">
                  <a:solidFill>
                    <a:schemeClr val="bg1"/>
                  </a:solidFill>
                </a:endParaRPr>
              </a:p>
            </p:txBody>
          </p:sp>
          <p:sp>
            <p:nvSpPr>
              <p:cNvPr id="58" name="Freeform 26">
                <a:extLst>
                  <a:ext uri="{FF2B5EF4-FFF2-40B4-BE49-F238E27FC236}">
                    <a16:creationId xmlns:a16="http://schemas.microsoft.com/office/drawing/2014/main" id="{16318527-29C7-4245-ABDB-118ECBEE01E8}"/>
                  </a:ext>
                </a:extLst>
              </p:cNvPr>
              <p:cNvSpPr>
                <a:spLocks noEditPoints="1"/>
              </p:cNvSpPr>
              <p:nvPr/>
            </p:nvSpPr>
            <p:spPr bwMode="auto">
              <a:xfrm>
                <a:off x="2501915" y="691698"/>
                <a:ext cx="114777" cy="131033"/>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sz="1800">
                  <a:solidFill>
                    <a:schemeClr val="bg1"/>
                  </a:solidFill>
                </a:endParaRPr>
              </a:p>
            </p:txBody>
          </p:sp>
          <p:sp>
            <p:nvSpPr>
              <p:cNvPr id="59" name="Freeform 27">
                <a:extLst>
                  <a:ext uri="{FF2B5EF4-FFF2-40B4-BE49-F238E27FC236}">
                    <a16:creationId xmlns:a16="http://schemas.microsoft.com/office/drawing/2014/main" id="{4E1E3D8F-A2A9-DD40-837C-2735C2789AB7}"/>
                  </a:ext>
                </a:extLst>
              </p:cNvPr>
              <p:cNvSpPr>
                <a:spLocks noEditPoints="1"/>
              </p:cNvSpPr>
              <p:nvPr/>
            </p:nvSpPr>
            <p:spPr bwMode="auto">
              <a:xfrm>
                <a:off x="960551" y="631600"/>
                <a:ext cx="983241" cy="191131"/>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sz="1800">
                  <a:solidFill>
                    <a:schemeClr val="bg1"/>
                  </a:solidFill>
                </a:endParaRPr>
              </a:p>
            </p:txBody>
          </p:sp>
          <p:sp>
            <p:nvSpPr>
              <p:cNvPr id="60" name="Rectangle 32">
                <a:extLst>
                  <a:ext uri="{FF2B5EF4-FFF2-40B4-BE49-F238E27FC236}">
                    <a16:creationId xmlns:a16="http://schemas.microsoft.com/office/drawing/2014/main" id="{F9A67B49-1641-694B-A766-7D036948A14D}"/>
                  </a:ext>
                </a:extLst>
              </p:cNvPr>
              <p:cNvSpPr>
                <a:spLocks noChangeArrowheads="1"/>
              </p:cNvSpPr>
              <p:nvPr/>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61" name="Rectangle 33">
                <a:extLst>
                  <a:ext uri="{FF2B5EF4-FFF2-40B4-BE49-F238E27FC236}">
                    <a16:creationId xmlns:a16="http://schemas.microsoft.com/office/drawing/2014/main" id="{8022A3C1-A9BA-684F-97A6-25BE6D67ADE2}"/>
                  </a:ext>
                </a:extLst>
              </p:cNvPr>
              <p:cNvSpPr>
                <a:spLocks noChangeArrowheads="1"/>
              </p:cNvSpPr>
              <p:nvPr/>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62" name="Rectangle 34">
                <a:extLst>
                  <a:ext uri="{FF2B5EF4-FFF2-40B4-BE49-F238E27FC236}">
                    <a16:creationId xmlns:a16="http://schemas.microsoft.com/office/drawing/2014/main" id="{F9842A9C-C1E9-C34F-AEF8-AA8875C738C6}"/>
                  </a:ext>
                </a:extLst>
              </p:cNvPr>
              <p:cNvSpPr>
                <a:spLocks noChangeArrowheads="1"/>
              </p:cNvSpPr>
              <p:nvPr/>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63" name="Rectangle 35">
                <a:extLst>
                  <a:ext uri="{FF2B5EF4-FFF2-40B4-BE49-F238E27FC236}">
                    <a16:creationId xmlns:a16="http://schemas.microsoft.com/office/drawing/2014/main" id="{90E3F8AC-F0E5-3443-8B09-40E983B5BF10}"/>
                  </a:ext>
                </a:extLst>
              </p:cNvPr>
              <p:cNvSpPr>
                <a:spLocks noChangeArrowheads="1"/>
              </p:cNvSpPr>
              <p:nvPr/>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grpSp>
      </p:grpSp>
      <p:sp>
        <p:nvSpPr>
          <p:cNvPr id="64" name="Rectangle 63">
            <a:extLst>
              <a:ext uri="{FF2B5EF4-FFF2-40B4-BE49-F238E27FC236}">
                <a16:creationId xmlns:a16="http://schemas.microsoft.com/office/drawing/2014/main" id="{862D0462-39AF-454C-91BA-45B18973FD23}"/>
              </a:ext>
            </a:extLst>
          </p:cNvPr>
          <p:cNvSpPr/>
          <p:nvPr userDrawn="1"/>
        </p:nvSpPr>
        <p:spPr bwMode="auto">
          <a:xfrm>
            <a:off x="-2024742" y="-163285"/>
            <a:ext cx="2024743" cy="7184571"/>
          </a:xfrm>
          <a:prstGeom prst="rect">
            <a:avLst/>
          </a:prstGeom>
          <a:solidFill>
            <a:srgbClr val="F5F5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804884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4">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02975939"/>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727075" y="1535920"/>
            <a:ext cx="7477989" cy="645241"/>
          </a:xfrm>
          <a:noFill/>
        </p:spPr>
        <p:txBody>
          <a:bodyPr vert="horz" wrap="square" lIns="0" tIns="0" rIns="0" bIns="0" rtlCol="0" anchor="t" anchorCtr="0">
            <a:spAutoFit/>
          </a:bodyPr>
          <a:lstStyle>
            <a:lvl1pPr>
              <a:lnSpc>
                <a:spcPct val="90000"/>
              </a:lnSpc>
              <a:defRPr lang="en-US" sz="3600" spc="-147" dirty="0">
                <a:solidFill>
                  <a:schemeClr val="tx1"/>
                </a:solidFill>
              </a:defRPr>
            </a:lvl1pPr>
          </a:lstStyle>
          <a:p>
            <a:pPr marL="0" lvl="0">
              <a:lnSpc>
                <a:spcPts val="5489"/>
              </a:lnSpc>
            </a:pPr>
            <a:r>
              <a:rPr lang="en-US" dirty="0"/>
              <a:t>Section title</a:t>
            </a:r>
          </a:p>
        </p:txBody>
      </p:sp>
      <p:sp>
        <p:nvSpPr>
          <p:cNvPr id="4" name="Rectangle 3">
            <a:extLst>
              <a:ext uri="{FF2B5EF4-FFF2-40B4-BE49-F238E27FC236}">
                <a16:creationId xmlns:a16="http://schemas.microsoft.com/office/drawing/2014/main" id="{98825247-7734-4E73-A6A5-8EA0DF84288E}"/>
              </a:ext>
            </a:extLst>
          </p:cNvPr>
          <p:cNvSpPr/>
          <p:nvPr userDrawn="1"/>
        </p:nvSpPr>
        <p:spPr bwMode="auto">
          <a:xfrm>
            <a:off x="1" y="836024"/>
            <a:ext cx="5880681" cy="55553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78D4"/>
              </a:solidFill>
              <a:effectLst/>
              <a:uLnTx/>
              <a:uFillTx/>
              <a:latin typeface="Segoe UI Semibold"/>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C08329B4-AF23-4FE8-9F29-4C805F15D5B8}"/>
              </a:ext>
            </a:extLst>
          </p:cNvPr>
          <p:cNvSpPr>
            <a:spLocks noGrp="1"/>
          </p:cNvSpPr>
          <p:nvPr>
            <p:ph type="body" sz="quarter" idx="10"/>
          </p:nvPr>
        </p:nvSpPr>
        <p:spPr>
          <a:xfrm>
            <a:off x="727076" y="989141"/>
            <a:ext cx="5022169" cy="249299"/>
          </a:xfrm>
        </p:spPr>
        <p:txBody>
          <a:bodyPr/>
          <a:lstStyle>
            <a:lvl1pPr>
              <a:defRPr kumimoji="0" lang="en-US" sz="1800" b="0" i="0" u="none" strike="noStrike" kern="1200" cap="none" spc="-50" normalizeH="0" baseline="0" dirty="0">
                <a:ln>
                  <a:noFill/>
                </a:ln>
                <a:solidFill>
                  <a:srgbClr val="0078D4"/>
                </a:solidFill>
                <a:effectLst/>
                <a:uLnTx/>
                <a:uFillTx/>
                <a:latin typeface="Segoe UI Semibold"/>
                <a:ea typeface="+mn-ea"/>
                <a:cs typeface="+mn-cs"/>
              </a:defRPr>
            </a:lvl1pPr>
          </a:lstStyle>
          <a:p>
            <a:pPr lvl="0"/>
            <a:r>
              <a:rPr lang="en-US" dirty="0"/>
              <a:t>Edit Master text styles</a:t>
            </a:r>
          </a:p>
        </p:txBody>
      </p:sp>
      <p:sp>
        <p:nvSpPr>
          <p:cNvPr id="9" name="Text Placeholder 8">
            <a:extLst>
              <a:ext uri="{FF2B5EF4-FFF2-40B4-BE49-F238E27FC236}">
                <a16:creationId xmlns:a16="http://schemas.microsoft.com/office/drawing/2014/main" id="{233FF77E-0444-4D07-9356-49FD7BAE822A}"/>
              </a:ext>
            </a:extLst>
          </p:cNvPr>
          <p:cNvSpPr>
            <a:spLocks noGrp="1"/>
          </p:cNvSpPr>
          <p:nvPr>
            <p:ph type="body" sz="quarter" idx="11"/>
          </p:nvPr>
        </p:nvSpPr>
        <p:spPr>
          <a:xfrm>
            <a:off x="727075" y="2169427"/>
            <a:ext cx="3227388" cy="363882"/>
          </a:xfrm>
        </p:spPr>
        <p:txBody>
          <a:bodyPr/>
          <a:lstStyle>
            <a:lvl1pPr>
              <a:defRPr kumimoji="0" lang="en-US" sz="1800" b="0" i="0" u="none" strike="noStrike" kern="1200" cap="none" spc="0" normalizeH="0" baseline="0" dirty="0" smtClean="0">
                <a:ln w="3175">
                  <a:noFill/>
                </a:ln>
                <a:solidFill>
                  <a:schemeClr val="tx1"/>
                </a:solidFill>
                <a:effectLst/>
                <a:uLnTx/>
                <a:uFillTx/>
                <a:latin typeface="Segoe UI Semibold"/>
                <a:ea typeface="+mn-ea"/>
                <a:cs typeface="Segoe UI" pitchFamily="34" charset="0"/>
              </a:defRPr>
            </a:lvl1pPr>
          </a:lstStyle>
          <a:p>
            <a:pPr marL="0" marR="0" lvl="0" indent="0" algn="l" defTabSz="914192" rtl="0" eaLnBrk="1" fontAlgn="auto" latinLnBrk="0" hangingPunct="1">
              <a:lnSpc>
                <a:spcPct val="150000"/>
              </a:lnSpc>
              <a:spcBef>
                <a:spcPct val="0"/>
              </a:spcBef>
              <a:spcAft>
                <a:spcPts val="0"/>
              </a:spcAft>
              <a:buClrTx/>
              <a:buSzTx/>
              <a:buFontTx/>
              <a:buNone/>
              <a:tabLst/>
              <a:defRPr/>
            </a:pPr>
            <a:r>
              <a:rPr lang="en-US" dirty="0"/>
              <a:t>Edit Master text styles</a:t>
            </a:r>
          </a:p>
        </p:txBody>
      </p:sp>
    </p:spTree>
    <p:extLst>
      <p:ext uri="{BB962C8B-B14F-4D97-AF65-F5344CB8AC3E}">
        <p14:creationId xmlns:p14="http://schemas.microsoft.com/office/powerpoint/2010/main" val="3414007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_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727075" y="1535920"/>
            <a:ext cx="7477989" cy="645241"/>
          </a:xfrm>
          <a:noFill/>
        </p:spPr>
        <p:txBody>
          <a:bodyPr vert="horz" wrap="square" lIns="0" tIns="0" rIns="0" bIns="0" rtlCol="0" anchor="t" anchorCtr="0">
            <a:spAutoFit/>
          </a:bodyPr>
          <a:lstStyle>
            <a:lvl1pPr>
              <a:lnSpc>
                <a:spcPct val="90000"/>
              </a:lnSpc>
              <a:defRPr lang="en-US" sz="3600" spc="-147" dirty="0">
                <a:solidFill>
                  <a:schemeClr val="tx1"/>
                </a:solidFill>
              </a:defRPr>
            </a:lvl1pPr>
          </a:lstStyle>
          <a:p>
            <a:pPr marL="0" lvl="0">
              <a:lnSpc>
                <a:spcPts val="5489"/>
              </a:lnSpc>
            </a:pPr>
            <a:r>
              <a:rPr lang="en-US" dirty="0"/>
              <a:t>Section title</a:t>
            </a:r>
          </a:p>
        </p:txBody>
      </p:sp>
      <p:sp>
        <p:nvSpPr>
          <p:cNvPr id="4" name="Rectangle 3">
            <a:extLst>
              <a:ext uri="{FF2B5EF4-FFF2-40B4-BE49-F238E27FC236}">
                <a16:creationId xmlns:a16="http://schemas.microsoft.com/office/drawing/2014/main" id="{98825247-7734-4E73-A6A5-8EA0DF84288E}"/>
              </a:ext>
            </a:extLst>
          </p:cNvPr>
          <p:cNvSpPr/>
          <p:nvPr userDrawn="1"/>
        </p:nvSpPr>
        <p:spPr bwMode="auto">
          <a:xfrm>
            <a:off x="1" y="989141"/>
            <a:ext cx="5880681" cy="35128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78D4"/>
              </a:solidFill>
              <a:effectLst/>
              <a:uLnTx/>
              <a:uFillTx/>
              <a:latin typeface="Segoe UI Semibold"/>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C08329B4-AF23-4FE8-9F29-4C805F15D5B8}"/>
              </a:ext>
            </a:extLst>
          </p:cNvPr>
          <p:cNvSpPr>
            <a:spLocks noGrp="1"/>
          </p:cNvSpPr>
          <p:nvPr>
            <p:ph type="body" sz="quarter" idx="10" hasCustomPrompt="1"/>
          </p:nvPr>
        </p:nvSpPr>
        <p:spPr>
          <a:xfrm>
            <a:off x="727076" y="1064225"/>
            <a:ext cx="5022169" cy="249299"/>
          </a:xfrm>
        </p:spPr>
        <p:txBody>
          <a:bodyPr anchor="ctr"/>
          <a:lstStyle>
            <a:lvl1pPr>
              <a:defRPr kumimoji="0" lang="en-US" sz="1800" b="0" i="0" u="none" strike="noStrike" kern="1200" cap="none" spc="-50" normalizeH="0" baseline="0" dirty="0">
                <a:ln>
                  <a:noFill/>
                </a:ln>
                <a:solidFill>
                  <a:schemeClr val="bg2"/>
                </a:solidFill>
                <a:effectLst/>
                <a:uLnTx/>
                <a:uFillTx/>
                <a:latin typeface="Segoe UI Semibold"/>
                <a:ea typeface="+mn-ea"/>
                <a:cs typeface="+mn-cs"/>
              </a:defRPr>
            </a:lvl1pPr>
          </a:lstStyle>
          <a:p>
            <a:pPr lvl="0"/>
            <a:r>
              <a:rPr lang="en-US" dirty="0"/>
              <a:t>EDIT MASTER TEXT STYLES</a:t>
            </a:r>
          </a:p>
        </p:txBody>
      </p:sp>
      <p:sp>
        <p:nvSpPr>
          <p:cNvPr id="9" name="Text Placeholder 8">
            <a:extLst>
              <a:ext uri="{FF2B5EF4-FFF2-40B4-BE49-F238E27FC236}">
                <a16:creationId xmlns:a16="http://schemas.microsoft.com/office/drawing/2014/main" id="{233FF77E-0444-4D07-9356-49FD7BAE822A}"/>
              </a:ext>
            </a:extLst>
          </p:cNvPr>
          <p:cNvSpPr>
            <a:spLocks noGrp="1"/>
          </p:cNvSpPr>
          <p:nvPr>
            <p:ph type="body" sz="quarter" idx="11"/>
          </p:nvPr>
        </p:nvSpPr>
        <p:spPr>
          <a:xfrm>
            <a:off x="727075" y="2169427"/>
            <a:ext cx="3227388" cy="363882"/>
          </a:xfrm>
        </p:spPr>
        <p:txBody>
          <a:bodyPr/>
          <a:lstStyle>
            <a:lvl1pPr>
              <a:defRPr kumimoji="0" lang="en-US" sz="1800" b="0" i="0" u="none" strike="noStrike" kern="1200" cap="none" spc="0" normalizeH="0" baseline="0" dirty="0" smtClean="0">
                <a:ln w="3175">
                  <a:noFill/>
                </a:ln>
                <a:solidFill>
                  <a:schemeClr val="tx1"/>
                </a:solidFill>
                <a:effectLst/>
                <a:uLnTx/>
                <a:uFillTx/>
                <a:latin typeface="Segoe UI Semibold"/>
                <a:ea typeface="+mn-ea"/>
                <a:cs typeface="Segoe UI" pitchFamily="34" charset="0"/>
              </a:defRPr>
            </a:lvl1pPr>
          </a:lstStyle>
          <a:p>
            <a:pPr marL="0" marR="0" lvl="0" indent="0" algn="l" defTabSz="914192" rtl="0" eaLnBrk="1" fontAlgn="auto" latinLnBrk="0" hangingPunct="1">
              <a:lnSpc>
                <a:spcPct val="150000"/>
              </a:lnSpc>
              <a:spcBef>
                <a:spcPct val="0"/>
              </a:spcBef>
              <a:spcAft>
                <a:spcPts val="0"/>
              </a:spcAft>
              <a:buClrTx/>
              <a:buSzTx/>
              <a:buFontTx/>
              <a:buNone/>
              <a:tabLst/>
              <a:defRPr/>
            </a:pPr>
            <a:r>
              <a:rPr lang="en-US" dirty="0"/>
              <a:t>Edit Master text styles</a:t>
            </a:r>
          </a:p>
        </p:txBody>
      </p:sp>
    </p:spTree>
    <p:extLst>
      <p:ext uri="{BB962C8B-B14F-4D97-AF65-F5344CB8AC3E}">
        <p14:creationId xmlns:p14="http://schemas.microsoft.com/office/powerpoint/2010/main" val="38955700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2761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268688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88570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Title and Content_photo placeholder">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AB02F798-9B62-434E-B03C-7F377220079A}"/>
              </a:ext>
            </a:extLst>
          </p:cNvPr>
          <p:cNvSpPr>
            <a:spLocks noGrp="1"/>
          </p:cNvSpPr>
          <p:nvPr>
            <p:ph type="pic" sz="quarter" idx="12"/>
          </p:nvPr>
        </p:nvSpPr>
        <p:spPr>
          <a:xfrm>
            <a:off x="0" y="1"/>
            <a:ext cx="12192000" cy="353070"/>
          </a:xfrm>
        </p:spPr>
        <p:txBody>
          <a:bodyPr/>
          <a:lstStyle/>
          <a:p>
            <a:endParaRPr lang="en-US"/>
          </a:p>
        </p:txBody>
      </p:sp>
      <p:sp>
        <p:nvSpPr>
          <p:cNvPr id="7" name="Footer Placeholder 6">
            <a:extLst>
              <a:ext uri="{FF2B5EF4-FFF2-40B4-BE49-F238E27FC236}">
                <a16:creationId xmlns:a16="http://schemas.microsoft.com/office/drawing/2014/main" id="{03FE962D-0727-4E80-BB58-769718D85F1A}"/>
              </a:ext>
            </a:extLst>
          </p:cNvPr>
          <p:cNvSpPr>
            <a:spLocks noGrp="1"/>
          </p:cNvSpPr>
          <p:nvPr>
            <p:ph type="ftr" sz="quarter" idx="10"/>
          </p:nvPr>
        </p:nvSpPr>
        <p:spPr/>
        <p:txBody>
          <a:bodyPr/>
          <a:lstStyle>
            <a:lvl1pPr>
              <a:defRPr>
                <a:solidFill>
                  <a:schemeClr val="bg2"/>
                </a:solidFill>
              </a:defRPr>
            </a:lvl1pPr>
          </a:lstStyle>
          <a:p>
            <a:r>
              <a:rPr lang="en-US"/>
              <a:t>Icertis confidential</a:t>
            </a:r>
            <a:endParaRPr lang="en-US" dirty="0"/>
          </a:p>
        </p:txBody>
      </p:sp>
      <p:sp>
        <p:nvSpPr>
          <p:cNvPr id="9" name="Slide Number Placeholder 8">
            <a:extLst>
              <a:ext uri="{FF2B5EF4-FFF2-40B4-BE49-F238E27FC236}">
                <a16:creationId xmlns:a16="http://schemas.microsoft.com/office/drawing/2014/main" id="{02806AB6-E685-4FAA-B339-0A5434E91AF5}"/>
              </a:ext>
            </a:extLst>
          </p:cNvPr>
          <p:cNvSpPr>
            <a:spLocks noGrp="1"/>
          </p:cNvSpPr>
          <p:nvPr>
            <p:ph type="sldNum" sz="quarter" idx="11"/>
          </p:nvPr>
        </p:nvSpPr>
        <p:spPr/>
        <p:txBody>
          <a:bodyPr/>
          <a:lstStyle>
            <a:lvl1pPr>
              <a:defRPr>
                <a:solidFill>
                  <a:schemeClr val="bg2"/>
                </a:solidFill>
              </a:defRPr>
            </a:lvl1pPr>
          </a:lstStyle>
          <a:p>
            <a:fld id="{7196839F-2AC0-4D66-B709-36D14AC87239}" type="slidenum">
              <a:rPr lang="en-US" smtClean="0"/>
              <a:pPr/>
              <a:t>‹#›</a:t>
            </a:fld>
            <a:endParaRPr lang="en-US" dirty="0"/>
          </a:p>
        </p:txBody>
      </p:sp>
      <p:sp>
        <p:nvSpPr>
          <p:cNvPr id="11" name="Title 1">
            <a:extLst>
              <a:ext uri="{FF2B5EF4-FFF2-40B4-BE49-F238E27FC236}">
                <a16:creationId xmlns:a16="http://schemas.microsoft.com/office/drawing/2014/main" id="{DF357FE5-76E3-461A-91C3-7C650BA8BB69}"/>
              </a:ext>
            </a:extLst>
          </p:cNvPr>
          <p:cNvSpPr>
            <a:spLocks noGrp="1"/>
          </p:cNvSpPr>
          <p:nvPr>
            <p:ph type="title"/>
          </p:nvPr>
        </p:nvSpPr>
        <p:spPr>
          <a:xfrm>
            <a:off x="378573" y="365127"/>
            <a:ext cx="11473682" cy="753122"/>
          </a:xfrm>
        </p:spPr>
        <p:txBody>
          <a:bodyPr/>
          <a:lstStyle>
            <a:lvl1pPr>
              <a:defRPr>
                <a:solidFill>
                  <a:schemeClr val="bg1"/>
                </a:solidFill>
              </a:defRPr>
            </a:lvl1pPr>
          </a:lstStyle>
          <a:p>
            <a:r>
              <a:rPr lang="en-US" dirty="0"/>
              <a:t>Click to edit Master title style</a:t>
            </a:r>
          </a:p>
        </p:txBody>
      </p:sp>
      <p:sp>
        <p:nvSpPr>
          <p:cNvPr id="12" name="Content Placeholder 2">
            <a:extLst>
              <a:ext uri="{FF2B5EF4-FFF2-40B4-BE49-F238E27FC236}">
                <a16:creationId xmlns:a16="http://schemas.microsoft.com/office/drawing/2014/main" id="{6096824D-9C57-422F-A871-0AAD8DCAA9BF}"/>
              </a:ext>
            </a:extLst>
          </p:cNvPr>
          <p:cNvSpPr>
            <a:spLocks noGrp="1"/>
          </p:cNvSpPr>
          <p:nvPr>
            <p:ph idx="1"/>
          </p:nvPr>
        </p:nvSpPr>
        <p:spPr>
          <a:xfrm>
            <a:off x="378573" y="1211435"/>
            <a:ext cx="11473682" cy="1058958"/>
          </a:xfrm>
        </p:spPr>
        <p:txBody>
          <a:bodyPr/>
          <a:lstStyle>
            <a:lvl1pPr marL="0" indent="0">
              <a:buNone/>
              <a:defRPr>
                <a:solidFill>
                  <a:schemeClr val="bg1"/>
                </a:solidFill>
              </a:defRPr>
            </a:lvl1pPr>
            <a:lvl2pPr marL="460286" indent="-233318">
              <a:buFont typeface="Arial" panose="020B0604020202020204" pitchFamily="34" charset="0"/>
              <a:buChar char="•"/>
              <a:defRPr>
                <a:solidFill>
                  <a:schemeClr val="bg1"/>
                </a:solidFill>
              </a:defRPr>
            </a:lvl2pPr>
            <a:lvl3pPr marL="687256" indent="-226970">
              <a:buFont typeface="Arial" panose="020B0604020202020204" pitchFamily="34" charset="0"/>
              <a:buChar char="•"/>
              <a:defRPr>
                <a:solidFill>
                  <a:schemeClr val="bg1"/>
                </a:solidFill>
              </a:defRPr>
            </a:lvl3pPr>
            <a:lvl4pPr marL="914225" indent="-226970">
              <a:buFont typeface="Arial" panose="020B0604020202020204" pitchFamily="34" charset="0"/>
              <a:buChar char="•"/>
              <a:defRPr>
                <a:solidFill>
                  <a:schemeClr val="bg1"/>
                </a:solidFill>
              </a:defRPr>
            </a:lvl4pPr>
            <a:lvl5pPr marL="2114144" indent="-285695">
              <a:buFont typeface="Arial" panose="020B0604020202020204" pitchFamily="34" charset="0"/>
              <a:buChar cha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88821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4">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793149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2157822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554405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416476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79975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219614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45462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37E26AFE-DE6D-4BB8-BFA8-71844F8CF039}"/>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416561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152000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gradFill>
                  <a:gsLst>
                    <a:gs pos="0">
                      <a:schemeClr val="tx2"/>
                    </a:gs>
                    <a:gs pos="100000">
                      <a:schemeClr val="tx2"/>
                    </a:gs>
                  </a:gsLst>
                  <a:lin ang="5400000" scaled="0"/>
                </a:gra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09"/>
            <a:ext cx="11326085" cy="96950"/>
            <a:chOff x="445128" y="6559056"/>
            <a:chExt cx="11553197" cy="9888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7864040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4" imgW="378" imgH="379" progId="TCLayout.ActiveDocument.1">
                  <p:embed/>
                </p:oleObj>
              </mc:Choice>
              <mc:Fallback>
                <p:oleObj name="think-cell Slide" r:id="rId4" imgW="378" imgH="379" progId="TCLayout.ActiveDocument.1">
                  <p:embed/>
                  <p:pic>
                    <p:nvPicPr>
                      <p:cNvPr id="3" name="Object 2"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69240" y="3041440"/>
            <a:ext cx="11922760" cy="939040"/>
          </a:xfrm>
          <a:noFill/>
        </p:spPr>
        <p:txBody>
          <a:bodyPr wrap="square" tIns="91440" bIns="91440" anchor="b" anchorCtr="0">
            <a:spAutoFit/>
          </a:bodyPr>
          <a:lstStyle>
            <a:lvl1pPr>
              <a:defRPr sz="4902" spc="-98" baseline="0">
                <a:gradFill>
                  <a:gsLst>
                    <a:gs pos="100000">
                      <a:schemeClr val="tx1"/>
                    </a:gs>
                    <a:gs pos="0">
                      <a:schemeClr val="tx1"/>
                    </a:gs>
                  </a:gsLst>
                  <a:lin ang="5400000" scaled="0"/>
                </a:gradFill>
              </a:defRPr>
            </a:lvl1pPr>
          </a:lstStyle>
          <a:p>
            <a:r>
              <a:rPr lang="en-US"/>
              <a:t>Section title</a:t>
            </a:r>
          </a:p>
        </p:txBody>
      </p:sp>
      <p:sp>
        <p:nvSpPr>
          <p:cNvPr id="5" name="Text Placeholder 4"/>
          <p:cNvSpPr>
            <a:spLocks noGrp="1"/>
          </p:cNvSpPr>
          <p:nvPr>
            <p:ph type="body" sz="quarter" idx="10"/>
          </p:nvPr>
        </p:nvSpPr>
        <p:spPr>
          <a:xfrm>
            <a:off x="269241" y="3846733"/>
            <a:ext cx="11653523" cy="422423"/>
          </a:xfrm>
        </p:spPr>
        <p:txBody>
          <a:bodyPr/>
          <a:lstStyle>
            <a:lvl1pPr marL="0" indent="0">
              <a:buNone/>
              <a:defRPr sz="2745"/>
            </a:lvl1pPr>
            <a:lvl2pPr marL="0" indent="0">
              <a:buNone/>
              <a:defRPr/>
            </a:lvl2pPr>
            <a:lvl3pPr marL="0" indent="0">
              <a:buNone/>
              <a:defRPr/>
            </a:lvl3pPr>
            <a:lvl4pPr marL="0" indent="0">
              <a:buNone/>
              <a:defRPr/>
            </a:lvl4pPr>
            <a:lvl5pPr marL="0" indent="0">
              <a:buNone/>
              <a:defRPr/>
            </a:lvl5pPr>
          </a:lstStyle>
          <a:p>
            <a:pPr lvl="0"/>
            <a:r>
              <a:rPr lang="en-US"/>
              <a:t>Edit Master text styles</a:t>
            </a:r>
          </a:p>
        </p:txBody>
      </p:sp>
    </p:spTree>
    <p:extLst>
      <p:ext uri="{BB962C8B-B14F-4D97-AF65-F5344CB8AC3E}">
        <p14:creationId xmlns:p14="http://schemas.microsoft.com/office/powerpoint/2010/main" val="1839449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1"/>
          </p:nvPr>
        </p:nvSpPr>
        <p:spPr>
          <a:xfrm>
            <a:off x="370398" y="1326151"/>
            <a:ext cx="11552364" cy="241285"/>
          </a:xfrm>
        </p:spPr>
        <p:txBody>
          <a:bodyPr/>
          <a:lstStyle>
            <a:lvl1pPr marL="0" indent="0">
              <a:buNone/>
              <a:defRPr sz="1568">
                <a:latin typeface="+mn-lt"/>
              </a:defRPr>
            </a:lvl1pPr>
          </a:lstStyle>
          <a:p>
            <a:pPr lvl="0"/>
            <a:r>
              <a:rPr lang="en-US"/>
              <a:t>Edit Master text styles</a:t>
            </a:r>
          </a:p>
        </p:txBody>
      </p:sp>
      <p:sp>
        <p:nvSpPr>
          <p:cNvPr id="5" name="Text Placeholder 4"/>
          <p:cNvSpPr>
            <a:spLocks noGrp="1"/>
          </p:cNvSpPr>
          <p:nvPr>
            <p:ph type="body" sz="quarter" idx="12"/>
          </p:nvPr>
        </p:nvSpPr>
        <p:spPr>
          <a:xfrm>
            <a:off x="7512228" y="2856587"/>
            <a:ext cx="4261130" cy="488724"/>
          </a:xfrm>
        </p:spPr>
        <p:txBody>
          <a:bodyPr/>
          <a:lstStyle>
            <a:lvl1pPr marL="0" indent="0">
              <a:buNone/>
              <a:defRPr sz="1765" b="1">
                <a:solidFill>
                  <a:schemeClr val="accent1"/>
                </a:solidFill>
                <a:latin typeface="+mn-lt"/>
              </a:defRPr>
            </a:lvl1pPr>
            <a:lvl2pPr marL="0" indent="0">
              <a:buNone/>
              <a:defRPr sz="1176"/>
            </a:lvl2pPr>
            <a:lvl3pPr marL="0" indent="0">
              <a:buNone/>
              <a:defRPr sz="1078"/>
            </a:lvl3pPr>
            <a:lvl4pPr marL="0" indent="0">
              <a:buNone/>
              <a:defRPr sz="1029"/>
            </a:lvl4pPr>
            <a:lvl5pPr marL="0" indent="0">
              <a:buNone/>
              <a:defRPr sz="1029"/>
            </a:lvl5pPr>
          </a:lstStyle>
          <a:p>
            <a:pPr lvl="0"/>
            <a:r>
              <a:rPr lang="en-US"/>
              <a:t>Edit Master text styles</a:t>
            </a:r>
          </a:p>
          <a:p>
            <a:pPr lvl="1"/>
            <a:r>
              <a:rPr lang="en-US"/>
              <a:t>Second level</a:t>
            </a:r>
          </a:p>
        </p:txBody>
      </p:sp>
    </p:spTree>
    <p:extLst>
      <p:ext uri="{BB962C8B-B14F-4D97-AF65-F5344CB8AC3E}">
        <p14:creationId xmlns:p14="http://schemas.microsoft.com/office/powerpoint/2010/main" val="401277314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0_Title and Content 1st level color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3076"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370410" y="1189178"/>
            <a:ext cx="11552353" cy="1134028"/>
          </a:xfrm>
        </p:spPr>
        <p:txBody>
          <a:bodyPr wrap="square">
            <a:spAutoFit/>
          </a:bodyPr>
          <a:lstStyle>
            <a:lvl1pPr marL="0" indent="0">
              <a:buNone/>
              <a:defRPr sz="1961">
                <a:solidFill>
                  <a:schemeClr val="tx1"/>
                </a:solidFill>
                <a:latin typeface="+mn-lt"/>
              </a:defRPr>
            </a:lvl1pPr>
            <a:lvl2pPr marL="0" indent="0">
              <a:buNone/>
              <a:defRPr sz="1176"/>
            </a:lvl2pPr>
            <a:lvl3pPr marL="0" indent="0">
              <a:buNone/>
              <a:defRPr sz="1176"/>
            </a:lvl3pPr>
            <a:lvl4pPr marL="0" indent="0">
              <a:buNone/>
              <a:defRPr sz="1078"/>
            </a:lvl4pPr>
            <a:lvl5pPr marL="0" indent="0">
              <a:buNone/>
              <a:defRPr sz="107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71372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Only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1654EB-4FD8-493A-AEF8-AD340286371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FF1654EB-4FD8-493A-AEF8-AD340286371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8D37971-7106-41B6-BA4B-50DBB7D288C6}"/>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3600" b="0" i="0" baseline="0" dirty="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8" name="Title 1">
            <a:extLst>
              <a:ext uri="{FF2B5EF4-FFF2-40B4-BE49-F238E27FC236}">
                <a16:creationId xmlns:a16="http://schemas.microsoft.com/office/drawing/2014/main" id="{22B93658-3036-D949-9B7A-B168026818F9}"/>
              </a:ext>
            </a:extLst>
          </p:cNvPr>
          <p:cNvSpPr>
            <a:spLocks noGrp="1"/>
          </p:cNvSpPr>
          <p:nvPr>
            <p:ph type="title"/>
          </p:nvPr>
        </p:nvSpPr>
        <p:spPr>
          <a:xfrm>
            <a:off x="588263" y="406400"/>
            <a:ext cx="11018520" cy="553998"/>
          </a:xfrm>
          <a:prstGeom prst="rect">
            <a:avLst/>
          </a:prstGeom>
        </p:spPr>
        <p:txBody>
          <a:bodyPr lIns="0"/>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1353229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
    <p:bg>
      <p:bgPr>
        <a:solidFill>
          <a:srgbClr val="002050"/>
        </a:solidFill>
        <a:effectLst/>
      </p:bgPr>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56360193-1C51-449B-9027-22C0DFFD2342}"/>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grpSp>
        <p:nvGrpSpPr>
          <p:cNvPr id="5" name="Group 4">
            <a:extLst>
              <a:ext uri="{FF2B5EF4-FFF2-40B4-BE49-F238E27FC236}">
                <a16:creationId xmlns:a16="http://schemas.microsoft.com/office/drawing/2014/main" id="{4C18C83F-D286-4C29-9773-4D7716D63788}"/>
              </a:ext>
            </a:extLst>
          </p:cNvPr>
          <p:cNvGrpSpPr/>
          <p:nvPr userDrawn="1"/>
        </p:nvGrpSpPr>
        <p:grpSpPr>
          <a:xfrm>
            <a:off x="247194" y="2748028"/>
            <a:ext cx="7936076" cy="1506229"/>
            <a:chOff x="247193" y="2650604"/>
            <a:chExt cx="7936076" cy="1506229"/>
          </a:xfrm>
        </p:grpSpPr>
        <p:pic>
          <p:nvPicPr>
            <p:cNvPr id="6" name="Picture 5">
              <a:extLst>
                <a:ext uri="{FF2B5EF4-FFF2-40B4-BE49-F238E27FC236}">
                  <a16:creationId xmlns:a16="http://schemas.microsoft.com/office/drawing/2014/main" id="{9E203DA8-83AC-407D-AF76-6C92B53C3E0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60688" y="2650604"/>
              <a:ext cx="7722581" cy="778918"/>
            </a:xfrm>
            <a:prstGeom prst="rect">
              <a:avLst/>
            </a:prstGeom>
          </p:spPr>
        </p:pic>
        <p:grpSp>
          <p:nvGrpSpPr>
            <p:cNvPr id="9" name="Group 8">
              <a:extLst>
                <a:ext uri="{FF2B5EF4-FFF2-40B4-BE49-F238E27FC236}">
                  <a16:creationId xmlns:a16="http://schemas.microsoft.com/office/drawing/2014/main" id="{9B42C7B3-AA01-479A-A11B-6E4BB68E7DBA}"/>
                </a:ext>
              </a:extLst>
            </p:cNvPr>
            <p:cNvGrpSpPr/>
            <p:nvPr userDrawn="1"/>
          </p:nvGrpSpPr>
          <p:grpSpPr>
            <a:xfrm>
              <a:off x="247193" y="3465810"/>
              <a:ext cx="5526193" cy="691023"/>
              <a:chOff x="247193" y="3497262"/>
              <a:chExt cx="5526193" cy="691023"/>
            </a:xfrm>
          </p:grpSpPr>
          <p:sp>
            <p:nvSpPr>
              <p:cNvPr id="10" name="TextBox 9">
                <a:extLst>
                  <a:ext uri="{FF2B5EF4-FFF2-40B4-BE49-F238E27FC236}">
                    <a16:creationId xmlns:a16="http://schemas.microsoft.com/office/drawing/2014/main" id="{EDE50E98-6525-4103-9C41-89B53FC65D65}"/>
                  </a:ext>
                </a:extLst>
              </p:cNvPr>
              <p:cNvSpPr txBox="1"/>
              <p:nvPr userDrawn="1"/>
            </p:nvSpPr>
            <p:spPr>
              <a:xfrm>
                <a:off x="247193" y="3497262"/>
                <a:ext cx="5526193" cy="691023"/>
              </a:xfrm>
              <a:prstGeom prst="rect">
                <a:avLst/>
              </a:prstGeom>
              <a:noFill/>
            </p:spPr>
            <p:txBody>
              <a:bodyPr wrap="none" lIns="182880" tIns="146304" rIns="182880" bIns="146304" rtlCol="0">
                <a:spAutoFit/>
              </a:bodyPr>
              <a:lstStyle/>
              <a:p>
                <a:pPr>
                  <a:lnSpc>
                    <a:spcPct val="90000"/>
                  </a:lnSpc>
                  <a:spcAft>
                    <a:spcPts val="600"/>
                  </a:spcAft>
                </a:pPr>
                <a:r>
                  <a:rPr lang="en-US" sz="2800" kern="1200">
                    <a:gradFill>
                      <a:gsLst>
                        <a:gs pos="18352">
                          <a:schemeClr val="bg1"/>
                        </a:gs>
                        <a:gs pos="100000">
                          <a:schemeClr val="bg1"/>
                        </a:gs>
                      </a:gsLst>
                      <a:lin ang="5400000" scaled="0"/>
                    </a:gradFill>
                    <a:latin typeface="+mn-lt"/>
                    <a:ea typeface="+mn-ea"/>
                    <a:cs typeface="+mn-cs"/>
                  </a:rPr>
                  <a:t>May 2–4, 2018     Bellevue Hyatt</a:t>
                </a:r>
              </a:p>
            </p:txBody>
          </p:sp>
          <p:cxnSp>
            <p:nvCxnSpPr>
              <p:cNvPr id="11" name="Straight Connector 10">
                <a:extLst>
                  <a:ext uri="{FF2B5EF4-FFF2-40B4-BE49-F238E27FC236}">
                    <a16:creationId xmlns:a16="http://schemas.microsoft.com/office/drawing/2014/main" id="{5EC51136-244E-4CB1-9C92-BA52A243525B}"/>
                  </a:ext>
                </a:extLst>
              </p:cNvPr>
              <p:cNvCxnSpPr>
                <a:cxnSpLocks/>
              </p:cNvCxnSpPr>
              <p:nvPr userDrawn="1"/>
            </p:nvCxnSpPr>
            <p:spPr>
              <a:xfrm>
                <a:off x="2946073" y="3592150"/>
                <a:ext cx="0" cy="45720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10644205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88378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72156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911837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28014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563907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83280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24129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3129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3288103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274025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70649333"/>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259315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8250921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88855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395637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09834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1645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61861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with grid ">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9473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with grid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41062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21654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52801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3070015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Slide wiith photo_black text">
    <p:spTree>
      <p:nvGrpSpPr>
        <p:cNvPr id="1" name=""/>
        <p:cNvGrpSpPr/>
        <p:nvPr/>
      </p:nvGrpSpPr>
      <p:grpSpPr>
        <a:xfrm>
          <a:off x="0" y="0"/>
          <a:ext cx="0" cy="0"/>
          <a:chOff x="0" y="0"/>
          <a:chExt cx="0" cy="0"/>
        </a:xfrm>
      </p:grpSpPr>
      <p:pic>
        <p:nvPicPr>
          <p:cNvPr id="3" name="Picture 2" descr="A person sitting at a table in front of a window using a pen on a Surface Book folded into tablet mode.&#10;">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641159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56955"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7456955"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7427531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1922270"/>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819"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300"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5119"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239" indent="0">
              <a:buClr>
                <a:schemeClr val="tx1"/>
              </a:buClr>
              <a:buSzPct val="90000"/>
              <a:buFont typeface="Arial" pitchFamily="34" charset="0"/>
              <a:buNone/>
              <a:defRPr sz="1569"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0521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37E26AFE-DE6D-4BB8-BFA8-71844F8CF039}"/>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05299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87168106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4" name="Text Placeholder 3"/>
          <p:cNvSpPr>
            <a:spLocks noGrp="1"/>
          </p:cNvSpPr>
          <p:nvPr>
            <p:ph type="body" sz="quarter" idx="10"/>
          </p:nvPr>
        </p:nvSpPr>
        <p:spPr>
          <a:xfrm>
            <a:off x="6106888" y="1507584"/>
            <a:ext cx="5818194" cy="1969770"/>
          </a:xfrm>
        </p:spPr>
        <p:txBody>
          <a:bodyPr wrap="square">
            <a:spAutoFit/>
          </a:bodyPr>
          <a:lstStyle>
            <a:lvl1pPr marL="0" indent="0">
              <a:buNone/>
              <a:defRPr sz="2800">
                <a:solidFill>
                  <a:schemeClr val="tx1"/>
                </a:solidFill>
              </a:defRPr>
            </a:lvl1pPr>
            <a:lvl2pPr marL="0" indent="0">
              <a:buNone/>
              <a:defRPr sz="2000"/>
            </a:lvl2pPr>
            <a:lvl3pPr marL="0" indent="0">
              <a:buNone/>
              <a:defRPr sz="1800"/>
            </a:lvl3pPr>
            <a:lvl4pPr marL="0" indent="0">
              <a:buNone/>
              <a:defRPr sz="1800"/>
            </a:lvl4pPr>
            <a:lvl5pPr marL="0"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4871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Only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1654EB-4FD8-493A-AEF8-AD340286371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FF1654EB-4FD8-493A-AEF8-AD340286371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8D37971-7106-41B6-BA4B-50DBB7D288C6}"/>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3600" b="0" i="0" baseline="0" dirty="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8" name="Title 1">
            <a:extLst>
              <a:ext uri="{FF2B5EF4-FFF2-40B4-BE49-F238E27FC236}">
                <a16:creationId xmlns:a16="http://schemas.microsoft.com/office/drawing/2014/main" id="{22B93658-3036-D949-9B7A-B168026818F9}"/>
              </a:ext>
            </a:extLst>
          </p:cNvPr>
          <p:cNvSpPr>
            <a:spLocks noGrp="1"/>
          </p:cNvSpPr>
          <p:nvPr>
            <p:ph type="title"/>
          </p:nvPr>
        </p:nvSpPr>
        <p:spPr>
          <a:xfrm>
            <a:off x="588263" y="406400"/>
            <a:ext cx="11018520" cy="553998"/>
          </a:xfrm>
          <a:prstGeom prst="rect">
            <a:avLst/>
          </a:prstGeom>
        </p:spPr>
        <p:txBody>
          <a:bodyPr lIns="0"/>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78979890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6148" name="think-cell Slide" r:id="rId4" imgW="378" imgH="379" progId="TCLayout.ActiveDocument.1">
                  <p:embed/>
                </p:oleObj>
              </mc:Choice>
              <mc:Fallback>
                <p:oleObj name="think-cell Slide" r:id="rId4" imgW="378" imgH="379" progId="TCLayout.ActiveDocument.1">
                  <p:embed/>
                  <p:pic>
                    <p:nvPicPr>
                      <p:cNvPr id="3" name="Object 2"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69240" y="3041440"/>
            <a:ext cx="11922760" cy="939040"/>
          </a:xfrm>
          <a:noFill/>
        </p:spPr>
        <p:txBody>
          <a:bodyPr wrap="square" tIns="91440" bIns="91440" anchor="b" anchorCtr="0">
            <a:spAutoFit/>
          </a:bodyPr>
          <a:lstStyle>
            <a:lvl1pPr>
              <a:defRPr sz="4902" spc="-98" baseline="0">
                <a:gradFill>
                  <a:gsLst>
                    <a:gs pos="100000">
                      <a:schemeClr val="tx1"/>
                    </a:gs>
                    <a:gs pos="0">
                      <a:schemeClr val="tx1"/>
                    </a:gs>
                  </a:gsLst>
                  <a:lin ang="5400000" scaled="0"/>
                </a:gradFill>
              </a:defRPr>
            </a:lvl1pPr>
          </a:lstStyle>
          <a:p>
            <a:r>
              <a:rPr lang="en-US"/>
              <a:t>Section title</a:t>
            </a:r>
          </a:p>
        </p:txBody>
      </p:sp>
      <p:sp>
        <p:nvSpPr>
          <p:cNvPr id="5" name="Text Placeholder 4"/>
          <p:cNvSpPr>
            <a:spLocks noGrp="1"/>
          </p:cNvSpPr>
          <p:nvPr>
            <p:ph type="body" sz="quarter" idx="10"/>
          </p:nvPr>
        </p:nvSpPr>
        <p:spPr>
          <a:xfrm>
            <a:off x="269241" y="3846733"/>
            <a:ext cx="11653523" cy="422423"/>
          </a:xfrm>
        </p:spPr>
        <p:txBody>
          <a:bodyPr/>
          <a:lstStyle>
            <a:lvl1pPr marL="0" indent="0">
              <a:buNone/>
              <a:defRPr sz="2745"/>
            </a:lvl1pPr>
            <a:lvl2pPr marL="0" indent="0">
              <a:buNone/>
              <a:defRPr/>
            </a:lvl2pPr>
            <a:lvl3pPr marL="0" indent="0">
              <a:buNone/>
              <a:defRPr/>
            </a:lvl3pPr>
            <a:lvl4pPr marL="0" indent="0">
              <a:buNone/>
              <a:defRPr/>
            </a:lvl4pPr>
            <a:lvl5pPr marL="0" indent="0">
              <a:buNone/>
              <a:defRPr/>
            </a:lvl5pPr>
          </a:lstStyle>
          <a:p>
            <a:pPr lvl="0"/>
            <a:r>
              <a:rPr lang="en-US"/>
              <a:t>Edit Master text styles</a:t>
            </a:r>
          </a:p>
        </p:txBody>
      </p:sp>
    </p:spTree>
    <p:extLst>
      <p:ext uri="{BB962C8B-B14F-4D97-AF65-F5344CB8AC3E}">
        <p14:creationId xmlns:p14="http://schemas.microsoft.com/office/powerpoint/2010/main" val="2769977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7172"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1"/>
          </p:nvPr>
        </p:nvSpPr>
        <p:spPr>
          <a:xfrm>
            <a:off x="370398" y="1326151"/>
            <a:ext cx="11552364" cy="241285"/>
          </a:xfrm>
        </p:spPr>
        <p:txBody>
          <a:bodyPr/>
          <a:lstStyle>
            <a:lvl1pPr marL="0" indent="0">
              <a:buNone/>
              <a:defRPr sz="1568">
                <a:latin typeface="+mn-lt"/>
              </a:defRPr>
            </a:lvl1pPr>
          </a:lstStyle>
          <a:p>
            <a:pPr lvl="0"/>
            <a:r>
              <a:rPr lang="en-US"/>
              <a:t>Edit Master text styles</a:t>
            </a:r>
          </a:p>
        </p:txBody>
      </p:sp>
      <p:sp>
        <p:nvSpPr>
          <p:cNvPr id="5" name="Text Placeholder 4"/>
          <p:cNvSpPr>
            <a:spLocks noGrp="1"/>
          </p:cNvSpPr>
          <p:nvPr>
            <p:ph type="body" sz="quarter" idx="12"/>
          </p:nvPr>
        </p:nvSpPr>
        <p:spPr>
          <a:xfrm>
            <a:off x="7512228" y="2856587"/>
            <a:ext cx="4261130" cy="488724"/>
          </a:xfrm>
        </p:spPr>
        <p:txBody>
          <a:bodyPr/>
          <a:lstStyle>
            <a:lvl1pPr marL="0" indent="0">
              <a:buNone/>
              <a:defRPr sz="1765" b="1">
                <a:solidFill>
                  <a:schemeClr val="accent1"/>
                </a:solidFill>
                <a:latin typeface="+mn-lt"/>
              </a:defRPr>
            </a:lvl1pPr>
            <a:lvl2pPr marL="0" indent="0">
              <a:buNone/>
              <a:defRPr sz="1176"/>
            </a:lvl2pPr>
            <a:lvl3pPr marL="0" indent="0">
              <a:buNone/>
              <a:defRPr sz="1078"/>
            </a:lvl3pPr>
            <a:lvl4pPr marL="0" indent="0">
              <a:buNone/>
              <a:defRPr sz="1029"/>
            </a:lvl4pPr>
            <a:lvl5pPr marL="0" indent="0">
              <a:buNone/>
              <a:defRPr sz="1029"/>
            </a:lvl5pPr>
          </a:lstStyle>
          <a:p>
            <a:pPr lvl="0"/>
            <a:r>
              <a:rPr lang="en-US"/>
              <a:t>Edit Master text styles</a:t>
            </a:r>
          </a:p>
          <a:p>
            <a:pPr lvl="1"/>
            <a:r>
              <a:rPr lang="en-US"/>
              <a:t>Second level</a:t>
            </a:r>
          </a:p>
        </p:txBody>
      </p:sp>
    </p:spTree>
    <p:extLst>
      <p:ext uri="{BB962C8B-B14F-4D97-AF65-F5344CB8AC3E}">
        <p14:creationId xmlns:p14="http://schemas.microsoft.com/office/powerpoint/2010/main" val="385399909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0_Title and Content 1st level color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370410" y="1189178"/>
            <a:ext cx="11552353" cy="1134028"/>
          </a:xfrm>
        </p:spPr>
        <p:txBody>
          <a:bodyPr wrap="square">
            <a:spAutoFit/>
          </a:bodyPr>
          <a:lstStyle>
            <a:lvl1pPr marL="0" indent="0">
              <a:buNone/>
              <a:defRPr sz="1961">
                <a:solidFill>
                  <a:schemeClr val="tx1"/>
                </a:solidFill>
                <a:latin typeface="+mn-lt"/>
              </a:defRPr>
            </a:lvl1pPr>
            <a:lvl2pPr marL="0" indent="0">
              <a:buNone/>
              <a:defRPr sz="1176"/>
            </a:lvl2pPr>
            <a:lvl3pPr marL="0" indent="0">
              <a:buNone/>
              <a:defRPr sz="1176"/>
            </a:lvl3pPr>
            <a:lvl4pPr marL="0" indent="0">
              <a:buNone/>
              <a:defRPr sz="1078"/>
            </a:lvl4pPr>
            <a:lvl5pPr marL="0" indent="0">
              <a:buNone/>
              <a:defRPr sz="107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030349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07160"/>
            <a:ext cx="11280010"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766010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dirty="0"/>
              <a:t>Title</a:t>
            </a:r>
          </a:p>
        </p:txBody>
      </p:sp>
    </p:spTree>
    <p:extLst>
      <p:ext uri="{BB962C8B-B14F-4D97-AF65-F5344CB8AC3E}">
        <p14:creationId xmlns:p14="http://schemas.microsoft.com/office/powerpoint/2010/main" val="222033070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dirty="0"/>
              <a:t>Heading Segoe UI </a:t>
            </a:r>
            <a:r>
              <a:rPr lang="en-US" dirty="0" err="1"/>
              <a:t>Semibold</a:t>
            </a:r>
            <a:r>
              <a:rPr lang="en-US" dirty="0"/>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91608"/>
            <a:ext cx="11339774" cy="271592"/>
          </a:xfrm>
        </p:spPr>
        <p:txBody>
          <a:bodyPr wrap="square" lIns="0" tIns="0" rIns="0" bIns="0">
            <a:spAutoFit/>
          </a:bodyPr>
          <a:lstStyle>
            <a:lvl1pPr marL="0" indent="0">
              <a:lnSpc>
                <a:spcPct val="90000"/>
              </a:lnSpc>
              <a:spcBef>
                <a:spcPts val="0"/>
              </a:spcBef>
              <a:spcAft>
                <a:spcPts val="1274"/>
              </a:spcAft>
              <a:buNone/>
              <a:defRPr sz="1961"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dirty="0"/>
              <a:t>Subtitle Segoe UI</a:t>
            </a:r>
          </a:p>
        </p:txBody>
      </p:sp>
    </p:spTree>
    <p:extLst>
      <p:ext uri="{BB962C8B-B14F-4D97-AF65-F5344CB8AC3E}">
        <p14:creationId xmlns:p14="http://schemas.microsoft.com/office/powerpoint/2010/main" val="58313357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1291624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grpSp>
        <p:nvGrpSpPr>
          <p:cNvPr id="23" name="Group 21">
            <a:extLst>
              <a:ext uri="{FF2B5EF4-FFF2-40B4-BE49-F238E27FC236}">
                <a16:creationId xmlns:a16="http://schemas.microsoft.com/office/drawing/2014/main" id="{CCA3297E-0F93-4552-85D2-88342B4B6234}"/>
              </a:ext>
            </a:extLst>
          </p:cNvPr>
          <p:cNvGrpSpPr>
            <a:grpSpLocks noChangeAspect="1"/>
          </p:cNvGrpSpPr>
          <p:nvPr userDrawn="1"/>
        </p:nvGrpSpPr>
        <p:grpSpPr bwMode="auto">
          <a:xfrm>
            <a:off x="584200" y="585788"/>
            <a:ext cx="2032492" cy="292608"/>
            <a:chOff x="428" y="664"/>
            <a:chExt cx="4126" cy="594"/>
          </a:xfrm>
        </p:grpSpPr>
        <p:sp>
          <p:nvSpPr>
            <p:cNvPr id="24" name="Freeform 22">
              <a:extLst>
                <a:ext uri="{FF2B5EF4-FFF2-40B4-BE49-F238E27FC236}">
                  <a16:creationId xmlns:a16="http://schemas.microsoft.com/office/drawing/2014/main" id="{E6AC06CD-6E57-4912-AF59-31B0BC18B27D}"/>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23">
              <a:extLst>
                <a:ext uri="{FF2B5EF4-FFF2-40B4-BE49-F238E27FC236}">
                  <a16:creationId xmlns:a16="http://schemas.microsoft.com/office/drawing/2014/main" id="{1FB6540D-FE4E-4D51-BF2D-3A6D666316DE}"/>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4">
              <a:extLst>
                <a:ext uri="{FF2B5EF4-FFF2-40B4-BE49-F238E27FC236}">
                  <a16:creationId xmlns:a16="http://schemas.microsoft.com/office/drawing/2014/main" id="{B1B507C2-89A8-49E0-8A1C-0CC243D2C78D}"/>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5">
              <a:extLst>
                <a:ext uri="{FF2B5EF4-FFF2-40B4-BE49-F238E27FC236}">
                  <a16:creationId xmlns:a16="http://schemas.microsoft.com/office/drawing/2014/main" id="{4A273316-480D-4672-8FD3-B0EAE47D0344}"/>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6">
              <a:extLst>
                <a:ext uri="{FF2B5EF4-FFF2-40B4-BE49-F238E27FC236}">
                  <a16:creationId xmlns:a16="http://schemas.microsoft.com/office/drawing/2014/main" id="{BC01E698-A488-4CD3-BE95-559AF05EDCEF}"/>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7">
              <a:extLst>
                <a:ext uri="{FF2B5EF4-FFF2-40B4-BE49-F238E27FC236}">
                  <a16:creationId xmlns:a16="http://schemas.microsoft.com/office/drawing/2014/main" id="{8D29D99E-BE67-46FF-A12E-57E492AB24C9}"/>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Rectangle 28">
              <a:extLst>
                <a:ext uri="{FF2B5EF4-FFF2-40B4-BE49-F238E27FC236}">
                  <a16:creationId xmlns:a16="http://schemas.microsoft.com/office/drawing/2014/main" id="{C047E6FE-0851-4A74-BB82-39DC9536D7D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Rectangle 29">
              <a:extLst>
                <a:ext uri="{FF2B5EF4-FFF2-40B4-BE49-F238E27FC236}">
                  <a16:creationId xmlns:a16="http://schemas.microsoft.com/office/drawing/2014/main" id="{A9F0FCC2-A6AF-4E64-9AAD-15648F0B03D2}"/>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Rectangle 30">
              <a:extLst>
                <a:ext uri="{FF2B5EF4-FFF2-40B4-BE49-F238E27FC236}">
                  <a16:creationId xmlns:a16="http://schemas.microsoft.com/office/drawing/2014/main" id="{FF8AD342-8B06-4AED-BF1A-DD28019D5D2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Rectangle 31">
              <a:extLst>
                <a:ext uri="{FF2B5EF4-FFF2-40B4-BE49-F238E27FC236}">
                  <a16:creationId xmlns:a16="http://schemas.microsoft.com/office/drawing/2014/main" id="{909D87EE-128C-4423-9986-EC7841A295DD}"/>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Rectangle 32">
              <a:extLst>
                <a:ext uri="{FF2B5EF4-FFF2-40B4-BE49-F238E27FC236}">
                  <a16:creationId xmlns:a16="http://schemas.microsoft.com/office/drawing/2014/main" id="{19FC077F-C29E-4870-BF84-A659C7E6594F}"/>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Rectangle 33">
              <a:extLst>
                <a:ext uri="{FF2B5EF4-FFF2-40B4-BE49-F238E27FC236}">
                  <a16:creationId xmlns:a16="http://schemas.microsoft.com/office/drawing/2014/main" id="{BAEBC02B-1605-4320-9E8E-70C40B044D9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Rectangle 34">
              <a:extLst>
                <a:ext uri="{FF2B5EF4-FFF2-40B4-BE49-F238E27FC236}">
                  <a16:creationId xmlns:a16="http://schemas.microsoft.com/office/drawing/2014/main" id="{1C79244D-F756-426B-9D02-97EC9389FAAB}"/>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Rectangle 35">
              <a:extLst>
                <a:ext uri="{FF2B5EF4-FFF2-40B4-BE49-F238E27FC236}">
                  <a16:creationId xmlns:a16="http://schemas.microsoft.com/office/drawing/2014/main" id="{4DCEECFC-2A95-409B-A3F2-801CEF6CED9C}"/>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pic>
        <p:nvPicPr>
          <p:cNvPr id="4" name="Picture 3" descr="A view of a city at night&#10;&#10;Description generated with very high confidence">
            <a:extLst>
              <a:ext uri="{FF2B5EF4-FFF2-40B4-BE49-F238E27FC236}">
                <a16:creationId xmlns:a16="http://schemas.microsoft.com/office/drawing/2014/main" id="{91584ADE-CAA1-4A12-A886-458F8DAB079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4325" r="8922"/>
          <a:stretch/>
        </p:blipFill>
        <p:spPr>
          <a:xfrm>
            <a:off x="5333998" y="0"/>
            <a:ext cx="6858001" cy="6858000"/>
          </a:xfrm>
          <a:prstGeom prst="rect">
            <a:avLst/>
          </a:prstGeom>
        </p:spPr>
      </p:pic>
    </p:spTree>
    <p:extLst>
      <p:ext uri="{BB962C8B-B14F-4D97-AF65-F5344CB8AC3E}">
        <p14:creationId xmlns:p14="http://schemas.microsoft.com/office/powerpoint/2010/main" val="4248332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nect 2017 Opening Slide_ON-SIT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9A67967-ED88-4A5B-8476-2B050F5E06AD}"/>
              </a:ext>
            </a:extLst>
          </p:cNvPr>
          <p:cNvPicPr>
            <a:picLocks noChangeAspect="1"/>
          </p:cNvPicPr>
          <p:nvPr userDrawn="1"/>
        </p:nvPicPr>
        <p:blipFill rotWithShape="1">
          <a:blip r:embed="rId2"/>
          <a:srcRect l="16830" t="14006" r="3135" b="18700"/>
          <a:stretch/>
        </p:blipFill>
        <p:spPr>
          <a:xfrm>
            <a:off x="-4669" y="0"/>
            <a:ext cx="12196669" cy="6858000"/>
          </a:xfrm>
          <a:prstGeom prst="rect">
            <a:avLst/>
          </a:prstGeom>
        </p:spPr>
      </p:pic>
      <p:pic>
        <p:nvPicPr>
          <p:cNvPr id="7" name="Picture 6">
            <a:extLst>
              <a:ext uri="{FF2B5EF4-FFF2-40B4-BE49-F238E27FC236}">
                <a16:creationId xmlns:a16="http://schemas.microsoft.com/office/drawing/2014/main" id="{45A61B7D-CF88-4B9F-B9AF-D443A50835B2}"/>
              </a:ext>
            </a:extLst>
          </p:cNvPr>
          <p:cNvPicPr>
            <a:picLocks noChangeAspect="1"/>
          </p:cNvPicPr>
          <p:nvPr userDrawn="1"/>
        </p:nvPicPr>
        <p:blipFill>
          <a:blip r:embed="rId3"/>
          <a:stretch>
            <a:fillRect/>
          </a:stretch>
        </p:blipFill>
        <p:spPr>
          <a:xfrm>
            <a:off x="9054515" y="2643944"/>
            <a:ext cx="3137486" cy="1570109"/>
          </a:xfrm>
          <a:prstGeom prst="rect">
            <a:avLst/>
          </a:prstGeom>
        </p:spPr>
      </p:pic>
      <p:pic>
        <p:nvPicPr>
          <p:cNvPr id="6" name="Picture 5">
            <a:extLst>
              <a:ext uri="{FF2B5EF4-FFF2-40B4-BE49-F238E27FC236}">
                <a16:creationId xmlns:a16="http://schemas.microsoft.com/office/drawing/2014/main" id="{56C2D90F-C2D9-4D57-B5A5-4A275E4E2E97}"/>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1690" y="6268081"/>
            <a:ext cx="1402823" cy="300247"/>
          </a:xfrm>
          <a:prstGeom prst="rect">
            <a:avLst/>
          </a:prstGeom>
        </p:spPr>
      </p:pic>
    </p:spTree>
    <p:extLst>
      <p:ext uri="{BB962C8B-B14F-4D97-AF65-F5344CB8AC3E}">
        <p14:creationId xmlns:p14="http://schemas.microsoft.com/office/powerpoint/2010/main" val="32085876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zure Platform/Blue_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5541822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sual Studio/Purple_Title">
    <p:bg>
      <p:bgPr>
        <a:solidFill>
          <a:srgbClr val="5C2D9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198625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ata Platform/Teal_Title">
    <p:bg>
      <p:bgPr>
        <a:solidFill>
          <a:srgbClr val="00827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685577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ross-platform Mobile/Red_Title">
    <p:bg>
      <p:bgPr>
        <a:solidFill>
          <a:srgbClr val="E81123"/>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1172402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I/Yellow_Title">
    <p:bg>
      <p:bgPr>
        <a:solidFill>
          <a:srgbClr val="FFB9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solidFill>
                  <a:schemeClr val="bg1"/>
                </a:soli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662094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Ops/Green_Title">
    <p:bg>
      <p:bgPr>
        <a:solidFill>
          <a:srgbClr val="107C1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622735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6797886" cy="899665"/>
          </a:xfrm>
        </p:spPr>
        <p:txBody>
          <a:bodyPr/>
          <a:lstStyle/>
          <a:p>
            <a:r>
              <a:rPr lang="en-US"/>
              <a:t>Click to edit Master title style</a:t>
            </a:r>
          </a:p>
        </p:txBody>
      </p:sp>
      <p:sp>
        <p:nvSpPr>
          <p:cNvPr id="7" name="Text Placeholder 3">
            <a:extLst>
              <a:ext uri="{FF2B5EF4-FFF2-40B4-BE49-F238E27FC236}">
                <a16:creationId xmlns:a16="http://schemas.microsoft.com/office/drawing/2014/main" id="{03D45574-B30B-4C34-A8B0-D8DC428F3EED}"/>
              </a:ext>
            </a:extLst>
          </p:cNvPr>
          <p:cNvSpPr>
            <a:spLocks noGrp="1"/>
          </p:cNvSpPr>
          <p:nvPr>
            <p:ph type="body" sz="quarter" idx="10"/>
          </p:nvPr>
        </p:nvSpPr>
        <p:spPr>
          <a:xfrm>
            <a:off x="269240" y="1860034"/>
            <a:ext cx="6723185" cy="2263268"/>
          </a:xfrm>
        </p:spPr>
        <p:txBody>
          <a:bodyPr wrap="square">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4740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a:xfrm>
            <a:off x="269240" y="289511"/>
            <a:ext cx="7171397" cy="899665"/>
          </a:xfrm>
        </p:spPr>
        <p:txBody>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269303" y="1860034"/>
            <a:ext cx="6723122" cy="2263268"/>
          </a:xfrm>
        </p:spPr>
        <p:txBody>
          <a:bodyPr/>
          <a:lstStyle>
            <a:lvl1pPr>
              <a:defRPr lang="en-US" sz="3529" kern="1200" spc="0" baseline="0" dirty="0" smtClean="0">
                <a:solidFill>
                  <a:schemeClr val="tx1"/>
                </a:solidFill>
                <a:latin typeface="+mj-lt"/>
                <a:ea typeface="+mn-ea"/>
                <a:cs typeface="+mn-cs"/>
              </a:defRPr>
            </a:lvl1pPr>
          </a:lstStyle>
          <a:p>
            <a:pPr marL="224097" marR="0" lvl="0" indent="-224097" algn="l" defTabSz="914367" rtl="0" eaLnBrk="1" fontAlgn="auto" latinLnBrk="0" hangingPunct="1">
              <a:lnSpc>
                <a:spcPct val="90000"/>
              </a:lnSpc>
              <a:spcBef>
                <a:spcPct val="20000"/>
              </a:spcBef>
              <a:spcAft>
                <a:spcPts val="0"/>
              </a:spcAft>
              <a:buClrTx/>
              <a:buSzPct val="90000"/>
              <a:tabLst/>
            </a:pPr>
            <a:r>
              <a:rPr lang="en-US"/>
              <a:t>Edit Master text styles</a:t>
            </a:r>
          </a:p>
          <a:p>
            <a:pPr marL="224097" marR="0" lvl="1" indent="-224097" algn="l" defTabSz="914367" rtl="0" eaLnBrk="1" fontAlgn="auto" latinLnBrk="0" hangingPunct="1">
              <a:lnSpc>
                <a:spcPct val="90000"/>
              </a:lnSpc>
              <a:spcBef>
                <a:spcPct val="20000"/>
              </a:spcBef>
              <a:spcAft>
                <a:spcPts val="0"/>
              </a:spcAft>
              <a:buClrTx/>
              <a:buSzPct val="90000"/>
              <a:tabLst/>
            </a:pPr>
            <a:r>
              <a:rPr lang="en-US"/>
              <a:t>Second level</a:t>
            </a:r>
          </a:p>
          <a:p>
            <a:pPr marL="224097" marR="0" lvl="2" indent="-224097" algn="l" defTabSz="914367" rtl="0" eaLnBrk="1" fontAlgn="auto" latinLnBrk="0" hangingPunct="1">
              <a:lnSpc>
                <a:spcPct val="90000"/>
              </a:lnSpc>
              <a:spcBef>
                <a:spcPct val="20000"/>
              </a:spcBef>
              <a:spcAft>
                <a:spcPts val="0"/>
              </a:spcAft>
              <a:buClrTx/>
              <a:buSzPct val="90000"/>
              <a:tabLst/>
            </a:pPr>
            <a:r>
              <a:rPr lang="en-US"/>
              <a:t>Third level</a:t>
            </a:r>
          </a:p>
          <a:p>
            <a:pPr marL="224097" marR="0" lvl="3" indent="-224097" algn="l" defTabSz="914367" rtl="0" eaLnBrk="1" fontAlgn="auto" latinLnBrk="0" hangingPunct="1">
              <a:lnSpc>
                <a:spcPct val="90000"/>
              </a:lnSpc>
              <a:spcBef>
                <a:spcPct val="20000"/>
              </a:spcBef>
              <a:spcAft>
                <a:spcPts val="0"/>
              </a:spcAft>
              <a:buClrTx/>
              <a:buSzPct val="90000"/>
              <a:tabLst/>
            </a:pPr>
            <a:r>
              <a:rPr lang="en-US"/>
              <a:t>Fourth level</a:t>
            </a:r>
          </a:p>
          <a:p>
            <a:pPr marL="224097" marR="0" lvl="4" indent="-224097"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4144293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795983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6" name="Picture 5" descr="A view of a city at night&#10;&#10;Description generated with very high confidence">
            <a:extLst>
              <a:ext uri="{FF2B5EF4-FFF2-40B4-BE49-F238E27FC236}">
                <a16:creationId xmlns:a16="http://schemas.microsoft.com/office/drawing/2014/main" id="{72FF2D6A-C9E9-4B3B-8A3D-0C7380D0F0D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24325" r="8922"/>
          <a:stretch/>
        </p:blipFill>
        <p:spPr>
          <a:xfrm>
            <a:off x="5333998" y="0"/>
            <a:ext cx="6858001" cy="6858000"/>
          </a:xfrm>
          <a:prstGeom prst="rect">
            <a:avLst/>
          </a:prstGeom>
        </p:spPr>
      </p:pic>
    </p:spTree>
    <p:extLst>
      <p:ext uri="{BB962C8B-B14F-4D97-AF65-F5344CB8AC3E}">
        <p14:creationId xmlns:p14="http://schemas.microsoft.com/office/powerpoint/2010/main" val="42270506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793041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894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238493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621940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58183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50342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creenshot Layou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39730FA-83AB-4C0B-BA17-68D7CE76DF47}"/>
              </a:ext>
            </a:extLst>
          </p:cNvPr>
          <p:cNvSpPr>
            <a:spLocks noGrp="1"/>
          </p:cNvSpPr>
          <p:nvPr>
            <p:ph type="title"/>
          </p:nvPr>
        </p:nvSpPr>
        <p:spPr>
          <a:xfrm>
            <a:off x="269239" y="2198292"/>
            <a:ext cx="4706229" cy="707719"/>
          </a:xfrm>
        </p:spPr>
        <p:txBody>
          <a:bodyPr/>
          <a:lstStyle>
            <a:lvl1pPr>
              <a:defRPr sz="2353">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9" name="Text Placeholder 3">
            <a:extLst>
              <a:ext uri="{FF2B5EF4-FFF2-40B4-BE49-F238E27FC236}">
                <a16:creationId xmlns:a16="http://schemas.microsoft.com/office/drawing/2014/main" id="{CD0DC49D-5F6B-4889-8BAB-44D9B15193C8}"/>
              </a:ext>
            </a:extLst>
          </p:cNvPr>
          <p:cNvSpPr>
            <a:spLocks noGrp="1"/>
          </p:cNvSpPr>
          <p:nvPr>
            <p:ph type="body" sz="quarter" idx="11"/>
          </p:nvPr>
        </p:nvSpPr>
        <p:spPr>
          <a:xfrm>
            <a:off x="269239" y="2906011"/>
            <a:ext cx="4706228" cy="2280787"/>
          </a:xfrm>
        </p:spPr>
        <p:txBody>
          <a:bodyPr wrap="square">
            <a:noAutofit/>
          </a:bodyPr>
          <a:lstStyle>
            <a:lvl1pPr marL="0" indent="0">
              <a:spcBef>
                <a:spcPts val="1765"/>
              </a:spcBef>
              <a:buNone/>
              <a:defRPr sz="2157">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sp>
        <p:nvSpPr>
          <p:cNvPr id="14" name="Rectangle 13">
            <a:extLst>
              <a:ext uri="{FF2B5EF4-FFF2-40B4-BE49-F238E27FC236}">
                <a16:creationId xmlns:a16="http://schemas.microsoft.com/office/drawing/2014/main" id="{64D45838-8CCB-4A31-93D3-BAE08906FB28}"/>
              </a:ext>
            </a:extLst>
          </p:cNvPr>
          <p:cNvSpPr/>
          <p:nvPr userDrawn="1"/>
        </p:nvSpPr>
        <p:spPr bwMode="auto">
          <a:xfrm>
            <a:off x="5333418" y="0"/>
            <a:ext cx="6858583"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57681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37">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Rectangle 3">
            <a:extLst>
              <a:ext uri="{FF2B5EF4-FFF2-40B4-BE49-F238E27FC236}">
                <a16:creationId xmlns:a16="http://schemas.microsoft.com/office/drawing/2014/main" id="{FD1ABB9C-34DF-470B-9A68-B7FF651D0889}"/>
              </a:ext>
            </a:extLst>
          </p:cNvPr>
          <p:cNvSpPr/>
          <p:nvPr userDrawn="1"/>
        </p:nvSpPr>
        <p:spPr bwMode="auto">
          <a:xfrm>
            <a:off x="1" y="0"/>
            <a:ext cx="533435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116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8606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6098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5"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0"/>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904953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0/50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6" name="Picture 5">
            <a:extLst>
              <a:ext uri="{FF2B5EF4-FFF2-40B4-BE49-F238E27FC236}">
                <a16:creationId xmlns:a16="http://schemas.microsoft.com/office/drawing/2014/main" id="{C147BCB6-B351-4103-B9F5-A6E568D6760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5400000">
            <a:off x="-1014879" y="1014879"/>
            <a:ext cx="6858625" cy="4828867"/>
          </a:xfrm>
          <a:prstGeom prst="rect">
            <a:avLst/>
          </a:prstGeom>
        </p:spPr>
      </p:pic>
    </p:spTree>
    <p:extLst>
      <p:ext uri="{BB962C8B-B14F-4D97-AF65-F5344CB8AC3E}">
        <p14:creationId xmlns:p14="http://schemas.microsoft.com/office/powerpoint/2010/main" val="2519300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1570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01574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30537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HINGS - Manage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1FA688A-561C-4456-9598-B7E7878A128F}"/>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353954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6_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63244" y="289511"/>
            <a:ext cx="7742710" cy="1689693"/>
          </a:xfrm>
        </p:spPr>
        <p:txBody>
          <a:bodyPr wrap="square" anchor="t">
            <a:spAutoFit/>
          </a:bodyPr>
          <a:lstStyle>
            <a:lvl1pPr marL="0" indent="0">
              <a:buNone/>
              <a:defRPr sz="2800">
                <a:solidFill>
                  <a:schemeClr val="tx2"/>
                </a:solidFill>
              </a:defRPr>
            </a:lvl1pPr>
            <a:lvl2pPr marL="0" indent="0">
              <a:buNone/>
              <a:defRPr sz="1800"/>
            </a:lvl2pPr>
            <a:lvl3pPr marL="0" indent="0">
              <a:buNone/>
              <a:defRPr sz="1600"/>
            </a:lvl3pPr>
            <a:lvl4pPr marL="0" indent="0">
              <a:buNone/>
              <a:defRPr sz="1600"/>
            </a:lvl4pPr>
            <a:lvl5pPr marL="0" indent="0">
              <a:buNone/>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userDrawn="1"/>
        </p:nvSpPr>
        <p:spPr bwMode="auto">
          <a:xfrm>
            <a:off x="2" y="0"/>
            <a:ext cx="4263242"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0" y="2724670"/>
            <a:ext cx="3863373" cy="1408660"/>
          </a:xfrm>
        </p:spPr>
        <p:txBody>
          <a:bodyPr anchor="ct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521953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INSIGHTS-Operationaliz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1FA688A-561C-4456-9598-B7E7878A128F}"/>
              </a:ext>
            </a:extLst>
          </p:cNvPr>
          <p:cNvSpPr>
            <a:spLocks noGrp="1"/>
          </p:cNvSpPr>
          <p:nvPr userDrawn="1">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30BB4E21-BA15-4C67-84BE-8F07DEE19416}"/>
              </a:ext>
            </a:extLst>
          </p:cNvPr>
          <p:cNvSpPr>
            <a:spLocks noGrp="1"/>
          </p:cNvSpPr>
          <p:nvPr>
            <p:ph type="body" sz="quarter" idx="10"/>
          </p:nvPr>
        </p:nvSpPr>
        <p:spPr>
          <a:xfrm>
            <a:off x="269239" y="1189177"/>
            <a:ext cx="4482124" cy="275537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9014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4" name="Text Placeholder 3"/>
          <p:cNvSpPr>
            <a:spLocks noGrp="1"/>
          </p:cNvSpPr>
          <p:nvPr>
            <p:ph type="body" sz="quarter" idx="10"/>
          </p:nvPr>
        </p:nvSpPr>
        <p:spPr>
          <a:xfrm>
            <a:off x="6106888" y="1507584"/>
            <a:ext cx="5818194" cy="1892826"/>
          </a:xfrm>
        </p:spPr>
        <p:txBody>
          <a:bodyPr wrap="square">
            <a:spAutoFit/>
          </a:bodyPr>
          <a:lstStyle>
            <a:lvl1pPr marL="0" indent="0">
              <a:buNone/>
              <a:defRPr sz="2800">
                <a:solidFill>
                  <a:schemeClr val="tx1"/>
                </a:solidFill>
              </a:defRPr>
            </a:lvl1pPr>
            <a:lvl2pPr marL="0" indent="0">
              <a:buNone/>
              <a:defRPr sz="2000"/>
            </a:lvl2pPr>
            <a:lvl3pPr marL="0" indent="0">
              <a:buNone/>
              <a:defRPr sz="1800"/>
            </a:lvl3pPr>
            <a:lvl4pPr marL="0" indent="0">
              <a:buNone/>
              <a:defRPr sz="1800"/>
            </a:lvl4pPr>
            <a:lvl5pPr marL="0"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043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7065"/>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1E84410-E476-46C1-996C-4838FEE52DC9}" type="datetimeFigureOut">
              <a:rPr lang="en-US" smtClean="0"/>
              <a:t>9/1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82DE945-6CBD-4E54-9B86-F33C719ABE58}" type="slidenum">
              <a:rPr lang="en-US" smtClean="0"/>
              <a:t>‹#›</a:t>
            </a:fld>
            <a:endParaRPr lang="en-US"/>
          </a:p>
        </p:txBody>
      </p:sp>
    </p:spTree>
    <p:extLst>
      <p:ext uri="{BB962C8B-B14F-4D97-AF65-F5344CB8AC3E}">
        <p14:creationId xmlns:p14="http://schemas.microsoft.com/office/powerpoint/2010/main" val="339118468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86754397"/>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theme" Target="../theme/theme2.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image" Target="../media/image8.emf"/><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theme" Target="../theme/theme3.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8" Type="http://schemas.openxmlformats.org/officeDocument/2006/relationships/slideLayout" Target="../slideLayouts/slideLayout42.xml"/><Relationship Id="rId3"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9" Type="http://schemas.openxmlformats.org/officeDocument/2006/relationships/image" Target="../media/image14.emf"/><Relationship Id="rId21" Type="http://schemas.openxmlformats.org/officeDocument/2006/relationships/slideLayout" Target="../slideLayouts/slideLayout90.xml"/><Relationship Id="rId34" Type="http://schemas.openxmlformats.org/officeDocument/2006/relationships/slideLayout" Target="../slideLayouts/slideLayout103.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theme" Target="../theme/theme4.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29" Type="http://schemas.openxmlformats.org/officeDocument/2006/relationships/slideLayout" Target="../slideLayouts/slideLayout98.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8" Type="http://schemas.openxmlformats.org/officeDocument/2006/relationships/slideLayout" Target="../slideLayouts/slideLayout77.xml"/><Relationship Id="rId3"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21" Type="http://schemas.openxmlformats.org/officeDocument/2006/relationships/slideLayout" Target="../slideLayouts/slideLayout127.xml"/><Relationship Id="rId34" Type="http://schemas.openxmlformats.org/officeDocument/2006/relationships/slideLayout" Target="../slideLayouts/slideLayout140.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slideLayout" Target="../slideLayouts/slideLayout139.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29" Type="http://schemas.openxmlformats.org/officeDocument/2006/relationships/slideLayout" Target="../slideLayouts/slideLayout135.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slideLayout" Target="../slideLayouts/slideLayout138.xml"/><Relationship Id="rId37" Type="http://schemas.openxmlformats.org/officeDocument/2006/relationships/image" Target="../media/image21.png"/><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36" Type="http://schemas.openxmlformats.org/officeDocument/2006/relationships/theme" Target="../theme/theme5.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slideLayout" Target="../slideLayouts/slideLayout137.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 Id="rId35" Type="http://schemas.openxmlformats.org/officeDocument/2006/relationships/slideLayout" Target="../slideLayouts/slideLayout141.xml"/><Relationship Id="rId8" Type="http://schemas.openxmlformats.org/officeDocument/2006/relationships/slideLayout" Target="../slideLayouts/slideLayout114.xml"/><Relationship Id="rId3" Type="http://schemas.openxmlformats.org/officeDocument/2006/relationships/slideLayout" Target="../slideLayouts/slideLayout10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3" Type="http://schemas.openxmlformats.org/officeDocument/2006/relationships/slideLayout" Target="../slideLayouts/slideLayout144.xml"/><Relationship Id="rId21" Type="http://schemas.openxmlformats.org/officeDocument/2006/relationships/image" Target="../media/image14.emf"/><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theme" Target="../theme/theme6.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3" Type="http://schemas.openxmlformats.org/officeDocument/2006/relationships/slideLayout" Target="../slideLayouts/slideLayout163.xml"/><Relationship Id="rId21" Type="http://schemas.openxmlformats.org/officeDocument/2006/relationships/image" Target="../media/image14.emf"/><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theme" Target="../theme/theme7.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image" Target="../media/image33.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3" Type="http://schemas.openxmlformats.org/officeDocument/2006/relationships/slideLayout" Target="../slideLayouts/slideLayout182.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2" Type="http://schemas.openxmlformats.org/officeDocument/2006/relationships/slideLayout" Target="../slideLayouts/slideLayout181.xml"/><Relationship Id="rId16" Type="http://schemas.openxmlformats.org/officeDocument/2006/relationships/image" Target="../media/image42.png"/><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5" Type="http://schemas.openxmlformats.org/officeDocument/2006/relationships/theme" Target="../theme/theme8.xml"/><Relationship Id="rId10" Type="http://schemas.openxmlformats.org/officeDocument/2006/relationships/slideLayout" Target="../slideLayouts/slideLayout189.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slideLayout" Target="../slideLayouts/slideLayout206.xml"/><Relationship Id="rId18" Type="http://schemas.openxmlformats.org/officeDocument/2006/relationships/slideLayout" Target="../slideLayouts/slideLayout211.xml"/><Relationship Id="rId3" Type="http://schemas.openxmlformats.org/officeDocument/2006/relationships/slideLayout" Target="../slideLayouts/slideLayout196.xml"/><Relationship Id="rId21" Type="http://schemas.openxmlformats.org/officeDocument/2006/relationships/slideLayout" Target="../slideLayouts/slideLayout214.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slideLayout" Target="../slideLayouts/slideLayout210.xml"/><Relationship Id="rId2" Type="http://schemas.openxmlformats.org/officeDocument/2006/relationships/slideLayout" Target="../slideLayouts/slideLayout195.xml"/><Relationship Id="rId16" Type="http://schemas.openxmlformats.org/officeDocument/2006/relationships/slideLayout" Target="../slideLayouts/slideLayout209.xml"/><Relationship Id="rId20" Type="http://schemas.openxmlformats.org/officeDocument/2006/relationships/slideLayout" Target="../slideLayouts/slideLayout213.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24" Type="http://schemas.openxmlformats.org/officeDocument/2006/relationships/image" Target="../media/image33.png"/><Relationship Id="rId5" Type="http://schemas.openxmlformats.org/officeDocument/2006/relationships/slideLayout" Target="../slideLayouts/slideLayout198.xml"/><Relationship Id="rId15" Type="http://schemas.openxmlformats.org/officeDocument/2006/relationships/slideLayout" Target="../slideLayouts/slideLayout208.xml"/><Relationship Id="rId23" Type="http://schemas.openxmlformats.org/officeDocument/2006/relationships/image" Target="../media/image14.emf"/><Relationship Id="rId10" Type="http://schemas.openxmlformats.org/officeDocument/2006/relationships/slideLayout" Target="../slideLayouts/slideLayout203.xml"/><Relationship Id="rId19" Type="http://schemas.openxmlformats.org/officeDocument/2006/relationships/slideLayout" Target="../slideLayouts/slideLayout212.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13766767"/>
      </p:ext>
    </p:extLst>
  </p:cSld>
  <p:clrMap bg1="lt1" tx1="dk1" bg2="lt2" tx2="dk2" accent1="accent1" accent2="accent2" accent3="accent3" accent4="accent4" accent5="accent5" accent6="accent6" hlink="hlink" folHlink="folHlink"/>
  <p:sldLayoutIdLst>
    <p:sldLayoutId id="2147484177" r:id="rId1"/>
    <p:sldLayoutId id="2147484178" r:id="rId2"/>
    <p:sldLayoutId id="2147484181" r:id="rId3"/>
    <p:sldLayoutId id="2147484191" r:id="rId4"/>
    <p:sldLayoutId id="2147484192" r:id="rId5"/>
    <p:sldLayoutId id="2147484193" r:id="rId6"/>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14180387"/>
      </p:ext>
    </p:extLst>
  </p:cSld>
  <p:clrMap bg1="lt1" tx1="dk1" bg2="lt2" tx2="dk2" accent1="accent1" accent2="accent2" accent3="accent3" accent4="accent4" accent5="accent5" accent6="accent6" hlink="hlink" folHlink="folHlink"/>
  <p:sldLayoutIdLst>
    <p:sldLayoutId id="2147484264" r:id="rId1"/>
    <p:sldLayoutId id="2147484265" r:id="rId2"/>
    <p:sldLayoutId id="2147484266" r:id="rId3"/>
    <p:sldLayoutId id="2147484267" r:id="rId4"/>
    <p:sldLayoutId id="2147484268" r:id="rId5"/>
    <p:sldLayoutId id="2147484269" r:id="rId6"/>
    <p:sldLayoutId id="2147484270" r:id="rId7"/>
    <p:sldLayoutId id="2147484271" r:id="rId8"/>
    <p:sldLayoutId id="2147484272" r:id="rId9"/>
    <p:sldLayoutId id="2147484273" r:id="rId10"/>
    <p:sldLayoutId id="2147484274" r:id="rId11"/>
    <p:sldLayoutId id="2147484275" r:id="rId12"/>
    <p:sldLayoutId id="2147484276" r:id="rId13"/>
    <p:sldLayoutId id="2147484277" r:id="rId14"/>
    <p:sldLayoutId id="2147484278" r:id="rId15"/>
    <p:sldLayoutId id="2147484279" r:id="rId16"/>
    <p:sldLayoutId id="2147484280" r:id="rId17"/>
    <p:sldLayoutId id="2147484281" r:id="rId18"/>
    <p:sldLayoutId id="2147484282" r:id="rId19"/>
    <p:sldLayoutId id="2147484283" r:id="rId20"/>
    <p:sldLayoutId id="2147484284" r:id="rId21"/>
    <p:sldLayoutId id="2147484285" r:id="rId22"/>
    <p:sldLayoutId id="2147484286" r:id="rId23"/>
    <p:sldLayoutId id="2147484288" r:id="rId24"/>
    <p:sldLayoutId id="2147484320" r:id="rId25"/>
    <p:sldLayoutId id="2147484321" r:id="rId26"/>
    <p:sldLayoutId id="2147484322" r:id="rId27"/>
    <p:sldLayoutId id="2147484355" r:id="rId28"/>
  </p:sldLayoutIdLst>
  <p:transition>
    <p:fade/>
  </p:transition>
  <p:hf sldNum="0" hdr="0" ftr="0" dt="0"/>
  <p:txStyles>
    <p:titleStyle>
      <a:lvl1pPr algn="ctr"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7"/>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03691524"/>
      </p:ext>
    </p:extLst>
  </p:cSld>
  <p:clrMap bg1="lt1" tx1="dk1" bg2="lt2" tx2="dk2" accent1="accent1" accent2="accent2" accent3="accent3" accent4="accent4" accent5="accent5" accent6="accent6" hlink="hlink" folHlink="folHlink"/>
  <p:sldLayoutIdLst>
    <p:sldLayoutId id="2147484292" r:id="rId1"/>
    <p:sldLayoutId id="2147484293" r:id="rId2"/>
    <p:sldLayoutId id="2147484294" r:id="rId3"/>
    <p:sldLayoutId id="2147484295" r:id="rId4"/>
    <p:sldLayoutId id="2147484296" r:id="rId5"/>
    <p:sldLayoutId id="2147484297" r:id="rId6"/>
    <p:sldLayoutId id="2147484298" r:id="rId7"/>
    <p:sldLayoutId id="2147484299" r:id="rId8"/>
    <p:sldLayoutId id="2147484300" r:id="rId9"/>
    <p:sldLayoutId id="2147484301" r:id="rId10"/>
    <p:sldLayoutId id="2147484302" r:id="rId11"/>
    <p:sldLayoutId id="2147484303" r:id="rId12"/>
    <p:sldLayoutId id="2147484304" r:id="rId13"/>
    <p:sldLayoutId id="2147484305" r:id="rId14"/>
    <p:sldLayoutId id="2147484306" r:id="rId15"/>
    <p:sldLayoutId id="2147484307" r:id="rId16"/>
    <p:sldLayoutId id="2147484308" r:id="rId17"/>
    <p:sldLayoutId id="2147484309" r:id="rId18"/>
    <p:sldLayoutId id="2147484310" r:id="rId19"/>
    <p:sldLayoutId id="2147484311" r:id="rId20"/>
    <p:sldLayoutId id="2147484312" r:id="rId21"/>
    <p:sldLayoutId id="2147484313" r:id="rId22"/>
    <p:sldLayoutId id="2147484314" r:id="rId23"/>
    <p:sldLayoutId id="2147484315" r:id="rId24"/>
    <p:sldLayoutId id="2147484316" r:id="rId25"/>
    <p:sldLayoutId id="2147484318" r:id="rId26"/>
    <p:sldLayoutId id="2147484319" r:id="rId27"/>
    <p:sldLayoutId id="2147484469" r:id="rId28"/>
    <p:sldLayoutId id="2147484470" r:id="rId29"/>
    <p:sldLayoutId id="2147484471" r:id="rId30"/>
    <p:sldLayoutId id="2147484472" r:id="rId31"/>
    <p:sldLayoutId id="2147484473" r:id="rId32"/>
    <p:sldLayoutId id="2147484474" r:id="rId33"/>
    <p:sldLayoutId id="2147484475" r:id="rId34"/>
    <p:sldLayoutId id="2147484476" r:id="rId35"/>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9"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105877372"/>
      </p:ext>
    </p:extLst>
  </p:cSld>
  <p:clrMap bg1="lt1" tx1="dk1" bg2="lt2" tx2="dk2" accent1="accent1" accent2="accent2" accent3="accent3" accent4="accent4" accent5="accent5" accent6="accent6" hlink="hlink" folHlink="folHlink"/>
  <p:sldLayoutIdLst>
    <p:sldLayoutId id="2147484324" r:id="rId1"/>
    <p:sldLayoutId id="2147484325" r:id="rId2"/>
    <p:sldLayoutId id="2147484326" r:id="rId3"/>
    <p:sldLayoutId id="2147484327" r:id="rId4"/>
    <p:sldLayoutId id="2147484328" r:id="rId5"/>
    <p:sldLayoutId id="2147484329" r:id="rId6"/>
    <p:sldLayoutId id="2147484330" r:id="rId7"/>
    <p:sldLayoutId id="2147484331" r:id="rId8"/>
    <p:sldLayoutId id="2147484332" r:id="rId9"/>
    <p:sldLayoutId id="2147484333" r:id="rId10"/>
    <p:sldLayoutId id="2147484334" r:id="rId11"/>
    <p:sldLayoutId id="2147484335" r:id="rId12"/>
    <p:sldLayoutId id="2147484336" r:id="rId13"/>
    <p:sldLayoutId id="2147484337" r:id="rId14"/>
    <p:sldLayoutId id="2147484338" r:id="rId15"/>
    <p:sldLayoutId id="2147484339" r:id="rId16"/>
    <p:sldLayoutId id="2147484340" r:id="rId17"/>
    <p:sldLayoutId id="2147484341" r:id="rId18"/>
    <p:sldLayoutId id="2147484342" r:id="rId19"/>
    <p:sldLayoutId id="2147484343" r:id="rId20"/>
    <p:sldLayoutId id="2147484344" r:id="rId21"/>
    <p:sldLayoutId id="2147484345" r:id="rId22"/>
    <p:sldLayoutId id="2147484346" r:id="rId23"/>
    <p:sldLayoutId id="2147484347" r:id="rId24"/>
    <p:sldLayoutId id="2147484348" r:id="rId25"/>
    <p:sldLayoutId id="2147484349" r:id="rId26"/>
    <p:sldLayoutId id="2147484350" r:id="rId27"/>
    <p:sldLayoutId id="2147484351" r:id="rId28"/>
    <p:sldLayoutId id="2147484352" r:id="rId29"/>
    <p:sldLayoutId id="2147484353" r:id="rId30"/>
    <p:sldLayoutId id="2147484354" r:id="rId31"/>
    <p:sldLayoutId id="2147484477" r:id="rId32"/>
    <p:sldLayoutId id="2147484481" r:id="rId33"/>
    <p:sldLayoutId id="2147484482" r:id="rId34"/>
    <p:sldLayoutId id="2147484483" r:id="rId35"/>
    <p:sldLayoutId id="2147484484" r:id="rId36"/>
    <p:sldLayoutId id="2147484485" r:id="rId3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7" cstate="screen">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691447800"/>
      </p:ext>
    </p:extLst>
  </p:cSld>
  <p:clrMap bg1="lt1" tx1="dk1" bg2="lt2" tx2="dk2" accent1="accent1" accent2="accent2" accent3="accent3" accent4="accent4" accent5="accent5" accent6="accent6" hlink="hlink" folHlink="folHlink"/>
  <p:sldLayoutIdLst>
    <p:sldLayoutId id="2147484357" r:id="rId1"/>
    <p:sldLayoutId id="2147484358" r:id="rId2"/>
    <p:sldLayoutId id="2147484359" r:id="rId3"/>
    <p:sldLayoutId id="2147484360" r:id="rId4"/>
    <p:sldLayoutId id="2147484361" r:id="rId5"/>
    <p:sldLayoutId id="2147484362" r:id="rId6"/>
    <p:sldLayoutId id="2147484363" r:id="rId7"/>
    <p:sldLayoutId id="2147484364" r:id="rId8"/>
    <p:sldLayoutId id="2147484365" r:id="rId9"/>
    <p:sldLayoutId id="2147484366" r:id="rId10"/>
    <p:sldLayoutId id="2147484367" r:id="rId11"/>
    <p:sldLayoutId id="2147484368" r:id="rId12"/>
    <p:sldLayoutId id="2147484369" r:id="rId13"/>
    <p:sldLayoutId id="2147484370" r:id="rId14"/>
    <p:sldLayoutId id="2147484371" r:id="rId15"/>
    <p:sldLayoutId id="2147484372" r:id="rId16"/>
    <p:sldLayoutId id="2147484373" r:id="rId17"/>
    <p:sldLayoutId id="2147484374" r:id="rId18"/>
    <p:sldLayoutId id="2147484375" r:id="rId19"/>
    <p:sldLayoutId id="2147484376" r:id="rId20"/>
    <p:sldLayoutId id="2147484377" r:id="rId21"/>
    <p:sldLayoutId id="2147484378" r:id="rId22"/>
    <p:sldLayoutId id="2147484379" r:id="rId23"/>
    <p:sldLayoutId id="2147484380" r:id="rId24"/>
    <p:sldLayoutId id="2147484381" r:id="rId25"/>
    <p:sldLayoutId id="2147484382" r:id="rId26"/>
    <p:sldLayoutId id="2147484383" r:id="rId27"/>
    <p:sldLayoutId id="2147484384" r:id="rId28"/>
    <p:sldLayoutId id="2147484385" r:id="rId29"/>
    <p:sldLayoutId id="2147484386" r:id="rId30"/>
    <p:sldLayoutId id="2147484387" r:id="rId31"/>
    <p:sldLayoutId id="2147484388" r:id="rId32"/>
    <p:sldLayoutId id="2147484389" r:id="rId33"/>
    <p:sldLayoutId id="2147484390" r:id="rId34"/>
    <p:sldLayoutId id="2147484391"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767156902"/>
      </p:ext>
    </p:extLst>
  </p:cSld>
  <p:clrMap bg1="lt1" tx1="dk1" bg2="lt2" tx2="dk2" accent1="accent1" accent2="accent2" accent3="accent3" accent4="accent4" accent5="accent5" accent6="accent6" hlink="hlink" folHlink="folHlink"/>
  <p:sldLayoutIdLst>
    <p:sldLayoutId id="2147484393" r:id="rId1"/>
    <p:sldLayoutId id="2147484394" r:id="rId2"/>
    <p:sldLayoutId id="2147484395" r:id="rId3"/>
    <p:sldLayoutId id="2147484396" r:id="rId4"/>
    <p:sldLayoutId id="2147484397" r:id="rId5"/>
    <p:sldLayoutId id="2147484398" r:id="rId6"/>
    <p:sldLayoutId id="2147484399" r:id="rId7"/>
    <p:sldLayoutId id="2147484400" r:id="rId8"/>
    <p:sldLayoutId id="2147484401" r:id="rId9"/>
    <p:sldLayoutId id="2147484402" r:id="rId10"/>
    <p:sldLayoutId id="2147484403" r:id="rId11"/>
    <p:sldLayoutId id="2147484404" r:id="rId12"/>
    <p:sldLayoutId id="2147484405" r:id="rId13"/>
    <p:sldLayoutId id="2147484406" r:id="rId14"/>
    <p:sldLayoutId id="2147484407" r:id="rId15"/>
    <p:sldLayoutId id="2147484408" r:id="rId16"/>
    <p:sldLayoutId id="2147484409" r:id="rId17"/>
    <p:sldLayoutId id="2147484410" r:id="rId18"/>
    <p:sldLayoutId id="2147484411"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302551"/>
            <a:ext cx="11336039" cy="744014"/>
          </a:xfrm>
          <a:prstGeom prst="rect">
            <a:avLst/>
          </a:prstGeom>
        </p:spPr>
        <p:txBody>
          <a:bodyPr vert="horz" wrap="square" lIns="0" tIns="164592" rIns="0" bIns="0" rtlCol="0" anchor="t">
            <a:noAutofit/>
          </a:bodyPr>
          <a:lstStyle/>
          <a:p>
            <a:r>
              <a:rPr lang="en-US" dirty="0"/>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031402324"/>
      </p:ext>
    </p:extLst>
  </p:cSld>
  <p:clrMap bg1="lt1" tx1="dk1" bg2="lt2" tx2="dk2" accent1="accent1" accent2="accent2" accent3="accent3" accent4="accent4" accent5="accent5" accent6="accent6" hlink="hlink" folHlink="folHlink"/>
  <p:sldLayoutIdLst>
    <p:sldLayoutId id="2147484413" r:id="rId1"/>
    <p:sldLayoutId id="2147484414" r:id="rId2"/>
    <p:sldLayoutId id="2147484415" r:id="rId3"/>
    <p:sldLayoutId id="2147484416" r:id="rId4"/>
    <p:sldLayoutId id="2147484417" r:id="rId5"/>
    <p:sldLayoutId id="2147484418" r:id="rId6"/>
    <p:sldLayoutId id="2147484419" r:id="rId7"/>
    <p:sldLayoutId id="2147484420" r:id="rId8"/>
    <p:sldLayoutId id="2147484421" r:id="rId9"/>
    <p:sldLayoutId id="2147484422" r:id="rId10"/>
    <p:sldLayoutId id="2147484423" r:id="rId11"/>
    <p:sldLayoutId id="2147484424" r:id="rId12"/>
    <p:sldLayoutId id="2147484425" r:id="rId13"/>
    <p:sldLayoutId id="2147484426" r:id="rId14"/>
    <p:sldLayoutId id="2147484427" r:id="rId15"/>
    <p:sldLayoutId id="2147484428" r:id="rId16"/>
    <p:sldLayoutId id="2147484429" r:id="rId17"/>
    <p:sldLayoutId id="2147484430" r:id="rId18"/>
    <p:sldLayoutId id="2147484431" r:id="rId19"/>
  </p:sldLayoutIdLst>
  <p:transition>
    <p:fade/>
  </p:transition>
  <p:txStyles>
    <p:titleStyle>
      <a:lvl1pPr algn="l" defTabSz="914367" rtl="0" eaLnBrk="1" latinLnBrk="0" hangingPunct="1">
        <a:lnSpc>
          <a:spcPct val="90000"/>
        </a:lnSpc>
        <a:spcBef>
          <a:spcPct val="0"/>
        </a:spcBef>
        <a:buNone/>
        <a:defRPr lang="en-US" sz="3725"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71654866"/>
      </p:ext>
    </p:extLst>
  </p:cSld>
  <p:clrMap bg1="lt1" tx1="dk1" bg2="lt2" tx2="dk2" accent1="accent1" accent2="accent2" accent3="accent3" accent4="accent4" accent5="accent5" accent6="accent6" hlink="hlink" folHlink="folHlink"/>
  <p:sldLayoutIdLst>
    <p:sldLayoutId id="2147484433" r:id="rId1"/>
    <p:sldLayoutId id="2147484434" r:id="rId2"/>
    <p:sldLayoutId id="2147484435" r:id="rId3"/>
    <p:sldLayoutId id="2147484436" r:id="rId4"/>
    <p:sldLayoutId id="2147484437" r:id="rId5"/>
    <p:sldLayoutId id="2147484438" r:id="rId6"/>
    <p:sldLayoutId id="2147484439" r:id="rId7"/>
    <p:sldLayoutId id="2147484440" r:id="rId8"/>
    <p:sldLayoutId id="2147484441" r:id="rId9"/>
    <p:sldLayoutId id="2147484442" r:id="rId10"/>
    <p:sldLayoutId id="2147484443" r:id="rId11"/>
    <p:sldLayoutId id="2147484444" r:id="rId12"/>
    <p:sldLayoutId id="2147484445" r:id="rId13"/>
    <p:sldLayoutId id="2147484446" r:id="rId14"/>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
          <a:schemeClr val="tx2"/>
        </a:buClr>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
          <a:schemeClr val="tx2"/>
        </a:buClr>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
          <a:schemeClr val="tx2"/>
        </a:buClr>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
          <a:schemeClr val="tx2"/>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
          <a:schemeClr val="tx2"/>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6"/>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688818"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569326363"/>
      </p:ext>
    </p:extLst>
  </p:cSld>
  <p:clrMap bg1="lt1" tx1="dk1" bg2="lt2" tx2="dk2" accent1="accent1" accent2="accent2" accent3="accent3" accent4="accent4" accent5="accent5" accent6="accent6" hlink="hlink" folHlink="folHlink"/>
  <p:sldLayoutIdLst>
    <p:sldLayoutId id="2147484448" r:id="rId1"/>
    <p:sldLayoutId id="2147484449" r:id="rId2"/>
    <p:sldLayoutId id="2147484450" r:id="rId3"/>
    <p:sldLayoutId id="2147484451" r:id="rId4"/>
    <p:sldLayoutId id="2147484452" r:id="rId5"/>
    <p:sldLayoutId id="2147484453" r:id="rId6"/>
    <p:sldLayoutId id="2147484454" r:id="rId7"/>
    <p:sldLayoutId id="2147484455" r:id="rId8"/>
    <p:sldLayoutId id="2147484456" r:id="rId9"/>
    <p:sldLayoutId id="2147484457" r:id="rId10"/>
    <p:sldLayoutId id="2147484458" r:id="rId11"/>
    <p:sldLayoutId id="2147484459" r:id="rId12"/>
    <p:sldLayoutId id="2147484460" r:id="rId13"/>
    <p:sldLayoutId id="2147484461" r:id="rId14"/>
    <p:sldLayoutId id="2147484462" r:id="rId15"/>
    <p:sldLayoutId id="2147484463" r:id="rId16"/>
    <p:sldLayoutId id="2147484464" r:id="rId17"/>
    <p:sldLayoutId id="2147484465" r:id="rId18"/>
    <p:sldLayoutId id="2147484466" r:id="rId19"/>
    <p:sldLayoutId id="2147484467" r:id="rId20"/>
    <p:sldLayoutId id="2147484468" r:id="rId21"/>
  </p:sldLayoutIdLst>
  <p:transition>
    <p:fade/>
  </p:transition>
  <p:txStyles>
    <p:title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1.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66.xml"/></Relationships>
</file>

<file path=ppt/slides/_rels/slide11.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1.xml"/><Relationship Id="rId1" Type="http://schemas.openxmlformats.org/officeDocument/2006/relationships/slideLayout" Target="../slideLayouts/slideLayout101.xml"/><Relationship Id="rId4" Type="http://schemas.openxmlformats.org/officeDocument/2006/relationships/image" Target="../media/image125.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1.xml"/></Relationships>
</file>

<file path=ppt/slides/_rels/slide13.xml.rels><?xml version="1.0" encoding="UTF-8" standalone="yes"?>
<Relationships xmlns="http://schemas.openxmlformats.org/package/2006/relationships"><Relationship Id="rId8" Type="http://schemas.openxmlformats.org/officeDocument/2006/relationships/image" Target="../media/image131.png"/><Relationship Id="rId13" Type="http://schemas.openxmlformats.org/officeDocument/2006/relationships/image" Target="../media/image136.png"/><Relationship Id="rId18" Type="http://schemas.openxmlformats.org/officeDocument/2006/relationships/image" Target="../media/image141.png"/><Relationship Id="rId3" Type="http://schemas.openxmlformats.org/officeDocument/2006/relationships/image" Target="../media/image126.png"/><Relationship Id="rId21" Type="http://schemas.openxmlformats.org/officeDocument/2006/relationships/image" Target="../media/image144.png"/><Relationship Id="rId7" Type="http://schemas.openxmlformats.org/officeDocument/2006/relationships/image" Target="../media/image130.png"/><Relationship Id="rId12" Type="http://schemas.openxmlformats.org/officeDocument/2006/relationships/image" Target="../media/image135.png"/><Relationship Id="rId17" Type="http://schemas.openxmlformats.org/officeDocument/2006/relationships/image" Target="../media/image140.png"/><Relationship Id="rId2" Type="http://schemas.openxmlformats.org/officeDocument/2006/relationships/notesSlide" Target="../notesSlides/notesSlide13.xml"/><Relationship Id="rId16" Type="http://schemas.openxmlformats.org/officeDocument/2006/relationships/image" Target="../media/image139.png"/><Relationship Id="rId20" Type="http://schemas.openxmlformats.org/officeDocument/2006/relationships/image" Target="../media/image143.png"/><Relationship Id="rId1" Type="http://schemas.openxmlformats.org/officeDocument/2006/relationships/slideLayout" Target="../slideLayouts/slideLayout81.xml"/><Relationship Id="rId6" Type="http://schemas.openxmlformats.org/officeDocument/2006/relationships/image" Target="../media/image129.png"/><Relationship Id="rId11" Type="http://schemas.openxmlformats.org/officeDocument/2006/relationships/image" Target="../media/image134.png"/><Relationship Id="rId5" Type="http://schemas.openxmlformats.org/officeDocument/2006/relationships/image" Target="../media/image128.png"/><Relationship Id="rId15" Type="http://schemas.openxmlformats.org/officeDocument/2006/relationships/image" Target="../media/image138.png"/><Relationship Id="rId10" Type="http://schemas.openxmlformats.org/officeDocument/2006/relationships/image" Target="../media/image133.png"/><Relationship Id="rId19" Type="http://schemas.openxmlformats.org/officeDocument/2006/relationships/image" Target="../media/image142.png"/><Relationship Id="rId4" Type="http://schemas.openxmlformats.org/officeDocument/2006/relationships/image" Target="../media/image127.png"/><Relationship Id="rId9" Type="http://schemas.openxmlformats.org/officeDocument/2006/relationships/image" Target="../media/image132.png"/><Relationship Id="rId14" Type="http://schemas.openxmlformats.org/officeDocument/2006/relationships/image" Target="../media/image137.png"/><Relationship Id="rId22" Type="http://schemas.openxmlformats.org/officeDocument/2006/relationships/image" Target="../media/image145.svg"/></Relationships>
</file>

<file path=ppt/slides/_rels/slide1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14.xml"/><Relationship Id="rId1" Type="http://schemas.openxmlformats.org/officeDocument/2006/relationships/slideLayout" Target="../slideLayouts/slideLayout7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2.xml.rels><?xml version="1.0" encoding="UTF-8" standalone="yes"?>
<Relationships xmlns="http://schemas.openxmlformats.org/package/2006/relationships"><Relationship Id="rId8" Type="http://schemas.openxmlformats.org/officeDocument/2006/relationships/image" Target="../media/image53.jpeg"/><Relationship Id="rId3" Type="http://schemas.openxmlformats.org/officeDocument/2006/relationships/image" Target="../media/image48.jpeg"/><Relationship Id="rId7" Type="http://schemas.openxmlformats.org/officeDocument/2006/relationships/image" Target="../media/image52.jpeg"/><Relationship Id="rId2" Type="http://schemas.openxmlformats.org/officeDocument/2006/relationships/notesSlide" Target="../notesSlides/notesSlide2.xml"/><Relationship Id="rId1" Type="http://schemas.openxmlformats.org/officeDocument/2006/relationships/slideLayout" Target="../slideLayouts/slideLayout77.xml"/><Relationship Id="rId6" Type="http://schemas.openxmlformats.org/officeDocument/2006/relationships/image" Target="../media/image51.jpg"/><Relationship Id="rId5" Type="http://schemas.openxmlformats.org/officeDocument/2006/relationships/image" Target="../media/image50.jpeg"/><Relationship Id="rId4" Type="http://schemas.openxmlformats.org/officeDocument/2006/relationships/image" Target="../media/image49.jpeg"/><Relationship Id="rId9" Type="http://schemas.openxmlformats.org/officeDocument/2006/relationships/image" Target="../media/image54.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4.xml"/></Relationships>
</file>

<file path=ppt/slides/_rels/slide3.xml.rels><?xml version="1.0" encoding="UTF-8" standalone="yes"?>
<Relationships xmlns="http://schemas.openxmlformats.org/package/2006/relationships"><Relationship Id="rId26" Type="http://schemas.openxmlformats.org/officeDocument/2006/relationships/image" Target="../media/image78.jpg"/><Relationship Id="rId21" Type="http://schemas.openxmlformats.org/officeDocument/2006/relationships/image" Target="../media/image73.png"/><Relationship Id="rId34" Type="http://schemas.openxmlformats.org/officeDocument/2006/relationships/image" Target="../media/image86.jpg"/><Relationship Id="rId42" Type="http://schemas.openxmlformats.org/officeDocument/2006/relationships/image" Target="../media/image94.png"/><Relationship Id="rId47" Type="http://schemas.openxmlformats.org/officeDocument/2006/relationships/image" Target="../media/image99.png"/><Relationship Id="rId50" Type="http://schemas.openxmlformats.org/officeDocument/2006/relationships/image" Target="../media/image102.png"/><Relationship Id="rId55" Type="http://schemas.openxmlformats.org/officeDocument/2006/relationships/image" Target="../media/image106.png"/><Relationship Id="rId63" Type="http://schemas.openxmlformats.org/officeDocument/2006/relationships/image" Target="../media/image114.jpg"/><Relationship Id="rId7" Type="http://schemas.openxmlformats.org/officeDocument/2006/relationships/image" Target="../media/image59.png"/><Relationship Id="rId2" Type="http://schemas.openxmlformats.org/officeDocument/2006/relationships/notesSlide" Target="../notesSlides/notesSlide3.xml"/><Relationship Id="rId16" Type="http://schemas.openxmlformats.org/officeDocument/2006/relationships/image" Target="../media/image68.png"/><Relationship Id="rId29" Type="http://schemas.openxmlformats.org/officeDocument/2006/relationships/image" Target="../media/image81.jpeg"/><Relationship Id="rId11" Type="http://schemas.openxmlformats.org/officeDocument/2006/relationships/image" Target="../media/image63.png"/><Relationship Id="rId24" Type="http://schemas.openxmlformats.org/officeDocument/2006/relationships/image" Target="../media/image76.png"/><Relationship Id="rId32" Type="http://schemas.openxmlformats.org/officeDocument/2006/relationships/image" Target="../media/image84.jpg"/><Relationship Id="rId37" Type="http://schemas.openxmlformats.org/officeDocument/2006/relationships/image" Target="../media/image89.png"/><Relationship Id="rId40" Type="http://schemas.openxmlformats.org/officeDocument/2006/relationships/image" Target="../media/image92.jpeg"/><Relationship Id="rId45" Type="http://schemas.openxmlformats.org/officeDocument/2006/relationships/image" Target="../media/image97.png"/><Relationship Id="rId53" Type="http://schemas.openxmlformats.org/officeDocument/2006/relationships/image" Target="../media/image104.jpg"/><Relationship Id="rId58" Type="http://schemas.openxmlformats.org/officeDocument/2006/relationships/image" Target="../media/image109.gif"/><Relationship Id="rId5" Type="http://schemas.openxmlformats.org/officeDocument/2006/relationships/image" Target="../media/image57.png"/><Relationship Id="rId61" Type="http://schemas.openxmlformats.org/officeDocument/2006/relationships/image" Target="../media/image112.jpeg"/><Relationship Id="rId19" Type="http://schemas.openxmlformats.org/officeDocument/2006/relationships/image" Target="../media/image71.png"/><Relationship Id="rId14" Type="http://schemas.openxmlformats.org/officeDocument/2006/relationships/image" Target="../media/image66.jpeg"/><Relationship Id="rId22" Type="http://schemas.openxmlformats.org/officeDocument/2006/relationships/image" Target="../media/image74.png"/><Relationship Id="rId27" Type="http://schemas.openxmlformats.org/officeDocument/2006/relationships/image" Target="../media/image79.png"/><Relationship Id="rId30" Type="http://schemas.openxmlformats.org/officeDocument/2006/relationships/image" Target="../media/image82.png"/><Relationship Id="rId35" Type="http://schemas.openxmlformats.org/officeDocument/2006/relationships/image" Target="../media/image87.jpg"/><Relationship Id="rId43" Type="http://schemas.openxmlformats.org/officeDocument/2006/relationships/image" Target="../media/image95.jpeg"/><Relationship Id="rId48" Type="http://schemas.openxmlformats.org/officeDocument/2006/relationships/image" Target="../media/image100.png"/><Relationship Id="rId56" Type="http://schemas.openxmlformats.org/officeDocument/2006/relationships/image" Target="../media/image107.png"/><Relationship Id="rId64" Type="http://schemas.openxmlformats.org/officeDocument/2006/relationships/image" Target="../media/image115.png"/><Relationship Id="rId8" Type="http://schemas.openxmlformats.org/officeDocument/2006/relationships/image" Target="../media/image60.png"/><Relationship Id="rId51" Type="http://schemas.openxmlformats.org/officeDocument/2006/relationships/hyperlink" Target="http://www.atfservices.com.au/" TargetMode="External"/><Relationship Id="rId3" Type="http://schemas.openxmlformats.org/officeDocument/2006/relationships/image" Target="../media/image55.png"/><Relationship Id="rId12" Type="http://schemas.openxmlformats.org/officeDocument/2006/relationships/image" Target="../media/image64.jpeg"/><Relationship Id="rId17" Type="http://schemas.openxmlformats.org/officeDocument/2006/relationships/image" Target="../media/image69.png"/><Relationship Id="rId25" Type="http://schemas.openxmlformats.org/officeDocument/2006/relationships/image" Target="../media/image77.jpeg"/><Relationship Id="rId33" Type="http://schemas.openxmlformats.org/officeDocument/2006/relationships/image" Target="../media/image85.png"/><Relationship Id="rId38" Type="http://schemas.openxmlformats.org/officeDocument/2006/relationships/image" Target="../media/image90.jpeg"/><Relationship Id="rId46" Type="http://schemas.openxmlformats.org/officeDocument/2006/relationships/image" Target="../media/image98.jpeg"/><Relationship Id="rId59" Type="http://schemas.openxmlformats.org/officeDocument/2006/relationships/image" Target="../media/image110.png"/><Relationship Id="rId20" Type="http://schemas.openxmlformats.org/officeDocument/2006/relationships/image" Target="../media/image72.png"/><Relationship Id="rId41" Type="http://schemas.openxmlformats.org/officeDocument/2006/relationships/image" Target="../media/image93.png"/><Relationship Id="rId54" Type="http://schemas.openxmlformats.org/officeDocument/2006/relationships/image" Target="../media/image105.png"/><Relationship Id="rId62" Type="http://schemas.openxmlformats.org/officeDocument/2006/relationships/image" Target="../media/image113.png"/><Relationship Id="rId1" Type="http://schemas.openxmlformats.org/officeDocument/2006/relationships/slideLayout" Target="../slideLayouts/slideLayout27.xml"/><Relationship Id="rId6" Type="http://schemas.openxmlformats.org/officeDocument/2006/relationships/image" Target="../media/image58.png"/><Relationship Id="rId15" Type="http://schemas.openxmlformats.org/officeDocument/2006/relationships/image" Target="../media/image67.png"/><Relationship Id="rId23" Type="http://schemas.openxmlformats.org/officeDocument/2006/relationships/image" Target="../media/image75.png"/><Relationship Id="rId28" Type="http://schemas.openxmlformats.org/officeDocument/2006/relationships/image" Target="../media/image80.jpeg"/><Relationship Id="rId36" Type="http://schemas.openxmlformats.org/officeDocument/2006/relationships/image" Target="../media/image88.jpg"/><Relationship Id="rId49" Type="http://schemas.openxmlformats.org/officeDocument/2006/relationships/image" Target="../media/image101.png"/><Relationship Id="rId57" Type="http://schemas.openxmlformats.org/officeDocument/2006/relationships/image" Target="../media/image108.png"/><Relationship Id="rId10" Type="http://schemas.openxmlformats.org/officeDocument/2006/relationships/image" Target="../media/image62.png"/><Relationship Id="rId31" Type="http://schemas.openxmlformats.org/officeDocument/2006/relationships/image" Target="../media/image83.gif"/><Relationship Id="rId44" Type="http://schemas.openxmlformats.org/officeDocument/2006/relationships/image" Target="../media/image96.jpg"/><Relationship Id="rId52" Type="http://schemas.openxmlformats.org/officeDocument/2006/relationships/image" Target="../media/image103.png"/><Relationship Id="rId60" Type="http://schemas.openxmlformats.org/officeDocument/2006/relationships/image" Target="../media/image111.png"/><Relationship Id="rId65" Type="http://schemas.openxmlformats.org/officeDocument/2006/relationships/image" Target="../media/image116.jpg"/><Relationship Id="rId4" Type="http://schemas.openxmlformats.org/officeDocument/2006/relationships/image" Target="../media/image56.png"/><Relationship Id="rId9" Type="http://schemas.openxmlformats.org/officeDocument/2006/relationships/image" Target="../media/image61.png"/><Relationship Id="rId13" Type="http://schemas.openxmlformats.org/officeDocument/2006/relationships/image" Target="../media/image65.png"/><Relationship Id="rId18" Type="http://schemas.openxmlformats.org/officeDocument/2006/relationships/image" Target="../media/image70.png"/><Relationship Id="rId39" Type="http://schemas.openxmlformats.org/officeDocument/2006/relationships/image" Target="../media/image91.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39.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34.xml"/><Relationship Id="rId1" Type="http://schemas.openxmlformats.org/officeDocument/2006/relationships/slideLayout" Target="../slideLayouts/slideLayout103.xml"/><Relationship Id="rId4" Type="http://schemas.openxmlformats.org/officeDocument/2006/relationships/image" Target="../media/image148.svg"/></Relationships>
</file>

<file path=ppt/slides/_rels/slide4.xml.rels><?xml version="1.0" encoding="UTF-8" standalone="yes"?>
<Relationships xmlns="http://schemas.openxmlformats.org/package/2006/relationships"><Relationship Id="rId3" Type="http://schemas.openxmlformats.org/officeDocument/2006/relationships/hyperlink" Target="https://demos-home-page.azurewebsites.net/" TargetMode="External"/><Relationship Id="rId2" Type="http://schemas.openxmlformats.org/officeDocument/2006/relationships/notesSlide" Target="../notesSlides/notesSlide4.xml"/><Relationship Id="rId1" Type="http://schemas.openxmlformats.org/officeDocument/2006/relationships/slideLayout" Target="../slideLayouts/slideLayout23.xml"/><Relationship Id="rId4" Type="http://schemas.openxmlformats.org/officeDocument/2006/relationships/image" Target="../media/image11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0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43.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36.xml"/><Relationship Id="rId1" Type="http://schemas.openxmlformats.org/officeDocument/2006/relationships/slideLayout" Target="../slideLayouts/slideLayout103.xml"/><Relationship Id="rId4" Type="http://schemas.openxmlformats.org/officeDocument/2006/relationships/image" Target="../media/image150.jpeg"/></Relationships>
</file>

<file path=ppt/slides/_rels/slide44.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37.xml"/><Relationship Id="rId1" Type="http://schemas.openxmlformats.org/officeDocument/2006/relationships/slideLayout" Target="../slideLayouts/slideLayout103.xml"/><Relationship Id="rId4" Type="http://schemas.openxmlformats.org/officeDocument/2006/relationships/image" Target="../media/image152.jpe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46.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38.xml"/><Relationship Id="rId1" Type="http://schemas.openxmlformats.org/officeDocument/2006/relationships/slideLayout" Target="../slideLayouts/slideLayout88.xml"/><Relationship Id="rId4" Type="http://schemas.openxmlformats.org/officeDocument/2006/relationships/hyperlink" Target="http://azureiotcentral.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39.xml"/><Relationship Id="rId1" Type="http://schemas.openxmlformats.org/officeDocument/2006/relationships/slideLayout" Target="../slideLayouts/slideLayout88.xml"/></Relationships>
</file>

<file path=ppt/slides/_rels/slide48.xml.rels><?xml version="1.0" encoding="UTF-8" standalone="yes"?>
<Relationships xmlns="http://schemas.openxmlformats.org/package/2006/relationships"><Relationship Id="rId3" Type="http://schemas.openxmlformats.org/officeDocument/2006/relationships/image" Target="../media/image155.png"/><Relationship Id="rId7" Type="http://schemas.openxmlformats.org/officeDocument/2006/relationships/image" Target="../media/image159.png"/><Relationship Id="rId2" Type="http://schemas.openxmlformats.org/officeDocument/2006/relationships/notesSlide" Target="../notesSlides/notesSlide40.xml"/><Relationship Id="rId1" Type="http://schemas.openxmlformats.org/officeDocument/2006/relationships/slideLayout" Target="../slideLayouts/slideLayout81.xml"/><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image" Target="../media/image156.svg"/></Relationships>
</file>

<file path=ppt/slides/_rels/slide49.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41.xml"/><Relationship Id="rId1" Type="http://schemas.openxmlformats.org/officeDocument/2006/relationships/slideLayout" Target="../slideLayouts/slideLayout8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1.xml"/></Relationships>
</file>

<file path=ppt/slides/_rels/slide51.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43.xml"/><Relationship Id="rId1" Type="http://schemas.openxmlformats.org/officeDocument/2006/relationships/slideLayout" Target="../slideLayouts/slideLayout88.xml"/></Relationships>
</file>

<file path=ppt/slides/_rels/slide52.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44.xml"/><Relationship Id="rId1" Type="http://schemas.openxmlformats.org/officeDocument/2006/relationships/slideLayout" Target="../slideLayouts/slideLayout88.xml"/><Relationship Id="rId4" Type="http://schemas.microsoft.com/office/2007/relationships/hdphoto" Target="../media/hdphoto1.wdp"/></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81.xml"/></Relationships>
</file>

<file path=ppt/slides/_rels/slide54.xml.rels><?xml version="1.0" encoding="UTF-8" standalone="yes"?>
<Relationships xmlns="http://schemas.openxmlformats.org/package/2006/relationships"><Relationship Id="rId3" Type="http://schemas.openxmlformats.org/officeDocument/2006/relationships/image" Target="../media/image164.jpeg"/><Relationship Id="rId2" Type="http://schemas.openxmlformats.org/officeDocument/2006/relationships/image" Target="../media/image163.jpeg"/><Relationship Id="rId1" Type="http://schemas.openxmlformats.org/officeDocument/2006/relationships/slideLayout" Target="../slideLayouts/slideLayout106.xml"/><Relationship Id="rId4" Type="http://schemas.openxmlformats.org/officeDocument/2006/relationships/image" Target="../media/image165.jpeg"/></Relationships>
</file>

<file path=ppt/slides/_rels/slide55.xml.rels><?xml version="1.0" encoding="UTF-8" standalone="yes"?>
<Relationships xmlns="http://schemas.openxmlformats.org/package/2006/relationships"><Relationship Id="rId8" Type="http://schemas.openxmlformats.org/officeDocument/2006/relationships/image" Target="../media/image171.svg"/><Relationship Id="rId3" Type="http://schemas.openxmlformats.org/officeDocument/2006/relationships/image" Target="../media/image166.png"/><Relationship Id="rId7" Type="http://schemas.openxmlformats.org/officeDocument/2006/relationships/image" Target="../media/image170.png"/><Relationship Id="rId2" Type="http://schemas.openxmlformats.org/officeDocument/2006/relationships/notesSlide" Target="../notesSlides/notesSlide46.xml"/><Relationship Id="rId1" Type="http://schemas.openxmlformats.org/officeDocument/2006/relationships/slideLayout" Target="../slideLayouts/slideLayout97.xml"/><Relationship Id="rId6" Type="http://schemas.openxmlformats.org/officeDocument/2006/relationships/image" Target="../media/image169.emf"/><Relationship Id="rId5" Type="http://schemas.openxmlformats.org/officeDocument/2006/relationships/image" Target="../media/image168.emf"/><Relationship Id="rId4" Type="http://schemas.openxmlformats.org/officeDocument/2006/relationships/image" Target="../media/image167.emf"/><Relationship Id="rId9" Type="http://schemas.openxmlformats.org/officeDocument/2006/relationships/image" Target="../media/image172.png"/></Relationships>
</file>

<file path=ppt/slides/_rels/slide56.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7.xml"/><Relationship Id="rId1" Type="http://schemas.openxmlformats.org/officeDocument/2006/relationships/slideLayout" Target="../slideLayouts/slideLayout77.xml"/></Relationships>
</file>

<file path=ppt/slides/_rels/slide57.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48.xml"/><Relationship Id="rId1" Type="http://schemas.openxmlformats.org/officeDocument/2006/relationships/slideLayout" Target="../slideLayouts/slideLayout88.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8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60.xml.rels><?xml version="1.0" encoding="UTF-8" standalone="yes"?>
<Relationships xmlns="http://schemas.openxmlformats.org/package/2006/relationships"><Relationship Id="rId8" Type="http://schemas.openxmlformats.org/officeDocument/2006/relationships/image" Target="../media/image123.svg"/><Relationship Id="rId3" Type="http://schemas.openxmlformats.org/officeDocument/2006/relationships/notesSlide" Target="../notesSlides/notesSlide51.xml"/><Relationship Id="rId7" Type="http://schemas.openxmlformats.org/officeDocument/2006/relationships/image" Target="../media/image122.png"/><Relationship Id="rId2" Type="http://schemas.openxmlformats.org/officeDocument/2006/relationships/slideLayout" Target="../slideLayouts/slideLayout3.xml"/><Relationship Id="rId1" Type="http://schemas.openxmlformats.org/officeDocument/2006/relationships/themeOverride" Target="../theme/themeOverride1.xml"/><Relationship Id="rId6" Type="http://schemas.openxmlformats.org/officeDocument/2006/relationships/image" Target="../media/image121.svg"/><Relationship Id="rId5" Type="http://schemas.openxmlformats.org/officeDocument/2006/relationships/image" Target="../media/image120.png"/><Relationship Id="rId4" Type="http://schemas.openxmlformats.org/officeDocument/2006/relationships/image" Target="../media/image119.png"/></Relationships>
</file>

<file path=ppt/slides/_rels/slide61.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52.xml"/><Relationship Id="rId1" Type="http://schemas.openxmlformats.org/officeDocument/2006/relationships/slideLayout" Target="../slideLayouts/slideLayout34.xml"/><Relationship Id="rId4" Type="http://schemas.openxmlformats.org/officeDocument/2006/relationships/image" Target="../media/image125.sv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6.xml"/></Relationships>
</file>

<file path=ppt/slides/_rels/slide63.xml.rels><?xml version="1.0" encoding="UTF-8" standalone="yes"?>
<Relationships xmlns="http://schemas.openxmlformats.org/package/2006/relationships"><Relationship Id="rId8" Type="http://schemas.openxmlformats.org/officeDocument/2006/relationships/image" Target="../media/image131.png"/><Relationship Id="rId13" Type="http://schemas.openxmlformats.org/officeDocument/2006/relationships/image" Target="../media/image136.png"/><Relationship Id="rId18" Type="http://schemas.openxmlformats.org/officeDocument/2006/relationships/image" Target="../media/image141.png"/><Relationship Id="rId3" Type="http://schemas.openxmlformats.org/officeDocument/2006/relationships/image" Target="../media/image126.png"/><Relationship Id="rId21" Type="http://schemas.openxmlformats.org/officeDocument/2006/relationships/image" Target="../media/image144.png"/><Relationship Id="rId7" Type="http://schemas.openxmlformats.org/officeDocument/2006/relationships/image" Target="../media/image130.png"/><Relationship Id="rId12" Type="http://schemas.openxmlformats.org/officeDocument/2006/relationships/image" Target="../media/image135.png"/><Relationship Id="rId17" Type="http://schemas.openxmlformats.org/officeDocument/2006/relationships/image" Target="../media/image140.png"/><Relationship Id="rId2" Type="http://schemas.openxmlformats.org/officeDocument/2006/relationships/notesSlide" Target="../notesSlides/notesSlide54.xml"/><Relationship Id="rId16" Type="http://schemas.openxmlformats.org/officeDocument/2006/relationships/image" Target="../media/image139.png"/><Relationship Id="rId20" Type="http://schemas.openxmlformats.org/officeDocument/2006/relationships/image" Target="../media/image143.png"/><Relationship Id="rId1" Type="http://schemas.openxmlformats.org/officeDocument/2006/relationships/slideLayout" Target="../slideLayouts/slideLayout16.xml"/><Relationship Id="rId6" Type="http://schemas.openxmlformats.org/officeDocument/2006/relationships/image" Target="../media/image129.png"/><Relationship Id="rId11" Type="http://schemas.openxmlformats.org/officeDocument/2006/relationships/image" Target="../media/image134.png"/><Relationship Id="rId5" Type="http://schemas.openxmlformats.org/officeDocument/2006/relationships/image" Target="../media/image128.png"/><Relationship Id="rId15" Type="http://schemas.openxmlformats.org/officeDocument/2006/relationships/image" Target="../media/image138.png"/><Relationship Id="rId10" Type="http://schemas.openxmlformats.org/officeDocument/2006/relationships/image" Target="../media/image133.png"/><Relationship Id="rId19" Type="http://schemas.openxmlformats.org/officeDocument/2006/relationships/image" Target="../media/image142.png"/><Relationship Id="rId4" Type="http://schemas.openxmlformats.org/officeDocument/2006/relationships/image" Target="../media/image127.png"/><Relationship Id="rId9" Type="http://schemas.openxmlformats.org/officeDocument/2006/relationships/image" Target="../media/image132.png"/><Relationship Id="rId14" Type="http://schemas.openxmlformats.org/officeDocument/2006/relationships/image" Target="../media/image137.png"/><Relationship Id="rId22" Type="http://schemas.openxmlformats.org/officeDocument/2006/relationships/image" Target="../media/image145.svg"/></Relationships>
</file>

<file path=ppt/slides/_rels/slide64.xml.rels><?xml version="1.0" encoding="UTF-8" standalone="yes"?>
<Relationships xmlns="http://schemas.openxmlformats.org/package/2006/relationships"><Relationship Id="rId8" Type="http://schemas.openxmlformats.org/officeDocument/2006/relationships/image" Target="../media/image142.png"/><Relationship Id="rId13" Type="http://schemas.openxmlformats.org/officeDocument/2006/relationships/image" Target="../media/image132.png"/><Relationship Id="rId18" Type="http://schemas.openxmlformats.org/officeDocument/2006/relationships/image" Target="../media/image137.png"/><Relationship Id="rId3" Type="http://schemas.openxmlformats.org/officeDocument/2006/relationships/image" Target="../media/image127.png"/><Relationship Id="rId21" Type="http://schemas.openxmlformats.org/officeDocument/2006/relationships/image" Target="../media/image139.png"/><Relationship Id="rId7" Type="http://schemas.openxmlformats.org/officeDocument/2006/relationships/image" Target="../media/image145.svg"/><Relationship Id="rId12" Type="http://schemas.openxmlformats.org/officeDocument/2006/relationships/image" Target="../media/image138.png"/><Relationship Id="rId17" Type="http://schemas.openxmlformats.org/officeDocument/2006/relationships/image" Target="../media/image133.png"/><Relationship Id="rId2" Type="http://schemas.openxmlformats.org/officeDocument/2006/relationships/notesSlide" Target="../notesSlides/notesSlide55.xml"/><Relationship Id="rId16" Type="http://schemas.openxmlformats.org/officeDocument/2006/relationships/image" Target="../media/image130.png"/><Relationship Id="rId20" Type="http://schemas.openxmlformats.org/officeDocument/2006/relationships/image" Target="../media/image141.png"/><Relationship Id="rId1" Type="http://schemas.openxmlformats.org/officeDocument/2006/relationships/slideLayout" Target="../slideLayouts/slideLayout16.xml"/><Relationship Id="rId6" Type="http://schemas.openxmlformats.org/officeDocument/2006/relationships/image" Target="../media/image144.png"/><Relationship Id="rId11" Type="http://schemas.openxmlformats.org/officeDocument/2006/relationships/image" Target="../media/image136.png"/><Relationship Id="rId5" Type="http://schemas.openxmlformats.org/officeDocument/2006/relationships/image" Target="../media/image129.png"/><Relationship Id="rId15" Type="http://schemas.openxmlformats.org/officeDocument/2006/relationships/image" Target="../media/image126.png"/><Relationship Id="rId10" Type="http://schemas.openxmlformats.org/officeDocument/2006/relationships/image" Target="../media/image131.png"/><Relationship Id="rId19" Type="http://schemas.openxmlformats.org/officeDocument/2006/relationships/image" Target="../media/image140.png"/><Relationship Id="rId4" Type="http://schemas.openxmlformats.org/officeDocument/2006/relationships/image" Target="../media/image128.png"/><Relationship Id="rId9" Type="http://schemas.openxmlformats.org/officeDocument/2006/relationships/image" Target="../media/image143.png"/><Relationship Id="rId14" Type="http://schemas.openxmlformats.org/officeDocument/2006/relationships/image" Target="../media/image135.png"/><Relationship Id="rId22" Type="http://schemas.openxmlformats.org/officeDocument/2006/relationships/image" Target="../media/image134.png"/></Relationships>
</file>

<file path=ppt/slides/_rels/slide65.xml.rels><?xml version="1.0" encoding="UTF-8" standalone="yes"?>
<Relationships xmlns="http://schemas.openxmlformats.org/package/2006/relationships"><Relationship Id="rId2" Type="http://schemas.openxmlformats.org/officeDocument/2006/relationships/image" Target="../media/image175.emf"/><Relationship Id="rId1" Type="http://schemas.openxmlformats.org/officeDocument/2006/relationships/slideLayout" Target="../slideLayouts/slideLayout27.xml"/></Relationships>
</file>

<file path=ppt/slides/_rels/slide66.xml.rels><?xml version="1.0" encoding="UTF-8" standalone="yes"?>
<Relationships xmlns="http://schemas.openxmlformats.org/package/2006/relationships"><Relationship Id="rId3" Type="http://schemas.openxmlformats.org/officeDocument/2006/relationships/hyperlink" Target="https://github.com/loriot/AzureSolutionTemplate" TargetMode="External"/><Relationship Id="rId2" Type="http://schemas.openxmlformats.org/officeDocument/2006/relationships/image" Target="../media/image176.png"/><Relationship Id="rId1" Type="http://schemas.openxmlformats.org/officeDocument/2006/relationships/slideLayout" Target="../slideLayouts/slideLayout27.xml"/><Relationship Id="rId4" Type="http://schemas.openxmlformats.org/officeDocument/2006/relationships/hyperlink" Target="https://youtu.be/eUo3oiY1-98?t=1981" TargetMode="Externa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81.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1.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3" Type="http://schemas.openxmlformats.org/officeDocument/2006/relationships/image" Target="../media/image119.png"/><Relationship Id="rId7" Type="http://schemas.openxmlformats.org/officeDocument/2006/relationships/image" Target="../media/image123.sv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122.png"/><Relationship Id="rId5" Type="http://schemas.openxmlformats.org/officeDocument/2006/relationships/image" Target="../media/image121.svg"/><Relationship Id="rId4" Type="http://schemas.openxmlformats.org/officeDocument/2006/relationships/image" Target="../media/image120.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47.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67.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9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66.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66.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66.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66.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66.xml"/></Relationships>
</file>

<file path=ppt/slides/_rels/slide8.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66.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66.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66.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66.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66.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66.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66.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75.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67.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13.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67.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99.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75.xml"/></Relationships>
</file>

<file path=ppt/slides/_rels/slide94.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77.xml"/><Relationship Id="rId1" Type="http://schemas.openxmlformats.org/officeDocument/2006/relationships/slideLayout" Target="../slideLayouts/slideLayout167.xml"/><Relationship Id="rId4" Type="http://schemas.openxmlformats.org/officeDocument/2006/relationships/image" Target="../media/image148.svg"/></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67.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6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75.xml"/></Relationships>
</file>

<file path=ppt/slides/_rels/slide98.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79.xml"/><Relationship Id="rId1" Type="http://schemas.openxmlformats.org/officeDocument/2006/relationships/slideLayout" Target="../slideLayouts/slideLayout199.xml"/><Relationship Id="rId4" Type="http://schemas.openxmlformats.org/officeDocument/2006/relationships/image" Target="../media/image150.jpeg"/></Relationships>
</file>

<file path=ppt/slides/_rels/slide9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80.xml"/><Relationship Id="rId1" Type="http://schemas.openxmlformats.org/officeDocument/2006/relationships/slideLayout" Target="../slideLayouts/slideLayout199.xml"/><Relationship Id="rId4" Type="http://schemas.openxmlformats.org/officeDocument/2006/relationships/image" Target="../media/image15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5DD3752-89FF-403D-8D0B-D2A49CE6FE4B}"/>
              </a:ext>
            </a:extLst>
          </p:cNvPr>
          <p:cNvSpPr>
            <a:spLocks noGrp="1"/>
          </p:cNvSpPr>
          <p:nvPr>
            <p:ph type="body" sz="quarter" idx="12"/>
          </p:nvPr>
        </p:nvSpPr>
        <p:spPr>
          <a:xfrm>
            <a:off x="582042" y="3962400"/>
            <a:ext cx="4164583" cy="615553"/>
          </a:xfrm>
        </p:spPr>
        <p:txBody>
          <a:bodyPr/>
          <a:lstStyle/>
          <a:p>
            <a:r>
              <a:rPr lang="en-US" dirty="0"/>
              <a:t>Szabolcs Baranyi</a:t>
            </a:r>
            <a:br>
              <a:rPr lang="en-US" dirty="0"/>
            </a:br>
            <a:r>
              <a:rPr lang="en-US" dirty="0"/>
              <a:t>Cloud Solution </a:t>
            </a:r>
            <a:r>
              <a:rPr lang="en-US" dirty="0" err="1"/>
              <a:t>Achitect</a:t>
            </a:r>
            <a:endParaRPr lang="en-US" dirty="0"/>
          </a:p>
        </p:txBody>
      </p:sp>
      <p:sp>
        <p:nvSpPr>
          <p:cNvPr id="2" name="Title 1">
            <a:extLst>
              <a:ext uri="{FF2B5EF4-FFF2-40B4-BE49-F238E27FC236}">
                <a16:creationId xmlns:a16="http://schemas.microsoft.com/office/drawing/2014/main" id="{035B4088-D81B-42FE-8CB6-5A4A31BA4046}"/>
              </a:ext>
            </a:extLst>
          </p:cNvPr>
          <p:cNvSpPr>
            <a:spLocks noGrp="1"/>
          </p:cNvSpPr>
          <p:nvPr>
            <p:ph type="title"/>
          </p:nvPr>
        </p:nvSpPr>
        <p:spPr/>
        <p:txBody>
          <a:bodyPr/>
          <a:lstStyle/>
          <a:p>
            <a:r>
              <a:rPr lang="en-US" dirty="0"/>
              <a:t>Azure IoT &amp; ML Overview</a:t>
            </a:r>
          </a:p>
        </p:txBody>
      </p:sp>
    </p:spTree>
    <p:extLst>
      <p:ext uri="{BB962C8B-B14F-4D97-AF65-F5344CB8AC3E}">
        <p14:creationId xmlns:p14="http://schemas.microsoft.com/office/powerpoint/2010/main" val="3026593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5F72A5A-E614-4BA5-B7EA-A7A933815E89}"/>
              </a:ext>
            </a:extLst>
          </p:cNvPr>
          <p:cNvSpPr>
            <a:spLocks noGrp="1"/>
          </p:cNvSpPr>
          <p:nvPr>
            <p:ph type="title"/>
          </p:nvPr>
        </p:nvSpPr>
        <p:spPr/>
        <p:txBody>
          <a:bodyPr/>
          <a:lstStyle/>
          <a:p>
            <a:r>
              <a:rPr lang="en-US"/>
              <a:t>Azure IoT portfolio</a:t>
            </a:r>
          </a:p>
        </p:txBody>
      </p:sp>
      <p:sp>
        <p:nvSpPr>
          <p:cNvPr id="7" name="Rectangle 6">
            <a:extLst>
              <a:ext uri="{FF2B5EF4-FFF2-40B4-BE49-F238E27FC236}">
                <a16:creationId xmlns:a16="http://schemas.microsoft.com/office/drawing/2014/main" id="{07CC2C77-A75B-43E0-928D-51C374AD4E36}"/>
              </a:ext>
            </a:extLst>
          </p:cNvPr>
          <p:cNvSpPr/>
          <p:nvPr/>
        </p:nvSpPr>
        <p:spPr bwMode="auto">
          <a:xfrm>
            <a:off x="584200" y="2693196"/>
            <a:ext cx="3611880" cy="380285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1005840" rIns="9144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90000"/>
              </a:lnSpc>
              <a:spcBef>
                <a:spcPts val="1200"/>
              </a:spcBef>
              <a:spcAft>
                <a:spcPts val="0"/>
              </a:spcAft>
              <a:buClrTx/>
              <a:buSzTx/>
              <a:buFontTx/>
              <a:buNone/>
              <a:tabLst/>
              <a:defRPr/>
            </a:pPr>
            <a:r>
              <a:rPr kumimoji="0" lang="en-US" sz="2400" b="1" i="0" u="none" strike="noStrike" kern="0" cap="none" spc="0" normalizeH="0" baseline="0" noProof="0">
                <a:ln>
                  <a:noFill/>
                </a:ln>
                <a:gradFill>
                  <a:gsLst>
                    <a:gs pos="1250">
                      <a:srgbClr val="00188F"/>
                    </a:gs>
                    <a:gs pos="100000">
                      <a:srgbClr val="00188F"/>
                    </a:gs>
                  </a:gsLst>
                  <a:lin ang="5400000" scaled="0"/>
                </a:gradFill>
                <a:effectLst/>
                <a:uLnTx/>
                <a:uFillTx/>
                <a:latin typeface="Segoe UI Semibold"/>
                <a:ea typeface="+mn-ea"/>
                <a:cs typeface="Segoe UI Light" panose="020B0502040204020203" pitchFamily="34" charset="0"/>
              </a:rPr>
              <a:t>Solutions</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zure IoT Central</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zure IoT Remote Monitoring</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zure IoT Predictive Maintenance</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zure IoT Device Simulation</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zure IoT Connected Factory</a:t>
            </a:r>
          </a:p>
        </p:txBody>
      </p:sp>
      <p:sp>
        <p:nvSpPr>
          <p:cNvPr id="22" name="Rectangle 21">
            <a:extLst>
              <a:ext uri="{FF2B5EF4-FFF2-40B4-BE49-F238E27FC236}">
                <a16:creationId xmlns:a16="http://schemas.microsoft.com/office/drawing/2014/main" id="{FB06C41C-60B0-4B58-8ECE-2E08EB1A5509}"/>
              </a:ext>
            </a:extLst>
          </p:cNvPr>
          <p:cNvSpPr/>
          <p:nvPr/>
        </p:nvSpPr>
        <p:spPr bwMode="auto">
          <a:xfrm>
            <a:off x="4289552" y="2693196"/>
            <a:ext cx="3611880" cy="380285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005840" rIns="9144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90000"/>
              </a:lnSpc>
              <a:spcBef>
                <a:spcPts val="1200"/>
              </a:spcBef>
              <a:spcAft>
                <a:spcPts val="0"/>
              </a:spcAft>
              <a:buClrTx/>
              <a:buSzTx/>
              <a:buFontTx/>
              <a:buNone/>
              <a:tabLst/>
              <a:defRPr/>
            </a:pPr>
            <a:r>
              <a:rPr kumimoji="0" lang="en-US" sz="2400" b="1" i="0" u="none" strike="noStrike" kern="0" cap="none" spc="0" normalizeH="0" baseline="0" noProof="0">
                <a:ln>
                  <a:noFill/>
                </a:ln>
                <a:gradFill>
                  <a:gsLst>
                    <a:gs pos="1250">
                      <a:srgbClr val="00188F"/>
                    </a:gs>
                    <a:gs pos="100000">
                      <a:srgbClr val="00188F"/>
                    </a:gs>
                  </a:gsLst>
                  <a:lin ang="5400000" scaled="0"/>
                </a:gradFill>
                <a:effectLst/>
                <a:uLnTx/>
                <a:uFillTx/>
                <a:latin typeface="Segoe UI Semibold"/>
                <a:ea typeface="+mn-ea"/>
                <a:cs typeface="Segoe UI Light" panose="020B0502040204020203" pitchFamily="34" charset="0"/>
              </a:rPr>
              <a:t>Services</a:t>
            </a:r>
            <a:endPar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zure Digital Twins</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zure IoT Hub</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zure IoT Security</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 </a:t>
            </a:r>
          </a:p>
          <a:p>
            <a:pPr marL="0" marR="0" lvl="0" indent="0" algn="ctr" defTabSz="914367" rtl="0" eaLnBrk="1" fontAlgn="auto" latinLnBrk="0" hangingPunct="1">
              <a:lnSpc>
                <a:spcPct val="90000"/>
              </a:lnSpc>
              <a:spcBef>
                <a:spcPts val="1200"/>
              </a:spcBef>
              <a:spcAft>
                <a:spcPts val="0"/>
              </a:spcAft>
              <a:buClrTx/>
              <a:buSzTx/>
              <a:buFontTx/>
              <a:buNone/>
              <a:tabLst/>
              <a:defRPr/>
            </a:pPr>
            <a:endPar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4" name="Rectangle 23">
            <a:extLst>
              <a:ext uri="{FF2B5EF4-FFF2-40B4-BE49-F238E27FC236}">
                <a16:creationId xmlns:a16="http://schemas.microsoft.com/office/drawing/2014/main" id="{325833FA-A815-4CCD-A3F1-563864A919D0}"/>
              </a:ext>
            </a:extLst>
          </p:cNvPr>
          <p:cNvSpPr/>
          <p:nvPr/>
        </p:nvSpPr>
        <p:spPr bwMode="auto">
          <a:xfrm>
            <a:off x="7994903" y="2693196"/>
            <a:ext cx="3611880" cy="380285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005840" rIns="9144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90000"/>
              </a:lnSpc>
              <a:spcBef>
                <a:spcPts val="1200"/>
              </a:spcBef>
              <a:spcAft>
                <a:spcPts val="0"/>
              </a:spcAft>
              <a:buClrTx/>
              <a:buSzTx/>
              <a:buFontTx/>
              <a:buNone/>
              <a:tabLst/>
              <a:defRPr/>
            </a:pPr>
            <a:r>
              <a:rPr kumimoji="0" lang="en-US" sz="2400" b="1" i="0" u="none" strike="noStrike" kern="0" cap="none" spc="0" normalizeH="0" baseline="0" noProof="0">
                <a:ln>
                  <a:noFill/>
                </a:ln>
                <a:gradFill>
                  <a:gsLst>
                    <a:gs pos="1250">
                      <a:srgbClr val="00188F"/>
                    </a:gs>
                    <a:gs pos="100000">
                      <a:srgbClr val="00188F"/>
                    </a:gs>
                  </a:gsLst>
                  <a:lin ang="5400000" scaled="0"/>
                </a:gradFill>
                <a:effectLst/>
                <a:uLnTx/>
                <a:uFillTx/>
                <a:latin typeface="Segoe UI Semibold"/>
                <a:ea typeface="+mn-ea"/>
                <a:cs typeface="Segoe UI Light" panose="020B0502040204020203" pitchFamily="34" charset="0"/>
              </a:rPr>
              <a:t>Edge</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zure IoT Edge</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zure Sphere</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Windows IoT</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 </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 </a:t>
            </a:r>
          </a:p>
        </p:txBody>
      </p:sp>
      <p:grpSp>
        <p:nvGrpSpPr>
          <p:cNvPr id="12" name="Group 11">
            <a:extLst>
              <a:ext uri="{FF2B5EF4-FFF2-40B4-BE49-F238E27FC236}">
                <a16:creationId xmlns:a16="http://schemas.microsoft.com/office/drawing/2014/main" id="{DB64B462-9D20-4A56-AD87-5B849C5FC1EB}"/>
              </a:ext>
            </a:extLst>
          </p:cNvPr>
          <p:cNvGrpSpPr/>
          <p:nvPr/>
        </p:nvGrpSpPr>
        <p:grpSpPr>
          <a:xfrm>
            <a:off x="1644397" y="1952707"/>
            <a:ext cx="1491488" cy="1491488"/>
            <a:chOff x="756523" y="1756146"/>
            <a:chExt cx="1696209" cy="1696209"/>
          </a:xfrm>
        </p:grpSpPr>
        <p:sp>
          <p:nvSpPr>
            <p:cNvPr id="27" name="Oval 26">
              <a:extLst>
                <a:ext uri="{FF2B5EF4-FFF2-40B4-BE49-F238E27FC236}">
                  <a16:creationId xmlns:a16="http://schemas.microsoft.com/office/drawing/2014/main" id="{29A966DB-BAF3-4DF9-936B-2B3EB7109371}"/>
                </a:ext>
              </a:extLst>
            </p:cNvPr>
            <p:cNvSpPr/>
            <p:nvPr/>
          </p:nvSpPr>
          <p:spPr bwMode="auto">
            <a:xfrm>
              <a:off x="756523" y="1756146"/>
              <a:ext cx="1696209" cy="1696209"/>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0" rIns="0" bIns="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0" name="IoT">
              <a:extLst>
                <a:ext uri="{FF2B5EF4-FFF2-40B4-BE49-F238E27FC236}">
                  <a16:creationId xmlns:a16="http://schemas.microsoft.com/office/drawing/2014/main" id="{C4EB605B-E7A5-430C-89DA-5CA808325F2E}"/>
                </a:ext>
              </a:extLst>
            </p:cNvPr>
            <p:cNvSpPr>
              <a:spLocks noChangeAspect="1" noEditPoints="1"/>
            </p:cNvSpPr>
            <p:nvPr/>
          </p:nvSpPr>
          <p:spPr bwMode="auto">
            <a:xfrm>
              <a:off x="1093152" y="2091955"/>
              <a:ext cx="1022951" cy="1024590"/>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5875"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6" name="Group 15">
            <a:extLst>
              <a:ext uri="{FF2B5EF4-FFF2-40B4-BE49-F238E27FC236}">
                <a16:creationId xmlns:a16="http://schemas.microsoft.com/office/drawing/2014/main" id="{B0E0A86D-7988-4A1B-867F-A0C9AD353BEB}"/>
              </a:ext>
            </a:extLst>
          </p:cNvPr>
          <p:cNvGrpSpPr/>
          <p:nvPr/>
        </p:nvGrpSpPr>
        <p:grpSpPr>
          <a:xfrm>
            <a:off x="5349749" y="1952707"/>
            <a:ext cx="1491488" cy="1491488"/>
            <a:chOff x="5247388" y="1412795"/>
            <a:chExt cx="1696209" cy="1696209"/>
          </a:xfrm>
        </p:grpSpPr>
        <p:sp>
          <p:nvSpPr>
            <p:cNvPr id="28" name="Oval 27">
              <a:extLst>
                <a:ext uri="{FF2B5EF4-FFF2-40B4-BE49-F238E27FC236}">
                  <a16:creationId xmlns:a16="http://schemas.microsoft.com/office/drawing/2014/main" id="{ACF4E0BD-CB8A-41D0-ADDC-9A812D57450E}"/>
                </a:ext>
              </a:extLst>
            </p:cNvPr>
            <p:cNvSpPr/>
            <p:nvPr/>
          </p:nvSpPr>
          <p:spPr bwMode="auto">
            <a:xfrm>
              <a:off x="5247388" y="1412795"/>
              <a:ext cx="1696209" cy="1696209"/>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0" rIns="0" bIns="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9" name="hand_2">
              <a:extLst>
                <a:ext uri="{FF2B5EF4-FFF2-40B4-BE49-F238E27FC236}">
                  <a16:creationId xmlns:a16="http://schemas.microsoft.com/office/drawing/2014/main" id="{CBDEA1ED-783B-433E-A5D9-7CE54A2F9BCE}"/>
                </a:ext>
              </a:extLst>
            </p:cNvPr>
            <p:cNvSpPr>
              <a:spLocks noChangeAspect="1"/>
            </p:cNvSpPr>
            <p:nvPr/>
          </p:nvSpPr>
          <p:spPr bwMode="auto">
            <a:xfrm>
              <a:off x="5652416" y="2253436"/>
              <a:ext cx="886152" cy="441093"/>
            </a:xfrm>
            <a:custGeom>
              <a:avLst/>
              <a:gdLst>
                <a:gd name="T0" fmla="*/ 76 w 306"/>
                <a:gd name="T1" fmla="*/ 65 h 151"/>
                <a:gd name="T2" fmla="*/ 211 w 306"/>
                <a:gd name="T3" fmla="*/ 66 h 151"/>
                <a:gd name="T4" fmla="*/ 256 w 306"/>
                <a:gd name="T5" fmla="*/ 22 h 151"/>
                <a:gd name="T6" fmla="*/ 306 w 306"/>
                <a:gd name="T7" fmla="*/ 28 h 151"/>
                <a:gd name="T8" fmla="*/ 227 w 306"/>
                <a:gd name="T9" fmla="*/ 106 h 151"/>
                <a:gd name="T10" fmla="*/ 93 w 306"/>
                <a:gd name="T11" fmla="*/ 140 h 151"/>
                <a:gd name="T12" fmla="*/ 19 w 306"/>
                <a:gd name="T13" fmla="*/ 132 h 151"/>
                <a:gd name="T14" fmla="*/ 20 w 306"/>
                <a:gd name="T15" fmla="*/ 63 h 151"/>
                <a:gd name="T16" fmla="*/ 63 w 306"/>
                <a:gd name="T17" fmla="*/ 22 h 151"/>
                <a:gd name="T18" fmla="*/ 168 w 306"/>
                <a:gd name="T19" fmla="*/ 23 h 151"/>
                <a:gd name="T20" fmla="*/ 138 w 306"/>
                <a:gd name="T21" fmla="*/ 6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6" h="151">
                  <a:moveTo>
                    <a:pt x="76" y="65"/>
                  </a:moveTo>
                  <a:cubicBezTo>
                    <a:pt x="211" y="66"/>
                    <a:pt x="211" y="66"/>
                    <a:pt x="211" y="66"/>
                  </a:cubicBezTo>
                  <a:cubicBezTo>
                    <a:pt x="211" y="66"/>
                    <a:pt x="233" y="45"/>
                    <a:pt x="256" y="22"/>
                  </a:cubicBezTo>
                  <a:cubicBezTo>
                    <a:pt x="279" y="0"/>
                    <a:pt x="306" y="28"/>
                    <a:pt x="306" y="28"/>
                  </a:cubicBezTo>
                  <a:cubicBezTo>
                    <a:pt x="227" y="106"/>
                    <a:pt x="227" y="106"/>
                    <a:pt x="227" y="106"/>
                  </a:cubicBezTo>
                  <a:cubicBezTo>
                    <a:pt x="227" y="106"/>
                    <a:pt x="94" y="140"/>
                    <a:pt x="93" y="140"/>
                  </a:cubicBezTo>
                  <a:cubicBezTo>
                    <a:pt x="72" y="147"/>
                    <a:pt x="38" y="151"/>
                    <a:pt x="19" y="132"/>
                  </a:cubicBezTo>
                  <a:cubicBezTo>
                    <a:pt x="0" y="113"/>
                    <a:pt x="0" y="82"/>
                    <a:pt x="20" y="63"/>
                  </a:cubicBezTo>
                  <a:cubicBezTo>
                    <a:pt x="63" y="22"/>
                    <a:pt x="63" y="22"/>
                    <a:pt x="63" y="22"/>
                  </a:cubicBezTo>
                  <a:cubicBezTo>
                    <a:pt x="168" y="23"/>
                    <a:pt x="168" y="23"/>
                    <a:pt x="168" y="23"/>
                  </a:cubicBezTo>
                  <a:cubicBezTo>
                    <a:pt x="168" y="54"/>
                    <a:pt x="138" y="65"/>
                    <a:pt x="138" y="65"/>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 name="IoT_Hub">
              <a:extLst>
                <a:ext uri="{FF2B5EF4-FFF2-40B4-BE49-F238E27FC236}">
                  <a16:creationId xmlns:a16="http://schemas.microsoft.com/office/drawing/2014/main" id="{4F5D25AB-CA93-4093-A986-122CF006BF1A}"/>
                </a:ext>
              </a:extLst>
            </p:cNvPr>
            <p:cNvSpPr>
              <a:spLocks noChangeAspect="1" noEditPoints="1"/>
            </p:cNvSpPr>
            <p:nvPr/>
          </p:nvSpPr>
          <p:spPr bwMode="auto">
            <a:xfrm>
              <a:off x="5836412" y="1684854"/>
              <a:ext cx="518160" cy="518160"/>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5875"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BE256650-1A0A-48B0-A1E8-398D8496C703}"/>
              </a:ext>
            </a:extLst>
          </p:cNvPr>
          <p:cNvGrpSpPr/>
          <p:nvPr/>
        </p:nvGrpSpPr>
        <p:grpSpPr>
          <a:xfrm>
            <a:off x="9055100" y="1952707"/>
            <a:ext cx="1491488" cy="1491488"/>
            <a:chOff x="8952739" y="1412795"/>
            <a:chExt cx="1696209" cy="1696209"/>
          </a:xfrm>
        </p:grpSpPr>
        <p:sp>
          <p:nvSpPr>
            <p:cNvPr id="29" name="Oval 28">
              <a:extLst>
                <a:ext uri="{FF2B5EF4-FFF2-40B4-BE49-F238E27FC236}">
                  <a16:creationId xmlns:a16="http://schemas.microsoft.com/office/drawing/2014/main" id="{DC44B567-DF1B-4B9F-804B-1AB6FDC36C3B}"/>
                </a:ext>
              </a:extLst>
            </p:cNvPr>
            <p:cNvSpPr/>
            <p:nvPr/>
          </p:nvSpPr>
          <p:spPr bwMode="auto">
            <a:xfrm>
              <a:off x="8952739" y="1412795"/>
              <a:ext cx="1696209" cy="1696209"/>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0" rIns="0" bIns="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42" name="IoT">
              <a:extLst>
                <a:ext uri="{FF2B5EF4-FFF2-40B4-BE49-F238E27FC236}">
                  <a16:creationId xmlns:a16="http://schemas.microsoft.com/office/drawing/2014/main" id="{D4AD2C9C-DFF2-4593-8320-953790506EF8}"/>
                </a:ext>
              </a:extLst>
            </p:cNvPr>
            <p:cNvSpPr>
              <a:spLocks noChangeAspect="1" noEditPoints="1"/>
            </p:cNvSpPr>
            <p:nvPr/>
          </p:nvSpPr>
          <p:spPr bwMode="auto">
            <a:xfrm flipH="1" flipV="1">
              <a:off x="9577385" y="2037083"/>
              <a:ext cx="446916" cy="44763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5875"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 name="chip">
              <a:extLst>
                <a:ext uri="{FF2B5EF4-FFF2-40B4-BE49-F238E27FC236}">
                  <a16:creationId xmlns:a16="http://schemas.microsoft.com/office/drawing/2014/main" id="{242FCCEC-40A9-47C9-B2D6-83B3CA152AD8}"/>
                </a:ext>
              </a:extLst>
            </p:cNvPr>
            <p:cNvSpPr>
              <a:spLocks noChangeAspect="1" noEditPoints="1"/>
            </p:cNvSpPr>
            <p:nvPr/>
          </p:nvSpPr>
          <p:spPr bwMode="auto">
            <a:xfrm>
              <a:off x="9337455" y="1787937"/>
              <a:ext cx="926777" cy="945925"/>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2948504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350"/>
                                        <p:tgtEl>
                                          <p:spTgt spid="7"/>
                                        </p:tgtEl>
                                      </p:cBhvr>
                                    </p:animEffect>
                                  </p:childTnLst>
                                </p:cTn>
                              </p:par>
                              <p:par>
                                <p:cTn id="8" presetID="42" presetClass="path" presetSubtype="0" decel="100000" fill="hold" grpId="1" nodeType="withEffect">
                                  <p:stCondLst>
                                    <p:cond delay="0"/>
                                  </p:stCondLst>
                                  <p:childTnLst>
                                    <p:animMotion origin="layout" path="M 2.5E-6 4.93827E-6 L 2.5E-6 0.07314 " pathEditMode="relative" rAng="0" ptsTypes="AA">
                                      <p:cBhvr>
                                        <p:cTn id="9" dur="500" spd="-100000" fill="hold"/>
                                        <p:tgtEl>
                                          <p:spTgt spid="7"/>
                                        </p:tgtEl>
                                        <p:attrNameLst>
                                          <p:attrName>ppt_x</p:attrName>
                                          <p:attrName>ppt_y</p:attrName>
                                        </p:attrNameLst>
                                      </p:cBhvr>
                                      <p:rCtr x="0" y="3642"/>
                                    </p:animMotion>
                                  </p:childTnLst>
                                </p:cTn>
                              </p:par>
                              <p:par>
                                <p:cTn id="10" presetID="10" presetClass="entr" presetSubtype="0" fill="hold" grpId="0" nodeType="with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350"/>
                                        <p:tgtEl>
                                          <p:spTgt spid="22"/>
                                        </p:tgtEl>
                                      </p:cBhvr>
                                    </p:animEffect>
                                  </p:childTnLst>
                                </p:cTn>
                              </p:par>
                              <p:par>
                                <p:cTn id="13" presetID="42" presetClass="path" presetSubtype="0" decel="100000" fill="hold" grpId="1" nodeType="withEffect">
                                  <p:stCondLst>
                                    <p:cond delay="0"/>
                                  </p:stCondLst>
                                  <p:childTnLst>
                                    <p:animMotion origin="layout" path="M 2.5E-6 4.93827E-6 L 2.5E-6 0.07314 " pathEditMode="relative" rAng="0" ptsTypes="AA">
                                      <p:cBhvr>
                                        <p:cTn id="14" dur="500" spd="-100000" fill="hold"/>
                                        <p:tgtEl>
                                          <p:spTgt spid="22"/>
                                        </p:tgtEl>
                                        <p:attrNameLst>
                                          <p:attrName>ppt_x</p:attrName>
                                          <p:attrName>ppt_y</p:attrName>
                                        </p:attrNameLst>
                                      </p:cBhvr>
                                      <p:rCtr x="0" y="3642"/>
                                    </p:animMotion>
                                  </p:childTnLst>
                                </p:cTn>
                              </p:par>
                              <p:par>
                                <p:cTn id="15" presetID="10"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350"/>
                                        <p:tgtEl>
                                          <p:spTgt spid="24"/>
                                        </p:tgtEl>
                                      </p:cBhvr>
                                    </p:animEffect>
                                  </p:childTnLst>
                                </p:cTn>
                              </p:par>
                              <p:par>
                                <p:cTn id="18" presetID="42" presetClass="path" presetSubtype="0" decel="100000" fill="hold" grpId="1" nodeType="withEffect">
                                  <p:stCondLst>
                                    <p:cond delay="0"/>
                                  </p:stCondLst>
                                  <p:childTnLst>
                                    <p:animMotion origin="layout" path="M 2.5E-6 4.93827E-6 L 2.5E-6 0.07314 " pathEditMode="relative" rAng="0" ptsTypes="AA">
                                      <p:cBhvr>
                                        <p:cTn id="19" dur="500" spd="-100000" fill="hold"/>
                                        <p:tgtEl>
                                          <p:spTgt spid="24"/>
                                        </p:tgtEl>
                                        <p:attrNameLst>
                                          <p:attrName>ppt_x</p:attrName>
                                          <p:attrName>ppt_y</p:attrName>
                                        </p:attrNameLst>
                                      </p:cBhvr>
                                      <p:rCtr x="0" y="3642"/>
                                    </p:animMotion>
                                  </p:childTnLst>
                                </p:cTn>
                              </p:par>
                              <p:par>
                                <p:cTn id="20" presetID="10" presetClass="entr" presetSubtype="0"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350"/>
                                        <p:tgtEl>
                                          <p:spTgt spid="12"/>
                                        </p:tgtEl>
                                      </p:cBhvr>
                                    </p:animEffect>
                                  </p:childTnLst>
                                </p:cTn>
                              </p:par>
                              <p:par>
                                <p:cTn id="23" presetID="42" presetClass="path" presetSubtype="0" decel="100000" fill="hold" nodeType="withEffect">
                                  <p:stCondLst>
                                    <p:cond delay="0"/>
                                  </p:stCondLst>
                                  <p:childTnLst>
                                    <p:animMotion origin="layout" path="M 2.5E-6 4.93827E-6 L 2.5E-6 0.07314 " pathEditMode="relative" rAng="0" ptsTypes="AA">
                                      <p:cBhvr>
                                        <p:cTn id="24" dur="500" spd="-100000" fill="hold"/>
                                        <p:tgtEl>
                                          <p:spTgt spid="12"/>
                                        </p:tgtEl>
                                        <p:attrNameLst>
                                          <p:attrName>ppt_x</p:attrName>
                                          <p:attrName>ppt_y</p:attrName>
                                        </p:attrNameLst>
                                      </p:cBhvr>
                                      <p:rCtr x="0" y="3642"/>
                                    </p:animMotion>
                                  </p:childTnLst>
                                </p:cTn>
                              </p:par>
                              <p:par>
                                <p:cTn id="25" presetID="10"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350"/>
                                        <p:tgtEl>
                                          <p:spTgt spid="16"/>
                                        </p:tgtEl>
                                      </p:cBhvr>
                                    </p:animEffect>
                                  </p:childTnLst>
                                </p:cTn>
                              </p:par>
                              <p:par>
                                <p:cTn id="28" presetID="42" presetClass="path" presetSubtype="0" decel="100000" fill="hold" nodeType="withEffect">
                                  <p:stCondLst>
                                    <p:cond delay="0"/>
                                  </p:stCondLst>
                                  <p:childTnLst>
                                    <p:animMotion origin="layout" path="M 2.5E-6 4.93827E-6 L 2.5E-6 0.07314 " pathEditMode="relative" rAng="0" ptsTypes="AA">
                                      <p:cBhvr>
                                        <p:cTn id="29" dur="500" spd="-100000" fill="hold"/>
                                        <p:tgtEl>
                                          <p:spTgt spid="16"/>
                                        </p:tgtEl>
                                        <p:attrNameLst>
                                          <p:attrName>ppt_x</p:attrName>
                                          <p:attrName>ppt_y</p:attrName>
                                        </p:attrNameLst>
                                      </p:cBhvr>
                                      <p:rCtr x="0" y="3642"/>
                                    </p:animMotion>
                                  </p:childTnLst>
                                </p:cTn>
                              </p:par>
                              <p:par>
                                <p:cTn id="30" presetID="10" presetClass="entr" presetSubtype="0" fill="hold"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350"/>
                                        <p:tgtEl>
                                          <p:spTgt spid="17"/>
                                        </p:tgtEl>
                                      </p:cBhvr>
                                    </p:animEffect>
                                  </p:childTnLst>
                                </p:cTn>
                              </p:par>
                              <p:par>
                                <p:cTn id="33" presetID="42" presetClass="path" presetSubtype="0" decel="100000" fill="hold" nodeType="withEffect">
                                  <p:stCondLst>
                                    <p:cond delay="0"/>
                                  </p:stCondLst>
                                  <p:childTnLst>
                                    <p:animMotion origin="layout" path="M 2.5E-6 4.93827E-6 L 2.5E-6 0.07314 " pathEditMode="relative" rAng="0" ptsTypes="AA">
                                      <p:cBhvr>
                                        <p:cTn id="34" dur="500" spd="-100000" fill="hold"/>
                                        <p:tgtEl>
                                          <p:spTgt spid="17"/>
                                        </p:tgtEl>
                                        <p:attrNameLst>
                                          <p:attrName>ppt_x</p:attrName>
                                          <p:attrName>ppt_y</p:attrName>
                                        </p:attrNameLst>
                                      </p:cBhvr>
                                      <p:rCtr x="0" y="36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22" grpId="1" animBg="1"/>
      <p:bldP spid="24" grpId="0" animBg="1"/>
      <p:bldP spid="24" grpId="1" animBg="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54D31BD3-BB62-4F0D-8DAF-7835383F56F3}"/>
              </a:ext>
            </a:extLst>
          </p:cNvPr>
          <p:cNvSpPr/>
          <p:nvPr/>
        </p:nvSpPr>
        <p:spPr bwMode="auto">
          <a:xfrm>
            <a:off x="2900719" y="1489542"/>
            <a:ext cx="6475899" cy="4982463"/>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EDD1F22-5953-46D8-8D95-BE68DAA80DC4}"/>
              </a:ext>
            </a:extLst>
          </p:cNvPr>
          <p:cNvSpPr>
            <a:spLocks noGrp="1"/>
          </p:cNvSpPr>
          <p:nvPr>
            <p:ph type="title"/>
          </p:nvPr>
        </p:nvSpPr>
        <p:spPr/>
        <p:txBody>
          <a:bodyPr/>
          <a:lstStyle/>
          <a:p>
            <a:r>
              <a:rPr lang="en-US" dirty="0"/>
              <a:t>Model management in Azure Machine Learning </a:t>
            </a:r>
          </a:p>
        </p:txBody>
      </p:sp>
      <p:grpSp>
        <p:nvGrpSpPr>
          <p:cNvPr id="2" name="Group 1">
            <a:extLst>
              <a:ext uri="{FF2B5EF4-FFF2-40B4-BE49-F238E27FC236}">
                <a16:creationId xmlns:a16="http://schemas.microsoft.com/office/drawing/2014/main" id="{5C05E201-78F0-2043-AB50-4C9995D08AEA}"/>
              </a:ext>
            </a:extLst>
          </p:cNvPr>
          <p:cNvGrpSpPr/>
          <p:nvPr/>
        </p:nvGrpSpPr>
        <p:grpSpPr>
          <a:xfrm>
            <a:off x="4744878" y="1633334"/>
            <a:ext cx="2652724" cy="1000792"/>
            <a:chOff x="4840022" y="1665589"/>
            <a:chExt cx="2705917" cy="1020860"/>
          </a:xfrm>
        </p:grpSpPr>
        <p:sp>
          <p:nvSpPr>
            <p:cNvPr id="100" name="Oval 99">
              <a:extLst>
                <a:ext uri="{FF2B5EF4-FFF2-40B4-BE49-F238E27FC236}">
                  <a16:creationId xmlns:a16="http://schemas.microsoft.com/office/drawing/2014/main" id="{C4989E93-80AB-694A-935B-C85C9185F43D}"/>
                </a:ext>
              </a:extLst>
            </p:cNvPr>
            <p:cNvSpPr/>
            <p:nvPr/>
          </p:nvSpPr>
          <p:spPr bwMode="auto">
            <a:xfrm>
              <a:off x="5734594" y="1962091"/>
              <a:ext cx="923409" cy="72435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5" name="Rectangle 74">
              <a:extLst>
                <a:ext uri="{FF2B5EF4-FFF2-40B4-BE49-F238E27FC236}">
                  <a16:creationId xmlns:a16="http://schemas.microsoft.com/office/drawing/2014/main" id="{1B7C165C-C301-4E43-AD15-003E2D075DD4}"/>
                </a:ext>
              </a:extLst>
            </p:cNvPr>
            <p:cNvSpPr/>
            <p:nvPr/>
          </p:nvSpPr>
          <p:spPr>
            <a:xfrm>
              <a:off x="4840022" y="1665589"/>
              <a:ext cx="2705917" cy="27699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196"/>
                </a:spcAft>
                <a:buClrTx/>
                <a:buSzTx/>
                <a:buFontTx/>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sym typeface="Arial" panose="020B0604020202020204" pitchFamily="34" charset="0"/>
                </a:rPr>
                <a:t>Create/retrain model</a:t>
              </a:r>
              <a:endParaRPr kumimoji="0" lang="en-US" sz="1176"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84" name="Group 83">
              <a:extLst>
                <a:ext uri="{FF2B5EF4-FFF2-40B4-BE49-F238E27FC236}">
                  <a16:creationId xmlns:a16="http://schemas.microsoft.com/office/drawing/2014/main" id="{CC7E8C1F-1C07-894F-9D4A-E68BC574769B}"/>
                </a:ext>
              </a:extLst>
            </p:cNvPr>
            <p:cNvGrpSpPr/>
            <p:nvPr/>
          </p:nvGrpSpPr>
          <p:grpSpPr>
            <a:xfrm>
              <a:off x="5908348" y="2012862"/>
              <a:ext cx="569267" cy="548196"/>
              <a:chOff x="8604015" y="4747099"/>
              <a:chExt cx="1221773" cy="1176550"/>
            </a:xfrm>
          </p:grpSpPr>
          <p:grpSp>
            <p:nvGrpSpPr>
              <p:cNvPr id="85" name="Group 84">
                <a:extLst>
                  <a:ext uri="{FF2B5EF4-FFF2-40B4-BE49-F238E27FC236}">
                    <a16:creationId xmlns:a16="http://schemas.microsoft.com/office/drawing/2014/main" id="{A1E8E782-AB7C-BA41-B174-D84663035D1C}"/>
                  </a:ext>
                </a:extLst>
              </p:cNvPr>
              <p:cNvGrpSpPr/>
              <p:nvPr/>
            </p:nvGrpSpPr>
            <p:grpSpPr>
              <a:xfrm>
                <a:off x="9214901" y="4915118"/>
                <a:ext cx="610887" cy="672077"/>
                <a:chOff x="6053699" y="2879832"/>
                <a:chExt cx="279256" cy="307228"/>
              </a:xfrm>
            </p:grpSpPr>
            <p:sp>
              <p:nvSpPr>
                <p:cNvPr id="96" name="Freeform: Shape 843">
                  <a:extLst>
                    <a:ext uri="{FF2B5EF4-FFF2-40B4-BE49-F238E27FC236}">
                      <a16:creationId xmlns:a16="http://schemas.microsoft.com/office/drawing/2014/main" id="{68DDB9B0-849C-584D-BA45-5D0801C7302C}"/>
                    </a:ext>
                  </a:extLst>
                </p:cNvPr>
                <p:cNvSpPr/>
                <p:nvPr/>
              </p:nvSpPr>
              <p:spPr bwMode="auto">
                <a:xfrm>
                  <a:off x="6053699" y="2879832"/>
                  <a:ext cx="279256" cy="307228"/>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EB7F09AD-B9B0-7140-B4E2-1A82D2DBBFCC}"/>
                    </a:ext>
                  </a:extLst>
                </p:cNvPr>
                <p:cNvCxnSpPr>
                  <a:cxnSpLocks/>
                </p:cNvCxnSpPr>
                <p:nvPr/>
              </p:nvCxnSpPr>
              <p:spPr>
                <a:xfrm>
                  <a:off x="6053699" y="2956449"/>
                  <a:ext cx="139628" cy="76997"/>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1C4C95D7-BB1A-0944-87D2-3C403B840472}"/>
                    </a:ext>
                  </a:extLst>
                </p:cNvPr>
                <p:cNvCxnSpPr>
                  <a:cxnSpLocks/>
                </p:cNvCxnSpPr>
                <p:nvPr/>
              </p:nvCxnSpPr>
              <p:spPr>
                <a:xfrm flipV="1">
                  <a:off x="6193327" y="2956449"/>
                  <a:ext cx="139628" cy="76997"/>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313AC115-E19E-A042-9C1B-BFA197463150}"/>
                    </a:ext>
                  </a:extLst>
                </p:cNvPr>
                <p:cNvCxnSpPr>
                  <a:cxnSpLocks/>
                </p:cNvCxnSpPr>
                <p:nvPr/>
              </p:nvCxnSpPr>
              <p:spPr>
                <a:xfrm flipV="1">
                  <a:off x="6193327" y="3033446"/>
                  <a:ext cx="0" cy="153614"/>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a16="http://schemas.microsoft.com/office/drawing/2014/main" id="{1FF5B42E-3430-C446-B9C9-538E22F9C79F}"/>
                  </a:ext>
                </a:extLst>
              </p:cNvPr>
              <p:cNvGrpSpPr/>
              <p:nvPr/>
            </p:nvGrpSpPr>
            <p:grpSpPr>
              <a:xfrm>
                <a:off x="8604015" y="5251572"/>
                <a:ext cx="610887" cy="672077"/>
                <a:chOff x="6053699" y="2879832"/>
                <a:chExt cx="279256" cy="307228"/>
              </a:xfrm>
            </p:grpSpPr>
            <p:sp>
              <p:nvSpPr>
                <p:cNvPr id="92" name="Freeform: Shape 843">
                  <a:extLst>
                    <a:ext uri="{FF2B5EF4-FFF2-40B4-BE49-F238E27FC236}">
                      <a16:creationId xmlns:a16="http://schemas.microsoft.com/office/drawing/2014/main" id="{DE89988C-FCDD-E141-8512-92F1F0FA8FB6}"/>
                    </a:ext>
                  </a:extLst>
                </p:cNvPr>
                <p:cNvSpPr/>
                <p:nvPr/>
              </p:nvSpPr>
              <p:spPr bwMode="auto">
                <a:xfrm>
                  <a:off x="6053699" y="2879832"/>
                  <a:ext cx="279256" cy="307228"/>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id="{02B8B972-5158-B143-80A3-69D8B8AF2F5E}"/>
                    </a:ext>
                  </a:extLst>
                </p:cNvPr>
                <p:cNvCxnSpPr>
                  <a:cxnSpLocks/>
                </p:cNvCxnSpPr>
                <p:nvPr/>
              </p:nvCxnSpPr>
              <p:spPr>
                <a:xfrm>
                  <a:off x="6053699" y="2956449"/>
                  <a:ext cx="139628" cy="76997"/>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3DCA494-D80B-2A44-BD59-94E5C352FE45}"/>
                    </a:ext>
                  </a:extLst>
                </p:cNvPr>
                <p:cNvCxnSpPr>
                  <a:cxnSpLocks/>
                </p:cNvCxnSpPr>
                <p:nvPr/>
              </p:nvCxnSpPr>
              <p:spPr>
                <a:xfrm flipV="1">
                  <a:off x="6193327" y="2956449"/>
                  <a:ext cx="139628" cy="76997"/>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4C824365-4D3B-CD47-95DC-B21C7BF4A2D4}"/>
                    </a:ext>
                  </a:extLst>
                </p:cNvPr>
                <p:cNvCxnSpPr>
                  <a:cxnSpLocks/>
                </p:cNvCxnSpPr>
                <p:nvPr/>
              </p:nvCxnSpPr>
              <p:spPr>
                <a:xfrm flipV="1">
                  <a:off x="6193327" y="3033446"/>
                  <a:ext cx="0" cy="153614"/>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843D2561-AD79-8E48-BF8C-C5431837233D}"/>
                  </a:ext>
                </a:extLst>
              </p:cNvPr>
              <p:cNvGrpSpPr/>
              <p:nvPr/>
            </p:nvGrpSpPr>
            <p:grpSpPr>
              <a:xfrm>
                <a:off x="8909458" y="4747099"/>
                <a:ext cx="610887" cy="672077"/>
                <a:chOff x="6053699" y="2879832"/>
                <a:chExt cx="279256" cy="307228"/>
              </a:xfrm>
              <a:solidFill>
                <a:schemeClr val="bg1"/>
              </a:solidFill>
            </p:grpSpPr>
            <p:sp>
              <p:nvSpPr>
                <p:cNvPr id="88" name="Freeform: Shape 843">
                  <a:extLst>
                    <a:ext uri="{FF2B5EF4-FFF2-40B4-BE49-F238E27FC236}">
                      <a16:creationId xmlns:a16="http://schemas.microsoft.com/office/drawing/2014/main" id="{65A5CB79-9CFD-6249-8B97-E6D7E6483E5F}"/>
                    </a:ext>
                  </a:extLst>
                </p:cNvPr>
                <p:cNvSpPr/>
                <p:nvPr/>
              </p:nvSpPr>
              <p:spPr bwMode="auto">
                <a:xfrm>
                  <a:off x="6053699" y="2879832"/>
                  <a:ext cx="279256" cy="307228"/>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5E0D3E29-9721-0240-A20D-6CCEB2669726}"/>
                    </a:ext>
                  </a:extLst>
                </p:cNvPr>
                <p:cNvCxnSpPr>
                  <a:cxnSpLocks/>
                </p:cNvCxnSpPr>
                <p:nvPr/>
              </p:nvCxnSpPr>
              <p:spPr>
                <a:xfrm>
                  <a:off x="6053699" y="2956449"/>
                  <a:ext cx="139628" cy="76997"/>
                </a:xfrm>
                <a:prstGeom prst="line">
                  <a:avLst/>
                </a:prstGeom>
                <a:grpFill/>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2713337F-1F20-D14B-9723-E56E6963C63A}"/>
                    </a:ext>
                  </a:extLst>
                </p:cNvPr>
                <p:cNvCxnSpPr>
                  <a:cxnSpLocks/>
                </p:cNvCxnSpPr>
                <p:nvPr/>
              </p:nvCxnSpPr>
              <p:spPr>
                <a:xfrm flipV="1">
                  <a:off x="6193327" y="2956449"/>
                  <a:ext cx="139628" cy="76997"/>
                </a:xfrm>
                <a:prstGeom prst="line">
                  <a:avLst/>
                </a:prstGeom>
                <a:grpFill/>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EEE3E36-6E26-A24A-94DA-F85044D8B498}"/>
                    </a:ext>
                  </a:extLst>
                </p:cNvPr>
                <p:cNvCxnSpPr>
                  <a:cxnSpLocks/>
                </p:cNvCxnSpPr>
                <p:nvPr/>
              </p:nvCxnSpPr>
              <p:spPr>
                <a:xfrm flipV="1">
                  <a:off x="6193327" y="3033446"/>
                  <a:ext cx="0" cy="153614"/>
                </a:xfrm>
                <a:prstGeom prst="line">
                  <a:avLst/>
                </a:prstGeom>
                <a:grpFill/>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4" name="Group 3">
            <a:extLst>
              <a:ext uri="{FF2B5EF4-FFF2-40B4-BE49-F238E27FC236}">
                <a16:creationId xmlns:a16="http://schemas.microsoft.com/office/drawing/2014/main" id="{D5310C38-DA0D-614E-9795-9C16348D6506}"/>
              </a:ext>
            </a:extLst>
          </p:cNvPr>
          <p:cNvGrpSpPr/>
          <p:nvPr/>
        </p:nvGrpSpPr>
        <p:grpSpPr>
          <a:xfrm>
            <a:off x="7369476" y="4443568"/>
            <a:ext cx="1860380" cy="811834"/>
            <a:chOff x="7517249" y="4532174"/>
            <a:chExt cx="1897684" cy="828113"/>
          </a:xfrm>
        </p:grpSpPr>
        <p:sp>
          <p:nvSpPr>
            <p:cNvPr id="77" name="Rectangle 76">
              <a:extLst>
                <a:ext uri="{FF2B5EF4-FFF2-40B4-BE49-F238E27FC236}">
                  <a16:creationId xmlns:a16="http://schemas.microsoft.com/office/drawing/2014/main" id="{BD788131-D59F-964D-A903-EE1E73CBDB40}"/>
                </a:ext>
              </a:extLst>
            </p:cNvPr>
            <p:cNvSpPr/>
            <p:nvPr/>
          </p:nvSpPr>
          <p:spPr>
            <a:xfrm>
              <a:off x="8133543" y="4654964"/>
              <a:ext cx="1281390" cy="646331"/>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196"/>
                </a:spcAft>
                <a:buClrTx/>
                <a:buSzTx/>
                <a:buFontTx/>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sym typeface="Arial" panose="020B0604020202020204" pitchFamily="34" charset="0"/>
                </a:rPr>
                <a:t>Create scoring files and dependencies</a:t>
              </a:r>
              <a:endParaRPr kumimoji="0" lang="en-US" sz="1176"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06" name="Oval 105">
              <a:extLst>
                <a:ext uri="{FF2B5EF4-FFF2-40B4-BE49-F238E27FC236}">
                  <a16:creationId xmlns:a16="http://schemas.microsoft.com/office/drawing/2014/main" id="{EB368205-847F-9444-9F7B-CABCCF8E66B0}"/>
                </a:ext>
              </a:extLst>
            </p:cNvPr>
            <p:cNvSpPr/>
            <p:nvPr/>
          </p:nvSpPr>
          <p:spPr bwMode="auto">
            <a:xfrm>
              <a:off x="7517249" y="4532174"/>
              <a:ext cx="724358" cy="82811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07" name="Group 106">
              <a:extLst>
                <a:ext uri="{FF2B5EF4-FFF2-40B4-BE49-F238E27FC236}">
                  <a16:creationId xmlns:a16="http://schemas.microsoft.com/office/drawing/2014/main" id="{DB5F8891-5C38-8340-8C6F-B57D125EE569}"/>
                </a:ext>
              </a:extLst>
            </p:cNvPr>
            <p:cNvGrpSpPr/>
            <p:nvPr/>
          </p:nvGrpSpPr>
          <p:grpSpPr>
            <a:xfrm>
              <a:off x="7539341" y="4723887"/>
              <a:ext cx="558505" cy="314757"/>
              <a:chOff x="831850" y="2057400"/>
              <a:chExt cx="923925" cy="520700"/>
            </a:xfrm>
          </p:grpSpPr>
          <p:sp>
            <p:nvSpPr>
              <p:cNvPr id="108" name="Freeform 107">
                <a:extLst>
                  <a:ext uri="{FF2B5EF4-FFF2-40B4-BE49-F238E27FC236}">
                    <a16:creationId xmlns:a16="http://schemas.microsoft.com/office/drawing/2014/main" id="{AA30E7D5-C977-584C-9FB8-BF0EA0BC07F6}"/>
                  </a:ext>
                </a:extLst>
              </p:cNvPr>
              <p:cNvSpPr/>
              <p:nvPr/>
            </p:nvSpPr>
            <p:spPr bwMode="auto">
              <a:xfrm>
                <a:off x="831850" y="2181225"/>
                <a:ext cx="250825" cy="269875"/>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09" name="Freeform 108">
                <a:extLst>
                  <a:ext uri="{FF2B5EF4-FFF2-40B4-BE49-F238E27FC236}">
                    <a16:creationId xmlns:a16="http://schemas.microsoft.com/office/drawing/2014/main" id="{F1717919-8DB5-7749-95D2-DAF351F861CB}"/>
                  </a:ext>
                </a:extLst>
              </p:cNvPr>
              <p:cNvSpPr/>
              <p:nvPr/>
            </p:nvSpPr>
            <p:spPr bwMode="auto">
              <a:xfrm flipH="1">
                <a:off x="1504950" y="2181225"/>
                <a:ext cx="250825" cy="269875"/>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cxnSp>
            <p:nvCxnSpPr>
              <p:cNvPr id="110" name="Straight Connector 109">
                <a:extLst>
                  <a:ext uri="{FF2B5EF4-FFF2-40B4-BE49-F238E27FC236}">
                    <a16:creationId xmlns:a16="http://schemas.microsoft.com/office/drawing/2014/main" id="{CEEF7E34-28E5-0846-ACF2-EF8EC421A1DD}"/>
                  </a:ext>
                </a:extLst>
              </p:cNvPr>
              <p:cNvCxnSpPr/>
              <p:nvPr/>
            </p:nvCxnSpPr>
            <p:spPr>
              <a:xfrm flipH="1">
                <a:off x="1181100" y="2057400"/>
                <a:ext cx="215900" cy="52070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9" name="Group 8">
            <a:extLst>
              <a:ext uri="{FF2B5EF4-FFF2-40B4-BE49-F238E27FC236}">
                <a16:creationId xmlns:a16="http://schemas.microsoft.com/office/drawing/2014/main" id="{FBC2E4A8-FA68-F54E-BBB1-EE1F6E3779A3}"/>
              </a:ext>
            </a:extLst>
          </p:cNvPr>
          <p:cNvGrpSpPr/>
          <p:nvPr/>
        </p:nvGrpSpPr>
        <p:grpSpPr>
          <a:xfrm>
            <a:off x="5306305" y="5343927"/>
            <a:ext cx="2031969" cy="864638"/>
            <a:chOff x="5412707" y="5450587"/>
            <a:chExt cx="2072714" cy="881976"/>
          </a:xfrm>
        </p:grpSpPr>
        <p:sp>
          <p:nvSpPr>
            <p:cNvPr id="111" name="Oval 110">
              <a:extLst>
                <a:ext uri="{FF2B5EF4-FFF2-40B4-BE49-F238E27FC236}">
                  <a16:creationId xmlns:a16="http://schemas.microsoft.com/office/drawing/2014/main" id="{308D41C6-63E8-8441-8095-2C51623F2754}"/>
                </a:ext>
              </a:extLst>
            </p:cNvPr>
            <p:cNvSpPr/>
            <p:nvPr/>
          </p:nvSpPr>
          <p:spPr bwMode="auto">
            <a:xfrm>
              <a:off x="5995185" y="5450587"/>
              <a:ext cx="724358" cy="72435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6" name="Group 5">
              <a:extLst>
                <a:ext uri="{FF2B5EF4-FFF2-40B4-BE49-F238E27FC236}">
                  <a16:creationId xmlns:a16="http://schemas.microsoft.com/office/drawing/2014/main" id="{F8C02F94-BE59-034B-8B40-38DC314BC2C6}"/>
                </a:ext>
              </a:extLst>
            </p:cNvPr>
            <p:cNvGrpSpPr/>
            <p:nvPr/>
          </p:nvGrpSpPr>
          <p:grpSpPr>
            <a:xfrm>
              <a:off x="5412707" y="5576782"/>
              <a:ext cx="2072714" cy="755781"/>
              <a:chOff x="5412707" y="5576782"/>
              <a:chExt cx="2072714" cy="755781"/>
            </a:xfrm>
          </p:grpSpPr>
          <p:grpSp>
            <p:nvGrpSpPr>
              <p:cNvPr id="112" name="Group 111">
                <a:extLst>
                  <a:ext uri="{FF2B5EF4-FFF2-40B4-BE49-F238E27FC236}">
                    <a16:creationId xmlns:a16="http://schemas.microsoft.com/office/drawing/2014/main" id="{DBD8AB2B-7735-9F41-8797-8CC0348C5562}"/>
                  </a:ext>
                </a:extLst>
              </p:cNvPr>
              <p:cNvGrpSpPr/>
              <p:nvPr/>
            </p:nvGrpSpPr>
            <p:grpSpPr>
              <a:xfrm>
                <a:off x="6076567" y="5576782"/>
                <a:ext cx="517461" cy="431739"/>
                <a:chOff x="3428310" y="907009"/>
                <a:chExt cx="3119607" cy="2602811"/>
              </a:xfrm>
              <a:noFill/>
            </p:grpSpPr>
            <p:sp>
              <p:nvSpPr>
                <p:cNvPr id="113" name="Freeform: Shape 463">
                  <a:extLst>
                    <a:ext uri="{FF2B5EF4-FFF2-40B4-BE49-F238E27FC236}">
                      <a16:creationId xmlns:a16="http://schemas.microsoft.com/office/drawing/2014/main" id="{847DA02F-EDB6-594A-BF34-99FA0A6FA8EF}"/>
                    </a:ext>
                  </a:extLst>
                </p:cNvPr>
                <p:cNvSpPr/>
                <p:nvPr/>
              </p:nvSpPr>
              <p:spPr>
                <a:xfrm>
                  <a:off x="3428310" y="907009"/>
                  <a:ext cx="1785134" cy="1128449"/>
                </a:xfrm>
                <a:custGeom>
                  <a:avLst/>
                  <a:gdLst>
                    <a:gd name="connsiteX0" fmla="*/ 931081 w 1785134"/>
                    <a:gd name="connsiteY0" fmla="*/ 0 h 1128449"/>
                    <a:gd name="connsiteX1" fmla="*/ 1376556 w 1785134"/>
                    <a:gd name="connsiteY1" fmla="*/ 281108 h 1128449"/>
                    <a:gd name="connsiteX2" fmla="*/ 1589259 w 1785134"/>
                    <a:gd name="connsiteY2" fmla="*/ 224887 h 1128449"/>
                    <a:gd name="connsiteX3" fmla="*/ 1765091 w 1785134"/>
                    <a:gd name="connsiteY3" fmla="*/ 260778 h 1128449"/>
                    <a:gd name="connsiteX4" fmla="*/ 1785134 w 1785134"/>
                    <a:gd name="connsiteY4" fmla="*/ 271720 h 1128449"/>
                    <a:gd name="connsiteX5" fmla="*/ 1247159 w 1785134"/>
                    <a:gd name="connsiteY5" fmla="*/ 651620 h 1128449"/>
                    <a:gd name="connsiteX6" fmla="*/ 1247159 w 1785134"/>
                    <a:gd name="connsiteY6" fmla="*/ 1128449 h 1128449"/>
                    <a:gd name="connsiteX7" fmla="*/ 1140187 w 1785134"/>
                    <a:gd name="connsiteY7" fmla="*/ 1128449 h 1128449"/>
                    <a:gd name="connsiteX8" fmla="*/ 228757 w 1785134"/>
                    <a:gd name="connsiteY8" fmla="*/ 1128449 h 1128449"/>
                    <a:gd name="connsiteX9" fmla="*/ 0 w 1785134"/>
                    <a:gd name="connsiteY9" fmla="*/ 895531 h 1128449"/>
                    <a:gd name="connsiteX10" fmla="*/ 172571 w 1785134"/>
                    <a:gd name="connsiteY10" fmla="*/ 674660 h 1128449"/>
                    <a:gd name="connsiteX11" fmla="*/ 441461 w 1785134"/>
                    <a:gd name="connsiteY11" fmla="*/ 465837 h 1128449"/>
                    <a:gd name="connsiteX12" fmla="*/ 931081 w 1785134"/>
                    <a:gd name="connsiteY12" fmla="*/ 0 h 1128449"/>
                    <a:gd name="connsiteX0" fmla="*/ 1247159 w 1785134"/>
                    <a:gd name="connsiteY0" fmla="*/ 651620 h 1128449"/>
                    <a:gd name="connsiteX1" fmla="*/ 1247159 w 1785134"/>
                    <a:gd name="connsiteY1" fmla="*/ 1128449 h 1128449"/>
                    <a:gd name="connsiteX2" fmla="*/ 1140187 w 1785134"/>
                    <a:gd name="connsiteY2" fmla="*/ 1128449 h 1128449"/>
                    <a:gd name="connsiteX3" fmla="*/ 228757 w 1785134"/>
                    <a:gd name="connsiteY3" fmla="*/ 1128449 h 1128449"/>
                    <a:gd name="connsiteX4" fmla="*/ 0 w 1785134"/>
                    <a:gd name="connsiteY4" fmla="*/ 895531 h 1128449"/>
                    <a:gd name="connsiteX5" fmla="*/ 172571 w 1785134"/>
                    <a:gd name="connsiteY5" fmla="*/ 674660 h 1128449"/>
                    <a:gd name="connsiteX6" fmla="*/ 441461 w 1785134"/>
                    <a:gd name="connsiteY6" fmla="*/ 465837 h 1128449"/>
                    <a:gd name="connsiteX7" fmla="*/ 931081 w 1785134"/>
                    <a:gd name="connsiteY7" fmla="*/ 0 h 1128449"/>
                    <a:gd name="connsiteX8" fmla="*/ 1376556 w 1785134"/>
                    <a:gd name="connsiteY8" fmla="*/ 281108 h 1128449"/>
                    <a:gd name="connsiteX9" fmla="*/ 1589259 w 1785134"/>
                    <a:gd name="connsiteY9" fmla="*/ 224887 h 1128449"/>
                    <a:gd name="connsiteX10" fmla="*/ 1765091 w 1785134"/>
                    <a:gd name="connsiteY10" fmla="*/ 260778 h 1128449"/>
                    <a:gd name="connsiteX11" fmla="*/ 1785134 w 1785134"/>
                    <a:gd name="connsiteY11" fmla="*/ 271720 h 1128449"/>
                    <a:gd name="connsiteX12" fmla="*/ 1338599 w 1785134"/>
                    <a:gd name="connsiteY12" fmla="*/ 743060 h 1128449"/>
                    <a:gd name="connsiteX0" fmla="*/ 1247159 w 1785134"/>
                    <a:gd name="connsiteY0" fmla="*/ 651620 h 1128449"/>
                    <a:gd name="connsiteX1" fmla="*/ 1247159 w 1785134"/>
                    <a:gd name="connsiteY1" fmla="*/ 1128449 h 1128449"/>
                    <a:gd name="connsiteX2" fmla="*/ 1140187 w 1785134"/>
                    <a:gd name="connsiteY2" fmla="*/ 1128449 h 1128449"/>
                    <a:gd name="connsiteX3" fmla="*/ 228757 w 1785134"/>
                    <a:gd name="connsiteY3" fmla="*/ 1128449 h 1128449"/>
                    <a:gd name="connsiteX4" fmla="*/ 0 w 1785134"/>
                    <a:gd name="connsiteY4" fmla="*/ 895531 h 1128449"/>
                    <a:gd name="connsiteX5" fmla="*/ 172571 w 1785134"/>
                    <a:gd name="connsiteY5" fmla="*/ 674660 h 1128449"/>
                    <a:gd name="connsiteX6" fmla="*/ 441461 w 1785134"/>
                    <a:gd name="connsiteY6" fmla="*/ 465837 h 1128449"/>
                    <a:gd name="connsiteX7" fmla="*/ 931081 w 1785134"/>
                    <a:gd name="connsiteY7" fmla="*/ 0 h 1128449"/>
                    <a:gd name="connsiteX8" fmla="*/ 1376556 w 1785134"/>
                    <a:gd name="connsiteY8" fmla="*/ 281108 h 1128449"/>
                    <a:gd name="connsiteX9" fmla="*/ 1589259 w 1785134"/>
                    <a:gd name="connsiteY9" fmla="*/ 224887 h 1128449"/>
                    <a:gd name="connsiteX10" fmla="*/ 1765091 w 1785134"/>
                    <a:gd name="connsiteY10" fmla="*/ 260778 h 1128449"/>
                    <a:gd name="connsiteX11" fmla="*/ 1785134 w 1785134"/>
                    <a:gd name="connsiteY11" fmla="*/ 271720 h 1128449"/>
                    <a:gd name="connsiteX0" fmla="*/ 1247159 w 1785134"/>
                    <a:gd name="connsiteY0" fmla="*/ 1128449 h 1128449"/>
                    <a:gd name="connsiteX1" fmla="*/ 1140187 w 1785134"/>
                    <a:gd name="connsiteY1" fmla="*/ 1128449 h 1128449"/>
                    <a:gd name="connsiteX2" fmla="*/ 228757 w 1785134"/>
                    <a:gd name="connsiteY2" fmla="*/ 1128449 h 1128449"/>
                    <a:gd name="connsiteX3" fmla="*/ 0 w 1785134"/>
                    <a:gd name="connsiteY3" fmla="*/ 895531 h 1128449"/>
                    <a:gd name="connsiteX4" fmla="*/ 172571 w 1785134"/>
                    <a:gd name="connsiteY4" fmla="*/ 674660 h 1128449"/>
                    <a:gd name="connsiteX5" fmla="*/ 441461 w 1785134"/>
                    <a:gd name="connsiteY5" fmla="*/ 465837 h 1128449"/>
                    <a:gd name="connsiteX6" fmla="*/ 931081 w 1785134"/>
                    <a:gd name="connsiteY6" fmla="*/ 0 h 1128449"/>
                    <a:gd name="connsiteX7" fmla="*/ 1376556 w 1785134"/>
                    <a:gd name="connsiteY7" fmla="*/ 281108 h 1128449"/>
                    <a:gd name="connsiteX8" fmla="*/ 1589259 w 1785134"/>
                    <a:gd name="connsiteY8" fmla="*/ 224887 h 1128449"/>
                    <a:gd name="connsiteX9" fmla="*/ 1765091 w 1785134"/>
                    <a:gd name="connsiteY9" fmla="*/ 260778 h 1128449"/>
                    <a:gd name="connsiteX10" fmla="*/ 1785134 w 1785134"/>
                    <a:gd name="connsiteY10" fmla="*/ 271720 h 1128449"/>
                    <a:gd name="connsiteX0" fmla="*/ 1247159 w 1785134"/>
                    <a:gd name="connsiteY0" fmla="*/ 1128449 h 1128449"/>
                    <a:gd name="connsiteX1" fmla="*/ 228757 w 1785134"/>
                    <a:gd name="connsiteY1" fmla="*/ 1128449 h 1128449"/>
                    <a:gd name="connsiteX2" fmla="*/ 0 w 1785134"/>
                    <a:gd name="connsiteY2" fmla="*/ 895531 h 1128449"/>
                    <a:gd name="connsiteX3" fmla="*/ 172571 w 1785134"/>
                    <a:gd name="connsiteY3" fmla="*/ 674660 h 1128449"/>
                    <a:gd name="connsiteX4" fmla="*/ 441461 w 1785134"/>
                    <a:gd name="connsiteY4" fmla="*/ 465837 h 1128449"/>
                    <a:gd name="connsiteX5" fmla="*/ 931081 w 1785134"/>
                    <a:gd name="connsiteY5" fmla="*/ 0 h 1128449"/>
                    <a:gd name="connsiteX6" fmla="*/ 1376556 w 1785134"/>
                    <a:gd name="connsiteY6" fmla="*/ 281108 h 1128449"/>
                    <a:gd name="connsiteX7" fmla="*/ 1589259 w 1785134"/>
                    <a:gd name="connsiteY7" fmla="*/ 224887 h 1128449"/>
                    <a:gd name="connsiteX8" fmla="*/ 1765091 w 1785134"/>
                    <a:gd name="connsiteY8" fmla="*/ 260778 h 1128449"/>
                    <a:gd name="connsiteX9" fmla="*/ 1785134 w 1785134"/>
                    <a:gd name="connsiteY9" fmla="*/ 271720 h 11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5134" h="1128449">
                      <a:moveTo>
                        <a:pt x="1247159" y="1128449"/>
                      </a:moveTo>
                      <a:lnTo>
                        <a:pt x="228757" y="1128449"/>
                      </a:lnTo>
                      <a:cubicBezTo>
                        <a:pt x="104345" y="1128449"/>
                        <a:pt x="0" y="1024037"/>
                        <a:pt x="0" y="895531"/>
                      </a:cubicBezTo>
                      <a:cubicBezTo>
                        <a:pt x="0" y="787103"/>
                        <a:pt x="72239" y="698755"/>
                        <a:pt x="172571" y="674660"/>
                      </a:cubicBezTo>
                      <a:cubicBezTo>
                        <a:pt x="220731" y="562217"/>
                        <a:pt x="321063" y="481900"/>
                        <a:pt x="441461" y="465837"/>
                      </a:cubicBezTo>
                      <a:cubicBezTo>
                        <a:pt x="453501" y="208823"/>
                        <a:pt x="670218" y="0"/>
                        <a:pt x="931081" y="0"/>
                      </a:cubicBezTo>
                      <a:cubicBezTo>
                        <a:pt x="1123719" y="0"/>
                        <a:pt x="1296290" y="112443"/>
                        <a:pt x="1376556" y="281108"/>
                      </a:cubicBezTo>
                      <a:cubicBezTo>
                        <a:pt x="1440768" y="244966"/>
                        <a:pt x="1513007" y="224887"/>
                        <a:pt x="1589259" y="224887"/>
                      </a:cubicBezTo>
                      <a:cubicBezTo>
                        <a:pt x="1651465" y="224887"/>
                        <a:pt x="1710912" y="237688"/>
                        <a:pt x="1765091" y="260778"/>
                      </a:cubicBezTo>
                      <a:lnTo>
                        <a:pt x="1785134" y="271720"/>
                      </a:lnTo>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nvGrpSpPr>
                <p:cNvPr id="114" name="Group 113">
                  <a:extLst>
                    <a:ext uri="{FF2B5EF4-FFF2-40B4-BE49-F238E27FC236}">
                      <a16:creationId xmlns:a16="http://schemas.microsoft.com/office/drawing/2014/main" id="{A71D9A89-E77C-E24E-9060-1C9361ADCBAB}"/>
                    </a:ext>
                  </a:extLst>
                </p:cNvPr>
                <p:cNvGrpSpPr/>
                <p:nvPr/>
              </p:nvGrpSpPr>
              <p:grpSpPr>
                <a:xfrm>
                  <a:off x="4223912" y="999906"/>
                  <a:ext cx="2324005" cy="2509914"/>
                  <a:chOff x="5140719" y="5534213"/>
                  <a:chExt cx="1095071" cy="1182675"/>
                </a:xfrm>
                <a:grpFill/>
              </p:grpSpPr>
              <p:grpSp>
                <p:nvGrpSpPr>
                  <p:cNvPr id="115" name="Group 114">
                    <a:extLst>
                      <a:ext uri="{FF2B5EF4-FFF2-40B4-BE49-F238E27FC236}">
                        <a16:creationId xmlns:a16="http://schemas.microsoft.com/office/drawing/2014/main" id="{B7A8C969-BF7D-0841-BBE5-31FCA8086351}"/>
                      </a:ext>
                    </a:extLst>
                  </p:cNvPr>
                  <p:cNvGrpSpPr/>
                  <p:nvPr/>
                </p:nvGrpSpPr>
                <p:grpSpPr>
                  <a:xfrm>
                    <a:off x="5140719" y="5851083"/>
                    <a:ext cx="1095071" cy="865805"/>
                    <a:chOff x="967154" y="1481462"/>
                    <a:chExt cx="5331069" cy="4214950"/>
                  </a:xfrm>
                  <a:grpFill/>
                </p:grpSpPr>
                <p:cxnSp>
                  <p:nvCxnSpPr>
                    <p:cNvPr id="117" name="Straight Connector 116">
                      <a:extLst>
                        <a:ext uri="{FF2B5EF4-FFF2-40B4-BE49-F238E27FC236}">
                          <a16:creationId xmlns:a16="http://schemas.microsoft.com/office/drawing/2014/main" id="{35BCDC7D-2414-414B-848A-A30C68AE5E28}"/>
                        </a:ext>
                      </a:extLst>
                    </p:cNvPr>
                    <p:cNvCxnSpPr>
                      <a:cxnSpLocks/>
                    </p:cNvCxnSpPr>
                    <p:nvPr/>
                  </p:nvCxnSpPr>
                  <p:spPr>
                    <a:xfrm>
                      <a:off x="967154" y="5696412"/>
                      <a:ext cx="5331069" cy="0"/>
                    </a:xfrm>
                    <a:prstGeom prst="line">
                      <a:avLst/>
                    </a:prstGeom>
                    <a:grpFill/>
                    <a:ln w="1270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117">
                      <a:extLst>
                        <a:ext uri="{FF2B5EF4-FFF2-40B4-BE49-F238E27FC236}">
                          <a16:creationId xmlns:a16="http://schemas.microsoft.com/office/drawing/2014/main" id="{CA576DDB-F0A1-CD48-8FAD-9471E931C9A1}"/>
                        </a:ext>
                      </a:extLst>
                    </p:cNvPr>
                    <p:cNvSpPr/>
                    <p:nvPr/>
                  </p:nvSpPr>
                  <p:spPr bwMode="auto">
                    <a:xfrm>
                      <a:off x="1286608" y="2696308"/>
                      <a:ext cx="2793023" cy="3000104"/>
                    </a:xfrm>
                    <a:prstGeom prst="rect">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Rectangle 118">
                      <a:extLst>
                        <a:ext uri="{FF2B5EF4-FFF2-40B4-BE49-F238E27FC236}">
                          <a16:creationId xmlns:a16="http://schemas.microsoft.com/office/drawing/2014/main" id="{B7292C94-A1ED-0143-8B4B-7C3649AC3F39}"/>
                        </a:ext>
                      </a:extLst>
                    </p:cNvPr>
                    <p:cNvSpPr/>
                    <p:nvPr/>
                  </p:nvSpPr>
                  <p:spPr bwMode="auto">
                    <a:xfrm>
                      <a:off x="2225919" y="4700954"/>
                      <a:ext cx="914400" cy="995458"/>
                    </a:xfrm>
                    <a:prstGeom prst="rect">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Freeform: Shape 404">
                      <a:extLst>
                        <a:ext uri="{FF2B5EF4-FFF2-40B4-BE49-F238E27FC236}">
                          <a16:creationId xmlns:a16="http://schemas.microsoft.com/office/drawing/2014/main" id="{DD8E60EB-64FD-4E4F-BFF3-B7A61AC68A4D}"/>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Freeform: Shape 405">
                      <a:extLst>
                        <a:ext uri="{FF2B5EF4-FFF2-40B4-BE49-F238E27FC236}">
                          <a16:creationId xmlns:a16="http://schemas.microsoft.com/office/drawing/2014/main" id="{16CCD134-CC31-AF4E-B953-15005FA503F0}"/>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6" name="Freeform 346">
                    <a:extLst>
                      <a:ext uri="{FF2B5EF4-FFF2-40B4-BE49-F238E27FC236}">
                        <a16:creationId xmlns:a16="http://schemas.microsoft.com/office/drawing/2014/main" id="{291FA9CE-23F7-134A-9855-FC411CD319E1}"/>
                      </a:ext>
                    </a:extLst>
                  </p:cNvPr>
                  <p:cNvSpPr/>
                  <p:nvPr/>
                </p:nvSpPr>
                <p:spPr bwMode="auto">
                  <a:xfrm>
                    <a:off x="5455403" y="5534213"/>
                    <a:ext cx="330632" cy="499794"/>
                  </a:xfrm>
                  <a:custGeom>
                    <a:avLst/>
                    <a:gdLst>
                      <a:gd name="connsiteX0" fmla="*/ 0 w 222142"/>
                      <a:gd name="connsiteY0" fmla="*/ 335797 h 335797"/>
                      <a:gd name="connsiteX1" fmla="*/ 0 w 222142"/>
                      <a:gd name="connsiteY1" fmla="*/ 165315 h 335797"/>
                      <a:gd name="connsiteX2" fmla="*/ 222142 w 222142"/>
                      <a:gd name="connsiteY2" fmla="*/ 0 h 335797"/>
                      <a:gd name="connsiteX3" fmla="*/ 222142 w 222142"/>
                      <a:gd name="connsiteY3" fmla="*/ 165315 h 335797"/>
                    </a:gdLst>
                    <a:ahLst/>
                    <a:cxnLst>
                      <a:cxn ang="0">
                        <a:pos x="connsiteX0" y="connsiteY0"/>
                      </a:cxn>
                      <a:cxn ang="0">
                        <a:pos x="connsiteX1" y="connsiteY1"/>
                      </a:cxn>
                      <a:cxn ang="0">
                        <a:pos x="connsiteX2" y="connsiteY2"/>
                      </a:cxn>
                      <a:cxn ang="0">
                        <a:pos x="connsiteX3" y="connsiteY3"/>
                      </a:cxn>
                    </a:cxnLst>
                    <a:rect l="l" t="t" r="r" b="b"/>
                    <a:pathLst>
                      <a:path w="222142" h="335797">
                        <a:moveTo>
                          <a:pt x="0" y="335797"/>
                        </a:moveTo>
                        <a:lnTo>
                          <a:pt x="0" y="165315"/>
                        </a:lnTo>
                        <a:lnTo>
                          <a:pt x="222142" y="0"/>
                        </a:lnTo>
                        <a:lnTo>
                          <a:pt x="222142" y="165315"/>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171" name="Rectangle 170">
                <a:extLst>
                  <a:ext uri="{FF2B5EF4-FFF2-40B4-BE49-F238E27FC236}">
                    <a16:creationId xmlns:a16="http://schemas.microsoft.com/office/drawing/2014/main" id="{D16AFA9F-89CE-9A47-96D6-A04726293C52}"/>
                  </a:ext>
                </a:extLst>
              </p:cNvPr>
              <p:cNvSpPr/>
              <p:nvPr/>
            </p:nvSpPr>
            <p:spPr>
              <a:xfrm>
                <a:off x="5412707" y="6055564"/>
                <a:ext cx="2072714" cy="27699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196"/>
                  </a:spcAft>
                  <a:buClrTx/>
                  <a:buSzTx/>
                  <a:buFontTx/>
                  <a:buNone/>
                  <a:tabLst/>
                  <a:defRPr/>
                </a:pPr>
                <a:r>
                  <a:rPr kumimoji="0" 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sym typeface="Arial" panose="020B0604020202020204" pitchFamily="34" charset="0"/>
                  </a:rPr>
                  <a:t>Create and register image</a:t>
                </a:r>
                <a:endParaRPr kumimoji="0" lang="en-US" sz="1176"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grpSp>
        <p:nvGrpSpPr>
          <p:cNvPr id="8" name="Group 7">
            <a:extLst>
              <a:ext uri="{FF2B5EF4-FFF2-40B4-BE49-F238E27FC236}">
                <a16:creationId xmlns:a16="http://schemas.microsoft.com/office/drawing/2014/main" id="{EBC5EB97-C7FA-624F-89CE-B4B873D5E247}"/>
              </a:ext>
            </a:extLst>
          </p:cNvPr>
          <p:cNvGrpSpPr/>
          <p:nvPr/>
        </p:nvGrpSpPr>
        <p:grpSpPr>
          <a:xfrm>
            <a:off x="2978635" y="2723849"/>
            <a:ext cx="2031970" cy="803879"/>
            <a:chOff x="3038362" y="2777971"/>
            <a:chExt cx="2072715" cy="819998"/>
          </a:xfrm>
        </p:grpSpPr>
        <p:sp>
          <p:nvSpPr>
            <p:cNvPr id="80" name="Rectangle 79">
              <a:extLst>
                <a:ext uri="{FF2B5EF4-FFF2-40B4-BE49-F238E27FC236}">
                  <a16:creationId xmlns:a16="http://schemas.microsoft.com/office/drawing/2014/main" id="{85A47E6B-2C0E-804B-8DE5-66D05B9A6599}"/>
                </a:ext>
              </a:extLst>
            </p:cNvPr>
            <p:cNvSpPr/>
            <p:nvPr/>
          </p:nvSpPr>
          <p:spPr>
            <a:xfrm>
              <a:off x="3038362" y="2966600"/>
              <a:ext cx="2072715" cy="27699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196"/>
                </a:spcAft>
                <a:buClrTx/>
                <a:buSzTx/>
                <a:buFontTx/>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sym typeface="Arial" panose="020B0604020202020204" pitchFamily="34" charset="0"/>
                </a:rPr>
                <a:t>Monitor</a:t>
              </a:r>
              <a:endParaRPr kumimoji="0" lang="en-US" sz="1176"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23" name="Oval 122">
              <a:extLst>
                <a:ext uri="{FF2B5EF4-FFF2-40B4-BE49-F238E27FC236}">
                  <a16:creationId xmlns:a16="http://schemas.microsoft.com/office/drawing/2014/main" id="{3E788781-8F0B-404F-9A91-AD30972E754E}"/>
                </a:ext>
              </a:extLst>
            </p:cNvPr>
            <p:cNvSpPr/>
            <p:nvPr/>
          </p:nvSpPr>
          <p:spPr bwMode="auto">
            <a:xfrm>
              <a:off x="4371494" y="2777971"/>
              <a:ext cx="724358" cy="81999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speedometer_2">
              <a:extLst>
                <a:ext uri="{FF2B5EF4-FFF2-40B4-BE49-F238E27FC236}">
                  <a16:creationId xmlns:a16="http://schemas.microsoft.com/office/drawing/2014/main" id="{D4F9920C-346F-684E-B5AF-206E7CA4A5C1}"/>
                </a:ext>
              </a:extLst>
            </p:cNvPr>
            <p:cNvSpPr>
              <a:spLocks noChangeAspect="1" noEditPoints="1"/>
            </p:cNvSpPr>
            <p:nvPr/>
          </p:nvSpPr>
          <p:spPr bwMode="auto">
            <a:xfrm>
              <a:off x="4488678" y="2923334"/>
              <a:ext cx="403517" cy="403517"/>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 name="Group 2">
            <a:extLst>
              <a:ext uri="{FF2B5EF4-FFF2-40B4-BE49-F238E27FC236}">
                <a16:creationId xmlns:a16="http://schemas.microsoft.com/office/drawing/2014/main" id="{D58667BB-D2A4-A546-A0A4-7B4552F81936}"/>
              </a:ext>
            </a:extLst>
          </p:cNvPr>
          <p:cNvGrpSpPr/>
          <p:nvPr/>
        </p:nvGrpSpPr>
        <p:grpSpPr>
          <a:xfrm>
            <a:off x="7206744" y="2644074"/>
            <a:ext cx="2169874" cy="803880"/>
            <a:chOff x="7351254" y="2696596"/>
            <a:chExt cx="2213384" cy="819999"/>
          </a:xfrm>
        </p:grpSpPr>
        <p:sp>
          <p:nvSpPr>
            <p:cNvPr id="101" name="Oval 100">
              <a:extLst>
                <a:ext uri="{FF2B5EF4-FFF2-40B4-BE49-F238E27FC236}">
                  <a16:creationId xmlns:a16="http://schemas.microsoft.com/office/drawing/2014/main" id="{EBCB70F0-A763-064E-A8A5-45A2072378F1}"/>
                </a:ext>
              </a:extLst>
            </p:cNvPr>
            <p:cNvSpPr/>
            <p:nvPr/>
          </p:nvSpPr>
          <p:spPr bwMode="auto">
            <a:xfrm>
              <a:off x="7351254" y="2696596"/>
              <a:ext cx="755157" cy="81999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02" name="Group 101">
              <a:extLst>
                <a:ext uri="{FF2B5EF4-FFF2-40B4-BE49-F238E27FC236}">
                  <a16:creationId xmlns:a16="http://schemas.microsoft.com/office/drawing/2014/main" id="{6FF3E51C-A5EB-784E-BDB2-BC01184A74A6}"/>
                </a:ext>
              </a:extLst>
            </p:cNvPr>
            <p:cNvGrpSpPr/>
            <p:nvPr/>
          </p:nvGrpSpPr>
          <p:grpSpPr>
            <a:xfrm>
              <a:off x="7450881" y="2734966"/>
              <a:ext cx="502768" cy="537601"/>
              <a:chOff x="8882196" y="3721867"/>
              <a:chExt cx="285941" cy="305752"/>
            </a:xfrm>
            <a:solidFill>
              <a:schemeClr val="bg1"/>
            </a:solidFill>
          </p:grpSpPr>
          <p:sp>
            <p:nvSpPr>
              <p:cNvPr id="103" name="Rectangle 102">
                <a:extLst>
                  <a:ext uri="{FF2B5EF4-FFF2-40B4-BE49-F238E27FC236}">
                    <a16:creationId xmlns:a16="http://schemas.microsoft.com/office/drawing/2014/main" id="{29103002-45A3-794D-B381-6561AF9DE502}"/>
                  </a:ext>
                </a:extLst>
              </p:cNvPr>
              <p:cNvSpPr/>
              <p:nvPr/>
            </p:nvSpPr>
            <p:spPr bwMode="auto">
              <a:xfrm>
                <a:off x="8901347" y="3950022"/>
                <a:ext cx="247639" cy="77597"/>
              </a:xfrm>
              <a:prstGeom prst="rect">
                <a:avLst/>
              </a:prstGeom>
              <a:grp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Freeform 123">
                <a:extLst>
                  <a:ext uri="{FF2B5EF4-FFF2-40B4-BE49-F238E27FC236}">
                    <a16:creationId xmlns:a16="http://schemas.microsoft.com/office/drawing/2014/main" id="{92410C45-1FE9-9A4A-977F-E7F17498C94E}"/>
                  </a:ext>
                </a:extLst>
              </p:cNvPr>
              <p:cNvSpPr/>
              <p:nvPr/>
            </p:nvSpPr>
            <p:spPr bwMode="auto">
              <a:xfrm>
                <a:off x="8882196" y="3721867"/>
                <a:ext cx="180942" cy="305752"/>
              </a:xfrm>
              <a:custGeom>
                <a:avLst/>
                <a:gdLst>
                  <a:gd name="connsiteX0" fmla="*/ 1641764 w 2847109"/>
                  <a:gd name="connsiteY0" fmla="*/ 0 h 4810991"/>
                  <a:gd name="connsiteX1" fmla="*/ 2847109 w 2847109"/>
                  <a:gd name="connsiteY1" fmla="*/ 0 h 4810991"/>
                  <a:gd name="connsiteX2" fmla="*/ 2847109 w 2847109"/>
                  <a:gd name="connsiteY2" fmla="*/ 1797627 h 4810991"/>
                  <a:gd name="connsiteX3" fmla="*/ 290946 w 2847109"/>
                  <a:gd name="connsiteY3" fmla="*/ 4810991 h 4810991"/>
                  <a:gd name="connsiteX4" fmla="*/ 0 w 2847109"/>
                  <a:gd name="connsiteY4" fmla="*/ 3647209 h 4810991"/>
                  <a:gd name="connsiteX5" fmla="*/ 1662546 w 2847109"/>
                  <a:gd name="connsiteY5" fmla="*/ 1787236 h 4810991"/>
                  <a:gd name="connsiteX6" fmla="*/ 1641764 w 2847109"/>
                  <a:gd name="connsiteY6" fmla="*/ 0 h 481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7109" h="4810991">
                    <a:moveTo>
                      <a:pt x="1641764" y="0"/>
                    </a:moveTo>
                    <a:lnTo>
                      <a:pt x="2847109" y="0"/>
                    </a:lnTo>
                    <a:lnTo>
                      <a:pt x="2847109" y="1797627"/>
                    </a:lnTo>
                    <a:lnTo>
                      <a:pt x="290946" y="4810991"/>
                    </a:lnTo>
                    <a:lnTo>
                      <a:pt x="0" y="3647209"/>
                    </a:lnTo>
                    <a:lnTo>
                      <a:pt x="1662546" y="1787236"/>
                    </a:lnTo>
                    <a:lnTo>
                      <a:pt x="1641764" y="0"/>
                    </a:lnTo>
                    <a:close/>
                  </a:path>
                </a:pathLst>
              </a:custGeom>
              <a:grp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Freeform 124">
                <a:extLst>
                  <a:ext uri="{FF2B5EF4-FFF2-40B4-BE49-F238E27FC236}">
                    <a16:creationId xmlns:a16="http://schemas.microsoft.com/office/drawing/2014/main" id="{32F0047F-A3AB-0C4F-9E97-58B9B1861526}"/>
                  </a:ext>
                </a:extLst>
              </p:cNvPr>
              <p:cNvSpPr/>
              <p:nvPr/>
            </p:nvSpPr>
            <p:spPr bwMode="auto">
              <a:xfrm>
                <a:off x="9035402" y="3857904"/>
                <a:ext cx="132735" cy="169715"/>
              </a:xfrm>
              <a:custGeom>
                <a:avLst/>
                <a:gdLst>
                  <a:gd name="connsiteX0" fmla="*/ 0 w 2088573"/>
                  <a:gd name="connsiteY0" fmla="*/ 883227 h 2670464"/>
                  <a:gd name="connsiteX1" fmla="*/ 737755 w 2088573"/>
                  <a:gd name="connsiteY1" fmla="*/ 0 h 2670464"/>
                  <a:gd name="connsiteX2" fmla="*/ 2088573 w 2088573"/>
                  <a:gd name="connsiteY2" fmla="*/ 1517073 h 2670464"/>
                  <a:gd name="connsiteX3" fmla="*/ 1797627 w 2088573"/>
                  <a:gd name="connsiteY3" fmla="*/ 2670464 h 2670464"/>
                  <a:gd name="connsiteX4" fmla="*/ 0 w 2088573"/>
                  <a:gd name="connsiteY4" fmla="*/ 883227 h 2670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573" h="2670464">
                    <a:moveTo>
                      <a:pt x="0" y="883227"/>
                    </a:moveTo>
                    <a:lnTo>
                      <a:pt x="737755" y="0"/>
                    </a:lnTo>
                    <a:lnTo>
                      <a:pt x="2088573" y="1517073"/>
                    </a:lnTo>
                    <a:lnTo>
                      <a:pt x="1797627" y="2670464"/>
                    </a:lnTo>
                    <a:lnTo>
                      <a:pt x="0" y="883227"/>
                    </a:lnTo>
                    <a:close/>
                  </a:path>
                </a:pathLst>
              </a:custGeom>
              <a:grp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2" name="Rectangle 121">
              <a:extLst>
                <a:ext uri="{FF2B5EF4-FFF2-40B4-BE49-F238E27FC236}">
                  <a16:creationId xmlns:a16="http://schemas.microsoft.com/office/drawing/2014/main" id="{06D61A00-31E3-6246-957B-E8B13350E3A3}"/>
                </a:ext>
              </a:extLst>
            </p:cNvPr>
            <p:cNvSpPr/>
            <p:nvPr/>
          </p:nvSpPr>
          <p:spPr>
            <a:xfrm>
              <a:off x="7609955" y="2878033"/>
              <a:ext cx="1954683" cy="27699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196"/>
                </a:spcAft>
                <a:buClrTx/>
                <a:buSzTx/>
                <a:buFontTx/>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sym typeface="Arial" panose="020B0604020202020204" pitchFamily="34" charset="0"/>
                </a:rPr>
                <a:t>Register model</a:t>
              </a:r>
              <a:endParaRPr kumimoji="0" lang="en-US" sz="1176"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nvGrpSpPr>
          <p:cNvPr id="7" name="Group 6">
            <a:extLst>
              <a:ext uri="{FF2B5EF4-FFF2-40B4-BE49-F238E27FC236}">
                <a16:creationId xmlns:a16="http://schemas.microsoft.com/office/drawing/2014/main" id="{D5776F0B-1EEA-454F-9A2A-50B658AB93BE}"/>
              </a:ext>
            </a:extLst>
          </p:cNvPr>
          <p:cNvGrpSpPr/>
          <p:nvPr/>
        </p:nvGrpSpPr>
        <p:grpSpPr>
          <a:xfrm>
            <a:off x="2900719" y="4308016"/>
            <a:ext cx="2559904" cy="977443"/>
            <a:chOff x="2958884" y="4393903"/>
            <a:chExt cx="2611235" cy="997043"/>
          </a:xfrm>
        </p:grpSpPr>
        <p:sp>
          <p:nvSpPr>
            <p:cNvPr id="170" name="Rectangle 169">
              <a:extLst>
                <a:ext uri="{FF2B5EF4-FFF2-40B4-BE49-F238E27FC236}">
                  <a16:creationId xmlns:a16="http://schemas.microsoft.com/office/drawing/2014/main" id="{07F5F7E6-3287-5543-9F24-6CB65FBBCDB3}"/>
                </a:ext>
              </a:extLst>
            </p:cNvPr>
            <p:cNvSpPr/>
            <p:nvPr/>
          </p:nvSpPr>
          <p:spPr bwMode="auto">
            <a:xfrm>
              <a:off x="3739453" y="4393903"/>
              <a:ext cx="1830666" cy="9970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Freeform 146">
              <a:extLst>
                <a:ext uri="{FF2B5EF4-FFF2-40B4-BE49-F238E27FC236}">
                  <a16:creationId xmlns:a16="http://schemas.microsoft.com/office/drawing/2014/main" id="{02276E7C-646F-BC40-B045-726FB1B1244E}"/>
                </a:ext>
              </a:extLst>
            </p:cNvPr>
            <p:cNvSpPr>
              <a:spLocks noChangeAspect="1"/>
            </p:cNvSpPr>
            <p:nvPr/>
          </p:nvSpPr>
          <p:spPr bwMode="auto">
            <a:xfrm>
              <a:off x="3986030" y="4565713"/>
              <a:ext cx="374249" cy="23701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IN" sz="1922"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126" name="Group 125">
              <a:extLst>
                <a:ext uri="{FF2B5EF4-FFF2-40B4-BE49-F238E27FC236}">
                  <a16:creationId xmlns:a16="http://schemas.microsoft.com/office/drawing/2014/main" id="{D4AAC330-87DA-814C-81E2-C91490C4E019}"/>
                </a:ext>
              </a:extLst>
            </p:cNvPr>
            <p:cNvGrpSpPr/>
            <p:nvPr/>
          </p:nvGrpSpPr>
          <p:grpSpPr>
            <a:xfrm>
              <a:off x="5066083" y="4544840"/>
              <a:ext cx="310968" cy="277889"/>
              <a:chOff x="1275510" y="6073983"/>
              <a:chExt cx="508602" cy="454499"/>
            </a:xfrm>
          </p:grpSpPr>
          <p:grpSp>
            <p:nvGrpSpPr>
              <p:cNvPr id="127" name="Group 126">
                <a:extLst>
                  <a:ext uri="{FF2B5EF4-FFF2-40B4-BE49-F238E27FC236}">
                    <a16:creationId xmlns:a16="http://schemas.microsoft.com/office/drawing/2014/main" id="{6742E77D-416C-654C-80F7-9498105A7A41}"/>
                  </a:ext>
                </a:extLst>
              </p:cNvPr>
              <p:cNvGrpSpPr/>
              <p:nvPr/>
            </p:nvGrpSpPr>
            <p:grpSpPr>
              <a:xfrm>
                <a:off x="1275510" y="6224584"/>
                <a:ext cx="508602" cy="151498"/>
                <a:chOff x="551886" y="4945335"/>
                <a:chExt cx="508602" cy="151498"/>
              </a:xfrm>
            </p:grpSpPr>
            <p:sp>
              <p:nvSpPr>
                <p:cNvPr id="136" name="Rectangle 135">
                  <a:extLst>
                    <a:ext uri="{FF2B5EF4-FFF2-40B4-BE49-F238E27FC236}">
                      <a16:creationId xmlns:a16="http://schemas.microsoft.com/office/drawing/2014/main" id="{7ED10CC8-E2D8-A34B-8AB9-2514CF870E22}"/>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BE663349-FDAE-F04C-A1AD-5A94BB662251}"/>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8" name="Straight Connector 137">
                  <a:extLst>
                    <a:ext uri="{FF2B5EF4-FFF2-40B4-BE49-F238E27FC236}">
                      <a16:creationId xmlns:a16="http://schemas.microsoft.com/office/drawing/2014/main" id="{5487E2B3-B9A8-CA4A-BD47-3961DF3519ED}"/>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8" name="Group 127">
                <a:extLst>
                  <a:ext uri="{FF2B5EF4-FFF2-40B4-BE49-F238E27FC236}">
                    <a16:creationId xmlns:a16="http://schemas.microsoft.com/office/drawing/2014/main" id="{699B8438-6467-0C42-AEA4-980F21622EDF}"/>
                  </a:ext>
                </a:extLst>
              </p:cNvPr>
              <p:cNvGrpSpPr/>
              <p:nvPr/>
            </p:nvGrpSpPr>
            <p:grpSpPr>
              <a:xfrm>
                <a:off x="1275510" y="6376984"/>
                <a:ext cx="508602" cy="151498"/>
                <a:chOff x="551886" y="4945335"/>
                <a:chExt cx="508602" cy="151498"/>
              </a:xfrm>
            </p:grpSpPr>
            <p:sp>
              <p:nvSpPr>
                <p:cNvPr id="133" name="Rectangle 132">
                  <a:extLst>
                    <a:ext uri="{FF2B5EF4-FFF2-40B4-BE49-F238E27FC236}">
                      <a16:creationId xmlns:a16="http://schemas.microsoft.com/office/drawing/2014/main" id="{480AC11F-337E-8D42-8164-1F01E49ECEC5}"/>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Oval 133">
                  <a:extLst>
                    <a:ext uri="{FF2B5EF4-FFF2-40B4-BE49-F238E27FC236}">
                      <a16:creationId xmlns:a16="http://schemas.microsoft.com/office/drawing/2014/main" id="{68EC219D-EA06-244A-B4D7-0F902C1F9D29}"/>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5" name="Straight Connector 134">
                  <a:extLst>
                    <a:ext uri="{FF2B5EF4-FFF2-40B4-BE49-F238E27FC236}">
                      <a16:creationId xmlns:a16="http://schemas.microsoft.com/office/drawing/2014/main" id="{3B613F57-61CD-134C-B010-2F419173026D}"/>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9" name="Group 128">
                <a:extLst>
                  <a:ext uri="{FF2B5EF4-FFF2-40B4-BE49-F238E27FC236}">
                    <a16:creationId xmlns:a16="http://schemas.microsoft.com/office/drawing/2014/main" id="{E8B522B8-4B3B-EC4B-8465-52998E47AB0D}"/>
                  </a:ext>
                </a:extLst>
              </p:cNvPr>
              <p:cNvGrpSpPr/>
              <p:nvPr/>
            </p:nvGrpSpPr>
            <p:grpSpPr>
              <a:xfrm>
                <a:off x="1275510" y="6073983"/>
                <a:ext cx="508602" cy="151498"/>
                <a:chOff x="551886" y="4947134"/>
                <a:chExt cx="508602" cy="151498"/>
              </a:xfrm>
            </p:grpSpPr>
            <p:sp>
              <p:nvSpPr>
                <p:cNvPr id="130" name="Rectangle 129">
                  <a:extLst>
                    <a:ext uri="{FF2B5EF4-FFF2-40B4-BE49-F238E27FC236}">
                      <a16:creationId xmlns:a16="http://schemas.microsoft.com/office/drawing/2014/main" id="{61449346-A91B-F94D-90D9-49B864F2D14F}"/>
                    </a:ext>
                  </a:extLst>
                </p:cNvPr>
                <p:cNvSpPr/>
                <p:nvPr/>
              </p:nvSpPr>
              <p:spPr bwMode="auto">
                <a:xfrm>
                  <a:off x="551886" y="4947134"/>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296B32A1-5B94-8942-88A1-EBEF310C78DF}"/>
                    </a:ext>
                  </a:extLst>
                </p:cNvPr>
                <p:cNvSpPr/>
                <p:nvPr/>
              </p:nvSpPr>
              <p:spPr bwMode="auto">
                <a:xfrm flipH="1">
                  <a:off x="955040" y="4995439"/>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2" name="Straight Connector 131">
                  <a:extLst>
                    <a:ext uri="{FF2B5EF4-FFF2-40B4-BE49-F238E27FC236}">
                      <a16:creationId xmlns:a16="http://schemas.microsoft.com/office/drawing/2014/main" id="{CAF63FFA-E50F-3B42-9051-CAA30D658E8C}"/>
                    </a:ext>
                  </a:extLst>
                </p:cNvPr>
                <p:cNvCxnSpPr/>
                <p:nvPr/>
              </p:nvCxnSpPr>
              <p:spPr>
                <a:xfrm>
                  <a:off x="625475" y="5021474"/>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39" name="Group 138">
              <a:extLst>
                <a:ext uri="{FF2B5EF4-FFF2-40B4-BE49-F238E27FC236}">
                  <a16:creationId xmlns:a16="http://schemas.microsoft.com/office/drawing/2014/main" id="{31FB534A-FEB8-364D-B0BF-1BBB56D0EB38}"/>
                </a:ext>
              </a:extLst>
            </p:cNvPr>
            <p:cNvGrpSpPr/>
            <p:nvPr/>
          </p:nvGrpSpPr>
          <p:grpSpPr>
            <a:xfrm>
              <a:off x="4457351" y="4530425"/>
              <a:ext cx="428526" cy="355048"/>
              <a:chOff x="1536274" y="4999772"/>
              <a:chExt cx="511270" cy="423604"/>
            </a:xfrm>
          </p:grpSpPr>
          <p:grpSp>
            <p:nvGrpSpPr>
              <p:cNvPr id="140" name="Group 139">
                <a:extLst>
                  <a:ext uri="{FF2B5EF4-FFF2-40B4-BE49-F238E27FC236}">
                    <a16:creationId xmlns:a16="http://schemas.microsoft.com/office/drawing/2014/main" id="{11811C3C-D7FE-DC42-B6A0-0464CE4F2E3C}"/>
                  </a:ext>
                </a:extLst>
              </p:cNvPr>
              <p:cNvGrpSpPr/>
              <p:nvPr/>
            </p:nvGrpSpPr>
            <p:grpSpPr>
              <a:xfrm>
                <a:off x="1536274" y="4999772"/>
                <a:ext cx="391684" cy="311239"/>
                <a:chOff x="1693079" y="4720470"/>
                <a:chExt cx="391684" cy="311239"/>
              </a:xfrm>
            </p:grpSpPr>
            <p:grpSp>
              <p:nvGrpSpPr>
                <p:cNvPr id="152" name="Group 151">
                  <a:extLst>
                    <a:ext uri="{FF2B5EF4-FFF2-40B4-BE49-F238E27FC236}">
                      <a16:creationId xmlns:a16="http://schemas.microsoft.com/office/drawing/2014/main" id="{0D6DC66A-DACF-6D43-B7EB-1844975A960F}"/>
                    </a:ext>
                  </a:extLst>
                </p:cNvPr>
                <p:cNvGrpSpPr/>
                <p:nvPr/>
              </p:nvGrpSpPr>
              <p:grpSpPr>
                <a:xfrm>
                  <a:off x="1725801" y="4753364"/>
                  <a:ext cx="326240" cy="231386"/>
                  <a:chOff x="992778" y="1508263"/>
                  <a:chExt cx="2777318" cy="1969814"/>
                </a:xfrm>
              </p:grpSpPr>
              <p:sp useBgFill="1">
                <p:nvSpPr>
                  <p:cNvPr id="154" name="Freeform 52">
                    <a:extLst>
                      <a:ext uri="{FF2B5EF4-FFF2-40B4-BE49-F238E27FC236}">
                        <a16:creationId xmlns:a16="http://schemas.microsoft.com/office/drawing/2014/main" id="{1594499F-961F-114C-9B0B-1E0CBBF05503}"/>
                      </a:ext>
                    </a:extLst>
                  </p:cNvPr>
                  <p:cNvSpPr>
                    <a:spLocks noChangeArrowheads="1"/>
                  </p:cNvSpPr>
                  <p:nvPr/>
                </p:nvSpPr>
                <p:spPr bwMode="auto">
                  <a:xfrm>
                    <a:off x="992778" y="1508263"/>
                    <a:ext cx="2777318" cy="1969814"/>
                  </a:xfrm>
                  <a:custGeom>
                    <a:avLst/>
                    <a:gdLst>
                      <a:gd name="T0" fmla="*/ 1249 w 2500"/>
                      <a:gd name="T1" fmla="*/ 1577 h 1578"/>
                      <a:gd name="T2" fmla="*/ 0 w 2500"/>
                      <a:gd name="T3" fmla="*/ 1577 h 1578"/>
                      <a:gd name="T4" fmla="*/ 0 w 2500"/>
                      <a:gd name="T5" fmla="*/ 0 h 1578"/>
                      <a:gd name="T6" fmla="*/ 2499 w 2500"/>
                      <a:gd name="T7" fmla="*/ 0 h 1578"/>
                      <a:gd name="T8" fmla="*/ 2499 w 2500"/>
                      <a:gd name="T9" fmla="*/ 1577 h 1578"/>
                      <a:gd name="T10" fmla="*/ 1249 w 2500"/>
                      <a:gd name="T11" fmla="*/ 1577 h 1578"/>
                    </a:gdLst>
                    <a:ahLst/>
                    <a:cxnLst>
                      <a:cxn ang="0">
                        <a:pos x="T0" y="T1"/>
                      </a:cxn>
                      <a:cxn ang="0">
                        <a:pos x="T2" y="T3"/>
                      </a:cxn>
                      <a:cxn ang="0">
                        <a:pos x="T4" y="T5"/>
                      </a:cxn>
                      <a:cxn ang="0">
                        <a:pos x="T6" y="T7"/>
                      </a:cxn>
                      <a:cxn ang="0">
                        <a:pos x="T8" y="T9"/>
                      </a:cxn>
                      <a:cxn ang="0">
                        <a:pos x="T10" y="T11"/>
                      </a:cxn>
                    </a:cxnLst>
                    <a:rect l="0" t="0" r="r" b="b"/>
                    <a:pathLst>
                      <a:path w="2500" h="1578">
                        <a:moveTo>
                          <a:pt x="1249" y="1577"/>
                        </a:moveTo>
                        <a:lnTo>
                          <a:pt x="0" y="1577"/>
                        </a:lnTo>
                        <a:lnTo>
                          <a:pt x="0" y="0"/>
                        </a:lnTo>
                        <a:lnTo>
                          <a:pt x="2499" y="0"/>
                        </a:lnTo>
                        <a:lnTo>
                          <a:pt x="2499" y="1577"/>
                        </a:lnTo>
                        <a:lnTo>
                          <a:pt x="1249" y="1577"/>
                        </a:lnTo>
                      </a:path>
                    </a:pathLst>
                  </a:custGeom>
                  <a:ln w="12700" cap="sq">
                    <a:solidFill>
                      <a:schemeClr val="tx2"/>
                    </a:solidFill>
                    <a:miter lim="800000"/>
                    <a:headEnd/>
                    <a:tailEnd/>
                  </a:ln>
                  <a:effec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55" name="Line 54">
                    <a:extLst>
                      <a:ext uri="{FF2B5EF4-FFF2-40B4-BE49-F238E27FC236}">
                        <a16:creationId xmlns:a16="http://schemas.microsoft.com/office/drawing/2014/main" id="{3FDF6477-6053-724B-A1E1-6711F04D8E83}"/>
                      </a:ext>
                    </a:extLst>
                  </p:cNvPr>
                  <p:cNvSpPr>
                    <a:spLocks noChangeShapeType="1"/>
                  </p:cNvSpPr>
                  <p:nvPr/>
                </p:nvSpPr>
                <p:spPr bwMode="auto">
                  <a:xfrm flipH="1">
                    <a:off x="2619004" y="2828347"/>
                    <a:ext cx="935572" cy="0"/>
                  </a:xfrm>
                  <a:prstGeom prst="line">
                    <a:avLst/>
                  </a:prstGeom>
                  <a:ln w="12700" cap="sq">
                    <a:solidFill>
                      <a:schemeClr val="tx2"/>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56" name="Line 55">
                    <a:extLst>
                      <a:ext uri="{FF2B5EF4-FFF2-40B4-BE49-F238E27FC236}">
                        <a16:creationId xmlns:a16="http://schemas.microsoft.com/office/drawing/2014/main" id="{167EA35D-C328-D344-BE53-21617AC8C45C}"/>
                      </a:ext>
                    </a:extLst>
                  </p:cNvPr>
                  <p:cNvSpPr>
                    <a:spLocks noChangeShapeType="1"/>
                  </p:cNvSpPr>
                  <p:nvPr/>
                </p:nvSpPr>
                <p:spPr bwMode="auto">
                  <a:xfrm flipH="1">
                    <a:off x="3123527" y="3026726"/>
                    <a:ext cx="431049" cy="0"/>
                  </a:xfrm>
                  <a:prstGeom prst="line">
                    <a:avLst/>
                  </a:prstGeom>
                  <a:ln w="12700" cap="sq">
                    <a:solidFill>
                      <a:schemeClr val="tx2"/>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57" name="Line 56">
                    <a:extLst>
                      <a:ext uri="{FF2B5EF4-FFF2-40B4-BE49-F238E27FC236}">
                        <a16:creationId xmlns:a16="http://schemas.microsoft.com/office/drawing/2014/main" id="{B076C072-0321-C545-A9FD-5E6FA4103DBA}"/>
                      </a:ext>
                    </a:extLst>
                  </p:cNvPr>
                  <p:cNvSpPr>
                    <a:spLocks noChangeShapeType="1"/>
                  </p:cNvSpPr>
                  <p:nvPr/>
                </p:nvSpPr>
                <p:spPr bwMode="auto">
                  <a:xfrm flipH="1">
                    <a:off x="2619004" y="2629966"/>
                    <a:ext cx="935572" cy="0"/>
                  </a:xfrm>
                  <a:prstGeom prst="line">
                    <a:avLst/>
                  </a:prstGeom>
                  <a:ln w="12700" cap="sq">
                    <a:solidFill>
                      <a:schemeClr val="tx2"/>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58" name="Freeform 57">
                    <a:extLst>
                      <a:ext uri="{FF2B5EF4-FFF2-40B4-BE49-F238E27FC236}">
                        <a16:creationId xmlns:a16="http://schemas.microsoft.com/office/drawing/2014/main" id="{E25BBA5B-4D32-1F41-9F37-C2DEE8A67BF9}"/>
                      </a:ext>
                    </a:extLst>
                  </p:cNvPr>
                  <p:cNvSpPr>
                    <a:spLocks noChangeArrowheads="1"/>
                  </p:cNvSpPr>
                  <p:nvPr/>
                </p:nvSpPr>
                <p:spPr bwMode="auto">
                  <a:xfrm>
                    <a:off x="2819836" y="2100952"/>
                    <a:ext cx="298792" cy="298796"/>
                  </a:xfrm>
                  <a:prstGeom prst="ellipse">
                    <a:avLst/>
                  </a:prstGeom>
                  <a:ln w="12700" cap="sq">
                    <a:solidFill>
                      <a:schemeClr val="tx2"/>
                    </a:solidFill>
                    <a:miter lim="800000"/>
                    <a:headEnd/>
                    <a:tailEnd/>
                  </a:ln>
                  <a:effec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59" name="Freeform 58">
                    <a:extLst>
                      <a:ext uri="{FF2B5EF4-FFF2-40B4-BE49-F238E27FC236}">
                        <a16:creationId xmlns:a16="http://schemas.microsoft.com/office/drawing/2014/main" id="{42DD3D4F-6F49-FC40-A4BA-A4204BE3A13A}"/>
                      </a:ext>
                    </a:extLst>
                  </p:cNvPr>
                  <p:cNvSpPr>
                    <a:spLocks noChangeArrowheads="1"/>
                  </p:cNvSpPr>
                  <p:nvPr/>
                </p:nvSpPr>
                <p:spPr bwMode="auto">
                  <a:xfrm>
                    <a:off x="1825483" y="2350766"/>
                    <a:ext cx="298797" cy="298792"/>
                  </a:xfrm>
                  <a:prstGeom prst="ellipse">
                    <a:avLst/>
                  </a:prstGeom>
                  <a:ln w="12700" cap="sq">
                    <a:solidFill>
                      <a:schemeClr val="tx2"/>
                    </a:solidFill>
                    <a:miter lim="800000"/>
                    <a:headEnd/>
                    <a:tailEnd/>
                  </a:ln>
                  <a:effec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60" name="Freeform 59">
                    <a:extLst>
                      <a:ext uri="{FF2B5EF4-FFF2-40B4-BE49-F238E27FC236}">
                        <a16:creationId xmlns:a16="http://schemas.microsoft.com/office/drawing/2014/main" id="{1FCBF26A-E370-7E4A-B0ED-6A8297098179}"/>
                      </a:ext>
                    </a:extLst>
                  </p:cNvPr>
                  <p:cNvSpPr>
                    <a:spLocks noChangeArrowheads="1"/>
                  </p:cNvSpPr>
                  <p:nvPr/>
                </p:nvSpPr>
                <p:spPr bwMode="auto">
                  <a:xfrm>
                    <a:off x="1325860" y="1851143"/>
                    <a:ext cx="298797" cy="298792"/>
                  </a:xfrm>
                  <a:prstGeom prst="ellipse">
                    <a:avLst/>
                  </a:prstGeom>
                  <a:ln w="12700" cap="sq">
                    <a:solidFill>
                      <a:schemeClr val="tx2"/>
                    </a:solidFill>
                    <a:miter lim="800000"/>
                    <a:headEnd/>
                    <a:tailEnd/>
                  </a:ln>
                  <a:effec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61" name="Freeform 60">
                    <a:extLst>
                      <a:ext uri="{FF2B5EF4-FFF2-40B4-BE49-F238E27FC236}">
                        <a16:creationId xmlns:a16="http://schemas.microsoft.com/office/drawing/2014/main" id="{B9D3FF09-BA8E-E34B-BD43-91289589443F}"/>
                      </a:ext>
                    </a:extLst>
                  </p:cNvPr>
                  <p:cNvSpPr>
                    <a:spLocks noChangeArrowheads="1"/>
                  </p:cNvSpPr>
                  <p:nvPr/>
                </p:nvSpPr>
                <p:spPr bwMode="auto">
                  <a:xfrm>
                    <a:off x="2472058" y="1753178"/>
                    <a:ext cx="298797" cy="298792"/>
                  </a:xfrm>
                  <a:prstGeom prst="ellipse">
                    <a:avLst/>
                  </a:prstGeom>
                  <a:ln w="12700" cap="sq">
                    <a:solidFill>
                      <a:schemeClr val="tx2"/>
                    </a:solidFill>
                    <a:miter lim="800000"/>
                    <a:headEnd/>
                    <a:tailEnd/>
                  </a:ln>
                  <a:effec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62" name="Freeform 61">
                    <a:extLst>
                      <a:ext uri="{FF2B5EF4-FFF2-40B4-BE49-F238E27FC236}">
                        <a16:creationId xmlns:a16="http://schemas.microsoft.com/office/drawing/2014/main" id="{BE80E2B4-1476-F742-94AF-44F47FC5D2A2}"/>
                      </a:ext>
                    </a:extLst>
                  </p:cNvPr>
                  <p:cNvSpPr>
                    <a:spLocks noChangeArrowheads="1"/>
                  </p:cNvSpPr>
                  <p:nvPr/>
                </p:nvSpPr>
                <p:spPr bwMode="auto">
                  <a:xfrm>
                    <a:off x="3172509" y="1753178"/>
                    <a:ext cx="298792" cy="298792"/>
                  </a:xfrm>
                  <a:prstGeom prst="ellipse">
                    <a:avLst/>
                  </a:prstGeom>
                  <a:ln w="12700" cap="sq">
                    <a:solidFill>
                      <a:schemeClr val="tx2"/>
                    </a:solidFill>
                    <a:miter lim="800000"/>
                    <a:headEnd/>
                    <a:tailEnd/>
                  </a:ln>
                  <a:effec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Arial" charset="0"/>
                      <a:ea typeface="Arial" charset="0"/>
                      <a:cs typeface="Arial" charset="0"/>
                    </a:endParaRPr>
                  </a:p>
                </p:txBody>
              </p:sp>
              <p:cxnSp>
                <p:nvCxnSpPr>
                  <p:cNvPr id="163" name="Straight Connector 162">
                    <a:extLst>
                      <a:ext uri="{FF2B5EF4-FFF2-40B4-BE49-F238E27FC236}">
                        <a16:creationId xmlns:a16="http://schemas.microsoft.com/office/drawing/2014/main" id="{AA306AA0-0EA8-2D4A-A393-22A8AE4AC5D4}"/>
                      </a:ext>
                    </a:extLst>
                  </p:cNvPr>
                  <p:cNvCxnSpPr>
                    <a:stCxn id="161" idx="3"/>
                    <a:endCxn id="159" idx="7"/>
                  </p:cNvCxnSpPr>
                  <p:nvPr/>
                </p:nvCxnSpPr>
                <p:spPr>
                  <a:xfrm flipH="1">
                    <a:off x="2080522" y="2008213"/>
                    <a:ext cx="435294" cy="38631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D154A1DC-585B-1D4E-B94C-99B59046A52E}"/>
                      </a:ext>
                    </a:extLst>
                  </p:cNvPr>
                  <p:cNvCxnSpPr>
                    <a:cxnSpLocks/>
                    <a:stCxn id="160" idx="5"/>
                    <a:endCxn id="159" idx="1"/>
                  </p:cNvCxnSpPr>
                  <p:nvPr/>
                </p:nvCxnSpPr>
                <p:spPr>
                  <a:xfrm>
                    <a:off x="1580899" y="2106178"/>
                    <a:ext cx="288342" cy="288345"/>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3B9F3380-A253-D148-9D11-F07A84FBA33D}"/>
                      </a:ext>
                    </a:extLst>
                  </p:cNvPr>
                  <p:cNvCxnSpPr>
                    <a:cxnSpLocks/>
                    <a:stCxn id="161" idx="5"/>
                    <a:endCxn id="158" idx="1"/>
                  </p:cNvCxnSpPr>
                  <p:nvPr/>
                </p:nvCxnSpPr>
                <p:spPr>
                  <a:xfrm>
                    <a:off x="2727097" y="2008213"/>
                    <a:ext cx="136496" cy="136497"/>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6BB60E06-0C21-BF4B-B653-923A657B981B}"/>
                      </a:ext>
                    </a:extLst>
                  </p:cNvPr>
                  <p:cNvCxnSpPr>
                    <a:cxnSpLocks/>
                    <a:stCxn id="158" idx="7"/>
                    <a:endCxn id="162" idx="3"/>
                  </p:cNvCxnSpPr>
                  <p:nvPr/>
                </p:nvCxnSpPr>
                <p:spPr>
                  <a:xfrm flipV="1">
                    <a:off x="3074871" y="2008213"/>
                    <a:ext cx="141395" cy="136497"/>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53" name="Rounded Rectangle 152">
                  <a:extLst>
                    <a:ext uri="{FF2B5EF4-FFF2-40B4-BE49-F238E27FC236}">
                      <a16:creationId xmlns:a16="http://schemas.microsoft.com/office/drawing/2014/main" id="{09B7B872-447E-174C-874F-0DBF83930D96}"/>
                    </a:ext>
                  </a:extLst>
                </p:cNvPr>
                <p:cNvSpPr/>
                <p:nvPr/>
              </p:nvSpPr>
              <p:spPr bwMode="auto">
                <a:xfrm>
                  <a:off x="1693079" y="4720470"/>
                  <a:ext cx="391684" cy="311239"/>
                </a:xfrm>
                <a:prstGeom prst="roundRect">
                  <a:avLst>
                    <a:gd name="adj" fmla="val 7486"/>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1" name="Group 140">
                <a:extLst>
                  <a:ext uri="{FF2B5EF4-FFF2-40B4-BE49-F238E27FC236}">
                    <a16:creationId xmlns:a16="http://schemas.microsoft.com/office/drawing/2014/main" id="{184FC3F1-BDE3-0E41-8716-1DF19D2AC182}"/>
                  </a:ext>
                </a:extLst>
              </p:cNvPr>
              <p:cNvGrpSpPr/>
              <p:nvPr/>
            </p:nvGrpSpPr>
            <p:grpSpPr>
              <a:xfrm>
                <a:off x="1736551" y="5158821"/>
                <a:ext cx="310993" cy="264555"/>
                <a:chOff x="2107244" y="1575258"/>
                <a:chExt cx="310993" cy="264555"/>
              </a:xfrm>
            </p:grpSpPr>
            <p:grpSp>
              <p:nvGrpSpPr>
                <p:cNvPr id="142" name="Group 141">
                  <a:extLst>
                    <a:ext uri="{FF2B5EF4-FFF2-40B4-BE49-F238E27FC236}">
                      <a16:creationId xmlns:a16="http://schemas.microsoft.com/office/drawing/2014/main" id="{6FF7B0B4-491C-0B45-9104-03F4430EC040}"/>
                    </a:ext>
                  </a:extLst>
                </p:cNvPr>
                <p:cNvGrpSpPr/>
                <p:nvPr/>
              </p:nvGrpSpPr>
              <p:grpSpPr>
                <a:xfrm>
                  <a:off x="2107244" y="1575258"/>
                  <a:ext cx="310993" cy="264555"/>
                  <a:chOff x="2107244" y="1575258"/>
                  <a:chExt cx="310993" cy="264555"/>
                </a:xfrm>
              </p:grpSpPr>
              <p:sp>
                <p:nvSpPr>
                  <p:cNvPr id="150" name="Rectangle 9">
                    <a:extLst>
                      <a:ext uri="{FF2B5EF4-FFF2-40B4-BE49-F238E27FC236}">
                        <a16:creationId xmlns:a16="http://schemas.microsoft.com/office/drawing/2014/main" id="{44311FDE-608E-544C-8199-2CFA5DD903B0}"/>
                      </a:ext>
                    </a:extLst>
                  </p:cNvPr>
                  <p:cNvSpPr>
                    <a:spLocks noChangeArrowheads="1"/>
                  </p:cNvSpPr>
                  <p:nvPr/>
                </p:nvSpPr>
                <p:spPr bwMode="auto">
                  <a:xfrm>
                    <a:off x="2107244" y="1575258"/>
                    <a:ext cx="310993" cy="264555"/>
                  </a:xfrm>
                  <a:prstGeom prst="rect">
                    <a:avLst/>
                  </a:prstGeom>
                  <a:solidFill>
                    <a:srgbClr val="FFFFFF"/>
                  </a:solidFill>
                  <a:ln w="1270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sp>
                <p:nvSpPr>
                  <p:cNvPr id="151" name="Line 10">
                    <a:extLst>
                      <a:ext uri="{FF2B5EF4-FFF2-40B4-BE49-F238E27FC236}">
                        <a16:creationId xmlns:a16="http://schemas.microsoft.com/office/drawing/2014/main" id="{BD9093A1-0ACF-5847-A685-6A19C2840436}"/>
                      </a:ext>
                    </a:extLst>
                  </p:cNvPr>
                  <p:cNvSpPr>
                    <a:spLocks noChangeShapeType="1"/>
                  </p:cNvSpPr>
                  <p:nvPr/>
                </p:nvSpPr>
                <p:spPr bwMode="auto">
                  <a:xfrm flipH="1">
                    <a:off x="2107244" y="1647026"/>
                    <a:ext cx="31099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143" name="Group 142">
                  <a:extLst>
                    <a:ext uri="{FF2B5EF4-FFF2-40B4-BE49-F238E27FC236}">
                      <a16:creationId xmlns:a16="http://schemas.microsoft.com/office/drawing/2014/main" id="{0E36A0CF-2FAD-A048-B4C4-D74AA379AB31}"/>
                    </a:ext>
                  </a:extLst>
                </p:cNvPr>
                <p:cNvGrpSpPr/>
                <p:nvPr/>
              </p:nvGrpSpPr>
              <p:grpSpPr>
                <a:xfrm>
                  <a:off x="2287367" y="1599181"/>
                  <a:ext cx="95690" cy="23923"/>
                  <a:chOff x="2287367" y="1599181"/>
                  <a:chExt cx="95690" cy="23923"/>
                </a:xfrm>
              </p:grpSpPr>
              <p:sp>
                <p:nvSpPr>
                  <p:cNvPr id="147" name="Oval 11">
                    <a:extLst>
                      <a:ext uri="{FF2B5EF4-FFF2-40B4-BE49-F238E27FC236}">
                        <a16:creationId xmlns:a16="http://schemas.microsoft.com/office/drawing/2014/main" id="{EDCC28E9-354E-8148-8B12-5584CD0511F3}"/>
                      </a:ext>
                    </a:extLst>
                  </p:cNvPr>
                  <p:cNvSpPr>
                    <a:spLocks noChangeArrowheads="1"/>
                  </p:cNvSpPr>
                  <p:nvPr/>
                </p:nvSpPr>
                <p:spPr bwMode="auto">
                  <a:xfrm>
                    <a:off x="2287367" y="1599181"/>
                    <a:ext cx="23923" cy="23923"/>
                  </a:xfrm>
                  <a:prstGeom prst="ellipse">
                    <a:avLst/>
                  </a:prstGeom>
                  <a:solidFill>
                    <a:schemeClr val="tx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sp>
                <p:nvSpPr>
                  <p:cNvPr id="148" name="Oval 12">
                    <a:extLst>
                      <a:ext uri="{FF2B5EF4-FFF2-40B4-BE49-F238E27FC236}">
                        <a16:creationId xmlns:a16="http://schemas.microsoft.com/office/drawing/2014/main" id="{99D6336D-E280-2F47-89C5-EBDD516CC62D}"/>
                      </a:ext>
                    </a:extLst>
                  </p:cNvPr>
                  <p:cNvSpPr>
                    <a:spLocks noChangeArrowheads="1"/>
                  </p:cNvSpPr>
                  <p:nvPr/>
                </p:nvSpPr>
                <p:spPr bwMode="auto">
                  <a:xfrm>
                    <a:off x="2322547" y="1599181"/>
                    <a:ext cx="23923" cy="23923"/>
                  </a:xfrm>
                  <a:prstGeom prst="ellipse">
                    <a:avLst/>
                  </a:prstGeom>
                  <a:solidFill>
                    <a:schemeClr val="tx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sp>
                <p:nvSpPr>
                  <p:cNvPr id="149" name="Oval 13">
                    <a:extLst>
                      <a:ext uri="{FF2B5EF4-FFF2-40B4-BE49-F238E27FC236}">
                        <a16:creationId xmlns:a16="http://schemas.microsoft.com/office/drawing/2014/main" id="{2BE296A9-A0DA-9849-8699-69223251D105}"/>
                      </a:ext>
                    </a:extLst>
                  </p:cNvPr>
                  <p:cNvSpPr>
                    <a:spLocks noChangeArrowheads="1"/>
                  </p:cNvSpPr>
                  <p:nvPr/>
                </p:nvSpPr>
                <p:spPr bwMode="auto">
                  <a:xfrm>
                    <a:off x="2359134" y="1599181"/>
                    <a:ext cx="23923" cy="23923"/>
                  </a:xfrm>
                  <a:prstGeom prst="ellipse">
                    <a:avLst/>
                  </a:prstGeom>
                  <a:solidFill>
                    <a:schemeClr val="tx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144" name="Group 143">
                  <a:extLst>
                    <a:ext uri="{FF2B5EF4-FFF2-40B4-BE49-F238E27FC236}">
                      <a16:creationId xmlns:a16="http://schemas.microsoft.com/office/drawing/2014/main" id="{B6712802-9C4B-8241-B48E-2D67CECB3E2E}"/>
                    </a:ext>
                  </a:extLst>
                </p:cNvPr>
                <p:cNvGrpSpPr/>
                <p:nvPr/>
              </p:nvGrpSpPr>
              <p:grpSpPr>
                <a:xfrm>
                  <a:off x="2202934" y="1701907"/>
                  <a:ext cx="95690" cy="90061"/>
                  <a:chOff x="2202934" y="1701907"/>
                  <a:chExt cx="95690" cy="90061"/>
                </a:xfrm>
              </p:grpSpPr>
              <p:sp>
                <p:nvSpPr>
                  <p:cNvPr id="145" name="Freeform 14">
                    <a:extLst>
                      <a:ext uri="{FF2B5EF4-FFF2-40B4-BE49-F238E27FC236}">
                        <a16:creationId xmlns:a16="http://schemas.microsoft.com/office/drawing/2014/main" id="{054680D8-567B-F84B-A2EA-A61B91D3E12D}"/>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sp>
                <p:nvSpPr>
                  <p:cNvPr id="146" name="Line 15">
                    <a:extLst>
                      <a:ext uri="{FF2B5EF4-FFF2-40B4-BE49-F238E27FC236}">
                        <a16:creationId xmlns:a16="http://schemas.microsoft.com/office/drawing/2014/main" id="{3D79FB50-C8F6-0745-921B-FE9385C2A3FD}"/>
                      </a:ext>
                    </a:extLst>
                  </p:cNvPr>
                  <p:cNvSpPr>
                    <a:spLocks noChangeShapeType="1"/>
                  </p:cNvSpPr>
                  <p:nvPr/>
                </p:nvSpPr>
                <p:spPr bwMode="auto">
                  <a:xfrm>
                    <a:off x="2253117" y="1755381"/>
                    <a:ext cx="0" cy="36587"/>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grpSp>
        </p:grpSp>
        <p:sp>
          <p:nvSpPr>
            <p:cNvPr id="167" name="Rectangle 166">
              <a:extLst>
                <a:ext uri="{FF2B5EF4-FFF2-40B4-BE49-F238E27FC236}">
                  <a16:creationId xmlns:a16="http://schemas.microsoft.com/office/drawing/2014/main" id="{E464F8F9-0EE5-6A47-9084-C8F97117F7F4}"/>
                </a:ext>
              </a:extLst>
            </p:cNvPr>
            <p:cNvSpPr/>
            <p:nvPr/>
          </p:nvSpPr>
          <p:spPr>
            <a:xfrm>
              <a:off x="3855473" y="4866867"/>
              <a:ext cx="617186" cy="230832"/>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loud</a:t>
              </a:r>
            </a:p>
          </p:txBody>
        </p:sp>
        <p:sp>
          <p:nvSpPr>
            <p:cNvPr id="168" name="Rectangle 167">
              <a:extLst>
                <a:ext uri="{FF2B5EF4-FFF2-40B4-BE49-F238E27FC236}">
                  <a16:creationId xmlns:a16="http://schemas.microsoft.com/office/drawing/2014/main" id="{06A752EB-1EC7-024F-9803-3B11718FA41A}"/>
                </a:ext>
              </a:extLst>
            </p:cNvPr>
            <p:cNvSpPr/>
            <p:nvPr/>
          </p:nvSpPr>
          <p:spPr>
            <a:xfrm>
              <a:off x="4425547" y="4866867"/>
              <a:ext cx="617186" cy="369332"/>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ight Edge</a:t>
              </a:r>
            </a:p>
          </p:txBody>
        </p:sp>
        <p:sp>
          <p:nvSpPr>
            <p:cNvPr id="169" name="Rectangle 168">
              <a:extLst>
                <a:ext uri="{FF2B5EF4-FFF2-40B4-BE49-F238E27FC236}">
                  <a16:creationId xmlns:a16="http://schemas.microsoft.com/office/drawing/2014/main" id="{DAE6A36A-9ECF-EC46-9696-65E5E52EE05F}"/>
                </a:ext>
              </a:extLst>
            </p:cNvPr>
            <p:cNvSpPr/>
            <p:nvPr/>
          </p:nvSpPr>
          <p:spPr>
            <a:xfrm>
              <a:off x="4952933" y="4866867"/>
              <a:ext cx="617186" cy="369332"/>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Heavy Edge</a:t>
              </a:r>
            </a:p>
          </p:txBody>
        </p:sp>
        <p:sp>
          <p:nvSpPr>
            <p:cNvPr id="173" name="Rectangle 172">
              <a:extLst>
                <a:ext uri="{FF2B5EF4-FFF2-40B4-BE49-F238E27FC236}">
                  <a16:creationId xmlns:a16="http://schemas.microsoft.com/office/drawing/2014/main" id="{1448EFA3-CF39-6549-B2FB-4D0F7C567377}"/>
                </a:ext>
              </a:extLst>
            </p:cNvPr>
            <p:cNvSpPr/>
            <p:nvPr/>
          </p:nvSpPr>
          <p:spPr>
            <a:xfrm>
              <a:off x="2958884" y="4670362"/>
              <a:ext cx="976239" cy="461665"/>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196"/>
                </a:spcAft>
                <a:buClrTx/>
                <a:buSzTx/>
                <a:buFontTx/>
                <a:buNone/>
                <a:tabLst/>
                <a:defRPr/>
              </a:pPr>
              <a:r>
                <a:rPr kumimoji="0" 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sym typeface="Arial" panose="020B0604020202020204" pitchFamily="34" charset="0"/>
                </a:rPr>
                <a:t>Deploy image</a:t>
              </a:r>
              <a:endParaRPr kumimoji="0" lang="en-US" sz="1176"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cxnSp>
        <p:nvCxnSpPr>
          <p:cNvPr id="13" name="Straight Arrow Connector 12">
            <a:extLst>
              <a:ext uri="{FF2B5EF4-FFF2-40B4-BE49-F238E27FC236}">
                <a16:creationId xmlns:a16="http://schemas.microsoft.com/office/drawing/2014/main" id="{5B79351B-BC6B-4ECB-85F9-F6AF9E577611}"/>
              </a:ext>
            </a:extLst>
          </p:cNvPr>
          <p:cNvCxnSpPr/>
          <p:nvPr/>
        </p:nvCxnSpPr>
        <p:spPr>
          <a:xfrm>
            <a:off x="8026458" y="3489123"/>
            <a:ext cx="0" cy="679142"/>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67FB5661-0ECE-41D1-9D5E-978421C07C6F}"/>
              </a:ext>
            </a:extLst>
          </p:cNvPr>
          <p:cNvCxnSpPr>
            <a:cxnSpLocks/>
          </p:cNvCxnSpPr>
          <p:nvPr/>
        </p:nvCxnSpPr>
        <p:spPr>
          <a:xfrm flipV="1">
            <a:off x="4298745" y="3447953"/>
            <a:ext cx="0" cy="720312"/>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6BB960AE-3216-4AED-8BCD-6902609D39DD}"/>
              </a:ext>
            </a:extLst>
          </p:cNvPr>
          <p:cNvCxnSpPr>
            <a:cxnSpLocks/>
          </p:cNvCxnSpPr>
          <p:nvPr/>
        </p:nvCxnSpPr>
        <p:spPr>
          <a:xfrm flipV="1">
            <a:off x="4247751" y="2064600"/>
            <a:ext cx="695853" cy="460863"/>
          </a:xfrm>
          <a:prstGeom prst="bentConnector3">
            <a:avLst>
              <a:gd name="adj1" fmla="val -993"/>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8" name="Connector: Elbow 177">
            <a:extLst>
              <a:ext uri="{FF2B5EF4-FFF2-40B4-BE49-F238E27FC236}">
                <a16:creationId xmlns:a16="http://schemas.microsoft.com/office/drawing/2014/main" id="{BDF5C554-87BE-4084-A3BA-CA53D890FAAE}"/>
              </a:ext>
            </a:extLst>
          </p:cNvPr>
          <p:cNvCxnSpPr>
            <a:cxnSpLocks/>
          </p:cNvCxnSpPr>
          <p:nvPr/>
        </p:nvCxnSpPr>
        <p:spPr>
          <a:xfrm>
            <a:off x="7398150" y="2038054"/>
            <a:ext cx="609633" cy="525854"/>
          </a:xfrm>
          <a:prstGeom prst="bentConnector3">
            <a:avLst>
              <a:gd name="adj1" fmla="val 100546"/>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1" name="Connector: Elbow 180">
            <a:extLst>
              <a:ext uri="{FF2B5EF4-FFF2-40B4-BE49-F238E27FC236}">
                <a16:creationId xmlns:a16="http://schemas.microsoft.com/office/drawing/2014/main" id="{B7B8E4A8-002A-4F5D-BE60-3B44AB966171}"/>
              </a:ext>
            </a:extLst>
          </p:cNvPr>
          <p:cNvCxnSpPr>
            <a:cxnSpLocks/>
          </p:cNvCxnSpPr>
          <p:nvPr/>
        </p:nvCxnSpPr>
        <p:spPr>
          <a:xfrm rot="5400000">
            <a:off x="7449005" y="5518923"/>
            <a:ext cx="625134" cy="522573"/>
          </a:xfrm>
          <a:prstGeom prst="bentConnector3">
            <a:avLst>
              <a:gd name="adj1" fmla="val 9920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2" name="Connector: Elbow 181">
            <a:extLst>
              <a:ext uri="{FF2B5EF4-FFF2-40B4-BE49-F238E27FC236}">
                <a16:creationId xmlns:a16="http://schemas.microsoft.com/office/drawing/2014/main" id="{87C59888-03BD-4A54-BF92-CAEB118514BF}"/>
              </a:ext>
            </a:extLst>
          </p:cNvPr>
          <p:cNvCxnSpPr>
            <a:cxnSpLocks/>
          </p:cNvCxnSpPr>
          <p:nvPr/>
        </p:nvCxnSpPr>
        <p:spPr>
          <a:xfrm rot="10800000">
            <a:off x="4339346" y="5510348"/>
            <a:ext cx="729208" cy="582430"/>
          </a:xfrm>
          <a:prstGeom prst="bentConnector3">
            <a:avLst>
              <a:gd name="adj1" fmla="val 9994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54251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750"/>
                                        <p:tgtEl>
                                          <p:spTgt spid="3"/>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750"/>
                                        <p:tgtEl>
                                          <p:spTgt spid="4"/>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750"/>
                                        <p:tgtEl>
                                          <p:spTgt spid="9"/>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750"/>
                                        <p:tgtEl>
                                          <p:spTgt spid="7"/>
                                        </p:tgtEl>
                                      </p:cBhvr>
                                    </p:animEffect>
                                  </p:childTnLst>
                                </p:cTn>
                              </p:par>
                            </p:childTnLst>
                          </p:cTn>
                        </p:par>
                        <p:par>
                          <p:cTn id="24" fill="hold">
                            <p:stCondLst>
                              <p:cond delay="3750"/>
                            </p:stCondLst>
                            <p:childTnLst>
                              <p:par>
                                <p:cTn id="25" presetID="10" presetClass="entr" presetSubtype="0"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6669" y="312783"/>
            <a:ext cx="11018520" cy="984885"/>
          </a:xfrm>
        </p:spPr>
        <p:txBody>
          <a:bodyPr/>
          <a:lstStyle/>
          <a:p>
            <a:pPr algn="l"/>
            <a:r>
              <a:rPr lang="en-US" dirty="0"/>
              <a:t>Insight IoT Offer </a:t>
            </a:r>
            <a:br>
              <a:rPr lang="en-US" sz="2800" dirty="0"/>
            </a:br>
            <a:r>
              <a:rPr lang="en-US" sz="2800" spc="-40" dirty="0">
                <a:gradFill>
                  <a:gsLst>
                    <a:gs pos="36713">
                      <a:schemeClr val="accent1"/>
                    </a:gs>
                    <a:gs pos="54000">
                      <a:schemeClr val="accent1"/>
                    </a:gs>
                  </a:gsLst>
                  <a:lin ang="5400000" scaled="0"/>
                </a:gradFill>
              </a:rPr>
              <a:t>Engagement model</a:t>
            </a:r>
          </a:p>
        </p:txBody>
      </p:sp>
      <p:sp>
        <p:nvSpPr>
          <p:cNvPr id="75" name="TextBox 74">
            <a:extLst>
              <a:ext uri="{FF2B5EF4-FFF2-40B4-BE49-F238E27FC236}">
                <a16:creationId xmlns:a16="http://schemas.microsoft.com/office/drawing/2014/main" id="{6422D392-078E-4989-AD8F-08214A2BEADF}"/>
              </a:ext>
            </a:extLst>
          </p:cNvPr>
          <p:cNvSpPr txBox="1"/>
          <p:nvPr/>
        </p:nvSpPr>
        <p:spPr>
          <a:xfrm>
            <a:off x="510854" y="1860772"/>
            <a:ext cx="2637901" cy="548918"/>
          </a:xfrm>
          <a:prstGeom prst="rect">
            <a:avLst/>
          </a:prstGeom>
          <a:noFill/>
          <a:ln w="3175">
            <a:solidFill>
              <a:schemeClr val="bg1">
                <a:lumMod val="75000"/>
              </a:schemeClr>
            </a:solidFill>
          </a:ln>
        </p:spPr>
        <p:txBody>
          <a:bodyPr wrap="square" lIns="91427" tIns="45713" rIns="91427" bIns="45713" rtlCol="0" anchor="ctr" anchorCtr="0">
            <a:no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Sprint</a:t>
            </a:r>
            <a:r>
              <a:rPr lang="en-US" sz="1400" dirty="0">
                <a:solidFill>
                  <a:srgbClr val="1A1A1A"/>
                </a:solidFill>
                <a:latin typeface="Segoe UI"/>
              </a:rPr>
              <a:t> 0</a:t>
            </a:r>
            <a:endParaRPr kumimoji="0" lang="en-US" sz="1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6" name="TextBox 75">
            <a:extLst>
              <a:ext uri="{FF2B5EF4-FFF2-40B4-BE49-F238E27FC236}">
                <a16:creationId xmlns:a16="http://schemas.microsoft.com/office/drawing/2014/main" id="{01A81E68-EF05-459D-B9F7-2022AF1B7AF4}"/>
              </a:ext>
            </a:extLst>
          </p:cNvPr>
          <p:cNvSpPr txBox="1"/>
          <p:nvPr/>
        </p:nvSpPr>
        <p:spPr>
          <a:xfrm>
            <a:off x="3306495" y="1860772"/>
            <a:ext cx="5418868" cy="548918"/>
          </a:xfrm>
          <a:prstGeom prst="rect">
            <a:avLst/>
          </a:prstGeom>
          <a:noFill/>
          <a:ln w="3175">
            <a:solidFill>
              <a:schemeClr val="bg1">
                <a:lumMod val="75000"/>
              </a:schemeClr>
            </a:solidFill>
          </a:ln>
        </p:spPr>
        <p:txBody>
          <a:bodyPr wrap="square" lIns="91427" tIns="45713" rIns="91427" bIns="45713" rtlCol="0" anchor="ctr" anchorCtr="0">
            <a:no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Sprint 1 and 2 </a:t>
            </a:r>
          </a:p>
        </p:txBody>
      </p:sp>
      <p:sp>
        <p:nvSpPr>
          <p:cNvPr id="79" name="TextBox 78">
            <a:extLst>
              <a:ext uri="{FF2B5EF4-FFF2-40B4-BE49-F238E27FC236}">
                <a16:creationId xmlns:a16="http://schemas.microsoft.com/office/drawing/2014/main" id="{B6244BC8-C7A3-4612-B812-2B7E5A7E13F6}"/>
              </a:ext>
            </a:extLst>
          </p:cNvPr>
          <p:cNvSpPr txBox="1"/>
          <p:nvPr/>
        </p:nvSpPr>
        <p:spPr>
          <a:xfrm>
            <a:off x="8906219" y="1860772"/>
            <a:ext cx="2626999" cy="548918"/>
          </a:xfrm>
          <a:prstGeom prst="rect">
            <a:avLst/>
          </a:prstGeom>
          <a:noFill/>
          <a:ln w="3175">
            <a:solidFill>
              <a:schemeClr val="bg1">
                <a:lumMod val="75000"/>
              </a:schemeClr>
            </a:solidFill>
          </a:ln>
        </p:spPr>
        <p:txBody>
          <a:bodyPr wrap="square" lIns="91427" tIns="45713" rIns="91427" bIns="45713" rtlCol="0" anchor="ctr" anchorCtr="0">
            <a:no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Sprint 3</a:t>
            </a:r>
          </a:p>
        </p:txBody>
      </p:sp>
      <p:sp>
        <p:nvSpPr>
          <p:cNvPr id="85" name="Arrow: Pentagon 84">
            <a:extLst>
              <a:ext uri="{FF2B5EF4-FFF2-40B4-BE49-F238E27FC236}">
                <a16:creationId xmlns:a16="http://schemas.microsoft.com/office/drawing/2014/main" id="{F74B94D8-CEA0-44FA-8189-DE32C78F8C44}"/>
              </a:ext>
            </a:extLst>
          </p:cNvPr>
          <p:cNvSpPr/>
          <p:nvPr/>
        </p:nvSpPr>
        <p:spPr bwMode="auto">
          <a:xfrm>
            <a:off x="510855" y="1422028"/>
            <a:ext cx="2799798" cy="443825"/>
          </a:xfrm>
          <a:prstGeom prst="homePlate">
            <a:avLst>
              <a:gd name="adj" fmla="val 3595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537855"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102" rtl="0" eaLnBrk="1" fontAlgn="base" latinLnBrk="0" hangingPunct="1">
              <a:lnSpc>
                <a:spcPct val="100000"/>
              </a:lnSpc>
              <a:spcBef>
                <a:spcPct val="0"/>
              </a:spcBef>
              <a:spcAft>
                <a:spcPct val="0"/>
              </a:spcAft>
              <a:buClrTx/>
              <a:buSzTx/>
              <a:buFontTx/>
              <a:buNone/>
              <a:tabLst/>
              <a:defRPr/>
            </a:pPr>
            <a:r>
              <a:rPr lang="en-IN" sz="1400" dirty="0">
                <a:solidFill>
                  <a:srgbClr val="FFFFFF"/>
                </a:solidFill>
                <a:latin typeface="Segoe UI Semibold" panose="020B0702040204020203" pitchFamily="34" charset="0"/>
                <a:ea typeface="Segoe UI" pitchFamily="34" charset="0"/>
                <a:cs typeface="Segoe UI Semibold" panose="020B0702040204020203" pitchFamily="34" charset="0"/>
              </a:rPr>
              <a:t>Rapid envisioning Workshop</a:t>
            </a:r>
            <a:endParaRPr kumimoji="0" lang="en-IN" sz="14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6" name="TextBox 85">
            <a:extLst>
              <a:ext uri="{FF2B5EF4-FFF2-40B4-BE49-F238E27FC236}">
                <a16:creationId xmlns:a16="http://schemas.microsoft.com/office/drawing/2014/main" id="{629D2E94-A9D6-45D7-BF93-223F930DB938}"/>
              </a:ext>
            </a:extLst>
          </p:cNvPr>
          <p:cNvSpPr txBox="1"/>
          <p:nvPr/>
        </p:nvSpPr>
        <p:spPr>
          <a:xfrm>
            <a:off x="510854" y="4502844"/>
            <a:ext cx="2636221" cy="1733161"/>
          </a:xfrm>
          <a:prstGeom prst="rect">
            <a:avLst/>
          </a:prstGeom>
          <a:noFill/>
          <a:ln w="3175">
            <a:solidFill>
              <a:schemeClr val="bg1">
                <a:lumMod val="75000"/>
              </a:schemeClr>
            </a:solidFill>
          </a:ln>
        </p:spPr>
        <p:txBody>
          <a:bodyPr wrap="square" lIns="91427" tIns="45713" rIns="91427" bIns="45713" rtlCol="0">
            <a:noAutofit/>
          </a:bodyPr>
          <a:lstStyle/>
          <a:p>
            <a:pPr marL="0" marR="0" lvl="0" indent="0" algn="l" defTabSz="914367" rtl="0" eaLnBrk="1" fontAlgn="auto" latinLnBrk="0" hangingPunct="1">
              <a:lnSpc>
                <a:spcPct val="100000"/>
              </a:lnSpc>
              <a:spcBef>
                <a:spcPts val="294"/>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Business Alignment Workshop, Plan</a:t>
            </a:r>
          </a:p>
          <a:p>
            <a:pPr marL="242771" marR="0" lvl="1" indent="-168072"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Identify high-impact business scenario</a:t>
            </a:r>
          </a:p>
          <a:p>
            <a:pPr marL="242771" marR="0" lvl="1" indent="-168072"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Devices, data sources and analytics requirement</a:t>
            </a:r>
          </a:p>
          <a:p>
            <a:pPr marL="242771" marR="0" lvl="1" indent="-168072"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a:p>
            <a:pPr marL="171450" marR="0" lvl="0" indent="-171450"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Vision and Scope sign off</a:t>
            </a:r>
          </a:p>
        </p:txBody>
      </p:sp>
      <p:sp>
        <p:nvSpPr>
          <p:cNvPr id="89" name="TextBox 88">
            <a:extLst>
              <a:ext uri="{FF2B5EF4-FFF2-40B4-BE49-F238E27FC236}">
                <a16:creationId xmlns:a16="http://schemas.microsoft.com/office/drawing/2014/main" id="{6C13D838-836B-454A-ABE3-01284EC1A882}"/>
              </a:ext>
            </a:extLst>
          </p:cNvPr>
          <p:cNvSpPr txBox="1"/>
          <p:nvPr/>
        </p:nvSpPr>
        <p:spPr>
          <a:xfrm>
            <a:off x="510854" y="6322902"/>
            <a:ext cx="2635637" cy="344556"/>
          </a:xfrm>
          <a:prstGeom prst="rect">
            <a:avLst/>
          </a:prstGeom>
          <a:solidFill>
            <a:schemeClr val="bg1">
              <a:lumMod val="85000"/>
            </a:schemeClr>
          </a:solidFill>
          <a:ln w="3175">
            <a:solidFill>
              <a:schemeClr val="bg1">
                <a:lumMod val="85000"/>
              </a:schemeClr>
            </a:solidFill>
          </a:ln>
        </p:spPr>
        <p:txBody>
          <a:bodyPr wrap="square" lIns="91427" tIns="45713" rIns="91427" bIns="45713" rtlCol="0" anchor="ctr" anchorCtr="0">
            <a:no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Two Weeks</a:t>
            </a:r>
          </a:p>
        </p:txBody>
      </p:sp>
      <p:sp>
        <p:nvSpPr>
          <p:cNvPr id="91" name="TextBox 90">
            <a:extLst>
              <a:ext uri="{FF2B5EF4-FFF2-40B4-BE49-F238E27FC236}">
                <a16:creationId xmlns:a16="http://schemas.microsoft.com/office/drawing/2014/main" id="{FB0F9771-14B2-4CD6-81BA-DB39A0A614CB}"/>
              </a:ext>
            </a:extLst>
          </p:cNvPr>
          <p:cNvSpPr txBox="1"/>
          <p:nvPr/>
        </p:nvSpPr>
        <p:spPr>
          <a:xfrm>
            <a:off x="3304792" y="4502844"/>
            <a:ext cx="2641760" cy="1733161"/>
          </a:xfrm>
          <a:prstGeom prst="rect">
            <a:avLst/>
          </a:prstGeom>
          <a:noFill/>
          <a:ln w="3175">
            <a:solidFill>
              <a:schemeClr val="bg1">
                <a:lumMod val="75000"/>
              </a:schemeClr>
            </a:solidFill>
          </a:ln>
        </p:spPr>
        <p:txBody>
          <a:bodyPr wrap="square" lIns="91427" tIns="45713" rIns="91427" bIns="45713" rtlCol="0">
            <a:noAutofit/>
          </a:bodyPr>
          <a:lstStyle/>
          <a:p>
            <a:pPr marL="0" marR="0" lvl="0" indent="0" algn="l" defTabSz="914367" rtl="0" eaLnBrk="1" fontAlgn="auto" latinLnBrk="0" hangingPunct="1">
              <a:lnSpc>
                <a:spcPct val="100000"/>
              </a:lnSpc>
              <a:spcBef>
                <a:spcPts val="294"/>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Design and develop technical architecture</a:t>
            </a:r>
          </a:p>
          <a:p>
            <a:pPr marL="202309" marR="0" lvl="1" indent="-127611"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r>
              <a:rPr lang="en-US" sz="1200" dirty="0">
                <a:solidFill>
                  <a:srgbClr val="1A1A1A"/>
                </a:solidFill>
                <a:latin typeface="Segoe UI"/>
              </a:rPr>
              <a:t>Provision IOT Hub and configure devices</a:t>
            </a:r>
          </a:p>
          <a:p>
            <a:pPr marL="202309" marR="0" lvl="1" indent="-127611"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r>
              <a:rPr lang="en-US" sz="1200" dirty="0">
                <a:solidFill>
                  <a:srgbClr val="1A1A1A"/>
                </a:solidFill>
                <a:latin typeface="Segoe UI"/>
              </a:rPr>
              <a:t>Device master data integration with Azure Data Factory</a:t>
            </a:r>
          </a:p>
          <a:p>
            <a:pPr marL="202309" marR="0" lvl="1" indent="-127611"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r>
              <a:rPr lang="en-US" sz="1200" dirty="0">
                <a:solidFill>
                  <a:srgbClr val="1A1A1A"/>
                </a:solidFill>
                <a:latin typeface="Segoe UI"/>
              </a:rPr>
              <a:t>Build warm and cold path analytical reports</a:t>
            </a:r>
          </a:p>
        </p:txBody>
      </p:sp>
      <p:sp>
        <p:nvSpPr>
          <p:cNvPr id="92" name="TextBox 91">
            <a:extLst>
              <a:ext uri="{FF2B5EF4-FFF2-40B4-BE49-F238E27FC236}">
                <a16:creationId xmlns:a16="http://schemas.microsoft.com/office/drawing/2014/main" id="{B016EBB9-FFF1-4DE5-83DE-9E9CCB774F34}"/>
              </a:ext>
            </a:extLst>
          </p:cNvPr>
          <p:cNvSpPr txBox="1"/>
          <p:nvPr/>
        </p:nvSpPr>
        <p:spPr>
          <a:xfrm>
            <a:off x="3306833" y="6322902"/>
            <a:ext cx="5443616" cy="344556"/>
          </a:xfrm>
          <a:prstGeom prst="rect">
            <a:avLst/>
          </a:prstGeom>
          <a:solidFill>
            <a:schemeClr val="bg1">
              <a:lumMod val="85000"/>
            </a:schemeClr>
          </a:solidFill>
          <a:ln w="3175">
            <a:solidFill>
              <a:schemeClr val="bg1">
                <a:lumMod val="85000"/>
              </a:schemeClr>
            </a:solidFill>
          </a:ln>
        </p:spPr>
        <p:txBody>
          <a:bodyPr wrap="square" lIns="91427" tIns="45713" rIns="91427" bIns="45713" rtlCol="0" anchor="ctr" anchorCtr="0">
            <a:no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Four Weeks</a:t>
            </a:r>
          </a:p>
        </p:txBody>
      </p:sp>
      <p:sp>
        <p:nvSpPr>
          <p:cNvPr id="93" name="Arrow: Chevron 92">
            <a:extLst>
              <a:ext uri="{FF2B5EF4-FFF2-40B4-BE49-F238E27FC236}">
                <a16:creationId xmlns:a16="http://schemas.microsoft.com/office/drawing/2014/main" id="{97A23FCF-35E2-44ED-AAE8-0D9587BDCA45}"/>
              </a:ext>
            </a:extLst>
          </p:cNvPr>
          <p:cNvSpPr/>
          <p:nvPr/>
        </p:nvSpPr>
        <p:spPr bwMode="auto">
          <a:xfrm>
            <a:off x="8900403" y="1422028"/>
            <a:ext cx="2799797" cy="443825"/>
          </a:xfrm>
          <a:prstGeom prst="chevron">
            <a:avLst>
              <a:gd name="adj" fmla="val 36635"/>
            </a:avLst>
          </a:prstGeom>
          <a:solidFill>
            <a:schemeClr val="accent2">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537855"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IN" sz="15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Stabilize &amp; Demonstrate</a:t>
            </a:r>
          </a:p>
        </p:txBody>
      </p:sp>
      <p:sp>
        <p:nvSpPr>
          <p:cNvPr id="102" name="TextBox 101">
            <a:extLst>
              <a:ext uri="{FF2B5EF4-FFF2-40B4-BE49-F238E27FC236}">
                <a16:creationId xmlns:a16="http://schemas.microsoft.com/office/drawing/2014/main" id="{05E13510-41A2-4BDC-8AB0-9EFA73907CE5}"/>
              </a:ext>
            </a:extLst>
          </p:cNvPr>
          <p:cNvSpPr txBox="1"/>
          <p:nvPr/>
        </p:nvSpPr>
        <p:spPr>
          <a:xfrm>
            <a:off x="8896997" y="4502844"/>
            <a:ext cx="2636221" cy="1733161"/>
          </a:xfrm>
          <a:prstGeom prst="rect">
            <a:avLst/>
          </a:prstGeom>
          <a:noFill/>
          <a:ln w="3175">
            <a:solidFill>
              <a:schemeClr val="bg1">
                <a:lumMod val="75000"/>
              </a:schemeClr>
            </a:solidFill>
          </a:ln>
        </p:spPr>
        <p:txBody>
          <a:bodyPr wrap="square" lIns="91427" tIns="45713" rIns="91427" bIns="45713" rtlCol="0">
            <a:noAutofit/>
          </a:bodyPr>
          <a:lstStyle/>
          <a:p>
            <a:pPr marL="171450" marR="0" lvl="0" indent="-171450"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Present pilot results and final demo</a:t>
            </a:r>
          </a:p>
          <a:p>
            <a:pPr marL="171450" marR="0" lvl="0" indent="-171450"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Handover environment</a:t>
            </a:r>
          </a:p>
          <a:p>
            <a:pPr marL="171450" marR="0" lvl="0" indent="-171450"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Sign off</a:t>
            </a:r>
          </a:p>
        </p:txBody>
      </p:sp>
      <p:sp>
        <p:nvSpPr>
          <p:cNvPr id="103" name="TextBox 102">
            <a:extLst>
              <a:ext uri="{FF2B5EF4-FFF2-40B4-BE49-F238E27FC236}">
                <a16:creationId xmlns:a16="http://schemas.microsoft.com/office/drawing/2014/main" id="{21B640A8-0426-4F00-BB36-5F1966B5B0AE}"/>
              </a:ext>
            </a:extLst>
          </p:cNvPr>
          <p:cNvSpPr txBox="1"/>
          <p:nvPr/>
        </p:nvSpPr>
        <p:spPr>
          <a:xfrm>
            <a:off x="8901027" y="6322902"/>
            <a:ext cx="2635636" cy="344556"/>
          </a:xfrm>
          <a:prstGeom prst="rect">
            <a:avLst/>
          </a:prstGeom>
          <a:solidFill>
            <a:schemeClr val="bg1">
              <a:lumMod val="85000"/>
            </a:schemeClr>
          </a:solidFill>
          <a:ln w="3175">
            <a:solidFill>
              <a:schemeClr val="bg1">
                <a:lumMod val="85000"/>
              </a:schemeClr>
            </a:solidFill>
          </a:ln>
        </p:spPr>
        <p:txBody>
          <a:bodyPr wrap="square" lIns="91427" tIns="45713" rIns="91427" bIns="45713" rtlCol="0" anchor="ctr" anchorCtr="0">
            <a:no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Two Weeks</a:t>
            </a:r>
          </a:p>
        </p:txBody>
      </p:sp>
      <p:sp>
        <p:nvSpPr>
          <p:cNvPr id="104" name="Arrow: Chevron 103">
            <a:extLst>
              <a:ext uri="{FF2B5EF4-FFF2-40B4-BE49-F238E27FC236}">
                <a16:creationId xmlns:a16="http://schemas.microsoft.com/office/drawing/2014/main" id="{649FE62B-7AC3-4B20-833E-C4F20C3B9D14}"/>
              </a:ext>
            </a:extLst>
          </p:cNvPr>
          <p:cNvSpPr/>
          <p:nvPr/>
        </p:nvSpPr>
        <p:spPr bwMode="auto">
          <a:xfrm>
            <a:off x="3224484" y="1422028"/>
            <a:ext cx="5678763" cy="443825"/>
          </a:xfrm>
          <a:prstGeom prst="chevron">
            <a:avLst>
              <a:gd name="adj" fmla="val 36635"/>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537855"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 Implement	</a:t>
            </a:r>
          </a:p>
        </p:txBody>
      </p:sp>
      <p:sp>
        <p:nvSpPr>
          <p:cNvPr id="105" name="TextBox 104">
            <a:extLst>
              <a:ext uri="{FF2B5EF4-FFF2-40B4-BE49-F238E27FC236}">
                <a16:creationId xmlns:a16="http://schemas.microsoft.com/office/drawing/2014/main" id="{6485C63C-1260-4678-ADD4-DE306DD9B11E}"/>
              </a:ext>
            </a:extLst>
          </p:cNvPr>
          <p:cNvSpPr txBox="1"/>
          <p:nvPr/>
        </p:nvSpPr>
        <p:spPr>
          <a:xfrm>
            <a:off x="6103281" y="4502844"/>
            <a:ext cx="2636220" cy="1733161"/>
          </a:xfrm>
          <a:prstGeom prst="rect">
            <a:avLst/>
          </a:prstGeom>
          <a:noFill/>
          <a:ln w="3175">
            <a:solidFill>
              <a:schemeClr val="bg1">
                <a:lumMod val="75000"/>
              </a:schemeClr>
            </a:solidFill>
          </a:ln>
        </p:spPr>
        <p:txBody>
          <a:bodyPr wrap="square" lIns="91427" tIns="45713" rIns="0" bIns="45713" rtlCol="0">
            <a:noAutofit/>
          </a:bodyPr>
          <a:lstStyle/>
          <a:p>
            <a:pPr marL="171450" marR="0" lvl="0" indent="-171450"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Develop visualizations</a:t>
            </a:r>
          </a:p>
          <a:p>
            <a:pPr marL="171450" marR="0" lvl="0" indent="-171450"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Develop user portal</a:t>
            </a:r>
          </a:p>
          <a:p>
            <a:pPr marL="0" marR="0" lvl="0" indent="0" algn="l" defTabSz="914367" rtl="0" eaLnBrk="1" fontAlgn="auto" latinLnBrk="0" hangingPunct="1">
              <a:lnSpc>
                <a:spcPct val="100000"/>
              </a:lnSpc>
              <a:spcBef>
                <a:spcPts val="294"/>
              </a:spcBef>
              <a:spcAft>
                <a:spcPts val="0"/>
              </a:spcAft>
              <a:buClrTx/>
              <a:buSzTx/>
              <a:buFontTx/>
              <a:buNone/>
              <a:tabLst/>
              <a:defRPr/>
            </a:pPr>
            <a:endParaRPr kumimoji="0" lang="en-US" sz="12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0" name="Rectangle 109">
            <a:extLst>
              <a:ext uri="{FF2B5EF4-FFF2-40B4-BE49-F238E27FC236}">
                <a16:creationId xmlns:a16="http://schemas.microsoft.com/office/drawing/2014/main" id="{6239F6B1-153C-4AF5-B3C0-7103E07CDEED}"/>
              </a:ext>
            </a:extLst>
          </p:cNvPr>
          <p:cNvSpPr/>
          <p:nvPr/>
        </p:nvSpPr>
        <p:spPr>
          <a:xfrm>
            <a:off x="1847576" y="2462476"/>
            <a:ext cx="1302360" cy="1982440"/>
          </a:xfrm>
          <a:prstGeom prst="rect">
            <a:avLst/>
          </a:prstGeom>
          <a:solidFill>
            <a:schemeClr val="accent1">
              <a:lumMod val="20000"/>
              <a:lumOff val="80000"/>
            </a:schemeClr>
          </a:solidFill>
          <a:ln w="9525" cap="flat" cmpd="sng" algn="ctr">
            <a:noFill/>
            <a:prstDash val="solid"/>
          </a:ln>
          <a:effectLst/>
        </p:spPr>
        <p:txBody>
          <a:bodyPr lIns="89642" tIns="44821" rIns="89642" bIns="44821" rtlCol="0" anchor="t"/>
          <a:lstStyle/>
          <a:p>
            <a:pPr defTabSz="448107">
              <a:defRPr/>
            </a:pPr>
            <a:r>
              <a:rPr lang="en-US" sz="1400" dirty="0">
                <a:solidFill>
                  <a:srgbClr val="1A1A1A"/>
                </a:solidFill>
                <a:latin typeface="Segoe UI"/>
                <a:cs typeface="Segoe UI Light" panose="020B0502040204020203" pitchFamily="34" charset="0"/>
              </a:rPr>
              <a:t>Review data </a:t>
            </a:r>
            <a:r>
              <a:rPr kumimoji="0" lang="en-US"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sources, Sprint planning</a:t>
            </a:r>
            <a:r>
              <a:rPr lang="en-US" sz="1400" dirty="0">
                <a:solidFill>
                  <a:srgbClr val="1A1A1A"/>
                </a:solidFill>
                <a:latin typeface="Segoe UI"/>
                <a:cs typeface="Segoe UI Light" panose="020B0502040204020203" pitchFamily="34" charset="0"/>
              </a:rPr>
              <a:t> </a:t>
            </a:r>
            <a:endParaRPr kumimoji="0" lang="en-US"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endParaRPr>
          </a:p>
        </p:txBody>
      </p:sp>
      <p:sp>
        <p:nvSpPr>
          <p:cNvPr id="111" name="Rectangle 110">
            <a:extLst>
              <a:ext uri="{FF2B5EF4-FFF2-40B4-BE49-F238E27FC236}">
                <a16:creationId xmlns:a16="http://schemas.microsoft.com/office/drawing/2014/main" id="{9AC3BE3C-F35F-41B1-8A6D-84915E303100}"/>
              </a:ext>
            </a:extLst>
          </p:cNvPr>
          <p:cNvSpPr/>
          <p:nvPr/>
        </p:nvSpPr>
        <p:spPr>
          <a:xfrm>
            <a:off x="510270" y="2462476"/>
            <a:ext cx="1302360" cy="1982440"/>
          </a:xfrm>
          <a:prstGeom prst="rect">
            <a:avLst/>
          </a:prstGeom>
          <a:solidFill>
            <a:schemeClr val="accent1">
              <a:lumMod val="20000"/>
              <a:lumOff val="80000"/>
            </a:schemeClr>
          </a:solidFill>
          <a:ln w="9525" cap="flat" cmpd="sng" algn="ctr">
            <a:noFill/>
            <a:prstDash val="solid"/>
          </a:ln>
          <a:effectLst/>
        </p:spPr>
        <p:txBody>
          <a:bodyPr lIns="89642" tIns="44821" rIns="89642" bIns="44821" rtlCol="0" anchor="t"/>
          <a:lstStyle/>
          <a:p>
            <a:pPr marL="0" marR="0" lvl="0" indent="0" algn="l" defTabSz="44810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Identify a high impact business </a:t>
            </a:r>
            <a:br>
              <a:rPr kumimoji="0" lang="en-GB"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br>
            <a:r>
              <a:rPr kumimoji="0" lang="en-GB"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case</a:t>
            </a:r>
          </a:p>
        </p:txBody>
      </p:sp>
      <p:sp>
        <p:nvSpPr>
          <p:cNvPr id="115" name="Rectangle 114">
            <a:extLst>
              <a:ext uri="{FF2B5EF4-FFF2-40B4-BE49-F238E27FC236}">
                <a16:creationId xmlns:a16="http://schemas.microsoft.com/office/drawing/2014/main" id="{E550F8D3-6FFC-45FB-822F-040ADC0EDE9D}"/>
              </a:ext>
            </a:extLst>
          </p:cNvPr>
          <p:cNvSpPr/>
          <p:nvPr/>
        </p:nvSpPr>
        <p:spPr>
          <a:xfrm>
            <a:off x="10234887" y="2462476"/>
            <a:ext cx="1302360" cy="1982440"/>
          </a:xfrm>
          <a:prstGeom prst="rect">
            <a:avLst/>
          </a:prstGeom>
          <a:solidFill>
            <a:srgbClr val="E5EFFF"/>
          </a:solidFill>
          <a:ln w="9525" cap="flat" cmpd="sng" algn="ctr">
            <a:noFill/>
            <a:prstDash val="solid"/>
          </a:ln>
          <a:effectLst/>
        </p:spPr>
        <p:txBody>
          <a:bodyPr lIns="89642" tIns="44821" rIns="89642" bIns="44821" rtlCol="0" anchor="t"/>
          <a:lstStyle/>
          <a:p>
            <a:pPr marL="0" marR="0" lvl="0" indent="0" algn="l" defTabSz="44810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Value realization workshop</a:t>
            </a:r>
          </a:p>
        </p:txBody>
      </p:sp>
      <p:sp>
        <p:nvSpPr>
          <p:cNvPr id="116" name="Rectangle 115">
            <a:extLst>
              <a:ext uri="{FF2B5EF4-FFF2-40B4-BE49-F238E27FC236}">
                <a16:creationId xmlns:a16="http://schemas.microsoft.com/office/drawing/2014/main" id="{18FA8C84-ADBE-471A-893A-2E53CF3DB868}"/>
              </a:ext>
            </a:extLst>
          </p:cNvPr>
          <p:cNvSpPr/>
          <p:nvPr/>
        </p:nvSpPr>
        <p:spPr>
          <a:xfrm>
            <a:off x="8897581" y="2462476"/>
            <a:ext cx="1302360" cy="1982440"/>
          </a:xfrm>
          <a:prstGeom prst="rect">
            <a:avLst/>
          </a:prstGeom>
          <a:solidFill>
            <a:srgbClr val="E5EFFF"/>
          </a:solidFill>
          <a:ln w="9525" cap="flat" cmpd="sng" algn="ctr">
            <a:noFill/>
            <a:prstDash val="solid"/>
          </a:ln>
          <a:effectLst/>
        </p:spPr>
        <p:txBody>
          <a:bodyPr lIns="89642" tIns="44821" rIns="89642" bIns="44821" rtlCol="0" anchor="t"/>
          <a:lstStyle/>
          <a:p>
            <a:pPr marL="0" marR="0" lvl="0" indent="0" algn="l" defTabSz="44810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Stabilize</a:t>
            </a:r>
          </a:p>
        </p:txBody>
      </p:sp>
      <p:sp>
        <p:nvSpPr>
          <p:cNvPr id="118" name="Rectangle 117">
            <a:extLst>
              <a:ext uri="{FF2B5EF4-FFF2-40B4-BE49-F238E27FC236}">
                <a16:creationId xmlns:a16="http://schemas.microsoft.com/office/drawing/2014/main" id="{3E937F89-C98F-44E5-988C-7A3D16B57701}"/>
              </a:ext>
            </a:extLst>
          </p:cNvPr>
          <p:cNvSpPr/>
          <p:nvPr/>
        </p:nvSpPr>
        <p:spPr>
          <a:xfrm>
            <a:off x="5149328" y="2473601"/>
            <a:ext cx="1737360" cy="914400"/>
          </a:xfrm>
          <a:prstGeom prst="rect">
            <a:avLst/>
          </a:prstGeom>
          <a:solidFill>
            <a:srgbClr val="A7D9FF"/>
          </a:solidFill>
          <a:ln w="9525" cap="flat" cmpd="sng" algn="ctr">
            <a:noFill/>
            <a:prstDash val="solid"/>
          </a:ln>
          <a:effectLst/>
        </p:spPr>
        <p:txBody>
          <a:bodyPr lIns="89642" tIns="44821" rIns="89642" bIns="44821" rtlCol="0" anchor="t"/>
          <a:lstStyle/>
          <a:p>
            <a:pPr marL="0" marR="0" lvl="0" indent="0" algn="l" defTabSz="44810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Data</a:t>
            </a:r>
            <a:br>
              <a:rPr kumimoji="0" lang="en-US"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br>
            <a:r>
              <a:rPr kumimoji="0" lang="en-US"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validation</a:t>
            </a:r>
          </a:p>
        </p:txBody>
      </p:sp>
      <p:sp>
        <p:nvSpPr>
          <p:cNvPr id="119" name="Rectangle 118">
            <a:extLst>
              <a:ext uri="{FF2B5EF4-FFF2-40B4-BE49-F238E27FC236}">
                <a16:creationId xmlns:a16="http://schemas.microsoft.com/office/drawing/2014/main" id="{D2717B97-E47A-4F33-B3DD-3C6ED6A574B7}"/>
              </a:ext>
            </a:extLst>
          </p:cNvPr>
          <p:cNvSpPr/>
          <p:nvPr/>
        </p:nvSpPr>
        <p:spPr>
          <a:xfrm>
            <a:off x="3310653" y="3424130"/>
            <a:ext cx="1737360" cy="1005840"/>
          </a:xfrm>
          <a:prstGeom prst="rect">
            <a:avLst/>
          </a:prstGeom>
          <a:solidFill>
            <a:srgbClr val="A7D9FF"/>
          </a:solidFill>
          <a:ln w="9525" cap="flat" cmpd="sng" algn="ctr">
            <a:noFill/>
            <a:prstDash val="solid"/>
          </a:ln>
          <a:effectLst/>
        </p:spPr>
        <p:txBody>
          <a:bodyPr lIns="89642" tIns="44821" rIns="89642" bIns="44821" rtlCol="0" anchor="t"/>
          <a:lstStyle/>
          <a:p>
            <a:pPr marL="0" marR="0" lvl="0" indent="0" algn="l" defTabSz="44810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Data Integration and storage</a:t>
            </a:r>
          </a:p>
        </p:txBody>
      </p:sp>
      <p:sp>
        <p:nvSpPr>
          <p:cNvPr id="120" name="Rectangle 119">
            <a:extLst>
              <a:ext uri="{FF2B5EF4-FFF2-40B4-BE49-F238E27FC236}">
                <a16:creationId xmlns:a16="http://schemas.microsoft.com/office/drawing/2014/main" id="{B3A05E2C-F3B1-45D1-BEC9-8F7B9F8E2032}"/>
              </a:ext>
            </a:extLst>
          </p:cNvPr>
          <p:cNvSpPr/>
          <p:nvPr/>
        </p:nvSpPr>
        <p:spPr>
          <a:xfrm>
            <a:off x="6988003" y="3431524"/>
            <a:ext cx="1737360" cy="1005840"/>
          </a:xfrm>
          <a:prstGeom prst="rect">
            <a:avLst/>
          </a:prstGeom>
          <a:solidFill>
            <a:srgbClr val="A7D9FF"/>
          </a:solidFill>
          <a:ln w="9525" cap="flat" cmpd="sng" algn="ctr">
            <a:noFill/>
            <a:prstDash val="solid"/>
          </a:ln>
          <a:effectLst/>
        </p:spPr>
        <p:txBody>
          <a:bodyPr lIns="89642" tIns="44821" rIns="89642" bIns="44821" rtlCol="0" anchor="t"/>
          <a:lstStyle/>
          <a:p>
            <a:pPr marL="0" marR="0" lvl="0" indent="0" algn="l" defTabSz="44810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Visualization</a:t>
            </a:r>
          </a:p>
        </p:txBody>
      </p:sp>
      <p:sp>
        <p:nvSpPr>
          <p:cNvPr id="121" name="Rectangle 120">
            <a:extLst>
              <a:ext uri="{FF2B5EF4-FFF2-40B4-BE49-F238E27FC236}">
                <a16:creationId xmlns:a16="http://schemas.microsoft.com/office/drawing/2014/main" id="{1A987833-4F05-4DB3-AB98-11E863742F40}"/>
              </a:ext>
            </a:extLst>
          </p:cNvPr>
          <p:cNvSpPr/>
          <p:nvPr/>
        </p:nvSpPr>
        <p:spPr>
          <a:xfrm>
            <a:off x="5147249" y="3428962"/>
            <a:ext cx="1737360" cy="1005840"/>
          </a:xfrm>
          <a:prstGeom prst="rect">
            <a:avLst/>
          </a:prstGeom>
          <a:solidFill>
            <a:srgbClr val="E5EFFF"/>
          </a:solidFill>
          <a:ln w="9525" cap="flat" cmpd="sng" algn="ctr">
            <a:noFill/>
            <a:prstDash val="solid"/>
          </a:ln>
          <a:effectLst/>
        </p:spPr>
        <p:txBody>
          <a:bodyPr lIns="89642" tIns="44821" rIns="89642" bIns="44821" rtlCol="0" anchor="t"/>
          <a:lstStyle/>
          <a:p>
            <a:pPr defTabSz="448107"/>
            <a:r>
              <a:rPr lang="en-US" sz="1400" dirty="0">
                <a:solidFill>
                  <a:srgbClr val="1A1A1A"/>
                </a:solidFill>
                <a:latin typeface="Segoe UI"/>
                <a:cs typeface="Segoe UI Light" panose="020B0502040204020203" pitchFamily="34" charset="0"/>
              </a:rPr>
              <a:t>Data enrichment</a:t>
            </a:r>
          </a:p>
        </p:txBody>
      </p:sp>
      <p:sp>
        <p:nvSpPr>
          <p:cNvPr id="122" name="check 3" title="Icon of a checkmark with a circle around it">
            <a:extLst>
              <a:ext uri="{FF2B5EF4-FFF2-40B4-BE49-F238E27FC236}">
                <a16:creationId xmlns:a16="http://schemas.microsoft.com/office/drawing/2014/main" id="{689B7569-6F58-42A9-B8D4-767F64656174}"/>
              </a:ext>
            </a:extLst>
          </p:cNvPr>
          <p:cNvSpPr>
            <a:spLocks noChangeAspect="1" noEditPoints="1"/>
          </p:cNvSpPr>
          <p:nvPr/>
        </p:nvSpPr>
        <p:spPr bwMode="auto">
          <a:xfrm>
            <a:off x="586584" y="1470729"/>
            <a:ext cx="351424" cy="34938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4" name="Freeform 96" title="Icon of a gear with a wrench">
            <a:extLst>
              <a:ext uri="{FF2B5EF4-FFF2-40B4-BE49-F238E27FC236}">
                <a16:creationId xmlns:a16="http://schemas.microsoft.com/office/drawing/2014/main" id="{4254533C-5FB5-41F3-9A31-2CAF897CDD89}"/>
              </a:ext>
            </a:extLst>
          </p:cNvPr>
          <p:cNvSpPr>
            <a:spLocks noChangeAspect="1" noEditPoints="1"/>
          </p:cNvSpPr>
          <p:nvPr/>
        </p:nvSpPr>
        <p:spPr bwMode="auto">
          <a:xfrm>
            <a:off x="3538333" y="1506305"/>
            <a:ext cx="335484" cy="30890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125" name="Group 124">
            <a:extLst>
              <a:ext uri="{FF2B5EF4-FFF2-40B4-BE49-F238E27FC236}">
                <a16:creationId xmlns:a16="http://schemas.microsoft.com/office/drawing/2014/main" id="{3A051690-E5F5-4D73-B49B-FE089B958BF6}"/>
              </a:ext>
            </a:extLst>
          </p:cNvPr>
          <p:cNvGrpSpPr/>
          <p:nvPr/>
        </p:nvGrpSpPr>
        <p:grpSpPr>
          <a:xfrm>
            <a:off x="9130927" y="1506305"/>
            <a:ext cx="317368" cy="238108"/>
            <a:chOff x="-1360920" y="3668345"/>
            <a:chExt cx="411480" cy="308715"/>
          </a:xfrm>
        </p:grpSpPr>
        <p:sp>
          <p:nvSpPr>
            <p:cNvPr id="126" name="hand_2" title="Icon of a hand held out">
              <a:extLst>
                <a:ext uri="{FF2B5EF4-FFF2-40B4-BE49-F238E27FC236}">
                  <a16:creationId xmlns:a16="http://schemas.microsoft.com/office/drawing/2014/main" id="{C522A1A6-B795-4227-868A-33CA89D909FD}"/>
                </a:ext>
              </a:extLst>
            </p:cNvPr>
            <p:cNvSpPr>
              <a:spLocks noChangeAspect="1"/>
            </p:cNvSpPr>
            <p:nvPr/>
          </p:nvSpPr>
          <p:spPr bwMode="auto">
            <a:xfrm>
              <a:off x="-1360920" y="3772241"/>
              <a:ext cx="411480" cy="204819"/>
            </a:xfrm>
            <a:custGeom>
              <a:avLst/>
              <a:gdLst>
                <a:gd name="T0" fmla="*/ 76 w 306"/>
                <a:gd name="T1" fmla="*/ 65 h 151"/>
                <a:gd name="T2" fmla="*/ 211 w 306"/>
                <a:gd name="T3" fmla="*/ 66 h 151"/>
                <a:gd name="T4" fmla="*/ 256 w 306"/>
                <a:gd name="T5" fmla="*/ 22 h 151"/>
                <a:gd name="T6" fmla="*/ 306 w 306"/>
                <a:gd name="T7" fmla="*/ 28 h 151"/>
                <a:gd name="T8" fmla="*/ 227 w 306"/>
                <a:gd name="T9" fmla="*/ 106 h 151"/>
                <a:gd name="T10" fmla="*/ 93 w 306"/>
                <a:gd name="T11" fmla="*/ 140 h 151"/>
                <a:gd name="T12" fmla="*/ 19 w 306"/>
                <a:gd name="T13" fmla="*/ 132 h 151"/>
                <a:gd name="T14" fmla="*/ 20 w 306"/>
                <a:gd name="T15" fmla="*/ 63 h 151"/>
                <a:gd name="T16" fmla="*/ 63 w 306"/>
                <a:gd name="T17" fmla="*/ 22 h 151"/>
                <a:gd name="T18" fmla="*/ 168 w 306"/>
                <a:gd name="T19" fmla="*/ 23 h 151"/>
                <a:gd name="T20" fmla="*/ 138 w 306"/>
                <a:gd name="T21" fmla="*/ 6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6" h="151">
                  <a:moveTo>
                    <a:pt x="76" y="65"/>
                  </a:moveTo>
                  <a:cubicBezTo>
                    <a:pt x="211" y="66"/>
                    <a:pt x="211" y="66"/>
                    <a:pt x="211" y="66"/>
                  </a:cubicBezTo>
                  <a:cubicBezTo>
                    <a:pt x="211" y="66"/>
                    <a:pt x="233" y="45"/>
                    <a:pt x="256" y="22"/>
                  </a:cubicBezTo>
                  <a:cubicBezTo>
                    <a:pt x="279" y="0"/>
                    <a:pt x="306" y="28"/>
                    <a:pt x="306" y="28"/>
                  </a:cubicBezTo>
                  <a:cubicBezTo>
                    <a:pt x="227" y="106"/>
                    <a:pt x="227" y="106"/>
                    <a:pt x="227" y="106"/>
                  </a:cubicBezTo>
                  <a:cubicBezTo>
                    <a:pt x="227" y="106"/>
                    <a:pt x="94" y="140"/>
                    <a:pt x="93" y="140"/>
                  </a:cubicBezTo>
                  <a:cubicBezTo>
                    <a:pt x="72" y="147"/>
                    <a:pt x="38" y="151"/>
                    <a:pt x="19" y="132"/>
                  </a:cubicBezTo>
                  <a:cubicBezTo>
                    <a:pt x="0" y="113"/>
                    <a:pt x="0" y="82"/>
                    <a:pt x="20" y="63"/>
                  </a:cubicBezTo>
                  <a:cubicBezTo>
                    <a:pt x="63" y="22"/>
                    <a:pt x="63" y="22"/>
                    <a:pt x="63" y="22"/>
                  </a:cubicBezTo>
                  <a:cubicBezTo>
                    <a:pt x="168" y="23"/>
                    <a:pt x="168" y="23"/>
                    <a:pt x="168" y="23"/>
                  </a:cubicBezTo>
                  <a:cubicBezTo>
                    <a:pt x="168" y="54"/>
                    <a:pt x="138" y="65"/>
                    <a:pt x="138" y="65"/>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Star rating" title="Icon of three stars">
              <a:extLst>
                <a:ext uri="{FF2B5EF4-FFF2-40B4-BE49-F238E27FC236}">
                  <a16:creationId xmlns:a16="http://schemas.microsoft.com/office/drawing/2014/main" id="{47921BAC-F2EF-4792-BE1C-7355CE1D5C3E}"/>
                </a:ext>
              </a:extLst>
            </p:cNvPr>
            <p:cNvSpPr>
              <a:spLocks noChangeAspect="1" noEditPoints="1"/>
            </p:cNvSpPr>
            <p:nvPr/>
          </p:nvSpPr>
          <p:spPr bwMode="auto">
            <a:xfrm>
              <a:off x="-1193919" y="3668345"/>
              <a:ext cx="238343" cy="63672"/>
            </a:xfrm>
            <a:custGeom>
              <a:avLst/>
              <a:gdLst>
                <a:gd name="T0" fmla="*/ 67 w 700"/>
                <a:gd name="T1" fmla="*/ 75 h 187"/>
                <a:gd name="T2" fmla="*/ 88 w 700"/>
                <a:gd name="T3" fmla="*/ 0 h 187"/>
                <a:gd name="T4" fmla="*/ 111 w 700"/>
                <a:gd name="T5" fmla="*/ 75 h 187"/>
                <a:gd name="T6" fmla="*/ 180 w 700"/>
                <a:gd name="T7" fmla="*/ 75 h 187"/>
                <a:gd name="T8" fmla="*/ 124 w 700"/>
                <a:gd name="T9" fmla="*/ 120 h 187"/>
                <a:gd name="T10" fmla="*/ 147 w 700"/>
                <a:gd name="T11" fmla="*/ 187 h 187"/>
                <a:gd name="T12" fmla="*/ 90 w 700"/>
                <a:gd name="T13" fmla="*/ 151 h 187"/>
                <a:gd name="T14" fmla="*/ 33 w 700"/>
                <a:gd name="T15" fmla="*/ 187 h 187"/>
                <a:gd name="T16" fmla="*/ 53 w 700"/>
                <a:gd name="T17" fmla="*/ 120 h 187"/>
                <a:gd name="T18" fmla="*/ 0 w 700"/>
                <a:gd name="T19" fmla="*/ 75 h 187"/>
                <a:gd name="T20" fmla="*/ 67 w 700"/>
                <a:gd name="T21" fmla="*/ 75 h 187"/>
                <a:gd name="T22" fmla="*/ 327 w 700"/>
                <a:gd name="T23" fmla="*/ 75 h 187"/>
                <a:gd name="T24" fmla="*/ 350 w 700"/>
                <a:gd name="T25" fmla="*/ 0 h 187"/>
                <a:gd name="T26" fmla="*/ 371 w 700"/>
                <a:gd name="T27" fmla="*/ 75 h 187"/>
                <a:gd name="T28" fmla="*/ 440 w 700"/>
                <a:gd name="T29" fmla="*/ 75 h 187"/>
                <a:gd name="T30" fmla="*/ 384 w 700"/>
                <a:gd name="T31" fmla="*/ 120 h 187"/>
                <a:gd name="T32" fmla="*/ 408 w 700"/>
                <a:gd name="T33" fmla="*/ 187 h 187"/>
                <a:gd name="T34" fmla="*/ 350 w 700"/>
                <a:gd name="T35" fmla="*/ 151 h 187"/>
                <a:gd name="T36" fmla="*/ 293 w 700"/>
                <a:gd name="T37" fmla="*/ 187 h 187"/>
                <a:gd name="T38" fmla="*/ 313 w 700"/>
                <a:gd name="T39" fmla="*/ 120 h 187"/>
                <a:gd name="T40" fmla="*/ 260 w 700"/>
                <a:gd name="T41" fmla="*/ 75 h 187"/>
                <a:gd name="T42" fmla="*/ 327 w 700"/>
                <a:gd name="T43" fmla="*/ 75 h 187"/>
                <a:gd name="T44" fmla="*/ 587 w 700"/>
                <a:gd name="T45" fmla="*/ 75 h 187"/>
                <a:gd name="T46" fmla="*/ 610 w 700"/>
                <a:gd name="T47" fmla="*/ 0 h 187"/>
                <a:gd name="T48" fmla="*/ 631 w 700"/>
                <a:gd name="T49" fmla="*/ 75 h 187"/>
                <a:gd name="T50" fmla="*/ 700 w 700"/>
                <a:gd name="T51" fmla="*/ 75 h 187"/>
                <a:gd name="T52" fmla="*/ 644 w 700"/>
                <a:gd name="T53" fmla="*/ 120 h 187"/>
                <a:gd name="T54" fmla="*/ 668 w 700"/>
                <a:gd name="T55" fmla="*/ 187 h 187"/>
                <a:gd name="T56" fmla="*/ 610 w 700"/>
                <a:gd name="T57" fmla="*/ 151 h 187"/>
                <a:gd name="T58" fmla="*/ 553 w 700"/>
                <a:gd name="T59" fmla="*/ 187 h 187"/>
                <a:gd name="T60" fmla="*/ 573 w 700"/>
                <a:gd name="T61" fmla="*/ 120 h 187"/>
                <a:gd name="T62" fmla="*/ 520 w 700"/>
                <a:gd name="T63" fmla="*/ 75 h 187"/>
                <a:gd name="T64" fmla="*/ 587 w 700"/>
                <a:gd name="T65" fmla="*/ 7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0" h="187">
                  <a:moveTo>
                    <a:pt x="67" y="75"/>
                  </a:moveTo>
                  <a:lnTo>
                    <a:pt x="88" y="0"/>
                  </a:lnTo>
                  <a:lnTo>
                    <a:pt x="111" y="75"/>
                  </a:lnTo>
                  <a:lnTo>
                    <a:pt x="180" y="75"/>
                  </a:lnTo>
                  <a:lnTo>
                    <a:pt x="124" y="120"/>
                  </a:lnTo>
                  <a:lnTo>
                    <a:pt x="147" y="187"/>
                  </a:lnTo>
                  <a:lnTo>
                    <a:pt x="90" y="151"/>
                  </a:lnTo>
                  <a:lnTo>
                    <a:pt x="33" y="187"/>
                  </a:lnTo>
                  <a:lnTo>
                    <a:pt x="53" y="120"/>
                  </a:lnTo>
                  <a:lnTo>
                    <a:pt x="0" y="75"/>
                  </a:lnTo>
                  <a:lnTo>
                    <a:pt x="67" y="75"/>
                  </a:lnTo>
                  <a:close/>
                  <a:moveTo>
                    <a:pt x="327" y="75"/>
                  </a:moveTo>
                  <a:lnTo>
                    <a:pt x="350" y="0"/>
                  </a:lnTo>
                  <a:lnTo>
                    <a:pt x="371" y="75"/>
                  </a:lnTo>
                  <a:lnTo>
                    <a:pt x="440" y="75"/>
                  </a:lnTo>
                  <a:lnTo>
                    <a:pt x="384" y="120"/>
                  </a:lnTo>
                  <a:lnTo>
                    <a:pt x="408" y="187"/>
                  </a:lnTo>
                  <a:lnTo>
                    <a:pt x="350" y="151"/>
                  </a:lnTo>
                  <a:lnTo>
                    <a:pt x="293" y="187"/>
                  </a:lnTo>
                  <a:lnTo>
                    <a:pt x="313" y="120"/>
                  </a:lnTo>
                  <a:lnTo>
                    <a:pt x="260" y="75"/>
                  </a:lnTo>
                  <a:lnTo>
                    <a:pt x="327" y="75"/>
                  </a:lnTo>
                  <a:close/>
                  <a:moveTo>
                    <a:pt x="587" y="75"/>
                  </a:moveTo>
                  <a:lnTo>
                    <a:pt x="610" y="0"/>
                  </a:lnTo>
                  <a:lnTo>
                    <a:pt x="631" y="75"/>
                  </a:lnTo>
                  <a:lnTo>
                    <a:pt x="700" y="75"/>
                  </a:lnTo>
                  <a:lnTo>
                    <a:pt x="644" y="120"/>
                  </a:lnTo>
                  <a:lnTo>
                    <a:pt x="668" y="187"/>
                  </a:lnTo>
                  <a:lnTo>
                    <a:pt x="610" y="151"/>
                  </a:lnTo>
                  <a:lnTo>
                    <a:pt x="553" y="187"/>
                  </a:lnTo>
                  <a:lnTo>
                    <a:pt x="573" y="120"/>
                  </a:lnTo>
                  <a:lnTo>
                    <a:pt x="520" y="75"/>
                  </a:lnTo>
                  <a:lnTo>
                    <a:pt x="587" y="75"/>
                  </a:ln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128" name="magnify" title="Icon of a magnifying glass">
            <a:extLst>
              <a:ext uri="{FF2B5EF4-FFF2-40B4-BE49-F238E27FC236}">
                <a16:creationId xmlns:a16="http://schemas.microsoft.com/office/drawing/2014/main" id="{C1B532B8-9E22-4D63-87B2-1681914CA337}"/>
              </a:ext>
            </a:extLst>
          </p:cNvPr>
          <p:cNvSpPr>
            <a:spLocks noChangeAspect="1" noEditPoints="1"/>
          </p:cNvSpPr>
          <p:nvPr/>
        </p:nvSpPr>
        <p:spPr bwMode="auto">
          <a:xfrm flipH="1">
            <a:off x="1312490" y="3961380"/>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9" name="Database_EFC7" title="Icon of a cylinder">
            <a:extLst>
              <a:ext uri="{FF2B5EF4-FFF2-40B4-BE49-F238E27FC236}">
                <a16:creationId xmlns:a16="http://schemas.microsoft.com/office/drawing/2014/main" id="{F03F9EA7-90BD-423C-9872-B5735D61AE17}"/>
              </a:ext>
            </a:extLst>
          </p:cNvPr>
          <p:cNvSpPr>
            <a:spLocks noChangeAspect="1" noEditPoints="1"/>
          </p:cNvSpPr>
          <p:nvPr/>
        </p:nvSpPr>
        <p:spPr bwMode="auto">
          <a:xfrm>
            <a:off x="2686242" y="3938520"/>
            <a:ext cx="316562" cy="4114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0" name="Trackers_EADF" title="Icon of a clipboard with a checklist on it">
            <a:extLst>
              <a:ext uri="{FF2B5EF4-FFF2-40B4-BE49-F238E27FC236}">
                <a16:creationId xmlns:a16="http://schemas.microsoft.com/office/drawing/2014/main" id="{2891B26B-3D68-4375-81FB-D6E7CDF3FC8A}"/>
              </a:ext>
            </a:extLst>
          </p:cNvPr>
          <p:cNvSpPr>
            <a:spLocks noChangeAspect="1" noEditPoints="1"/>
          </p:cNvSpPr>
          <p:nvPr/>
        </p:nvSpPr>
        <p:spPr bwMode="auto">
          <a:xfrm>
            <a:off x="2317616" y="3911804"/>
            <a:ext cx="304600" cy="41533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2" name="Processing_E9F5" title="Icon of two interlocked gears">
            <a:extLst>
              <a:ext uri="{FF2B5EF4-FFF2-40B4-BE49-F238E27FC236}">
                <a16:creationId xmlns:a16="http://schemas.microsoft.com/office/drawing/2014/main" id="{D210ED74-F0B9-4295-B60E-F77C814C3FA4}"/>
              </a:ext>
            </a:extLst>
          </p:cNvPr>
          <p:cNvSpPr>
            <a:spLocks noChangeAspect="1" noEditPoints="1"/>
          </p:cNvSpPr>
          <p:nvPr/>
        </p:nvSpPr>
        <p:spPr bwMode="auto">
          <a:xfrm>
            <a:off x="4460376" y="3877783"/>
            <a:ext cx="419963" cy="36576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3" name="Intelligence" title="Icon of circles connected by crossing lines">
            <a:extLst>
              <a:ext uri="{FF2B5EF4-FFF2-40B4-BE49-F238E27FC236}">
                <a16:creationId xmlns:a16="http://schemas.microsoft.com/office/drawing/2014/main" id="{692C1C1E-97A4-40FC-9831-CE1619F62A3D}"/>
              </a:ext>
            </a:extLst>
          </p:cNvPr>
          <p:cNvSpPr>
            <a:spLocks noChangeAspect="1" noEditPoints="1"/>
          </p:cNvSpPr>
          <p:nvPr/>
        </p:nvSpPr>
        <p:spPr bwMode="auto">
          <a:xfrm>
            <a:off x="6403912" y="3880688"/>
            <a:ext cx="380638" cy="365760"/>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4" name="Eye" title="Icon of an eye">
            <a:extLst>
              <a:ext uri="{FF2B5EF4-FFF2-40B4-BE49-F238E27FC236}">
                <a16:creationId xmlns:a16="http://schemas.microsoft.com/office/drawing/2014/main" id="{47C7511B-ECE9-4CB9-B17B-7859BBABD049}"/>
              </a:ext>
            </a:extLst>
          </p:cNvPr>
          <p:cNvSpPr>
            <a:spLocks noChangeAspect="1" noEditPoints="1"/>
          </p:cNvSpPr>
          <p:nvPr/>
        </p:nvSpPr>
        <p:spPr bwMode="auto">
          <a:xfrm>
            <a:off x="8207027" y="4063568"/>
            <a:ext cx="428012" cy="236314"/>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Financial_E7BB" title="Icon of a chart made of vertical lines with a line tracing the top of each, turning into an arrow pointing up">
            <a:extLst>
              <a:ext uri="{FF2B5EF4-FFF2-40B4-BE49-F238E27FC236}">
                <a16:creationId xmlns:a16="http://schemas.microsoft.com/office/drawing/2014/main" id="{CB73E994-38A3-4337-ACC3-C08BF42CCB5C}"/>
              </a:ext>
            </a:extLst>
          </p:cNvPr>
          <p:cNvSpPr>
            <a:spLocks noChangeAspect="1" noEditPoints="1"/>
          </p:cNvSpPr>
          <p:nvPr/>
        </p:nvSpPr>
        <p:spPr bwMode="auto">
          <a:xfrm>
            <a:off x="11022431" y="3982021"/>
            <a:ext cx="374026" cy="333644"/>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flat">
            <a:solidFill>
              <a:schemeClr val="tx1">
                <a:lumMod val="50000"/>
                <a:lumOff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6" name="binary" title="Icon of binary code, ones and zeros">
            <a:extLst>
              <a:ext uri="{FF2B5EF4-FFF2-40B4-BE49-F238E27FC236}">
                <a16:creationId xmlns:a16="http://schemas.microsoft.com/office/drawing/2014/main" id="{A6DE3909-EE63-44B8-A5B5-EA661E12FEA5}"/>
              </a:ext>
            </a:extLst>
          </p:cNvPr>
          <p:cNvSpPr>
            <a:spLocks noChangeAspect="1" noEditPoints="1"/>
          </p:cNvSpPr>
          <p:nvPr/>
        </p:nvSpPr>
        <p:spPr bwMode="auto">
          <a:xfrm>
            <a:off x="9673979" y="4005298"/>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7" name="Beaker_F196" title="Icon of a scientific flask with liquid in it">
            <a:extLst>
              <a:ext uri="{FF2B5EF4-FFF2-40B4-BE49-F238E27FC236}">
                <a16:creationId xmlns:a16="http://schemas.microsoft.com/office/drawing/2014/main" id="{2B0E26C0-A8AA-4330-9194-F6652E07C8FE}"/>
              </a:ext>
            </a:extLst>
          </p:cNvPr>
          <p:cNvSpPr>
            <a:spLocks noChangeAspect="1" noEditPoints="1"/>
          </p:cNvSpPr>
          <p:nvPr/>
        </p:nvSpPr>
        <p:spPr bwMode="auto">
          <a:xfrm>
            <a:off x="6449163" y="2902171"/>
            <a:ext cx="290136" cy="335234"/>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58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6" name="Rectangle 45">
            <a:extLst>
              <a:ext uri="{FF2B5EF4-FFF2-40B4-BE49-F238E27FC236}">
                <a16:creationId xmlns:a16="http://schemas.microsoft.com/office/drawing/2014/main" id="{F157D228-1A30-47A3-9D4C-BBF7CC90C8A1}"/>
              </a:ext>
            </a:extLst>
          </p:cNvPr>
          <p:cNvSpPr/>
          <p:nvPr/>
        </p:nvSpPr>
        <p:spPr>
          <a:xfrm>
            <a:off x="3310653" y="2471231"/>
            <a:ext cx="1737360" cy="914400"/>
          </a:xfrm>
          <a:prstGeom prst="rect">
            <a:avLst/>
          </a:prstGeom>
          <a:solidFill>
            <a:srgbClr val="E5EFFF"/>
          </a:solidFill>
          <a:ln w="9525" cap="flat" cmpd="sng" algn="ctr">
            <a:noFill/>
            <a:prstDash val="solid"/>
          </a:ln>
          <a:effectLst/>
        </p:spPr>
        <p:txBody>
          <a:bodyPr lIns="89642" tIns="44821" rIns="89642" bIns="44821" rtlCol="0" anchor="t"/>
          <a:lstStyle/>
          <a:p>
            <a:pPr marL="0" marR="0" lvl="0" indent="0" algn="l" defTabSz="44810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IOT Device Integration</a:t>
            </a:r>
          </a:p>
        </p:txBody>
      </p:sp>
      <p:sp>
        <p:nvSpPr>
          <p:cNvPr id="47" name="binary" title="Icon of binary code, ones and zeros">
            <a:extLst>
              <a:ext uri="{FF2B5EF4-FFF2-40B4-BE49-F238E27FC236}">
                <a16:creationId xmlns:a16="http://schemas.microsoft.com/office/drawing/2014/main" id="{A7B08BEA-88D0-4634-BFE6-0674959E4B35}"/>
              </a:ext>
            </a:extLst>
          </p:cNvPr>
          <p:cNvSpPr>
            <a:spLocks noChangeAspect="1" noEditPoints="1"/>
          </p:cNvSpPr>
          <p:nvPr/>
        </p:nvSpPr>
        <p:spPr bwMode="auto">
          <a:xfrm>
            <a:off x="4514579" y="3011751"/>
            <a:ext cx="365760" cy="253066"/>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Rectangle 47">
            <a:extLst>
              <a:ext uri="{FF2B5EF4-FFF2-40B4-BE49-F238E27FC236}">
                <a16:creationId xmlns:a16="http://schemas.microsoft.com/office/drawing/2014/main" id="{69E4D6E8-E934-43EE-9544-5E74DCD6ED89}"/>
              </a:ext>
            </a:extLst>
          </p:cNvPr>
          <p:cNvSpPr/>
          <p:nvPr/>
        </p:nvSpPr>
        <p:spPr>
          <a:xfrm>
            <a:off x="6988003" y="2477949"/>
            <a:ext cx="1737360" cy="914400"/>
          </a:xfrm>
          <a:prstGeom prst="rect">
            <a:avLst/>
          </a:prstGeom>
          <a:solidFill>
            <a:srgbClr val="E5EFFF"/>
          </a:solidFill>
          <a:ln w="9525" cap="flat" cmpd="sng" algn="ctr">
            <a:noFill/>
            <a:prstDash val="solid"/>
          </a:ln>
          <a:effectLst/>
        </p:spPr>
        <p:txBody>
          <a:bodyPr lIns="89642" tIns="44821" rIns="89642" bIns="44821" rtlCol="0" anchor="t"/>
          <a:lstStyle/>
          <a:p>
            <a:pPr defTabSz="448107"/>
            <a:r>
              <a:rPr lang="en-US" sz="1400" dirty="0">
                <a:solidFill>
                  <a:srgbClr val="1A1A1A"/>
                </a:solidFill>
                <a:latin typeface="Segoe UI"/>
                <a:cs typeface="Segoe UI Light" panose="020B0502040204020203" pitchFamily="34" charset="0"/>
              </a:rPr>
              <a:t>User portal</a:t>
            </a:r>
          </a:p>
        </p:txBody>
      </p:sp>
      <p:pic>
        <p:nvPicPr>
          <p:cNvPr id="4" name="Graphic 3" descr="Key">
            <a:extLst>
              <a:ext uri="{FF2B5EF4-FFF2-40B4-BE49-F238E27FC236}">
                <a16:creationId xmlns:a16="http://schemas.microsoft.com/office/drawing/2014/main" id="{77E1B7F8-5824-4493-B7C7-1854A84EFB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07027" y="2976348"/>
            <a:ext cx="371926" cy="371926"/>
          </a:xfrm>
          <a:prstGeom prst="rect">
            <a:avLst/>
          </a:prstGeom>
        </p:spPr>
      </p:pic>
    </p:spTree>
    <p:extLst>
      <p:ext uri="{BB962C8B-B14F-4D97-AF65-F5344CB8AC3E}">
        <p14:creationId xmlns:p14="http://schemas.microsoft.com/office/powerpoint/2010/main" val="1701939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AE3C4C-6420-424F-8B58-82BC9B0A44A9}"/>
              </a:ext>
            </a:extLst>
          </p:cNvPr>
          <p:cNvSpPr>
            <a:spLocks noGrp="1"/>
          </p:cNvSpPr>
          <p:nvPr>
            <p:ph type="title"/>
          </p:nvPr>
        </p:nvSpPr>
        <p:spPr/>
        <p:txBody>
          <a:bodyPr/>
          <a:lstStyle/>
          <a:p>
            <a:r>
              <a:rPr lang="en-US"/>
              <a:t>Azure IoT reference architecture</a:t>
            </a:r>
          </a:p>
        </p:txBody>
      </p:sp>
      <p:sp>
        <p:nvSpPr>
          <p:cNvPr id="30" name="Rectangle 29">
            <a:extLst>
              <a:ext uri="{FF2B5EF4-FFF2-40B4-BE49-F238E27FC236}">
                <a16:creationId xmlns:a16="http://schemas.microsoft.com/office/drawing/2014/main" id="{55BA9939-AF38-4F71-8574-1EA514BB81E5}"/>
              </a:ext>
            </a:extLst>
          </p:cNvPr>
          <p:cNvSpPr/>
          <p:nvPr/>
        </p:nvSpPr>
        <p:spPr bwMode="auto">
          <a:xfrm>
            <a:off x="986828" y="1520982"/>
            <a:ext cx="2933322" cy="4125839"/>
          </a:xfrm>
          <a:prstGeom prst="rect">
            <a:avLst/>
          </a:prstGeom>
          <a:noFill/>
          <a:ln w="38100" cap="flat" cmpd="sng" algn="ctr">
            <a:solidFill>
              <a:srgbClr val="0078D7"/>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3290C08E-200D-4AB1-B795-9D5A7000CEA4}"/>
              </a:ext>
            </a:extLst>
          </p:cNvPr>
          <p:cNvSpPr/>
          <p:nvPr/>
        </p:nvSpPr>
        <p:spPr bwMode="auto">
          <a:xfrm>
            <a:off x="4059238" y="1520982"/>
            <a:ext cx="3971186" cy="4125839"/>
          </a:xfrm>
          <a:prstGeom prst="rect">
            <a:avLst/>
          </a:prstGeom>
          <a:noFill/>
          <a:ln w="38100" cap="flat" cmpd="sng" algn="ctr">
            <a:solidFill>
              <a:srgbClr val="0078D7"/>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ADD31753-36A9-418B-97B9-7E072D1893C7}"/>
              </a:ext>
            </a:extLst>
          </p:cNvPr>
          <p:cNvSpPr/>
          <p:nvPr/>
        </p:nvSpPr>
        <p:spPr bwMode="auto">
          <a:xfrm>
            <a:off x="8169512" y="1520982"/>
            <a:ext cx="2966250" cy="4125839"/>
          </a:xfrm>
          <a:prstGeom prst="rect">
            <a:avLst/>
          </a:prstGeom>
          <a:noFill/>
          <a:ln w="38100" cap="flat" cmpd="sng" algn="ctr">
            <a:solidFill>
              <a:srgbClr val="0078D7"/>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4C7DB914-45ED-4B97-8970-B7E3330AB271}"/>
              </a:ext>
            </a:extLst>
          </p:cNvPr>
          <p:cNvSpPr txBox="1"/>
          <p:nvPr/>
        </p:nvSpPr>
        <p:spPr>
          <a:xfrm>
            <a:off x="820134" y="1072981"/>
            <a:ext cx="2701664" cy="517065"/>
          </a:xfrm>
          <a:prstGeom prst="rect">
            <a:avLst/>
          </a:prstGeom>
          <a:noFill/>
        </p:spPr>
        <p:txBody>
          <a:bodyPr wrap="square" lIns="182880" tIns="146304" rIns="182880" bIns="146304" rtlCol="0">
            <a:spAutoFit/>
          </a:bodyPr>
          <a:lstStyle/>
          <a:p>
            <a:pPr marL="0" marR="0" lvl="0" indent="0" algn="l" defTabSz="914314"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Core Subsystems</a:t>
            </a:r>
          </a:p>
        </p:txBody>
      </p:sp>
      <p:grpSp>
        <p:nvGrpSpPr>
          <p:cNvPr id="34" name="Group 33">
            <a:extLst>
              <a:ext uri="{FF2B5EF4-FFF2-40B4-BE49-F238E27FC236}">
                <a16:creationId xmlns:a16="http://schemas.microsoft.com/office/drawing/2014/main" id="{FC90B1F3-0E33-4FEB-84D5-3348A3D45726}"/>
              </a:ext>
            </a:extLst>
          </p:cNvPr>
          <p:cNvGrpSpPr/>
          <p:nvPr/>
        </p:nvGrpSpPr>
        <p:grpSpPr>
          <a:xfrm>
            <a:off x="1021762" y="2906455"/>
            <a:ext cx="1512416" cy="1045090"/>
            <a:chOff x="1021762" y="3396757"/>
            <a:chExt cx="1512416" cy="1045090"/>
          </a:xfrm>
        </p:grpSpPr>
        <p:sp>
          <p:nvSpPr>
            <p:cNvPr id="35" name="Rectangle 34">
              <a:extLst>
                <a:ext uri="{FF2B5EF4-FFF2-40B4-BE49-F238E27FC236}">
                  <a16:creationId xmlns:a16="http://schemas.microsoft.com/office/drawing/2014/main" id="{F7FE5141-4BBC-4780-B078-BD0564731EEC}"/>
                </a:ext>
              </a:extLst>
            </p:cNvPr>
            <p:cNvSpPr/>
            <p:nvPr/>
          </p:nvSpPr>
          <p:spPr bwMode="auto">
            <a:xfrm>
              <a:off x="1160850" y="3576129"/>
              <a:ext cx="1373328" cy="865718"/>
            </a:xfrm>
            <a:prstGeom prst="rect">
              <a:avLst/>
            </a:prstGeom>
            <a:solidFill>
              <a:srgbClr val="0078D7"/>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86977A71-A7B8-41DD-AA84-B6AB3AE8C2F7}"/>
                </a:ext>
              </a:extLst>
            </p:cNvPr>
            <p:cNvSpPr/>
            <p:nvPr/>
          </p:nvSpPr>
          <p:spPr bwMode="auto">
            <a:xfrm>
              <a:off x="1091306" y="3486443"/>
              <a:ext cx="1373328" cy="865718"/>
            </a:xfrm>
            <a:prstGeom prst="rect">
              <a:avLst/>
            </a:prstGeom>
            <a:solidFill>
              <a:srgbClr val="0078D7"/>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B0A3C0E6-418D-4BD4-92AF-FA42B3CDF624}"/>
                </a:ext>
              </a:extLst>
            </p:cNvPr>
            <p:cNvSpPr/>
            <p:nvPr/>
          </p:nvSpPr>
          <p:spPr bwMode="auto">
            <a:xfrm>
              <a:off x="1021762" y="3396757"/>
              <a:ext cx="1373328" cy="865718"/>
            </a:xfrm>
            <a:prstGeom prst="rect">
              <a:avLst/>
            </a:prstGeom>
            <a:solidFill>
              <a:srgbClr val="0078D7"/>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t>IoT Devices</a:t>
              </a:r>
            </a:p>
          </p:txBody>
        </p:sp>
      </p:grpSp>
      <p:sp>
        <p:nvSpPr>
          <p:cNvPr id="38" name="Rectangle 37">
            <a:extLst>
              <a:ext uri="{FF2B5EF4-FFF2-40B4-BE49-F238E27FC236}">
                <a16:creationId xmlns:a16="http://schemas.microsoft.com/office/drawing/2014/main" id="{CC5F3962-0E65-42B8-B362-111D67BC7BA2}"/>
              </a:ext>
            </a:extLst>
          </p:cNvPr>
          <p:cNvSpPr/>
          <p:nvPr/>
        </p:nvSpPr>
        <p:spPr bwMode="auto">
          <a:xfrm>
            <a:off x="3400180" y="2996141"/>
            <a:ext cx="1373328" cy="865718"/>
          </a:xfrm>
          <a:prstGeom prst="rect">
            <a:avLst/>
          </a:prstGeom>
          <a:solidFill>
            <a:srgbClr val="0078D7"/>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t>Cloud Gateway </a:t>
            </a:r>
            <a:b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br>
            <a: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t>(IoT Hub)</a:t>
            </a:r>
          </a:p>
        </p:txBody>
      </p:sp>
      <p:sp>
        <p:nvSpPr>
          <p:cNvPr id="39" name="Cylinder 38">
            <a:extLst>
              <a:ext uri="{FF2B5EF4-FFF2-40B4-BE49-F238E27FC236}">
                <a16:creationId xmlns:a16="http://schemas.microsoft.com/office/drawing/2014/main" id="{C3636640-344B-4A1F-8D1F-036E4C088D4E}"/>
              </a:ext>
            </a:extLst>
          </p:cNvPr>
          <p:cNvSpPr/>
          <p:nvPr/>
        </p:nvSpPr>
        <p:spPr bwMode="auto">
          <a:xfrm>
            <a:off x="6701050" y="4361832"/>
            <a:ext cx="1073083" cy="1149139"/>
          </a:xfrm>
          <a:prstGeom prst="can">
            <a:avLst/>
          </a:prstGeom>
          <a:solidFill>
            <a:srgbClr val="0078D7"/>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t>Storage</a:t>
            </a:r>
          </a:p>
        </p:txBody>
      </p:sp>
      <p:sp>
        <p:nvSpPr>
          <p:cNvPr id="40" name="Rectangle 39">
            <a:extLst>
              <a:ext uri="{FF2B5EF4-FFF2-40B4-BE49-F238E27FC236}">
                <a16:creationId xmlns:a16="http://schemas.microsoft.com/office/drawing/2014/main" id="{96992000-0686-4E43-A095-AF910AB2D559}"/>
              </a:ext>
            </a:extLst>
          </p:cNvPr>
          <p:cNvSpPr/>
          <p:nvPr/>
        </p:nvSpPr>
        <p:spPr bwMode="auto">
          <a:xfrm>
            <a:off x="6550927" y="2996141"/>
            <a:ext cx="1373328" cy="865718"/>
          </a:xfrm>
          <a:prstGeom prst="rect">
            <a:avLst/>
          </a:prstGeom>
          <a:solidFill>
            <a:srgbClr val="0078D7"/>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t>Stream Processing</a:t>
            </a:r>
          </a:p>
        </p:txBody>
      </p:sp>
      <p:sp>
        <p:nvSpPr>
          <p:cNvPr id="41" name="Rectangle 40">
            <a:extLst>
              <a:ext uri="{FF2B5EF4-FFF2-40B4-BE49-F238E27FC236}">
                <a16:creationId xmlns:a16="http://schemas.microsoft.com/office/drawing/2014/main" id="{2DCCB6C7-D763-43B1-8727-B701B992C41E}"/>
              </a:ext>
            </a:extLst>
          </p:cNvPr>
          <p:cNvSpPr/>
          <p:nvPr/>
        </p:nvSpPr>
        <p:spPr bwMode="auto">
          <a:xfrm>
            <a:off x="6550926" y="1590046"/>
            <a:ext cx="1373328" cy="865718"/>
          </a:xfrm>
          <a:prstGeom prst="rect">
            <a:avLst/>
          </a:prstGeom>
          <a:solidFill>
            <a:srgbClr val="0078D7"/>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t>UI &amp; Reporting Tools</a:t>
            </a:r>
          </a:p>
        </p:txBody>
      </p:sp>
      <p:sp>
        <p:nvSpPr>
          <p:cNvPr id="42" name="Rectangle 41">
            <a:extLst>
              <a:ext uri="{FF2B5EF4-FFF2-40B4-BE49-F238E27FC236}">
                <a16:creationId xmlns:a16="http://schemas.microsoft.com/office/drawing/2014/main" id="{389CBB48-F2BE-47D8-AEF6-19536F54966A}"/>
              </a:ext>
            </a:extLst>
          </p:cNvPr>
          <p:cNvSpPr/>
          <p:nvPr/>
        </p:nvSpPr>
        <p:spPr bwMode="auto">
          <a:xfrm>
            <a:off x="9657822" y="2996141"/>
            <a:ext cx="1373328" cy="865718"/>
          </a:xfrm>
          <a:prstGeom prst="rect">
            <a:avLst/>
          </a:prstGeom>
          <a:solidFill>
            <a:srgbClr val="0078D7"/>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t>Business Integration</a:t>
            </a:r>
          </a:p>
        </p:txBody>
      </p:sp>
      <p:cxnSp>
        <p:nvCxnSpPr>
          <p:cNvPr id="43" name="Straight Arrow Connector 42">
            <a:extLst>
              <a:ext uri="{FF2B5EF4-FFF2-40B4-BE49-F238E27FC236}">
                <a16:creationId xmlns:a16="http://schemas.microsoft.com/office/drawing/2014/main" id="{B1C80695-4538-4709-8895-B45D7813B1F8}"/>
              </a:ext>
            </a:extLst>
          </p:cNvPr>
          <p:cNvCxnSpPr>
            <a:cxnSpLocks/>
            <a:endCxn id="38" idx="1"/>
          </p:cNvCxnSpPr>
          <p:nvPr/>
        </p:nvCxnSpPr>
        <p:spPr>
          <a:xfrm>
            <a:off x="2537552" y="3429000"/>
            <a:ext cx="862628" cy="0"/>
          </a:xfrm>
          <a:prstGeom prst="straightConnector1">
            <a:avLst/>
          </a:prstGeom>
          <a:noFill/>
          <a:ln w="9525" cap="flat" cmpd="sng" algn="ctr">
            <a:solidFill>
              <a:srgbClr val="000000"/>
            </a:solidFill>
            <a:prstDash val="solid"/>
            <a:headEnd type="triangle"/>
            <a:tailEnd type="triangle"/>
          </a:ln>
          <a:effectLst/>
        </p:spPr>
      </p:cxnSp>
      <p:cxnSp>
        <p:nvCxnSpPr>
          <p:cNvPr id="44" name="Straight Arrow Connector 43">
            <a:extLst>
              <a:ext uri="{FF2B5EF4-FFF2-40B4-BE49-F238E27FC236}">
                <a16:creationId xmlns:a16="http://schemas.microsoft.com/office/drawing/2014/main" id="{5B21A6D4-0ED4-45C4-868B-9257C24F0209}"/>
              </a:ext>
            </a:extLst>
          </p:cNvPr>
          <p:cNvCxnSpPr>
            <a:stCxn id="38" idx="3"/>
            <a:endCxn id="40" idx="1"/>
          </p:cNvCxnSpPr>
          <p:nvPr/>
        </p:nvCxnSpPr>
        <p:spPr>
          <a:xfrm>
            <a:off x="4773508" y="3429000"/>
            <a:ext cx="1777419" cy="0"/>
          </a:xfrm>
          <a:prstGeom prst="straightConnector1">
            <a:avLst/>
          </a:prstGeom>
          <a:noFill/>
          <a:ln w="9525" cap="flat" cmpd="sng" algn="ctr">
            <a:solidFill>
              <a:srgbClr val="000000"/>
            </a:solidFill>
            <a:prstDash val="solid"/>
            <a:headEnd type="none"/>
            <a:tailEnd type="triangle"/>
          </a:ln>
          <a:effectLst/>
        </p:spPr>
      </p:cxnSp>
      <p:cxnSp>
        <p:nvCxnSpPr>
          <p:cNvPr id="45" name="Connector: Elbow 44">
            <a:extLst>
              <a:ext uri="{FF2B5EF4-FFF2-40B4-BE49-F238E27FC236}">
                <a16:creationId xmlns:a16="http://schemas.microsoft.com/office/drawing/2014/main" id="{D24A44BD-7FD6-409B-A00E-B23F6C22B5FF}"/>
              </a:ext>
            </a:extLst>
          </p:cNvPr>
          <p:cNvCxnSpPr>
            <a:cxnSpLocks/>
            <a:endCxn id="39" idx="2"/>
          </p:cNvCxnSpPr>
          <p:nvPr/>
        </p:nvCxnSpPr>
        <p:spPr>
          <a:xfrm>
            <a:off x="4773508" y="3642082"/>
            <a:ext cx="1927542" cy="1294320"/>
          </a:xfrm>
          <a:prstGeom prst="bentConnector3">
            <a:avLst/>
          </a:prstGeom>
          <a:noFill/>
          <a:ln w="9525" cap="flat" cmpd="sng" algn="ctr">
            <a:solidFill>
              <a:srgbClr val="000000"/>
            </a:solidFill>
            <a:prstDash val="solid"/>
            <a:headEnd type="none"/>
            <a:tailEnd type="triangle"/>
          </a:ln>
          <a:effectLst/>
        </p:spPr>
      </p:cxnSp>
      <p:cxnSp>
        <p:nvCxnSpPr>
          <p:cNvPr id="46" name="Straight Arrow Connector 45">
            <a:extLst>
              <a:ext uri="{FF2B5EF4-FFF2-40B4-BE49-F238E27FC236}">
                <a16:creationId xmlns:a16="http://schemas.microsoft.com/office/drawing/2014/main" id="{10161DC8-3EE6-42FA-9937-0694BA984AB6}"/>
              </a:ext>
            </a:extLst>
          </p:cNvPr>
          <p:cNvCxnSpPr>
            <a:stCxn id="40" idx="2"/>
          </p:cNvCxnSpPr>
          <p:nvPr/>
        </p:nvCxnSpPr>
        <p:spPr>
          <a:xfrm flipH="1">
            <a:off x="7237590" y="3861859"/>
            <a:ext cx="1" cy="499973"/>
          </a:xfrm>
          <a:prstGeom prst="straightConnector1">
            <a:avLst/>
          </a:prstGeom>
          <a:noFill/>
          <a:ln w="9525" cap="flat" cmpd="sng" algn="ctr">
            <a:solidFill>
              <a:srgbClr val="000000"/>
            </a:solidFill>
            <a:prstDash val="solid"/>
            <a:headEnd type="none"/>
            <a:tailEnd type="triangle"/>
          </a:ln>
          <a:effectLst/>
        </p:spPr>
      </p:cxnSp>
      <p:cxnSp>
        <p:nvCxnSpPr>
          <p:cNvPr id="47" name="Straight Arrow Connector 46">
            <a:extLst>
              <a:ext uri="{FF2B5EF4-FFF2-40B4-BE49-F238E27FC236}">
                <a16:creationId xmlns:a16="http://schemas.microsoft.com/office/drawing/2014/main" id="{251EB627-BCF0-431C-8A8D-D7F2A884317A}"/>
              </a:ext>
            </a:extLst>
          </p:cNvPr>
          <p:cNvCxnSpPr>
            <a:stCxn id="41" idx="2"/>
            <a:endCxn id="40" idx="0"/>
          </p:cNvCxnSpPr>
          <p:nvPr/>
        </p:nvCxnSpPr>
        <p:spPr>
          <a:xfrm>
            <a:off x="7237590" y="2455764"/>
            <a:ext cx="1" cy="540377"/>
          </a:xfrm>
          <a:prstGeom prst="straightConnector1">
            <a:avLst/>
          </a:prstGeom>
          <a:noFill/>
          <a:ln w="9525" cap="flat" cmpd="sng" algn="ctr">
            <a:solidFill>
              <a:srgbClr val="000000"/>
            </a:solidFill>
            <a:prstDash val="solid"/>
            <a:headEnd type="triangle"/>
            <a:tailEnd type="triangle"/>
          </a:ln>
          <a:effectLst/>
        </p:spPr>
      </p:cxnSp>
      <p:sp>
        <p:nvSpPr>
          <p:cNvPr id="61" name="TextBox 60">
            <a:extLst>
              <a:ext uri="{FF2B5EF4-FFF2-40B4-BE49-F238E27FC236}">
                <a16:creationId xmlns:a16="http://schemas.microsoft.com/office/drawing/2014/main" id="{D8834871-D238-442C-BCC3-B322EB340623}"/>
              </a:ext>
            </a:extLst>
          </p:cNvPr>
          <p:cNvSpPr txBox="1"/>
          <p:nvPr/>
        </p:nvSpPr>
        <p:spPr>
          <a:xfrm>
            <a:off x="2017554" y="6007395"/>
            <a:ext cx="871870" cy="246221"/>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Things</a:t>
            </a:r>
          </a:p>
        </p:txBody>
      </p:sp>
      <p:sp>
        <p:nvSpPr>
          <p:cNvPr id="62" name="TextBox 61">
            <a:extLst>
              <a:ext uri="{FF2B5EF4-FFF2-40B4-BE49-F238E27FC236}">
                <a16:creationId xmlns:a16="http://schemas.microsoft.com/office/drawing/2014/main" id="{841B8A65-D2F6-449D-9554-034E0AB8CBBB}"/>
              </a:ext>
            </a:extLst>
          </p:cNvPr>
          <p:cNvSpPr txBox="1"/>
          <p:nvPr/>
        </p:nvSpPr>
        <p:spPr>
          <a:xfrm>
            <a:off x="5608896" y="6007395"/>
            <a:ext cx="871870" cy="246221"/>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Insights</a:t>
            </a:r>
          </a:p>
        </p:txBody>
      </p:sp>
      <p:sp>
        <p:nvSpPr>
          <p:cNvPr id="63" name="TextBox 62">
            <a:extLst>
              <a:ext uri="{FF2B5EF4-FFF2-40B4-BE49-F238E27FC236}">
                <a16:creationId xmlns:a16="http://schemas.microsoft.com/office/drawing/2014/main" id="{785885D6-4D82-4678-9EF8-E57421E749EC}"/>
              </a:ext>
            </a:extLst>
          </p:cNvPr>
          <p:cNvSpPr txBox="1"/>
          <p:nvPr/>
        </p:nvSpPr>
        <p:spPr>
          <a:xfrm>
            <a:off x="9216702" y="6007395"/>
            <a:ext cx="871870" cy="246221"/>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Actions</a:t>
            </a:r>
          </a:p>
        </p:txBody>
      </p:sp>
      <p:cxnSp>
        <p:nvCxnSpPr>
          <p:cNvPr id="65" name="Connector: Elbow 64">
            <a:extLst>
              <a:ext uri="{FF2B5EF4-FFF2-40B4-BE49-F238E27FC236}">
                <a16:creationId xmlns:a16="http://schemas.microsoft.com/office/drawing/2014/main" id="{F381FB92-4318-4B79-B3BF-78C890FB5ACF}"/>
              </a:ext>
            </a:extLst>
          </p:cNvPr>
          <p:cNvCxnSpPr>
            <a:stCxn id="42" idx="0"/>
            <a:endCxn id="41" idx="3"/>
          </p:cNvCxnSpPr>
          <p:nvPr/>
        </p:nvCxnSpPr>
        <p:spPr>
          <a:xfrm rot="16200000" flipV="1">
            <a:off x="8647752" y="1299407"/>
            <a:ext cx="973236" cy="2420232"/>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612FAD85-4F88-44C5-A301-66E37B811AE7}"/>
              </a:ext>
            </a:extLst>
          </p:cNvPr>
          <p:cNvCxnSpPr>
            <a:stCxn id="40" idx="3"/>
            <a:endCxn id="42" idx="1"/>
          </p:cNvCxnSpPr>
          <p:nvPr/>
        </p:nvCxnSpPr>
        <p:spPr>
          <a:xfrm>
            <a:off x="7924255" y="3429000"/>
            <a:ext cx="1733567"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88200797-5283-45FC-A3BA-AE920C51B73D}"/>
              </a:ext>
            </a:extLst>
          </p:cNvPr>
          <p:cNvCxnSpPr>
            <a:stCxn id="39" idx="4"/>
            <a:endCxn id="42" idx="2"/>
          </p:cNvCxnSpPr>
          <p:nvPr/>
        </p:nvCxnSpPr>
        <p:spPr>
          <a:xfrm flipV="1">
            <a:off x="7774133" y="3861859"/>
            <a:ext cx="2570353" cy="1074543"/>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CC6BCEF1-BCCF-4D53-B271-0787C9754E26}"/>
              </a:ext>
            </a:extLst>
          </p:cNvPr>
          <p:cNvSpPr txBox="1"/>
          <p:nvPr/>
        </p:nvSpPr>
        <p:spPr>
          <a:xfrm>
            <a:off x="2603722" y="2967329"/>
            <a:ext cx="723540" cy="369332"/>
          </a:xfrm>
          <a:prstGeom prst="rect">
            <a:avLst/>
          </a:prstGeom>
          <a:noFill/>
        </p:spPr>
        <p:txBody>
          <a:bodyPr wrap="square" lIns="0" tIns="0" rIns="0" bIns="0"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Provision and send data from device to cloud</a:t>
            </a:r>
          </a:p>
        </p:txBody>
      </p:sp>
      <p:sp>
        <p:nvSpPr>
          <p:cNvPr id="73" name="TextBox 72">
            <a:extLst>
              <a:ext uri="{FF2B5EF4-FFF2-40B4-BE49-F238E27FC236}">
                <a16:creationId xmlns:a16="http://schemas.microsoft.com/office/drawing/2014/main" id="{5F65EC3B-DD45-477D-9269-BDE229F48415}"/>
              </a:ext>
            </a:extLst>
          </p:cNvPr>
          <p:cNvSpPr txBox="1"/>
          <p:nvPr/>
        </p:nvSpPr>
        <p:spPr>
          <a:xfrm>
            <a:off x="2603722" y="3521340"/>
            <a:ext cx="723540" cy="246221"/>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Device Management</a:t>
            </a:r>
          </a:p>
        </p:txBody>
      </p:sp>
      <p:sp>
        <p:nvSpPr>
          <p:cNvPr id="74" name="TextBox 73">
            <a:extLst>
              <a:ext uri="{FF2B5EF4-FFF2-40B4-BE49-F238E27FC236}">
                <a16:creationId xmlns:a16="http://schemas.microsoft.com/office/drawing/2014/main" id="{86EB3ED3-9FAB-41F1-8DD2-94FCF7A46A65}"/>
              </a:ext>
            </a:extLst>
          </p:cNvPr>
          <p:cNvSpPr txBox="1"/>
          <p:nvPr/>
        </p:nvSpPr>
        <p:spPr>
          <a:xfrm>
            <a:off x="5062836" y="3075259"/>
            <a:ext cx="1291214" cy="246221"/>
          </a:xfrm>
          <a:prstGeom prst="rect">
            <a:avLst/>
          </a:prstGeom>
          <a:noFill/>
        </p:spPr>
        <p:txBody>
          <a:bodyPr wrap="square" lIns="0" tIns="0" rIns="0" bIns="0"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Stream processing and rules evaluation over data</a:t>
            </a:r>
          </a:p>
        </p:txBody>
      </p:sp>
      <p:sp>
        <p:nvSpPr>
          <p:cNvPr id="75" name="TextBox 74">
            <a:extLst>
              <a:ext uri="{FF2B5EF4-FFF2-40B4-BE49-F238E27FC236}">
                <a16:creationId xmlns:a16="http://schemas.microsoft.com/office/drawing/2014/main" id="{A9C05937-8DC0-4A89-8D55-43E1B00B5951}"/>
              </a:ext>
            </a:extLst>
          </p:cNvPr>
          <p:cNvSpPr txBox="1"/>
          <p:nvPr/>
        </p:nvSpPr>
        <p:spPr>
          <a:xfrm>
            <a:off x="5864313" y="4752646"/>
            <a:ext cx="645607" cy="123111"/>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Store data</a:t>
            </a:r>
          </a:p>
        </p:txBody>
      </p:sp>
      <p:sp>
        <p:nvSpPr>
          <p:cNvPr id="76" name="TextBox 75">
            <a:extLst>
              <a:ext uri="{FF2B5EF4-FFF2-40B4-BE49-F238E27FC236}">
                <a16:creationId xmlns:a16="http://schemas.microsoft.com/office/drawing/2014/main" id="{CA3D115E-C624-4B1D-8A8C-C3ADA4A6F900}"/>
              </a:ext>
            </a:extLst>
          </p:cNvPr>
          <p:cNvSpPr txBox="1"/>
          <p:nvPr/>
        </p:nvSpPr>
        <p:spPr>
          <a:xfrm>
            <a:off x="8437462" y="4748931"/>
            <a:ext cx="1679125" cy="123111"/>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Integrate with business processes</a:t>
            </a:r>
          </a:p>
        </p:txBody>
      </p:sp>
      <p:sp>
        <p:nvSpPr>
          <p:cNvPr id="77" name="TextBox 76">
            <a:extLst>
              <a:ext uri="{FF2B5EF4-FFF2-40B4-BE49-F238E27FC236}">
                <a16:creationId xmlns:a16="http://schemas.microsoft.com/office/drawing/2014/main" id="{BC56C8A7-5EF4-4FE5-9B81-D5633E28320B}"/>
              </a:ext>
            </a:extLst>
          </p:cNvPr>
          <p:cNvSpPr txBox="1"/>
          <p:nvPr/>
        </p:nvSpPr>
        <p:spPr>
          <a:xfrm>
            <a:off x="8437461" y="1823803"/>
            <a:ext cx="1679125" cy="123111"/>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Visualize data and learnings</a:t>
            </a:r>
          </a:p>
        </p:txBody>
      </p:sp>
      <p:sp>
        <p:nvSpPr>
          <p:cNvPr id="57" name="Oval 56">
            <a:extLst>
              <a:ext uri="{FF2B5EF4-FFF2-40B4-BE49-F238E27FC236}">
                <a16:creationId xmlns:a16="http://schemas.microsoft.com/office/drawing/2014/main" id="{FD1FF027-A30D-432C-A59A-5C81BE6A8966}"/>
              </a:ext>
            </a:extLst>
          </p:cNvPr>
          <p:cNvSpPr>
            <a:spLocks/>
          </p:cNvSpPr>
          <p:nvPr/>
        </p:nvSpPr>
        <p:spPr bwMode="auto">
          <a:xfrm>
            <a:off x="2170966" y="5345501"/>
            <a:ext cx="548640" cy="54864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58" name="Freeform: Shape 57">
            <a:extLst>
              <a:ext uri="{FF2B5EF4-FFF2-40B4-BE49-F238E27FC236}">
                <a16:creationId xmlns:a16="http://schemas.microsoft.com/office/drawing/2014/main" id="{DD6FA760-4FC3-40BC-80C0-3C7D8E0530E2}"/>
              </a:ext>
            </a:extLst>
          </p:cNvPr>
          <p:cNvSpPr>
            <a:spLocks noChangeAspect="1" noChangeArrowheads="1"/>
          </p:cNvSpPr>
          <p:nvPr/>
        </p:nvSpPr>
        <p:spPr bwMode="auto">
          <a:xfrm rot="2700000">
            <a:off x="2311065" y="5454692"/>
            <a:ext cx="274320" cy="274320"/>
          </a:xfrm>
          <a:custGeom>
            <a:avLst/>
            <a:gdLst>
              <a:gd name="connsiteX0" fmla="*/ 546713 w 700850"/>
              <a:gd name="connsiteY0" fmla="*/ 546768 h 700855"/>
              <a:gd name="connsiteX1" fmla="*/ 609420 w 700850"/>
              <a:gd name="connsiteY1" fmla="*/ 520743 h 700855"/>
              <a:gd name="connsiteX2" fmla="*/ 698101 w 700850"/>
              <a:gd name="connsiteY2" fmla="*/ 609596 h 700855"/>
              <a:gd name="connsiteX3" fmla="*/ 609420 w 700850"/>
              <a:gd name="connsiteY3" fmla="*/ 698449 h 700855"/>
              <a:gd name="connsiteX4" fmla="*/ 520739 w 700850"/>
              <a:gd name="connsiteY4" fmla="*/ 609596 h 700855"/>
              <a:gd name="connsiteX5" fmla="*/ 546713 w 700850"/>
              <a:gd name="connsiteY5" fmla="*/ 546768 h 700855"/>
              <a:gd name="connsiteX6" fmla="*/ 435700 w 700850"/>
              <a:gd name="connsiteY6" fmla="*/ 435945 h 700855"/>
              <a:gd name="connsiteX7" fmla="*/ 700850 w 700850"/>
              <a:gd name="connsiteY7" fmla="*/ 326194 h 700855"/>
              <a:gd name="connsiteX8" fmla="*/ 700850 w 700850"/>
              <a:gd name="connsiteY8" fmla="*/ 397868 h 700855"/>
              <a:gd name="connsiteX9" fmla="*/ 397588 w 700850"/>
              <a:gd name="connsiteY9" fmla="*/ 700854 h 700855"/>
              <a:gd name="connsiteX10" fmla="*/ 325849 w 700850"/>
              <a:gd name="connsiteY10" fmla="*/ 700854 h 700855"/>
              <a:gd name="connsiteX11" fmla="*/ 435700 w 700850"/>
              <a:gd name="connsiteY11" fmla="*/ 435945 h 700855"/>
              <a:gd name="connsiteX12" fmla="*/ 320634 w 700850"/>
              <a:gd name="connsiteY12" fmla="*/ 320880 h 700855"/>
              <a:gd name="connsiteX13" fmla="*/ 700850 w 700850"/>
              <a:gd name="connsiteY13" fmla="*/ 163270 h 700855"/>
              <a:gd name="connsiteX14" fmla="*/ 700850 w 700850"/>
              <a:gd name="connsiteY14" fmla="*/ 234948 h 700855"/>
              <a:gd name="connsiteX15" fmla="*/ 234647 w 700850"/>
              <a:gd name="connsiteY15" fmla="*/ 700854 h 700855"/>
              <a:gd name="connsiteX16" fmla="*/ 162924 w 700850"/>
              <a:gd name="connsiteY16" fmla="*/ 700854 h 700855"/>
              <a:gd name="connsiteX17" fmla="*/ 320634 w 700850"/>
              <a:gd name="connsiteY17" fmla="*/ 320880 h 700855"/>
              <a:gd name="connsiteX18" fmla="*/ 205365 w 700850"/>
              <a:gd name="connsiteY18" fmla="*/ 205367 h 700855"/>
              <a:gd name="connsiteX19" fmla="*/ 700850 w 700850"/>
              <a:gd name="connsiteY19" fmla="*/ 0 h 700855"/>
              <a:gd name="connsiteX20" fmla="*/ 700850 w 700850"/>
              <a:gd name="connsiteY20" fmla="*/ 71716 h 700855"/>
              <a:gd name="connsiteX21" fmla="*/ 71715 w 700850"/>
              <a:gd name="connsiteY21" fmla="*/ 700854 h 700855"/>
              <a:gd name="connsiteX22" fmla="*/ 0 w 700850"/>
              <a:gd name="connsiteY22" fmla="*/ 700855 h 700855"/>
              <a:gd name="connsiteX23" fmla="*/ 205365 w 700850"/>
              <a:gd name="connsiteY23" fmla="*/ 205367 h 70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0850" h="700855">
                <a:moveTo>
                  <a:pt x="546713" y="546768"/>
                </a:moveTo>
                <a:cubicBezTo>
                  <a:pt x="562761" y="530688"/>
                  <a:pt x="584932" y="520743"/>
                  <a:pt x="609420" y="520743"/>
                </a:cubicBezTo>
                <a:cubicBezTo>
                  <a:pt x="658397" y="520743"/>
                  <a:pt x="698101" y="560524"/>
                  <a:pt x="698101" y="609596"/>
                </a:cubicBezTo>
                <a:cubicBezTo>
                  <a:pt x="698101" y="658668"/>
                  <a:pt x="658397" y="698449"/>
                  <a:pt x="609420" y="698449"/>
                </a:cubicBezTo>
                <a:cubicBezTo>
                  <a:pt x="560443" y="698449"/>
                  <a:pt x="520739" y="658668"/>
                  <a:pt x="520739" y="609596"/>
                </a:cubicBezTo>
                <a:cubicBezTo>
                  <a:pt x="520739" y="585060"/>
                  <a:pt x="530665" y="562847"/>
                  <a:pt x="546713" y="546768"/>
                </a:cubicBezTo>
                <a:close/>
                <a:moveTo>
                  <a:pt x="435700" y="435945"/>
                </a:moveTo>
                <a:cubicBezTo>
                  <a:pt x="503567" y="368140"/>
                  <a:pt x="597317" y="326194"/>
                  <a:pt x="700850" y="326194"/>
                </a:cubicBezTo>
                <a:cubicBezTo>
                  <a:pt x="700850" y="397868"/>
                  <a:pt x="700850" y="397868"/>
                  <a:pt x="700850" y="397868"/>
                </a:cubicBezTo>
                <a:cubicBezTo>
                  <a:pt x="533730" y="397868"/>
                  <a:pt x="397588" y="533886"/>
                  <a:pt x="397588" y="700854"/>
                </a:cubicBezTo>
                <a:cubicBezTo>
                  <a:pt x="325849" y="700854"/>
                  <a:pt x="325849" y="700854"/>
                  <a:pt x="325849" y="700854"/>
                </a:cubicBezTo>
                <a:cubicBezTo>
                  <a:pt x="325849" y="597415"/>
                  <a:pt x="367833" y="503750"/>
                  <a:pt x="435700" y="435945"/>
                </a:cubicBezTo>
                <a:close/>
                <a:moveTo>
                  <a:pt x="320634" y="320880"/>
                </a:moveTo>
                <a:cubicBezTo>
                  <a:pt x="418031" y="223545"/>
                  <a:pt x="552513" y="163270"/>
                  <a:pt x="700850" y="163270"/>
                </a:cubicBezTo>
                <a:cubicBezTo>
                  <a:pt x="700850" y="234948"/>
                  <a:pt x="700850" y="234948"/>
                  <a:pt x="700850" y="234948"/>
                </a:cubicBezTo>
                <a:cubicBezTo>
                  <a:pt x="444112" y="234948"/>
                  <a:pt x="234647" y="444280"/>
                  <a:pt x="234647" y="700854"/>
                </a:cubicBezTo>
                <a:cubicBezTo>
                  <a:pt x="162924" y="700854"/>
                  <a:pt x="162924" y="700854"/>
                  <a:pt x="162924" y="700854"/>
                </a:cubicBezTo>
                <a:cubicBezTo>
                  <a:pt x="162924" y="552611"/>
                  <a:pt x="223237" y="418215"/>
                  <a:pt x="320634" y="320880"/>
                </a:cubicBezTo>
                <a:close/>
                <a:moveTo>
                  <a:pt x="205365" y="205367"/>
                </a:moveTo>
                <a:cubicBezTo>
                  <a:pt x="337386" y="72531"/>
                  <a:pt x="513413" y="1"/>
                  <a:pt x="700850" y="0"/>
                </a:cubicBezTo>
                <a:cubicBezTo>
                  <a:pt x="700850" y="71716"/>
                  <a:pt x="700850" y="71716"/>
                  <a:pt x="700850" y="71716"/>
                </a:cubicBezTo>
                <a:cubicBezTo>
                  <a:pt x="353684" y="71716"/>
                  <a:pt x="71715" y="353687"/>
                  <a:pt x="71715" y="700854"/>
                </a:cubicBezTo>
                <a:cubicBezTo>
                  <a:pt x="0" y="700855"/>
                  <a:pt x="0" y="700855"/>
                  <a:pt x="0" y="700855"/>
                </a:cubicBezTo>
                <a:cubicBezTo>
                  <a:pt x="0" y="513417"/>
                  <a:pt x="72529" y="337388"/>
                  <a:pt x="205365" y="205367"/>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5" tIns="47552" rIns="95105" bIns="47552" numCol="1" anchor="t" anchorCtr="0" compatLnSpc="1">
            <a:prstTxWarp prst="textNoShape">
              <a:avLst/>
            </a:prstTxWarp>
            <a:noAutofit/>
          </a:bodyPr>
          <a:lstStyle/>
          <a:p>
            <a:pPr marL="0" marR="0" lvl="0" indent="0" algn="l" defTabSz="951061" rtl="0" eaLnBrk="1" fontAlgn="auto" latinLnBrk="0" hangingPunct="1">
              <a:lnSpc>
                <a:spcPct val="100000"/>
              </a:lnSpc>
              <a:spcBef>
                <a:spcPts val="0"/>
              </a:spcBef>
              <a:spcAft>
                <a:spcPts val="0"/>
              </a:spcAft>
              <a:buClrTx/>
              <a:buSzTx/>
              <a:buFontTx/>
              <a:buNone/>
              <a:tabLst/>
              <a:defRPr/>
            </a:pPr>
            <a:endParaRPr kumimoji="0" lang="en-US" sz="6599" b="0" i="0" u="none" strike="noStrike" kern="1200" cap="none" spc="0" normalizeH="0" baseline="0" noProof="0">
              <a:ln>
                <a:noFill/>
              </a:ln>
              <a:solidFill>
                <a:prstClr val="black"/>
              </a:solidFill>
              <a:effectLst/>
              <a:uLnTx/>
              <a:uFillTx/>
              <a:latin typeface="Segoe UI Light"/>
              <a:ea typeface="+mn-ea"/>
              <a:cs typeface="+mn-cs"/>
            </a:endParaRPr>
          </a:p>
        </p:txBody>
      </p:sp>
      <p:sp>
        <p:nvSpPr>
          <p:cNvPr id="60" name="Oval 59">
            <a:extLst>
              <a:ext uri="{FF2B5EF4-FFF2-40B4-BE49-F238E27FC236}">
                <a16:creationId xmlns:a16="http://schemas.microsoft.com/office/drawing/2014/main" id="{34DF50FE-101E-437E-9149-62E9E2CF8D4A}"/>
              </a:ext>
            </a:extLst>
          </p:cNvPr>
          <p:cNvSpPr>
            <a:spLocks/>
          </p:cNvSpPr>
          <p:nvPr/>
        </p:nvSpPr>
        <p:spPr bwMode="auto">
          <a:xfrm>
            <a:off x="5821680" y="5343601"/>
            <a:ext cx="548640" cy="54864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59" name="Freeform: Shape 58">
            <a:extLst>
              <a:ext uri="{FF2B5EF4-FFF2-40B4-BE49-F238E27FC236}">
                <a16:creationId xmlns:a16="http://schemas.microsoft.com/office/drawing/2014/main" id="{3F7EF8FE-9E73-46FA-ACBE-6E21991D6792}"/>
              </a:ext>
            </a:extLst>
          </p:cNvPr>
          <p:cNvSpPr>
            <a:spLocks noChangeAspect="1"/>
          </p:cNvSpPr>
          <p:nvPr/>
        </p:nvSpPr>
        <p:spPr bwMode="auto">
          <a:xfrm>
            <a:off x="5983417" y="5440138"/>
            <a:ext cx="225165" cy="365760"/>
          </a:xfrm>
          <a:custGeom>
            <a:avLst/>
            <a:gdLst>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377800 w 528287"/>
              <a:gd name="connsiteY32" fmla="*/ 94874 h 858155"/>
              <a:gd name="connsiteX33" fmla="*/ 143953 w 528287"/>
              <a:gd name="connsiteY33" fmla="*/ 99114 h 858155"/>
              <a:gd name="connsiteX34" fmla="*/ 65532 w 528287"/>
              <a:gd name="connsiteY34" fmla="*/ 281902 h 858155"/>
              <a:gd name="connsiteX35" fmla="*/ 117970 w 528287"/>
              <a:gd name="connsiteY35" fmla="*/ 409570 h 858155"/>
              <a:gd name="connsiteX36" fmla="*/ 183636 w 528287"/>
              <a:gd name="connsiteY36" fmla="*/ 538652 h 858155"/>
              <a:gd name="connsiteX37" fmla="*/ 197809 w 528287"/>
              <a:gd name="connsiteY37" fmla="*/ 621566 h 858155"/>
              <a:gd name="connsiteX38" fmla="*/ 142064 w 528287"/>
              <a:gd name="connsiteY38" fmla="*/ 621566 h 858155"/>
              <a:gd name="connsiteX39" fmla="*/ 134977 w 528287"/>
              <a:gd name="connsiteY39" fmla="*/ 614028 h 858155"/>
              <a:gd name="connsiteX40" fmla="*/ 93405 w 528287"/>
              <a:gd name="connsiteY40" fmla="*/ 493426 h 858155"/>
              <a:gd name="connsiteX41" fmla="*/ 28684 w 528287"/>
              <a:gd name="connsiteY41" fmla="*/ 376122 h 858155"/>
              <a:gd name="connsiteX42" fmla="*/ 6008 w 528287"/>
              <a:gd name="connsiteY42" fmla="*/ 196632 h 858155"/>
              <a:gd name="connsiteX43" fmla="*/ 131671 w 528287"/>
              <a:gd name="connsiteY43" fmla="*/ 32218 h 858155"/>
              <a:gd name="connsiteX44" fmla="*/ 266900 w 528287"/>
              <a:gd name="connsiteY44" fmla="*/ 6 h 85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28287" h="858155">
                <a:moveTo>
                  <a:pt x="180897" y="808532"/>
                </a:moveTo>
                <a:cubicBezTo>
                  <a:pt x="237061" y="808532"/>
                  <a:pt x="292752" y="808532"/>
                  <a:pt x="351275" y="808532"/>
                </a:cubicBezTo>
                <a:cubicBezTo>
                  <a:pt x="332869" y="824175"/>
                  <a:pt x="317294" y="838396"/>
                  <a:pt x="300775" y="851668"/>
                </a:cubicBezTo>
                <a:cubicBezTo>
                  <a:pt x="296056" y="855461"/>
                  <a:pt x="288504" y="857831"/>
                  <a:pt x="281897" y="857831"/>
                </a:cubicBezTo>
                <a:cubicBezTo>
                  <a:pt x="226206" y="857357"/>
                  <a:pt x="239892" y="864941"/>
                  <a:pt x="198832" y="827019"/>
                </a:cubicBezTo>
                <a:cubicBezTo>
                  <a:pt x="192696" y="821331"/>
                  <a:pt x="187505" y="815168"/>
                  <a:pt x="180897" y="808532"/>
                </a:cubicBezTo>
                <a:close/>
                <a:moveTo>
                  <a:pt x="182285" y="731401"/>
                </a:moveTo>
                <a:cubicBezTo>
                  <a:pt x="237543" y="731401"/>
                  <a:pt x="292328" y="731401"/>
                  <a:pt x="347585" y="731401"/>
                </a:cubicBezTo>
                <a:cubicBezTo>
                  <a:pt x="365532" y="731401"/>
                  <a:pt x="375450" y="740280"/>
                  <a:pt x="375450" y="755235"/>
                </a:cubicBezTo>
                <a:cubicBezTo>
                  <a:pt x="374978" y="770189"/>
                  <a:pt x="365532" y="778134"/>
                  <a:pt x="347585" y="778134"/>
                </a:cubicBezTo>
                <a:cubicBezTo>
                  <a:pt x="320193" y="778601"/>
                  <a:pt x="292328" y="778601"/>
                  <a:pt x="264935" y="778601"/>
                </a:cubicBezTo>
                <a:cubicBezTo>
                  <a:pt x="237070" y="778601"/>
                  <a:pt x="209678" y="778601"/>
                  <a:pt x="181813" y="778134"/>
                </a:cubicBezTo>
                <a:cubicBezTo>
                  <a:pt x="165283" y="778134"/>
                  <a:pt x="154420" y="768787"/>
                  <a:pt x="154893" y="754300"/>
                </a:cubicBezTo>
                <a:cubicBezTo>
                  <a:pt x="155365" y="740280"/>
                  <a:pt x="165283" y="731401"/>
                  <a:pt x="182285" y="731401"/>
                </a:cubicBezTo>
                <a:close/>
                <a:moveTo>
                  <a:pt x="174924" y="655422"/>
                </a:moveTo>
                <a:cubicBezTo>
                  <a:pt x="235089" y="655422"/>
                  <a:pt x="295255" y="655422"/>
                  <a:pt x="354947" y="655422"/>
                </a:cubicBezTo>
                <a:cubicBezTo>
                  <a:pt x="369633" y="655422"/>
                  <a:pt x="379581" y="664350"/>
                  <a:pt x="379581" y="677976"/>
                </a:cubicBezTo>
                <a:cubicBezTo>
                  <a:pt x="380055" y="691133"/>
                  <a:pt x="370107" y="701000"/>
                  <a:pt x="355421" y="701000"/>
                </a:cubicBezTo>
                <a:cubicBezTo>
                  <a:pt x="325575" y="701470"/>
                  <a:pt x="295255" y="701000"/>
                  <a:pt x="264935" y="701000"/>
                </a:cubicBezTo>
                <a:cubicBezTo>
                  <a:pt x="235089" y="701000"/>
                  <a:pt x="205243" y="701000"/>
                  <a:pt x="175397" y="701000"/>
                </a:cubicBezTo>
                <a:cubicBezTo>
                  <a:pt x="159764" y="701000"/>
                  <a:pt x="150289" y="692542"/>
                  <a:pt x="149815" y="678446"/>
                </a:cubicBezTo>
                <a:cubicBezTo>
                  <a:pt x="149815" y="664350"/>
                  <a:pt x="159290" y="655422"/>
                  <a:pt x="174924" y="655422"/>
                </a:cubicBezTo>
                <a:close/>
                <a:moveTo>
                  <a:pt x="266900" y="6"/>
                </a:moveTo>
                <a:cubicBezTo>
                  <a:pt x="312016" y="300"/>
                  <a:pt x="357014" y="11725"/>
                  <a:pt x="401421" y="34573"/>
                </a:cubicBezTo>
                <a:cubicBezTo>
                  <a:pt x="484566" y="77914"/>
                  <a:pt x="523777" y="149993"/>
                  <a:pt x="528029" y="242329"/>
                </a:cubicBezTo>
                <a:cubicBezTo>
                  <a:pt x="530863" y="305928"/>
                  <a:pt x="510077" y="362460"/>
                  <a:pt x="479842" y="416637"/>
                </a:cubicBezTo>
                <a:cubicBezTo>
                  <a:pt x="470394" y="433125"/>
                  <a:pt x="460945" y="450085"/>
                  <a:pt x="451025" y="466574"/>
                </a:cubicBezTo>
                <a:cubicBezTo>
                  <a:pt x="422680" y="514626"/>
                  <a:pt x="393862" y="562207"/>
                  <a:pt x="393390" y="621095"/>
                </a:cubicBezTo>
                <a:cubicBezTo>
                  <a:pt x="372131" y="621095"/>
                  <a:pt x="352289" y="621095"/>
                  <a:pt x="331503" y="621095"/>
                </a:cubicBezTo>
                <a:cubicBezTo>
                  <a:pt x="331031" y="590002"/>
                  <a:pt x="335282" y="560323"/>
                  <a:pt x="347093" y="532528"/>
                </a:cubicBezTo>
                <a:cubicBezTo>
                  <a:pt x="363155" y="496724"/>
                  <a:pt x="381107" y="461862"/>
                  <a:pt x="400476" y="427943"/>
                </a:cubicBezTo>
                <a:cubicBezTo>
                  <a:pt x="422680" y="387899"/>
                  <a:pt x="447245" y="349740"/>
                  <a:pt x="458583" y="304986"/>
                </a:cubicBezTo>
                <a:cubicBezTo>
                  <a:pt x="480315" y="219245"/>
                  <a:pt x="449607" y="135389"/>
                  <a:pt x="377800" y="94874"/>
                </a:cubicBezTo>
                <a:cubicBezTo>
                  <a:pt x="299851" y="50590"/>
                  <a:pt x="220013" y="51533"/>
                  <a:pt x="143953" y="99114"/>
                </a:cubicBezTo>
                <a:cubicBezTo>
                  <a:pt x="77343" y="141042"/>
                  <a:pt x="57029" y="206525"/>
                  <a:pt x="65532" y="281902"/>
                </a:cubicBezTo>
                <a:cubicBezTo>
                  <a:pt x="71201" y="329012"/>
                  <a:pt x="93877" y="369527"/>
                  <a:pt x="117970" y="409570"/>
                </a:cubicBezTo>
                <a:cubicBezTo>
                  <a:pt x="142536" y="451498"/>
                  <a:pt x="168519" y="492013"/>
                  <a:pt x="183636" y="538652"/>
                </a:cubicBezTo>
                <a:cubicBezTo>
                  <a:pt x="192140" y="565034"/>
                  <a:pt x="197809" y="591887"/>
                  <a:pt x="197809" y="621566"/>
                </a:cubicBezTo>
                <a:cubicBezTo>
                  <a:pt x="177967" y="621566"/>
                  <a:pt x="160016" y="622037"/>
                  <a:pt x="142064" y="621566"/>
                </a:cubicBezTo>
                <a:cubicBezTo>
                  <a:pt x="139702" y="621095"/>
                  <a:pt x="135450" y="616855"/>
                  <a:pt x="134977" y="614028"/>
                </a:cubicBezTo>
                <a:cubicBezTo>
                  <a:pt x="133088" y="569745"/>
                  <a:pt x="114191" y="531114"/>
                  <a:pt x="93405" y="493426"/>
                </a:cubicBezTo>
                <a:cubicBezTo>
                  <a:pt x="71674" y="454325"/>
                  <a:pt x="48525" y="416166"/>
                  <a:pt x="28684" y="376122"/>
                </a:cubicBezTo>
                <a:cubicBezTo>
                  <a:pt x="811" y="319119"/>
                  <a:pt x="-6748" y="258818"/>
                  <a:pt x="6008" y="196632"/>
                </a:cubicBezTo>
                <a:cubicBezTo>
                  <a:pt x="21125" y="121256"/>
                  <a:pt x="63170" y="65666"/>
                  <a:pt x="131671" y="32218"/>
                </a:cubicBezTo>
                <a:cubicBezTo>
                  <a:pt x="176550" y="10547"/>
                  <a:pt x="221784" y="-288"/>
                  <a:pt x="266900" y="6"/>
                </a:cubicBezTo>
                <a:close/>
              </a:path>
            </a:pathLst>
          </a:custGeom>
          <a:solidFill>
            <a:schemeClr val="accent1"/>
          </a:solidFill>
          <a:ln w="9525">
            <a:noFill/>
            <a:round/>
            <a:headEnd/>
            <a:tailEnd/>
          </a:ln>
        </p:spPr>
        <p:txBody>
          <a:bodyPr vert="horz" wrap="square" lIns="93235" tIns="46617" rIns="93235" bIns="46617" numCol="1" anchor="t" anchorCtr="0" compatLnSpc="1">
            <a:prstTxWarp prst="textNoShape">
              <a:avLst/>
            </a:prstTxWarp>
            <a:noAutofit/>
          </a:bodyPr>
          <a:lstStyle/>
          <a:p>
            <a:pPr marL="0" marR="0" lvl="0" indent="0" algn="l" defTabSz="932507"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505050"/>
              </a:solidFill>
              <a:effectLst/>
              <a:uLnTx/>
              <a:uFillTx/>
              <a:latin typeface="Segoe UI Light"/>
              <a:ea typeface="+mn-ea"/>
              <a:cs typeface="+mn-cs"/>
            </a:endParaRPr>
          </a:p>
        </p:txBody>
      </p:sp>
      <p:sp>
        <p:nvSpPr>
          <p:cNvPr id="64" name="Oval 63">
            <a:extLst>
              <a:ext uri="{FF2B5EF4-FFF2-40B4-BE49-F238E27FC236}">
                <a16:creationId xmlns:a16="http://schemas.microsoft.com/office/drawing/2014/main" id="{D5D014B7-4506-4D79-B062-DCE89F60826B}"/>
              </a:ext>
            </a:extLst>
          </p:cNvPr>
          <p:cNvSpPr>
            <a:spLocks/>
          </p:cNvSpPr>
          <p:nvPr/>
        </p:nvSpPr>
        <p:spPr bwMode="auto">
          <a:xfrm>
            <a:off x="9373616" y="5361781"/>
            <a:ext cx="548640" cy="54864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66" name="Freeform 104">
            <a:extLst>
              <a:ext uri="{FF2B5EF4-FFF2-40B4-BE49-F238E27FC236}">
                <a16:creationId xmlns:a16="http://schemas.microsoft.com/office/drawing/2014/main" id="{4FA2F955-2929-4CB7-972A-31348CDDBA29}"/>
              </a:ext>
            </a:extLst>
          </p:cNvPr>
          <p:cNvSpPr>
            <a:spLocks noChangeAspect="1"/>
          </p:cNvSpPr>
          <p:nvPr/>
        </p:nvSpPr>
        <p:spPr bwMode="black">
          <a:xfrm>
            <a:off x="9548094" y="5440138"/>
            <a:ext cx="219456" cy="36576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accent1"/>
          </a:solidFill>
          <a:ln>
            <a:noFill/>
          </a:ln>
        </p:spPr>
        <p:txBody>
          <a:bodyPr vert="horz" wrap="square" lIns="93235" tIns="46617" rIns="93235" bIns="46617" numCol="1" anchor="t" anchorCtr="0" compatLnSpc="1">
            <a:prstTxWarp prst="textNoShape">
              <a:avLst/>
            </a:prstTxWarp>
            <a:noAutofit/>
          </a:bodyPr>
          <a:lstStyle/>
          <a:p>
            <a:pPr marL="0" marR="0" lvl="0" indent="0" algn="l" defTabSz="932507"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505050"/>
              </a:solidFill>
              <a:effectLst/>
              <a:uLnTx/>
              <a:uFillTx/>
              <a:latin typeface="Segoe UI Light"/>
              <a:ea typeface="+mn-ea"/>
              <a:cs typeface="+mn-cs"/>
            </a:endParaRPr>
          </a:p>
        </p:txBody>
      </p:sp>
    </p:spTree>
    <p:extLst>
      <p:ext uri="{BB962C8B-B14F-4D97-AF65-F5344CB8AC3E}">
        <p14:creationId xmlns:p14="http://schemas.microsoft.com/office/powerpoint/2010/main" val="2250638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additive="base">
                                        <p:cTn id="7" dur="750" fill="hold"/>
                                        <p:tgtEl>
                                          <p:spTgt spid="57"/>
                                        </p:tgtEl>
                                        <p:attrNameLst>
                                          <p:attrName>ppt_x</p:attrName>
                                        </p:attrNameLst>
                                      </p:cBhvr>
                                      <p:tavLst>
                                        <p:tav tm="0">
                                          <p:val>
                                            <p:strVal val="#ppt_x"/>
                                          </p:val>
                                        </p:tav>
                                        <p:tav tm="100000">
                                          <p:val>
                                            <p:strVal val="#ppt_x"/>
                                          </p:val>
                                        </p:tav>
                                      </p:tavLst>
                                    </p:anim>
                                    <p:anim calcmode="lin" valueType="num">
                                      <p:cBhvr additive="base">
                                        <p:cTn id="8" dur="750" fill="hold"/>
                                        <p:tgtEl>
                                          <p:spTgt spid="5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750" fill="hold"/>
                                        <p:tgtEl>
                                          <p:spTgt spid="58"/>
                                        </p:tgtEl>
                                        <p:attrNameLst>
                                          <p:attrName>ppt_x</p:attrName>
                                        </p:attrNameLst>
                                      </p:cBhvr>
                                      <p:tavLst>
                                        <p:tav tm="0">
                                          <p:val>
                                            <p:strVal val="#ppt_x"/>
                                          </p:val>
                                        </p:tav>
                                        <p:tav tm="100000">
                                          <p:val>
                                            <p:strVal val="#ppt_x"/>
                                          </p:val>
                                        </p:tav>
                                      </p:tavLst>
                                    </p:anim>
                                    <p:anim calcmode="lin" valueType="num">
                                      <p:cBhvr additive="base">
                                        <p:cTn id="12" dur="750" fill="hold"/>
                                        <p:tgtEl>
                                          <p:spTgt spid="58"/>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750" fill="hold"/>
                                        <p:tgtEl>
                                          <p:spTgt spid="59"/>
                                        </p:tgtEl>
                                        <p:attrNameLst>
                                          <p:attrName>ppt_x</p:attrName>
                                        </p:attrNameLst>
                                      </p:cBhvr>
                                      <p:tavLst>
                                        <p:tav tm="0">
                                          <p:val>
                                            <p:strVal val="#ppt_x"/>
                                          </p:val>
                                        </p:tav>
                                        <p:tav tm="100000">
                                          <p:val>
                                            <p:strVal val="#ppt_x"/>
                                          </p:val>
                                        </p:tav>
                                      </p:tavLst>
                                    </p:anim>
                                    <p:anim calcmode="lin" valueType="num">
                                      <p:cBhvr additive="base">
                                        <p:cTn id="16" dur="750" fill="hold"/>
                                        <p:tgtEl>
                                          <p:spTgt spid="59"/>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60"/>
                                        </p:tgtEl>
                                        <p:attrNameLst>
                                          <p:attrName>style.visibility</p:attrName>
                                        </p:attrNameLst>
                                      </p:cBhvr>
                                      <p:to>
                                        <p:strVal val="visible"/>
                                      </p:to>
                                    </p:set>
                                    <p:anim calcmode="lin" valueType="num">
                                      <p:cBhvr additive="base">
                                        <p:cTn id="19" dur="750" fill="hold"/>
                                        <p:tgtEl>
                                          <p:spTgt spid="60"/>
                                        </p:tgtEl>
                                        <p:attrNameLst>
                                          <p:attrName>ppt_x</p:attrName>
                                        </p:attrNameLst>
                                      </p:cBhvr>
                                      <p:tavLst>
                                        <p:tav tm="0">
                                          <p:val>
                                            <p:strVal val="#ppt_x"/>
                                          </p:val>
                                        </p:tav>
                                        <p:tav tm="100000">
                                          <p:val>
                                            <p:strVal val="#ppt_x"/>
                                          </p:val>
                                        </p:tav>
                                      </p:tavLst>
                                    </p:anim>
                                    <p:anim calcmode="lin" valueType="num">
                                      <p:cBhvr additive="base">
                                        <p:cTn id="20" dur="750" fill="hold"/>
                                        <p:tgtEl>
                                          <p:spTgt spid="60"/>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64"/>
                                        </p:tgtEl>
                                        <p:attrNameLst>
                                          <p:attrName>style.visibility</p:attrName>
                                        </p:attrNameLst>
                                      </p:cBhvr>
                                      <p:to>
                                        <p:strVal val="visible"/>
                                      </p:to>
                                    </p:set>
                                    <p:anim calcmode="lin" valueType="num">
                                      <p:cBhvr additive="base">
                                        <p:cTn id="23" dur="750" fill="hold"/>
                                        <p:tgtEl>
                                          <p:spTgt spid="64"/>
                                        </p:tgtEl>
                                        <p:attrNameLst>
                                          <p:attrName>ppt_x</p:attrName>
                                        </p:attrNameLst>
                                      </p:cBhvr>
                                      <p:tavLst>
                                        <p:tav tm="0">
                                          <p:val>
                                            <p:strVal val="#ppt_x"/>
                                          </p:val>
                                        </p:tav>
                                        <p:tav tm="100000">
                                          <p:val>
                                            <p:strVal val="#ppt_x"/>
                                          </p:val>
                                        </p:tav>
                                      </p:tavLst>
                                    </p:anim>
                                    <p:anim calcmode="lin" valueType="num">
                                      <p:cBhvr additive="base">
                                        <p:cTn id="24" dur="750" fill="hold"/>
                                        <p:tgtEl>
                                          <p:spTgt spid="64"/>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66"/>
                                        </p:tgtEl>
                                        <p:attrNameLst>
                                          <p:attrName>style.visibility</p:attrName>
                                        </p:attrNameLst>
                                      </p:cBhvr>
                                      <p:to>
                                        <p:strVal val="visible"/>
                                      </p:to>
                                    </p:set>
                                    <p:anim calcmode="lin" valueType="num">
                                      <p:cBhvr additive="base">
                                        <p:cTn id="27" dur="750" fill="hold"/>
                                        <p:tgtEl>
                                          <p:spTgt spid="66"/>
                                        </p:tgtEl>
                                        <p:attrNameLst>
                                          <p:attrName>ppt_x</p:attrName>
                                        </p:attrNameLst>
                                      </p:cBhvr>
                                      <p:tavLst>
                                        <p:tav tm="0">
                                          <p:val>
                                            <p:strVal val="#ppt_x"/>
                                          </p:val>
                                        </p:tav>
                                        <p:tav tm="100000">
                                          <p:val>
                                            <p:strVal val="#ppt_x"/>
                                          </p:val>
                                        </p:tav>
                                      </p:tavLst>
                                    </p:anim>
                                    <p:anim calcmode="lin" valueType="num">
                                      <p:cBhvr additive="base">
                                        <p:cTn id="28" dur="750" fill="hold"/>
                                        <p:tgtEl>
                                          <p:spTgt spid="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8" grpId="0" animBg="1"/>
      <p:bldP spid="60" grpId="0" animBg="1"/>
      <p:bldP spid="59" grpId="0" animBg="1"/>
      <p:bldP spid="64" grpId="0" animBg="1"/>
      <p:bldP spid="6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p:cNvSpPr>
            <a:spLocks noChangeAspect="1"/>
          </p:cNvSpPr>
          <p:nvPr/>
        </p:nvSpPr>
        <p:spPr bwMode="black">
          <a:xfrm>
            <a:off x="2758747" y="1260148"/>
            <a:ext cx="9264675" cy="490877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40000"/>
              <a:lumOff val="60000"/>
            </a:schemeClr>
          </a:solidFill>
          <a:ln w="76200">
            <a:gradFill flip="none" rotWithShape="1">
              <a:gsLst>
                <a:gs pos="50000">
                  <a:srgbClr val="5EB6DA"/>
                </a:gs>
                <a:gs pos="50000">
                  <a:srgbClr val="3999C6"/>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tIns="822727" rtlCol="0" anchor="ctr"/>
          <a:lstStyle/>
          <a:p>
            <a:pPr marL="0" marR="0" lvl="0" indent="0" algn="ctr" defTabSz="914049" rtl="0" eaLnBrk="1" fontAlgn="auto" latinLnBrk="0" hangingPunct="1">
              <a:lnSpc>
                <a:spcPct val="80000"/>
              </a:lnSpc>
              <a:spcBef>
                <a:spcPts val="0"/>
              </a:spcBef>
              <a:spcAft>
                <a:spcPts val="0"/>
              </a:spcAft>
              <a:buClrTx/>
              <a:buSzTx/>
              <a:buFontTx/>
              <a:buNone/>
              <a:tabLst/>
              <a:defRPr/>
            </a:pPr>
            <a:endParaRPr kumimoji="0" lang="en-US" sz="4400" b="0" i="0" u="none" strike="noStrike" kern="0" cap="none" spc="-15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95" name="Rectangle 94"/>
          <p:cNvSpPr/>
          <p:nvPr/>
        </p:nvSpPr>
        <p:spPr bwMode="auto">
          <a:xfrm>
            <a:off x="308389" y="6433626"/>
            <a:ext cx="2452181" cy="1828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519249" y="333814"/>
            <a:ext cx="11151917" cy="605975"/>
          </a:xfrm>
        </p:spPr>
        <p:txBody>
          <a:bodyPr/>
          <a:lstStyle/>
          <a:p>
            <a:r>
              <a:rPr lang="en-US" sz="3600" b="1" spc="-50" dirty="0">
                <a:gradFill>
                  <a:gsLst>
                    <a:gs pos="1250">
                      <a:schemeClr val="tx1"/>
                    </a:gs>
                    <a:gs pos="100000">
                      <a:schemeClr val="tx1"/>
                    </a:gs>
                  </a:gsLst>
                  <a:lin ang="5400000" scaled="0"/>
                </a:gradFill>
                <a:cs typeface="Segoe UI" pitchFamily="34" charset="0"/>
              </a:rPr>
              <a:t>Big Picture for IoT, AI, Digital Twins, and your business</a:t>
            </a:r>
          </a:p>
        </p:txBody>
      </p:sp>
      <p:cxnSp>
        <p:nvCxnSpPr>
          <p:cNvPr id="8" name="2 Arrow"/>
          <p:cNvCxnSpPr/>
          <p:nvPr/>
        </p:nvCxnSpPr>
        <p:spPr>
          <a:xfrm>
            <a:off x="943530" y="1765844"/>
            <a:ext cx="2780096"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 name="2 Device"/>
          <p:cNvSpPr txBox="1"/>
          <p:nvPr/>
        </p:nvSpPr>
        <p:spPr>
          <a:xfrm>
            <a:off x="586932" y="5874704"/>
            <a:ext cx="4296751" cy="573442"/>
          </a:xfrm>
          <a:prstGeom prst="rect">
            <a:avLst/>
          </a:prstGeom>
          <a:solidFill>
            <a:srgbClr val="3999C6"/>
          </a:solidFill>
        </p:spPr>
        <p:txBody>
          <a:bodyPr wrap="square" lIns="91414" tIns="91414" rIns="0" bIns="91414" rtlCol="0" anchor="ctr">
            <a:spAutoFit/>
          </a:bodyPr>
          <a:lstStyle>
            <a:defPPr>
              <a:defRPr lang="en-US"/>
            </a:defPPr>
            <a:lvl1pPr defTabSz="932597">
              <a:defRPr sz="1600">
                <a:solidFill>
                  <a:schemeClr val="bg2"/>
                </a:solidFill>
              </a:defRPr>
            </a:lvl1p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THINGS</a:t>
            </a:r>
          </a:p>
        </p:txBody>
      </p:sp>
      <p:sp>
        <p:nvSpPr>
          <p:cNvPr id="13" name="3"/>
          <p:cNvSpPr txBox="1"/>
          <p:nvPr/>
        </p:nvSpPr>
        <p:spPr>
          <a:xfrm>
            <a:off x="5034681" y="5874704"/>
            <a:ext cx="4296751" cy="573442"/>
          </a:xfrm>
          <a:prstGeom prst="rect">
            <a:avLst/>
          </a:prstGeom>
          <a:solidFill>
            <a:srgbClr val="3999C6"/>
          </a:solidFill>
        </p:spPr>
        <p:txBody>
          <a:bodyPr wrap="square" lIns="91414" tIns="91414" rIns="0" bIns="91414" rtlCol="0" anchor="ctr">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NSIGHTS</a:t>
            </a:r>
          </a:p>
        </p:txBody>
      </p:sp>
      <p:sp>
        <p:nvSpPr>
          <p:cNvPr id="14" name="7 Presentation"/>
          <p:cNvSpPr txBox="1"/>
          <p:nvPr/>
        </p:nvSpPr>
        <p:spPr>
          <a:xfrm>
            <a:off x="9483892" y="5874704"/>
            <a:ext cx="2468530" cy="573442"/>
          </a:xfrm>
          <a:prstGeom prst="rect">
            <a:avLst/>
          </a:prstGeom>
          <a:solidFill>
            <a:srgbClr val="3999C6"/>
          </a:solidFill>
        </p:spPr>
        <p:txBody>
          <a:bodyPr wrap="square" lIns="91414" tIns="91414" rIns="0" bIns="91414" rtlCol="0" anchor="ctr">
            <a:spAutoFit/>
          </a:bodyPr>
          <a:lstStyle>
            <a:defPPr>
              <a:defRPr lang="en-US"/>
            </a:defPPr>
            <a:lvl1pPr defTabSz="932597">
              <a:defRPr sz="1600">
                <a:solidFill>
                  <a:schemeClr val="bg2"/>
                </a:solidFill>
              </a:defRPr>
            </a:lvl1p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CTIONS</a:t>
            </a:r>
          </a:p>
        </p:txBody>
      </p:sp>
      <p:sp>
        <p:nvSpPr>
          <p:cNvPr id="22" name="Rectangle 21"/>
          <p:cNvSpPr/>
          <p:nvPr/>
        </p:nvSpPr>
        <p:spPr bwMode="auto">
          <a:xfrm>
            <a:off x="586933" y="1602086"/>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 name="TextBox 22"/>
          <p:cNvSpPr txBox="1"/>
          <p:nvPr/>
        </p:nvSpPr>
        <p:spPr>
          <a:xfrm rot="16200000">
            <a:off x="-1564523" y="3467842"/>
            <a:ext cx="3975711" cy="215419"/>
          </a:xfrm>
          <a:prstGeom prst="rect">
            <a:avLst/>
          </a:prstGeom>
          <a:noFill/>
          <a:ln>
            <a:noFill/>
            <a:headEnd type="none" w="med" len="med"/>
            <a:tailEnd type="none" w="med" len="med"/>
          </a:ln>
        </p:spPr>
        <p:txBody>
          <a:bodyPr wrap="square" lIns="0" tIns="0" rIns="0" bIns="0" rtlCol="0">
            <a:spAutoFit/>
          </a:bodyPr>
          <a:lstStyle/>
          <a:p>
            <a:pPr marL="0" marR="0" lvl="0" indent="0" algn="ctr" defTabSz="932026" rtl="0" eaLnBrk="1" fontAlgn="auto" latinLnBrk="0" hangingPunct="1">
              <a:lnSpc>
                <a:spcPct val="100000"/>
              </a:lnSpc>
              <a:spcBef>
                <a:spcPts val="0"/>
              </a:spcBef>
              <a:spcAft>
                <a:spcPts val="0"/>
              </a:spcAft>
              <a:buClrTx/>
              <a:buSzTx/>
              <a:buFontTx/>
              <a:buNone/>
              <a:tabLst/>
              <a:defRPr/>
            </a:pPr>
            <a:r>
              <a:rPr kumimoji="0" lang="en-US" sz="1400" b="1" i="0" u="none" strike="noStrike" kern="0" cap="none" spc="-38" normalizeH="0" baseline="0" noProof="0" dirty="0">
                <a:ln>
                  <a:noFill/>
                </a:ln>
                <a:solidFill>
                  <a:srgbClr val="000000">
                    <a:lumMod val="65000"/>
                    <a:lumOff val="35000"/>
                  </a:srgbClr>
                </a:solidFill>
                <a:effectLst/>
                <a:uLnTx/>
                <a:uFillTx/>
                <a:latin typeface="Segoe UI" panose="020B0502040204020203" pitchFamily="34" charset="0"/>
                <a:ea typeface="Segoe UI Black" panose="020B0A02040204020203" pitchFamily="34" charset="0"/>
                <a:cs typeface="Segoe UI" panose="020B0502040204020203" pitchFamily="34" charset="0"/>
              </a:rPr>
              <a:t>Devices: </a:t>
            </a:r>
            <a:r>
              <a:rPr kumimoji="0" lang="en-US" sz="1200" b="0" i="0" u="none" strike="noStrike" kern="0" cap="none" spc="-38"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RTOS, Linux, Windows, Android, iOS </a:t>
            </a:r>
          </a:p>
        </p:txBody>
      </p:sp>
      <p:sp>
        <p:nvSpPr>
          <p:cNvPr id="24" name="Frame 5"/>
          <p:cNvSpPr>
            <a:spLocks noChangeAspect="1"/>
          </p:cNvSpPr>
          <p:nvPr/>
        </p:nvSpPr>
        <p:spPr bwMode="auto">
          <a:xfrm>
            <a:off x="629441" y="1638304"/>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 name="Rectangle 24"/>
          <p:cNvSpPr/>
          <p:nvPr/>
        </p:nvSpPr>
        <p:spPr bwMode="auto">
          <a:xfrm>
            <a:off x="586933" y="1963928"/>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 name="Frame 5"/>
          <p:cNvSpPr>
            <a:spLocks noChangeAspect="1"/>
          </p:cNvSpPr>
          <p:nvPr/>
        </p:nvSpPr>
        <p:spPr bwMode="auto">
          <a:xfrm>
            <a:off x="629441" y="2000147"/>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 name="Rectangle 26"/>
          <p:cNvSpPr/>
          <p:nvPr/>
        </p:nvSpPr>
        <p:spPr bwMode="auto">
          <a:xfrm>
            <a:off x="586933" y="2329469"/>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 name="Frame 5"/>
          <p:cNvSpPr>
            <a:spLocks noChangeAspect="1"/>
          </p:cNvSpPr>
          <p:nvPr/>
        </p:nvSpPr>
        <p:spPr bwMode="auto">
          <a:xfrm>
            <a:off x="629441" y="2365688"/>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 name="Rectangle 28"/>
          <p:cNvSpPr/>
          <p:nvPr/>
        </p:nvSpPr>
        <p:spPr bwMode="auto">
          <a:xfrm>
            <a:off x="586933" y="2695037"/>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 name="Frame 5"/>
          <p:cNvSpPr>
            <a:spLocks noChangeAspect="1"/>
          </p:cNvSpPr>
          <p:nvPr/>
        </p:nvSpPr>
        <p:spPr bwMode="auto">
          <a:xfrm>
            <a:off x="629441" y="2731256"/>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 name="Rectangle 30"/>
          <p:cNvSpPr/>
          <p:nvPr/>
        </p:nvSpPr>
        <p:spPr bwMode="auto">
          <a:xfrm>
            <a:off x="586933" y="3057873"/>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Frame 5"/>
          <p:cNvSpPr>
            <a:spLocks noChangeAspect="1"/>
          </p:cNvSpPr>
          <p:nvPr/>
        </p:nvSpPr>
        <p:spPr bwMode="auto">
          <a:xfrm>
            <a:off x="629441" y="3094092"/>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 name="Rectangle 32"/>
          <p:cNvSpPr/>
          <p:nvPr/>
        </p:nvSpPr>
        <p:spPr bwMode="auto">
          <a:xfrm>
            <a:off x="586933" y="3419379"/>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 name="Frame 5"/>
          <p:cNvSpPr>
            <a:spLocks noChangeAspect="1"/>
          </p:cNvSpPr>
          <p:nvPr/>
        </p:nvSpPr>
        <p:spPr bwMode="auto">
          <a:xfrm>
            <a:off x="629441" y="3455597"/>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 name="Rectangle 34"/>
          <p:cNvSpPr/>
          <p:nvPr/>
        </p:nvSpPr>
        <p:spPr bwMode="auto">
          <a:xfrm>
            <a:off x="586933" y="3773830"/>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 name="Frame 5"/>
          <p:cNvSpPr>
            <a:spLocks noChangeAspect="1"/>
          </p:cNvSpPr>
          <p:nvPr/>
        </p:nvSpPr>
        <p:spPr bwMode="auto">
          <a:xfrm>
            <a:off x="629441" y="3810048"/>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 name="Rectangle 36"/>
          <p:cNvSpPr/>
          <p:nvPr/>
        </p:nvSpPr>
        <p:spPr bwMode="auto">
          <a:xfrm>
            <a:off x="586933" y="4134139"/>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 name="Frame 5"/>
          <p:cNvSpPr>
            <a:spLocks noChangeAspect="1"/>
          </p:cNvSpPr>
          <p:nvPr/>
        </p:nvSpPr>
        <p:spPr bwMode="auto">
          <a:xfrm>
            <a:off x="629441" y="4170357"/>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 name="Rectangle 38"/>
          <p:cNvSpPr/>
          <p:nvPr/>
        </p:nvSpPr>
        <p:spPr bwMode="auto">
          <a:xfrm>
            <a:off x="586933" y="4494494"/>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 name="Frame 5"/>
          <p:cNvSpPr>
            <a:spLocks noChangeAspect="1"/>
          </p:cNvSpPr>
          <p:nvPr/>
        </p:nvSpPr>
        <p:spPr bwMode="auto">
          <a:xfrm>
            <a:off x="629441" y="4530713"/>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 name="Frame 5"/>
          <p:cNvSpPr>
            <a:spLocks noChangeAspect="1"/>
          </p:cNvSpPr>
          <p:nvPr/>
        </p:nvSpPr>
        <p:spPr bwMode="auto">
          <a:xfrm>
            <a:off x="629441" y="4888788"/>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9" name="Rectangle 178">
            <a:extLst>
              <a:ext uri="{FF2B5EF4-FFF2-40B4-BE49-F238E27FC236}">
                <a16:creationId xmlns:a16="http://schemas.microsoft.com/office/drawing/2014/main" id="{35DF32D7-E289-419B-9580-B3C7EA33D6F7}"/>
              </a:ext>
            </a:extLst>
          </p:cNvPr>
          <p:cNvSpPr/>
          <p:nvPr/>
        </p:nvSpPr>
        <p:spPr bwMode="auto">
          <a:xfrm>
            <a:off x="586933" y="4860260"/>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0" name="Frame 5">
            <a:extLst>
              <a:ext uri="{FF2B5EF4-FFF2-40B4-BE49-F238E27FC236}">
                <a16:creationId xmlns:a16="http://schemas.microsoft.com/office/drawing/2014/main" id="{F7A30AA8-001E-4FE2-8098-960A9035FE24}"/>
              </a:ext>
            </a:extLst>
          </p:cNvPr>
          <p:cNvSpPr>
            <a:spLocks noChangeAspect="1"/>
          </p:cNvSpPr>
          <p:nvPr/>
        </p:nvSpPr>
        <p:spPr bwMode="auto">
          <a:xfrm>
            <a:off x="629441" y="4896481"/>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1" name="Rectangle 180">
            <a:extLst>
              <a:ext uri="{FF2B5EF4-FFF2-40B4-BE49-F238E27FC236}">
                <a16:creationId xmlns:a16="http://schemas.microsoft.com/office/drawing/2014/main" id="{1808C9F1-1DD7-4DAE-9E99-741D33EF9735}"/>
              </a:ext>
            </a:extLst>
          </p:cNvPr>
          <p:cNvSpPr/>
          <p:nvPr/>
        </p:nvSpPr>
        <p:spPr bwMode="auto">
          <a:xfrm>
            <a:off x="586934" y="5226027"/>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2" name="Frame 5">
            <a:extLst>
              <a:ext uri="{FF2B5EF4-FFF2-40B4-BE49-F238E27FC236}">
                <a16:creationId xmlns:a16="http://schemas.microsoft.com/office/drawing/2014/main" id="{FDE821F9-B5A0-42F1-8BB9-17D4AC466C44}"/>
              </a:ext>
            </a:extLst>
          </p:cNvPr>
          <p:cNvSpPr>
            <a:spLocks noChangeAspect="1"/>
          </p:cNvSpPr>
          <p:nvPr/>
        </p:nvSpPr>
        <p:spPr bwMode="auto">
          <a:xfrm>
            <a:off x="629441" y="5262253"/>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122" name="2 fg"/>
          <p:cNvCxnSpPr/>
          <p:nvPr/>
        </p:nvCxnSpPr>
        <p:spPr>
          <a:xfrm flipV="1">
            <a:off x="936753" y="4095642"/>
            <a:ext cx="333637" cy="200081"/>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4" name="Rectangle 123"/>
          <p:cNvSpPr/>
          <p:nvPr/>
        </p:nvSpPr>
        <p:spPr bwMode="auto">
          <a:xfrm>
            <a:off x="1317652" y="3138796"/>
            <a:ext cx="768873" cy="1064792"/>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14" rIns="0"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1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Azure </a:t>
            </a:r>
            <a:br>
              <a:rPr kumimoji="0" lang="en-US" sz="11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1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IoT Edge</a:t>
            </a:r>
          </a:p>
        </p:txBody>
      </p:sp>
      <p:sp>
        <p:nvSpPr>
          <p:cNvPr id="127" name="Rectangle 126"/>
          <p:cNvSpPr/>
          <p:nvPr/>
        </p:nvSpPr>
        <p:spPr bwMode="auto">
          <a:xfrm>
            <a:off x="2082287" y="3138796"/>
            <a:ext cx="1330784" cy="1064790"/>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31" tIns="91414" rIns="0" bIns="91388" numCol="1" spcCol="0" rtlCol="0" fromWordArt="0" anchor="b" anchorCtr="0" forceAA="0" compatLnSpc="1">
            <a:prstTxWarp prst="textNoShape">
              <a:avLst/>
            </a:prstTxWarp>
            <a:noAutofit/>
          </a:bodyPr>
          <a:lstStyle/>
          <a:p>
            <a:pPr marL="0" marR="0" lvl="0" indent="0" algn="l" defTabSz="913397" rtl="0" eaLnBrk="1" fontAlgn="base" latinLnBrk="0" hangingPunct="1">
              <a:lnSpc>
                <a:spcPct val="90000"/>
              </a:lnSpc>
              <a:spcBef>
                <a:spcPct val="0"/>
              </a:spcBef>
              <a:spcAft>
                <a:spcPts val="20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Edge Modules:</a:t>
            </a:r>
          </a:p>
          <a:p>
            <a:pPr marL="55553" marR="0" lvl="0" indent="-55553" algn="l" defTabSz="913397" rtl="0" eaLnBrk="1" fontAlgn="base" latinLnBrk="0" hangingPunct="1">
              <a:lnSpc>
                <a:spcPct val="90000"/>
              </a:lnSpc>
              <a:spcBef>
                <a:spcPct val="0"/>
              </a:spcBef>
              <a:spcAft>
                <a:spcPts val="20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Protocol Adaptation</a:t>
            </a:r>
          </a:p>
          <a:p>
            <a:pPr marL="55553" marR="0" lvl="0" indent="-55553" algn="l" defTabSz="913397" rtl="0" eaLnBrk="1" fontAlgn="base" latinLnBrk="0" hangingPunct="1">
              <a:lnSpc>
                <a:spcPct val="90000"/>
              </a:lnSpc>
              <a:spcBef>
                <a:spcPct val="0"/>
              </a:spcBef>
              <a:spcAft>
                <a:spcPts val="20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Functions</a:t>
            </a:r>
          </a:p>
          <a:p>
            <a:pPr marL="55553" marR="0" lvl="0" indent="-55553" algn="l" defTabSz="913397" rtl="0" eaLnBrk="1" fontAlgn="base" latinLnBrk="0" hangingPunct="1">
              <a:lnSpc>
                <a:spcPct val="90000"/>
              </a:lnSpc>
              <a:spcBef>
                <a:spcPct val="0"/>
              </a:spcBef>
              <a:spcAft>
                <a:spcPts val="20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Stream Analytics</a:t>
            </a:r>
          </a:p>
          <a:p>
            <a:pPr marL="55553" marR="0" lvl="0" indent="-55553" algn="l" defTabSz="913397" rtl="0" eaLnBrk="1" fontAlgn="base" latinLnBrk="0" hangingPunct="1">
              <a:lnSpc>
                <a:spcPct val="90000"/>
              </a:lnSpc>
              <a:spcBef>
                <a:spcPct val="0"/>
              </a:spcBef>
              <a:spcAft>
                <a:spcPts val="20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Machine Learning</a:t>
            </a:r>
          </a:p>
          <a:p>
            <a:pPr marL="55553" marR="0" lvl="0" indent="-55553" algn="l" defTabSz="913397" rtl="0" eaLnBrk="1" fontAlgn="base" latinLnBrk="0" hangingPunct="1">
              <a:lnSpc>
                <a:spcPct val="90000"/>
              </a:lnSpc>
              <a:spcBef>
                <a:spcPct val="0"/>
              </a:spcBef>
              <a:spcAft>
                <a:spcPts val="20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AI</a:t>
            </a:r>
          </a:p>
        </p:txBody>
      </p:sp>
      <p:cxnSp>
        <p:nvCxnSpPr>
          <p:cNvPr id="137" name="2   Arrow fg"/>
          <p:cNvCxnSpPr>
            <a:cxnSpLocks/>
            <a:stCxn id="127" idx="3"/>
          </p:cNvCxnSpPr>
          <p:nvPr/>
        </p:nvCxnSpPr>
        <p:spPr>
          <a:xfrm>
            <a:off x="3413071" y="3671190"/>
            <a:ext cx="307499"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8" name="2   Arrow fg"/>
          <p:cNvCxnSpPr>
            <a:cxnSpLocks/>
          </p:cNvCxnSpPr>
          <p:nvPr/>
        </p:nvCxnSpPr>
        <p:spPr>
          <a:xfrm>
            <a:off x="943465" y="2499841"/>
            <a:ext cx="321419"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Arrow fg"/>
          <p:cNvCxnSpPr>
            <a:cxnSpLocks/>
          </p:cNvCxnSpPr>
          <p:nvPr/>
        </p:nvCxnSpPr>
        <p:spPr>
          <a:xfrm>
            <a:off x="943465" y="2145072"/>
            <a:ext cx="321420"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0" name="2   Arrow fg"/>
          <p:cNvCxnSpPr>
            <a:cxnSpLocks/>
          </p:cNvCxnSpPr>
          <p:nvPr/>
        </p:nvCxnSpPr>
        <p:spPr>
          <a:xfrm>
            <a:off x="943465" y="2846024"/>
            <a:ext cx="321420"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a:off x="939319" y="3218164"/>
            <a:ext cx="325567" cy="160045"/>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2" name="2 fg"/>
          <p:cNvCxnSpPr/>
          <p:nvPr/>
        </p:nvCxnSpPr>
        <p:spPr>
          <a:xfrm>
            <a:off x="942718" y="3591231"/>
            <a:ext cx="326933" cy="5813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3" name="2 fg"/>
          <p:cNvCxnSpPr/>
          <p:nvPr/>
        </p:nvCxnSpPr>
        <p:spPr>
          <a:xfrm flipV="1">
            <a:off x="945225" y="3871388"/>
            <a:ext cx="319659" cy="86921"/>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8" name="Rectangle 107"/>
          <p:cNvSpPr/>
          <p:nvPr/>
        </p:nvSpPr>
        <p:spPr bwMode="auto">
          <a:xfrm>
            <a:off x="3725984" y="1508794"/>
            <a:ext cx="2468530" cy="4039046"/>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0" bIns="91388" numCol="1" spcCol="0" rtlCol="0" fromWordArt="0" anchor="b" anchorCtr="0" forceAA="0" compatLnSpc="1">
            <a:prstTxWarp prst="textNoShape">
              <a:avLst/>
            </a:prstTxWarp>
            <a:no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a:p>
            <a:pPr marL="0" marR="0" lvl="0" indent="0" algn="ctr" defTabSz="913573" rtl="0" eaLnBrk="1" fontAlgn="base" latinLnBrk="0" hangingPunct="1">
              <a:lnSpc>
                <a:spcPct val="9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Azure Digital Twins</a:t>
            </a:r>
          </a:p>
        </p:txBody>
      </p:sp>
      <p:sp>
        <p:nvSpPr>
          <p:cNvPr id="74" name="Rectangle 73"/>
          <p:cNvSpPr/>
          <p:nvPr/>
        </p:nvSpPr>
        <p:spPr bwMode="auto">
          <a:xfrm>
            <a:off x="9483892" y="1519216"/>
            <a:ext cx="2468530" cy="4039046"/>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0" bIns="91388" numCol="1" spcCol="0" rtlCol="0" fromWordArt="0" anchor="b" anchorCtr="0" forceAA="0" compatLnSpc="1">
            <a:prstTxWarp prst="textNoShape">
              <a:avLst/>
            </a:prstTxWarp>
            <a:no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8" name="Group 57"/>
          <p:cNvGrpSpPr>
            <a:grpSpLocks noChangeAspect="1"/>
          </p:cNvGrpSpPr>
          <p:nvPr/>
        </p:nvGrpSpPr>
        <p:grpSpPr bwMode="auto">
          <a:xfrm>
            <a:off x="9704221" y="2858471"/>
            <a:ext cx="774480" cy="796699"/>
            <a:chOff x="6253" y="2122"/>
            <a:chExt cx="488" cy="502"/>
          </a:xfrm>
        </p:grpSpPr>
        <p:sp>
          <p:nvSpPr>
            <p:cNvPr id="94"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97"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101"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grpSp>
      <p:sp>
        <p:nvSpPr>
          <p:cNvPr id="81" name="AutoShape 77"/>
          <p:cNvSpPr>
            <a:spLocks noChangeAspect="1" noChangeArrowheads="1" noTextEdit="1"/>
          </p:cNvSpPr>
          <p:nvPr/>
        </p:nvSpPr>
        <p:spPr bwMode="auto">
          <a:xfrm>
            <a:off x="10427364" y="2140839"/>
            <a:ext cx="1031403" cy="443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3" name="Rectangle 2"/>
          <p:cNvSpPr/>
          <p:nvPr/>
        </p:nvSpPr>
        <p:spPr>
          <a:xfrm>
            <a:off x="9606319" y="2415216"/>
            <a:ext cx="699628" cy="252068"/>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Power BI</a:t>
            </a: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151" name="Rectangle 150"/>
          <p:cNvSpPr/>
          <p:nvPr/>
        </p:nvSpPr>
        <p:spPr>
          <a:xfrm>
            <a:off x="9645751" y="3234352"/>
            <a:ext cx="631723" cy="381307"/>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App Service</a:t>
            </a:r>
          </a:p>
        </p:txBody>
      </p:sp>
      <p:sp>
        <p:nvSpPr>
          <p:cNvPr id="152" name="Rectangle 151"/>
          <p:cNvSpPr/>
          <p:nvPr/>
        </p:nvSpPr>
        <p:spPr>
          <a:xfrm>
            <a:off x="9913148" y="5024573"/>
            <a:ext cx="874472" cy="240609"/>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Logic Apps</a:t>
            </a:r>
          </a:p>
        </p:txBody>
      </p:sp>
      <p:sp>
        <p:nvSpPr>
          <p:cNvPr id="166" name="Rectangle 165"/>
          <p:cNvSpPr/>
          <p:nvPr/>
        </p:nvSpPr>
        <p:spPr>
          <a:xfrm>
            <a:off x="10424610" y="3234352"/>
            <a:ext cx="679306" cy="388898"/>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Web Apps </a:t>
            </a:r>
          </a:p>
        </p:txBody>
      </p:sp>
      <p:sp>
        <p:nvSpPr>
          <p:cNvPr id="167" name="Rectangle 166"/>
          <p:cNvSpPr/>
          <p:nvPr/>
        </p:nvSpPr>
        <p:spPr>
          <a:xfrm>
            <a:off x="11087377" y="3234352"/>
            <a:ext cx="740051" cy="381307"/>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Mobile Apps</a:t>
            </a:r>
          </a:p>
        </p:txBody>
      </p:sp>
      <p:sp>
        <p:nvSpPr>
          <p:cNvPr id="162" name="Rectangle 161"/>
          <p:cNvSpPr/>
          <p:nvPr/>
        </p:nvSpPr>
        <p:spPr>
          <a:xfrm>
            <a:off x="11141541" y="2415217"/>
            <a:ext cx="631723" cy="237757"/>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Search</a:t>
            </a:r>
          </a:p>
        </p:txBody>
      </p:sp>
      <p:sp>
        <p:nvSpPr>
          <p:cNvPr id="163" name="Rectangle 162"/>
          <p:cNvSpPr/>
          <p:nvPr/>
        </p:nvSpPr>
        <p:spPr>
          <a:xfrm>
            <a:off x="10424610" y="2415217"/>
            <a:ext cx="679306" cy="388898"/>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Azure Maps</a:t>
            </a:r>
          </a:p>
        </p:txBody>
      </p:sp>
      <p:pic>
        <p:nvPicPr>
          <p:cNvPr id="73" name="Picture 7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03933" y="2114104"/>
            <a:ext cx="306941" cy="306941"/>
          </a:xfrm>
          <a:prstGeom prst="rect">
            <a:avLst/>
          </a:prstGeom>
        </p:spPr>
      </p:pic>
      <p:sp>
        <p:nvSpPr>
          <p:cNvPr id="164" name="Rectangle 163"/>
          <p:cNvSpPr/>
          <p:nvPr/>
        </p:nvSpPr>
        <p:spPr>
          <a:xfrm>
            <a:off x="9628708" y="1594565"/>
            <a:ext cx="1971994" cy="472948"/>
          </a:xfrm>
          <a:prstGeom prst="rect">
            <a:avLst/>
          </a:prstGeom>
        </p:spPr>
        <p:txBody>
          <a:bodyPr wrap="square">
            <a:spAutoFit/>
          </a:bodyPr>
          <a:lstStyle/>
          <a:p>
            <a:pPr marL="0" marR="0" lvl="0" indent="0" algn="l" defTabSz="895575" rtl="0" eaLnBrk="1" fontAlgn="base" latinLnBrk="0" hangingPunct="1">
              <a:lnSpc>
                <a:spcPct val="90000"/>
              </a:lnSpc>
              <a:spcBef>
                <a:spcPct val="0"/>
              </a:spcBef>
              <a:spcAft>
                <a:spcPts val="588"/>
              </a:spcAft>
              <a:buClrTx/>
              <a:buSzTx/>
              <a:buFontTx/>
              <a:buNone/>
              <a:tabLst/>
              <a:defRPr/>
            </a:pPr>
            <a:r>
              <a:rPr kumimoji="0" lang="en-US" sz="1100" b="1"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Black" panose="020B0A02040204020203" pitchFamily="34" charset="0"/>
                <a:cs typeface="Segoe UI" panose="020B0502040204020203" pitchFamily="34" charset="0"/>
              </a:rPr>
              <a:t>Manage</a:t>
            </a:r>
          </a:p>
          <a:p>
            <a:pPr marL="0" marR="0" lvl="0" indent="0" algn="l" defTabSz="895575" rtl="0" eaLnBrk="1" fontAlgn="base" latinLnBrk="0" hangingPunct="1">
              <a:lnSpc>
                <a:spcPct val="90000"/>
              </a:lnSpc>
              <a:spcBef>
                <a:spcPct val="0"/>
              </a:spcBef>
              <a:spcAft>
                <a:spcPts val="588"/>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View and manage solutions</a:t>
            </a:r>
          </a:p>
        </p:txBody>
      </p:sp>
      <p:sp>
        <p:nvSpPr>
          <p:cNvPr id="183" name="Rectangle 182">
            <a:extLst>
              <a:ext uri="{FF2B5EF4-FFF2-40B4-BE49-F238E27FC236}">
                <a16:creationId xmlns:a16="http://schemas.microsoft.com/office/drawing/2014/main" id="{54A6F7DA-8B8E-4D0C-B1AF-2072ED15DF9D}"/>
              </a:ext>
            </a:extLst>
          </p:cNvPr>
          <p:cNvSpPr/>
          <p:nvPr/>
        </p:nvSpPr>
        <p:spPr bwMode="auto">
          <a:xfrm>
            <a:off x="1317617" y="4410377"/>
            <a:ext cx="2099018" cy="1120421"/>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14" rIns="0"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endParaRPr kumimoji="0" lang="en-US" sz="11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1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Azure Sphere</a:t>
            </a:r>
          </a:p>
        </p:txBody>
      </p:sp>
      <p:cxnSp>
        <p:nvCxnSpPr>
          <p:cNvPr id="148" name="2 Arrow">
            <a:extLst>
              <a:ext uri="{FF2B5EF4-FFF2-40B4-BE49-F238E27FC236}">
                <a16:creationId xmlns:a16="http://schemas.microsoft.com/office/drawing/2014/main" id="{34ABF04A-E2D6-4859-B2F2-9032F1DC0AC0}"/>
              </a:ext>
            </a:extLst>
          </p:cNvPr>
          <p:cNvCxnSpPr>
            <a:cxnSpLocks/>
            <a:stCxn id="9220" idx="3"/>
            <a:endCxn id="158" idx="2"/>
          </p:cNvCxnSpPr>
          <p:nvPr/>
        </p:nvCxnSpPr>
        <p:spPr>
          <a:xfrm>
            <a:off x="1832593" y="4722618"/>
            <a:ext cx="303975" cy="836"/>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0" name="2 Arrow">
            <a:extLst>
              <a:ext uri="{FF2B5EF4-FFF2-40B4-BE49-F238E27FC236}">
                <a16:creationId xmlns:a16="http://schemas.microsoft.com/office/drawing/2014/main" id="{631B788D-C35B-4E6C-9843-468A185FAC91}"/>
              </a:ext>
            </a:extLst>
          </p:cNvPr>
          <p:cNvCxnSpPr>
            <a:cxnSpLocks/>
            <a:stCxn id="39" idx="3"/>
          </p:cNvCxnSpPr>
          <p:nvPr/>
        </p:nvCxnSpPr>
        <p:spPr>
          <a:xfrm flipV="1">
            <a:off x="920485" y="4654532"/>
            <a:ext cx="374437" cy="867"/>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9220" name="Picture 4" descr="Image result for Azure Sphere logo">
            <a:extLst>
              <a:ext uri="{FF2B5EF4-FFF2-40B4-BE49-F238E27FC236}">
                <a16:creationId xmlns:a16="http://schemas.microsoft.com/office/drawing/2014/main" id="{06763744-A87F-40D5-9D28-6F1EECF12C2A}"/>
              </a:ext>
            </a:extLst>
          </p:cNvPr>
          <p:cNvPicPr>
            <a:picLocks noChangeAspect="1" noChangeArrowheads="1"/>
          </p:cNvPicPr>
          <p:nvPr/>
        </p:nvPicPr>
        <p:blipFill rotWithShape="1">
          <a:blip r:embed="rId4" cstate="print">
            <a:duotone>
              <a:prstClr val="black"/>
              <a:srgbClr val="D9C3A5">
                <a:tint val="50000"/>
                <a:satMod val="180000"/>
              </a:srgbClr>
            </a:duotone>
            <a:extLst>
              <a:ext uri="{28A0092B-C50C-407E-A947-70E740481C1C}">
                <a14:useLocalDpi xmlns:a14="http://schemas.microsoft.com/office/drawing/2010/main" val="0"/>
              </a:ext>
            </a:extLst>
          </a:blip>
          <a:srcRect l="20166" t="58207" r="63528" b="16896"/>
          <a:stretch/>
        </p:blipFill>
        <p:spPr bwMode="auto">
          <a:xfrm>
            <a:off x="1509304" y="4559998"/>
            <a:ext cx="323289" cy="325239"/>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4" descr="Image result for Azure Sphere logo">
            <a:extLst>
              <a:ext uri="{FF2B5EF4-FFF2-40B4-BE49-F238E27FC236}">
                <a16:creationId xmlns:a16="http://schemas.microsoft.com/office/drawing/2014/main" id="{C435FEFC-C68F-4E29-8D60-71CDE4E91F7C}"/>
              </a:ext>
            </a:extLst>
          </p:cNvPr>
          <p:cNvPicPr>
            <a:picLocks noChangeAspect="1" noChangeArrowheads="1"/>
          </p:cNvPicPr>
          <p:nvPr/>
        </p:nvPicPr>
        <p:blipFill rotWithShape="1">
          <a:blip r:embed="rId5" cstate="print">
            <a:duotone>
              <a:prstClr val="black"/>
              <a:srgbClr val="D9C3A5">
                <a:tint val="50000"/>
                <a:satMod val="180000"/>
              </a:srgbClr>
            </a:duotone>
            <a:extLst>
              <a:ext uri="{28A0092B-C50C-407E-A947-70E740481C1C}">
                <a14:useLocalDpi xmlns:a14="http://schemas.microsoft.com/office/drawing/2010/main" val="0"/>
              </a:ext>
            </a:extLst>
          </a:blip>
          <a:srcRect l="64216" t="57031" r="17628" b="15600"/>
          <a:stretch/>
        </p:blipFill>
        <p:spPr bwMode="auto">
          <a:xfrm>
            <a:off x="2136568" y="4554329"/>
            <a:ext cx="340615" cy="338249"/>
          </a:xfrm>
          <a:prstGeom prst="ellipse">
            <a:avLst/>
          </a:prstGeom>
          <a:noFill/>
          <a:extLst>
            <a:ext uri="{909E8E84-426E-40DD-AFC4-6F175D3DCCD1}">
              <a14:hiddenFill xmlns:a14="http://schemas.microsoft.com/office/drawing/2010/main">
                <a:solidFill>
                  <a:srgbClr val="FFFFFF"/>
                </a:solidFill>
              </a14:hiddenFill>
            </a:ext>
          </a:extLst>
        </p:spPr>
      </p:pic>
      <p:cxnSp>
        <p:nvCxnSpPr>
          <p:cNvPr id="171" name="2 Arrow">
            <a:extLst>
              <a:ext uri="{FF2B5EF4-FFF2-40B4-BE49-F238E27FC236}">
                <a16:creationId xmlns:a16="http://schemas.microsoft.com/office/drawing/2014/main" id="{01E594EB-7C9A-4CCD-9556-428836EB4FB4}"/>
              </a:ext>
            </a:extLst>
          </p:cNvPr>
          <p:cNvCxnSpPr>
            <a:cxnSpLocks/>
            <a:stCxn id="158" idx="6"/>
            <a:endCxn id="9234" idx="1"/>
          </p:cNvCxnSpPr>
          <p:nvPr/>
        </p:nvCxnSpPr>
        <p:spPr>
          <a:xfrm>
            <a:off x="2477183" y="4723454"/>
            <a:ext cx="308252" cy="312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EAD382E-2ECD-42FE-B651-3378CD53DA58}"/>
              </a:ext>
            </a:extLst>
          </p:cNvPr>
          <p:cNvSpPr txBox="1"/>
          <p:nvPr/>
        </p:nvSpPr>
        <p:spPr>
          <a:xfrm>
            <a:off x="1438936" y="4933440"/>
            <a:ext cx="42671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ecured MCU</a:t>
            </a:r>
          </a:p>
        </p:txBody>
      </p:sp>
      <p:sp>
        <p:nvSpPr>
          <p:cNvPr id="172" name="TextBox 171">
            <a:extLst>
              <a:ext uri="{FF2B5EF4-FFF2-40B4-BE49-F238E27FC236}">
                <a16:creationId xmlns:a16="http://schemas.microsoft.com/office/drawing/2014/main" id="{A74ED67D-0EAF-41C5-9BA4-072225AAC444}"/>
              </a:ext>
            </a:extLst>
          </p:cNvPr>
          <p:cNvSpPr txBox="1"/>
          <p:nvPr/>
        </p:nvSpPr>
        <p:spPr>
          <a:xfrm>
            <a:off x="2051153" y="4933440"/>
            <a:ext cx="479188"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ecured OS</a:t>
            </a:r>
          </a:p>
        </p:txBody>
      </p:sp>
      <p:sp>
        <p:nvSpPr>
          <p:cNvPr id="173" name="TextBox 172">
            <a:extLst>
              <a:ext uri="{FF2B5EF4-FFF2-40B4-BE49-F238E27FC236}">
                <a16:creationId xmlns:a16="http://schemas.microsoft.com/office/drawing/2014/main" id="{B66E424D-44E5-44D2-9DB0-FC7B9AD11E85}"/>
              </a:ext>
            </a:extLst>
          </p:cNvPr>
          <p:cNvSpPr txBox="1"/>
          <p:nvPr/>
        </p:nvSpPr>
        <p:spPr>
          <a:xfrm>
            <a:off x="2632717" y="4933440"/>
            <a:ext cx="609607"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loud Security</a:t>
            </a:r>
          </a:p>
        </p:txBody>
      </p:sp>
      <p:pic>
        <p:nvPicPr>
          <p:cNvPr id="9234" name="Picture 6" descr="https://azurecomcdn.azureedge.net/mediahandler/acomblog/media/Default/blog/bd5000d5-6cba-45c7-9d88-d081731c0989.png">
            <a:extLst>
              <a:ext uri="{FF2B5EF4-FFF2-40B4-BE49-F238E27FC236}">
                <a16:creationId xmlns:a16="http://schemas.microsoft.com/office/drawing/2014/main" id="{77840F2A-3195-4028-A2DD-BD8C2EEDED3B}"/>
              </a:ext>
            </a:extLst>
          </p:cNvPr>
          <p:cNvPicPr>
            <a:picLocks noChangeAspect="1" noChangeArrowheads="1"/>
          </p:cNvPicPr>
          <p:nvPr/>
        </p:nvPicPr>
        <p:blipFill rotWithShape="1">
          <a:blip r:embed="rId6" cstate="print">
            <a:grayscl/>
            <a:extLst>
              <a:ext uri="{28A0092B-C50C-407E-A947-70E740481C1C}">
                <a14:useLocalDpi xmlns:a14="http://schemas.microsoft.com/office/drawing/2010/main" val="0"/>
              </a:ext>
            </a:extLst>
          </a:blip>
          <a:srcRect l="42184" t="7472" r="40288" b="61275"/>
          <a:stretch/>
        </p:blipFill>
        <p:spPr bwMode="auto">
          <a:xfrm>
            <a:off x="2785435" y="4548678"/>
            <a:ext cx="303033" cy="355791"/>
          </a:xfrm>
          <a:prstGeom prst="rect">
            <a:avLst/>
          </a:prstGeom>
          <a:noFill/>
          <a:extLst>
            <a:ext uri="{909E8E84-426E-40DD-AFC4-6F175D3DCCD1}">
              <a14:hiddenFill xmlns:a14="http://schemas.microsoft.com/office/drawing/2010/main">
                <a:solidFill>
                  <a:srgbClr val="FFFFFF"/>
                </a:solidFill>
              </a14:hiddenFill>
            </a:ext>
          </a:extLst>
        </p:spPr>
      </p:pic>
      <p:cxnSp>
        <p:nvCxnSpPr>
          <p:cNvPr id="184" name="2 Arrow">
            <a:extLst>
              <a:ext uri="{FF2B5EF4-FFF2-40B4-BE49-F238E27FC236}">
                <a16:creationId xmlns:a16="http://schemas.microsoft.com/office/drawing/2014/main" id="{E04EDC29-6CCE-418C-941B-FC461FE91F74}"/>
              </a:ext>
            </a:extLst>
          </p:cNvPr>
          <p:cNvCxnSpPr>
            <a:cxnSpLocks/>
          </p:cNvCxnSpPr>
          <p:nvPr/>
        </p:nvCxnSpPr>
        <p:spPr>
          <a:xfrm>
            <a:off x="3408062" y="4656233"/>
            <a:ext cx="310065" cy="1"/>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8" name="2 Arrow">
            <a:extLst>
              <a:ext uri="{FF2B5EF4-FFF2-40B4-BE49-F238E27FC236}">
                <a16:creationId xmlns:a16="http://schemas.microsoft.com/office/drawing/2014/main" id="{B9A264F2-14BA-4FAF-83F8-40E41B110E63}"/>
              </a:ext>
            </a:extLst>
          </p:cNvPr>
          <p:cNvCxnSpPr>
            <a:cxnSpLocks/>
          </p:cNvCxnSpPr>
          <p:nvPr/>
        </p:nvCxnSpPr>
        <p:spPr>
          <a:xfrm flipV="1">
            <a:off x="2306876" y="4183267"/>
            <a:ext cx="0" cy="231868"/>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2050" name="Picture 2" descr="Image result for azure maps logo">
            <a:extLst>
              <a:ext uri="{FF2B5EF4-FFF2-40B4-BE49-F238E27FC236}">
                <a16:creationId xmlns:a16="http://schemas.microsoft.com/office/drawing/2014/main" id="{CB5A7519-C33D-47D3-9830-9AFA4427F44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458098" y="2111333"/>
            <a:ext cx="612332" cy="321476"/>
          </a:xfrm>
          <a:prstGeom prst="rect">
            <a:avLst/>
          </a:prstGeom>
          <a:noFill/>
          <a:extLst>
            <a:ext uri="{909E8E84-426E-40DD-AFC4-6F175D3DCCD1}">
              <a14:hiddenFill xmlns:a14="http://schemas.microsoft.com/office/drawing/2010/main">
                <a:solidFill>
                  <a:srgbClr val="FFFFFF"/>
                </a:solidFill>
              </a14:hiddenFill>
            </a:ext>
          </a:extLst>
        </p:spPr>
      </p:pic>
      <p:sp>
        <p:nvSpPr>
          <p:cNvPr id="132" name="Rectangle 131">
            <a:extLst>
              <a:ext uri="{FF2B5EF4-FFF2-40B4-BE49-F238E27FC236}">
                <a16:creationId xmlns:a16="http://schemas.microsoft.com/office/drawing/2014/main" id="{5C8A0E22-3183-469B-908D-F66ED9C2CCE2}"/>
              </a:ext>
            </a:extLst>
          </p:cNvPr>
          <p:cNvSpPr/>
          <p:nvPr/>
        </p:nvSpPr>
        <p:spPr>
          <a:xfrm>
            <a:off x="4913277" y="1410817"/>
            <a:ext cx="1345779" cy="2784865"/>
          </a:xfrm>
          <a:prstGeom prst="rect">
            <a:avLst/>
          </a:prstGeom>
        </p:spPr>
        <p:txBody>
          <a:bodyPr wrap="square">
            <a:spAutoFit/>
          </a:bodyPr>
          <a:lstStyle/>
          <a:p>
            <a:pPr marL="0" marR="0" lvl="0" indent="0" algn="l" defTabSz="609468" rtl="0" eaLnBrk="1" fontAlgn="auto" latinLnBrk="0" hangingPunct="1">
              <a:lnSpc>
                <a:spcPct val="90000"/>
              </a:lnSpc>
              <a:spcBef>
                <a:spcPts val="600"/>
              </a:spcBef>
              <a:spcAft>
                <a:spcPts val="0"/>
              </a:spcAft>
              <a:buClrTx/>
              <a:buSzTx/>
              <a:buFontTx/>
              <a:buNone/>
              <a:tabLst/>
              <a:defRPr/>
            </a:pPr>
            <a:endParaRPr kumimoji="0" lang="en-US" sz="1050" b="1"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Black" panose="020B0A02040204020203" pitchFamily="34" charset="0"/>
              <a:cs typeface="Segoe UI" panose="020B0502040204020203" pitchFamily="34" charset="0"/>
            </a:endParaRPr>
          </a:p>
          <a:p>
            <a:pPr marL="115866" marR="0" lvl="0" indent="-115866" algn="l" defTabSz="609468"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Spatial Intelligence</a:t>
            </a:r>
            <a:endParaRPr kumimoji="0" lang="en-US" sz="1000" b="0" i="0" u="none" strike="noStrike" kern="0" cap="none" spc="0" normalizeH="0" baseline="0" noProof="0" dirty="0">
              <a:ln>
                <a:noFill/>
              </a:ln>
              <a:solidFill>
                <a:srgbClr val="000000">
                  <a:lumMod val="65000"/>
                  <a:lumOff val="35000"/>
                </a:srgbClr>
              </a:solidFill>
              <a:effectLst/>
              <a:uLnTx/>
              <a:uFillTx/>
              <a:latin typeface="Segoe UI"/>
              <a:ea typeface="+mn-ea"/>
              <a:cs typeface="+mn-cs"/>
            </a:endParaRPr>
          </a:p>
          <a:p>
            <a:pPr marL="169863" marR="0" lvl="1" indent="-53975" algn="l" defTabSz="913397" rtl="0" eaLnBrk="1" fontAlgn="base" latinLnBrk="0" hangingPunct="1">
              <a:lnSpc>
                <a:spcPct val="90000"/>
              </a:lnSpc>
              <a:spcBef>
                <a:spcPct val="0"/>
              </a:spcBef>
              <a:spcAft>
                <a:spcPts val="20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People, Space, device Twins</a:t>
            </a:r>
          </a:p>
          <a:p>
            <a:pPr marL="169863" marR="0" lvl="1" indent="-53975" algn="l" defTabSz="913397" rtl="0" eaLnBrk="1" fontAlgn="base" latinLnBrk="0" hangingPunct="1">
              <a:lnSpc>
                <a:spcPct val="90000"/>
              </a:lnSpc>
              <a:spcBef>
                <a:spcPct val="0"/>
              </a:spcBef>
              <a:spcAft>
                <a:spcPts val="20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Sensor Processing</a:t>
            </a:r>
            <a:b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Functions)</a:t>
            </a:r>
          </a:p>
          <a:p>
            <a:pPr marL="115866" marR="0" lvl="0" indent="-115866" algn="l" defTabSz="609468"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Nested Tenancy</a:t>
            </a:r>
          </a:p>
          <a:p>
            <a:pPr marL="115866" marR="0" lvl="0" indent="-115866" algn="l" defTabSz="609468"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Loadable Twin Object Models </a:t>
            </a:r>
          </a:p>
          <a:p>
            <a:pPr marL="115866" marR="0" lvl="0" indent="-115866" algn="l" defTabSz="609468"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Role-based Access &amp; Control</a:t>
            </a:r>
          </a:p>
          <a:p>
            <a:pPr marL="115866" marR="0" lvl="0" indent="-115866" algn="l" defTabSz="609468"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AuthN/AuthZ </a:t>
            </a:r>
            <a:b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b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via AAD</a:t>
            </a:r>
          </a:p>
          <a:p>
            <a:pPr marL="115866" marR="0" lvl="0" indent="-115866" algn="l" defTabSz="609468"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Notifications &amp; egress routing</a:t>
            </a:r>
          </a:p>
        </p:txBody>
      </p:sp>
      <p:grpSp>
        <p:nvGrpSpPr>
          <p:cNvPr id="2071" name="Group 2070">
            <a:extLst>
              <a:ext uri="{FF2B5EF4-FFF2-40B4-BE49-F238E27FC236}">
                <a16:creationId xmlns:a16="http://schemas.microsoft.com/office/drawing/2014/main" id="{23744432-3074-4369-BB2C-7EBBB33A4B5B}"/>
              </a:ext>
            </a:extLst>
          </p:cNvPr>
          <p:cNvGrpSpPr/>
          <p:nvPr/>
        </p:nvGrpSpPr>
        <p:grpSpPr>
          <a:xfrm>
            <a:off x="6386431" y="1516808"/>
            <a:ext cx="2898471" cy="942121"/>
            <a:chOff x="6432652" y="1516537"/>
            <a:chExt cx="2898882" cy="942254"/>
          </a:xfrm>
        </p:grpSpPr>
        <p:sp>
          <p:nvSpPr>
            <p:cNvPr id="187" name="Rectangle 186">
              <a:extLst>
                <a:ext uri="{FF2B5EF4-FFF2-40B4-BE49-F238E27FC236}">
                  <a16:creationId xmlns:a16="http://schemas.microsoft.com/office/drawing/2014/main" id="{87A1FF71-1C78-4716-B4B1-7C81AD4BF774}"/>
                </a:ext>
              </a:extLst>
            </p:cNvPr>
            <p:cNvSpPr/>
            <p:nvPr/>
          </p:nvSpPr>
          <p:spPr bwMode="auto">
            <a:xfrm>
              <a:off x="6432652" y="1516537"/>
              <a:ext cx="2898882" cy="942254"/>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0" bIns="91388" numCol="1" spcCol="0" rtlCol="0" fromWordArt="0" anchor="b" anchorCtr="0" forceAA="0" compatLnSpc="1">
              <a:prstTxWarp prst="textNoShape">
                <a:avLst/>
              </a:prstTxWarp>
              <a:no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70" name="Rectangle 2069">
              <a:extLst>
                <a:ext uri="{FF2B5EF4-FFF2-40B4-BE49-F238E27FC236}">
                  <a16:creationId xmlns:a16="http://schemas.microsoft.com/office/drawing/2014/main" id="{2BA8AB9A-E7B4-4681-8DFE-CADB72E1A18C}"/>
                </a:ext>
              </a:extLst>
            </p:cNvPr>
            <p:cNvSpPr/>
            <p:nvPr/>
          </p:nvSpPr>
          <p:spPr>
            <a:xfrm>
              <a:off x="6460814" y="1601087"/>
              <a:ext cx="1352062" cy="621324"/>
            </a:xfrm>
            <a:prstGeom prst="rect">
              <a:avLst/>
            </a:prstGeom>
          </p:spPr>
          <p:txBody>
            <a:bodyPr wrap="square">
              <a:sp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r>
                <a:rPr kumimoji="0" lang="en-US" sz="1100" b="1"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Black" panose="020B0A02040204020203" pitchFamily="34" charset="0"/>
                  <a:cs typeface="Segoe UI" panose="020B0502040204020203" pitchFamily="34" charset="0"/>
                </a:rPr>
                <a:t>Cold Analytics</a:t>
              </a:r>
            </a:p>
            <a:p>
              <a:pPr marL="0" marR="0" lvl="0" indent="0" algn="l" defTabSz="895575" rtl="0" eaLnBrk="1" fontAlgn="base" latinLnBrk="0" hangingPunct="1">
                <a:lnSpc>
                  <a:spcPct val="90000"/>
                </a:lnSpc>
                <a:spcBef>
                  <a:spcPct val="0"/>
                </a:spcBef>
                <a:spcAft>
                  <a:spcPts val="588"/>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Find insights </a:t>
              </a:r>
              <a:b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b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over historical data</a:t>
              </a:r>
            </a:p>
          </p:txBody>
        </p:sp>
      </p:grpSp>
      <p:sp>
        <p:nvSpPr>
          <p:cNvPr id="126" name="Rectangle 125"/>
          <p:cNvSpPr/>
          <p:nvPr/>
        </p:nvSpPr>
        <p:spPr>
          <a:xfrm>
            <a:off x="8113773" y="1663182"/>
            <a:ext cx="1154632" cy="383182"/>
          </a:xfrm>
          <a:prstGeom prst="rect">
            <a:avLst/>
          </a:prstGeom>
        </p:spPr>
        <p:txBody>
          <a:bodyPr wrap="square">
            <a:spAutoFit/>
          </a:bodyPr>
          <a:lstStyle/>
          <a:p>
            <a:pPr marL="0" marR="0" lvl="0" indent="0" algn="l" defTabSz="895575" rtl="0" eaLnBrk="1" fontAlgn="base" latinLnBrk="0" hangingPunct="1">
              <a:lnSpc>
                <a:spcPct val="9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Azure Machine Learning</a:t>
            </a:r>
          </a:p>
        </p:txBody>
      </p:sp>
      <p:sp>
        <p:nvSpPr>
          <p:cNvPr id="149" name="Rectangle 148"/>
          <p:cNvSpPr/>
          <p:nvPr/>
        </p:nvSpPr>
        <p:spPr>
          <a:xfrm>
            <a:off x="8108202" y="1988894"/>
            <a:ext cx="1248907" cy="388898"/>
          </a:xfrm>
          <a:prstGeom prst="rect">
            <a:avLst/>
          </a:prstGeom>
        </p:spPr>
        <p:txBody>
          <a:bodyPr wrap="square">
            <a:spAutoFit/>
          </a:bodyPr>
          <a:lstStyle/>
          <a:p>
            <a:pPr marL="0" marR="0" lvl="0" indent="0" algn="l" defTabSz="895575" rtl="0" eaLnBrk="1" fontAlgn="base" latinLnBrk="0" hangingPunct="1">
              <a:lnSpc>
                <a:spcPct val="9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Azure Data Lake Analytics</a:t>
            </a:r>
          </a:p>
        </p:txBody>
      </p:sp>
      <p:pic>
        <p:nvPicPr>
          <p:cNvPr id="59" name="Picture 5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794415" y="1651279"/>
            <a:ext cx="300282" cy="300282"/>
          </a:xfrm>
          <a:prstGeom prst="rect">
            <a:avLst/>
          </a:prstGeom>
        </p:spPr>
      </p:pic>
      <p:pic>
        <p:nvPicPr>
          <p:cNvPr id="65" name="Picture 6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785536" y="2032445"/>
            <a:ext cx="313128" cy="313128"/>
          </a:xfrm>
          <a:prstGeom prst="rect">
            <a:avLst/>
          </a:prstGeom>
        </p:spPr>
      </p:pic>
      <p:grpSp>
        <p:nvGrpSpPr>
          <p:cNvPr id="188" name="Group 187">
            <a:extLst>
              <a:ext uri="{FF2B5EF4-FFF2-40B4-BE49-F238E27FC236}">
                <a16:creationId xmlns:a16="http://schemas.microsoft.com/office/drawing/2014/main" id="{61684841-DE4E-4B95-9DA8-A64BC7C45952}"/>
              </a:ext>
            </a:extLst>
          </p:cNvPr>
          <p:cNvGrpSpPr/>
          <p:nvPr/>
        </p:nvGrpSpPr>
        <p:grpSpPr>
          <a:xfrm>
            <a:off x="6381032" y="2546539"/>
            <a:ext cx="2903869" cy="942121"/>
            <a:chOff x="6432652" y="1516537"/>
            <a:chExt cx="2904281" cy="942254"/>
          </a:xfrm>
        </p:grpSpPr>
        <p:sp>
          <p:nvSpPr>
            <p:cNvPr id="189" name="Rectangle 188">
              <a:extLst>
                <a:ext uri="{FF2B5EF4-FFF2-40B4-BE49-F238E27FC236}">
                  <a16:creationId xmlns:a16="http://schemas.microsoft.com/office/drawing/2014/main" id="{F140F6BC-F41D-4BFF-AD62-7B77081C971A}"/>
                </a:ext>
              </a:extLst>
            </p:cNvPr>
            <p:cNvSpPr/>
            <p:nvPr/>
          </p:nvSpPr>
          <p:spPr bwMode="auto">
            <a:xfrm>
              <a:off x="6432652" y="1516537"/>
              <a:ext cx="2904281" cy="942254"/>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0" bIns="91388" numCol="1" spcCol="0" rtlCol="0" fromWordArt="0" anchor="b" anchorCtr="0" forceAA="0" compatLnSpc="1">
              <a:prstTxWarp prst="textNoShape">
                <a:avLst/>
              </a:prstTxWarp>
              <a:no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0" name="Rectangle 189">
              <a:extLst>
                <a:ext uri="{FF2B5EF4-FFF2-40B4-BE49-F238E27FC236}">
                  <a16:creationId xmlns:a16="http://schemas.microsoft.com/office/drawing/2014/main" id="{1DAAA227-3A4F-4AFE-BBA0-9B49856F605D}"/>
                </a:ext>
              </a:extLst>
            </p:cNvPr>
            <p:cNvSpPr/>
            <p:nvPr/>
          </p:nvSpPr>
          <p:spPr>
            <a:xfrm>
              <a:off x="6460814" y="1582298"/>
              <a:ext cx="1352062" cy="612561"/>
            </a:xfrm>
            <a:prstGeom prst="rect">
              <a:avLst/>
            </a:prstGeom>
          </p:spPr>
          <p:txBody>
            <a:bodyPr wrap="square">
              <a:sp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r>
                <a:rPr kumimoji="0" lang="en-US" sz="1100" b="1"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Black" panose="020B0A02040204020203" pitchFamily="34" charset="0"/>
                  <a:cs typeface="Segoe UI" panose="020B0502040204020203" pitchFamily="34" charset="0"/>
                </a:rPr>
                <a:t>Hot Analytics</a:t>
              </a:r>
            </a:p>
            <a:p>
              <a:pPr marL="0" marR="0" lvl="0" indent="0" algn="l"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Real-time </a:t>
              </a:r>
              <a:br>
                <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monitoring</a:t>
              </a:r>
            </a:p>
          </p:txBody>
        </p:sp>
      </p:grpSp>
      <p:sp>
        <p:nvSpPr>
          <p:cNvPr id="64" name="Freeform 63"/>
          <p:cNvSpPr/>
          <p:nvPr/>
        </p:nvSpPr>
        <p:spPr bwMode="auto">
          <a:xfrm>
            <a:off x="7967878" y="2717808"/>
            <a:ext cx="562410" cy="759311"/>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pic>
        <p:nvPicPr>
          <p:cNvPr id="10246" name="Picture 6" descr="Image result for App Service Logo 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667432" y="2895895"/>
            <a:ext cx="606755" cy="318545"/>
          </a:xfrm>
          <a:prstGeom prst="rect">
            <a:avLst/>
          </a:prstGeom>
          <a:noFill/>
          <a:extLst>
            <a:ext uri="{909E8E84-426E-40DD-AFC4-6F175D3DCCD1}">
              <a14:hiddenFill xmlns:a14="http://schemas.microsoft.com/office/drawing/2010/main">
                <a:solidFill>
                  <a:srgbClr val="FFFFFF"/>
                </a:solidFill>
              </a14:hiddenFill>
            </a:ext>
          </a:extLst>
        </p:spPr>
      </p:pic>
      <p:pic>
        <p:nvPicPr>
          <p:cNvPr id="10248" name="Picture 8" descr="Image result for Web Apps Logo 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468741" y="2887753"/>
            <a:ext cx="591042" cy="310297"/>
          </a:xfrm>
          <a:prstGeom prst="rect">
            <a:avLst/>
          </a:prstGeom>
          <a:noFill/>
          <a:extLst>
            <a:ext uri="{909E8E84-426E-40DD-AFC4-6F175D3DCCD1}">
              <a14:hiddenFill xmlns:a14="http://schemas.microsoft.com/office/drawing/2010/main">
                <a:solidFill>
                  <a:srgbClr val="FFFFFF"/>
                </a:solidFill>
              </a14:hiddenFill>
            </a:ext>
          </a:extLst>
        </p:spPr>
      </p:pic>
      <p:sp>
        <p:nvSpPr>
          <p:cNvPr id="146" name="Rectangle 145"/>
          <p:cNvSpPr/>
          <p:nvPr/>
        </p:nvSpPr>
        <p:spPr>
          <a:xfrm>
            <a:off x="8126131" y="2631608"/>
            <a:ext cx="1248907" cy="388898"/>
          </a:xfrm>
          <a:prstGeom prst="rect">
            <a:avLst/>
          </a:prstGeom>
        </p:spPr>
        <p:txBody>
          <a:bodyPr wrap="square">
            <a:spAutoFit/>
          </a:bodyPr>
          <a:lstStyle/>
          <a:p>
            <a:pPr marL="0" marR="0" lvl="0" indent="0" algn="l" defTabSz="895575" rtl="0" eaLnBrk="1" fontAlgn="base" latinLnBrk="0" hangingPunct="1">
              <a:lnSpc>
                <a:spcPct val="9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Azure Stream Analytics</a:t>
            </a:r>
          </a:p>
        </p:txBody>
      </p:sp>
      <p:sp>
        <p:nvSpPr>
          <p:cNvPr id="153" name="Rectangle 152"/>
          <p:cNvSpPr/>
          <p:nvPr/>
        </p:nvSpPr>
        <p:spPr>
          <a:xfrm>
            <a:off x="8126527" y="3060945"/>
            <a:ext cx="1248907" cy="388898"/>
          </a:xfrm>
          <a:prstGeom prst="rect">
            <a:avLst/>
          </a:prstGeom>
        </p:spPr>
        <p:txBody>
          <a:bodyPr wrap="square">
            <a:spAutoFit/>
          </a:bodyPr>
          <a:lstStyle/>
          <a:p>
            <a:pPr marL="0" marR="0" lvl="0" indent="0" algn="l" defTabSz="895575" rtl="0" eaLnBrk="1" fontAlgn="base" latinLnBrk="0" hangingPunct="1">
              <a:lnSpc>
                <a:spcPct val="9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HDInsight Spark </a:t>
            </a:r>
          </a:p>
          <a:p>
            <a:pPr marL="0" marR="0" lvl="0" indent="0" algn="l" defTabSz="895575" rtl="0" eaLnBrk="1" fontAlgn="base" latinLnBrk="0" hangingPunct="1">
              <a:lnSpc>
                <a:spcPct val="9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amp; Storm</a:t>
            </a:r>
          </a:p>
        </p:txBody>
      </p:sp>
      <p:pic>
        <p:nvPicPr>
          <p:cNvPr id="66" name="Picture 6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752221" y="2645137"/>
            <a:ext cx="400356" cy="400356"/>
          </a:xfrm>
          <a:prstGeom prst="rect">
            <a:avLst/>
          </a:prstGeom>
        </p:spPr>
      </p:pic>
      <p:pic>
        <p:nvPicPr>
          <p:cNvPr id="68" name="Picture 6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790725" y="3060397"/>
            <a:ext cx="363961" cy="363961"/>
          </a:xfrm>
          <a:prstGeom prst="rect">
            <a:avLst/>
          </a:prstGeom>
        </p:spPr>
      </p:pic>
      <p:pic>
        <p:nvPicPr>
          <p:cNvPr id="77" name="Picture 7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290811" y="2884270"/>
            <a:ext cx="333186" cy="333186"/>
          </a:xfrm>
          <a:prstGeom prst="rect">
            <a:avLst/>
          </a:prstGeom>
        </p:spPr>
      </p:pic>
      <p:cxnSp>
        <p:nvCxnSpPr>
          <p:cNvPr id="175" name="Straight Arrow Connector 174"/>
          <p:cNvCxnSpPr>
            <a:cxnSpLocks/>
          </p:cNvCxnSpPr>
          <p:nvPr/>
        </p:nvCxnSpPr>
        <p:spPr>
          <a:xfrm>
            <a:off x="9276024" y="3031904"/>
            <a:ext cx="201140" cy="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054" name="Group 2053">
            <a:extLst>
              <a:ext uri="{FF2B5EF4-FFF2-40B4-BE49-F238E27FC236}">
                <a16:creationId xmlns:a16="http://schemas.microsoft.com/office/drawing/2014/main" id="{DFE42BD2-28FD-4EE8-9F1A-D4D18E4D180F}"/>
              </a:ext>
            </a:extLst>
          </p:cNvPr>
          <p:cNvGrpSpPr/>
          <p:nvPr/>
        </p:nvGrpSpPr>
        <p:grpSpPr>
          <a:xfrm>
            <a:off x="6386429" y="3576270"/>
            <a:ext cx="2903869" cy="942121"/>
            <a:chOff x="6386470" y="3623918"/>
            <a:chExt cx="2904281" cy="942254"/>
          </a:xfrm>
        </p:grpSpPr>
        <p:sp>
          <p:nvSpPr>
            <p:cNvPr id="192" name="Rectangle 191">
              <a:extLst>
                <a:ext uri="{FF2B5EF4-FFF2-40B4-BE49-F238E27FC236}">
                  <a16:creationId xmlns:a16="http://schemas.microsoft.com/office/drawing/2014/main" id="{4DCCD8FD-DEE1-4B13-B13E-A4A1D8CCC317}"/>
                </a:ext>
              </a:extLst>
            </p:cNvPr>
            <p:cNvSpPr/>
            <p:nvPr/>
          </p:nvSpPr>
          <p:spPr bwMode="auto">
            <a:xfrm>
              <a:off x="6386470" y="3623918"/>
              <a:ext cx="2904281" cy="942254"/>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0" bIns="91388" numCol="1" spcCol="0" rtlCol="0" fromWordArt="0" anchor="b" anchorCtr="0" forceAA="0" compatLnSpc="1">
              <a:prstTxWarp prst="textNoShape">
                <a:avLst/>
              </a:prstTxWarp>
              <a:no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3" name="Rectangle 192">
              <a:extLst>
                <a:ext uri="{FF2B5EF4-FFF2-40B4-BE49-F238E27FC236}">
                  <a16:creationId xmlns:a16="http://schemas.microsoft.com/office/drawing/2014/main" id="{5A017C9B-EACB-43BC-A218-F6C778681349}"/>
                </a:ext>
              </a:extLst>
            </p:cNvPr>
            <p:cNvSpPr/>
            <p:nvPr/>
          </p:nvSpPr>
          <p:spPr>
            <a:xfrm>
              <a:off x="6414632" y="3714731"/>
              <a:ext cx="1407374" cy="612561"/>
            </a:xfrm>
            <a:prstGeom prst="rect">
              <a:avLst/>
            </a:prstGeom>
          </p:spPr>
          <p:txBody>
            <a:bodyPr wrap="square">
              <a:sp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r>
                <a:rPr kumimoji="0" lang="en-US" sz="1100" b="1"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Black" panose="020B0A02040204020203" pitchFamily="34" charset="0"/>
                  <a:cs typeface="Segoe UI" panose="020B0502040204020203" pitchFamily="34" charset="0"/>
                </a:rPr>
                <a:t>Warm Analytics</a:t>
              </a:r>
            </a:p>
            <a:p>
              <a:pPr marL="0" marR="0" lvl="0" indent="0" algn="l"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Time series data </a:t>
              </a:r>
              <a:br>
                <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storage &amp; analytics</a:t>
              </a:r>
            </a:p>
          </p:txBody>
        </p:sp>
      </p:grpSp>
      <p:sp>
        <p:nvSpPr>
          <p:cNvPr id="157" name="Rectangle 156"/>
          <p:cNvSpPr/>
          <p:nvPr/>
        </p:nvSpPr>
        <p:spPr>
          <a:xfrm>
            <a:off x="8134676" y="3846019"/>
            <a:ext cx="1248907" cy="388898"/>
          </a:xfrm>
          <a:prstGeom prst="rect">
            <a:avLst/>
          </a:prstGeom>
        </p:spPr>
        <p:txBody>
          <a:bodyPr wrap="square">
            <a:spAutoFit/>
          </a:bodyPr>
          <a:lstStyle/>
          <a:p>
            <a:pPr marL="0" marR="0" lvl="0" indent="0" algn="l" defTabSz="895575" rtl="0" eaLnBrk="1" fontAlgn="base" latinLnBrk="0" hangingPunct="1">
              <a:lnSpc>
                <a:spcPct val="9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Azure Time </a:t>
            </a:r>
            <a:b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b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Series Insights</a:t>
            </a:r>
          </a:p>
        </p:txBody>
      </p:sp>
      <p:sp>
        <p:nvSpPr>
          <p:cNvPr id="87" name="Rectangle 86"/>
          <p:cNvSpPr/>
          <p:nvPr/>
        </p:nvSpPr>
        <p:spPr>
          <a:xfrm>
            <a:off x="9615043" y="3714691"/>
            <a:ext cx="2033934" cy="472948"/>
          </a:xfrm>
          <a:prstGeom prst="rect">
            <a:avLst/>
          </a:prstGeom>
        </p:spPr>
        <p:txBody>
          <a:bodyPr wrap="square">
            <a:spAutoFit/>
          </a:bodyPr>
          <a:lstStyle/>
          <a:p>
            <a:pPr marL="0" marR="0" lvl="0" indent="0" algn="l" defTabSz="895575" rtl="0" eaLnBrk="1" fontAlgn="base" latinLnBrk="0" hangingPunct="1">
              <a:lnSpc>
                <a:spcPct val="90000"/>
              </a:lnSpc>
              <a:spcBef>
                <a:spcPct val="0"/>
              </a:spcBef>
              <a:spcAft>
                <a:spcPts val="588"/>
              </a:spcAft>
              <a:buClrTx/>
              <a:buSzTx/>
              <a:buFontTx/>
              <a:buNone/>
              <a:tabLst/>
              <a:defRPr/>
            </a:pPr>
            <a:r>
              <a:rPr kumimoji="0" lang="en-US" sz="1100" b="1"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Black" panose="020B0A02040204020203" pitchFamily="34" charset="0"/>
                <a:cs typeface="Segoe UI" panose="020B0502040204020203" pitchFamily="34" charset="0"/>
              </a:rPr>
              <a:t>Business Integration</a:t>
            </a:r>
          </a:p>
          <a:p>
            <a:pPr marL="0" marR="0" lvl="0" indent="0" algn="l" defTabSz="895575" rtl="0" eaLnBrk="1" fontAlgn="base" latinLnBrk="0" hangingPunct="1">
              <a:lnSpc>
                <a:spcPct val="90000"/>
              </a:lnSpc>
              <a:spcBef>
                <a:spcPct val="0"/>
              </a:spcBef>
              <a:spcAft>
                <a:spcPts val="588"/>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Connect to Business Processes</a:t>
            </a:r>
          </a:p>
        </p:txBody>
      </p:sp>
      <p:cxnSp>
        <p:nvCxnSpPr>
          <p:cNvPr id="176" name="Straight Arrow Connector 175"/>
          <p:cNvCxnSpPr>
            <a:cxnSpLocks/>
          </p:cNvCxnSpPr>
          <p:nvPr/>
        </p:nvCxnSpPr>
        <p:spPr>
          <a:xfrm flipV="1">
            <a:off x="9276022" y="4036873"/>
            <a:ext cx="201140" cy="142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44" name="Picture 2" descr="Image result for Azure time series insights logo"/>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20657" r="20939"/>
          <a:stretch/>
        </p:blipFill>
        <p:spPr bwMode="auto">
          <a:xfrm>
            <a:off x="7804571" y="3873013"/>
            <a:ext cx="366156" cy="329142"/>
          </a:xfrm>
          <a:prstGeom prst="rect">
            <a:avLst/>
          </a:prstGeom>
          <a:noFill/>
          <a:extLst>
            <a:ext uri="{909E8E84-426E-40DD-AFC4-6F175D3DCCD1}">
              <a14:hiddenFill xmlns:a14="http://schemas.microsoft.com/office/drawing/2010/main">
                <a:solidFill>
                  <a:srgbClr val="FFFFFF"/>
                </a:solidFill>
              </a14:hiddenFill>
            </a:ext>
          </a:extLst>
        </p:spPr>
      </p:pic>
      <p:cxnSp>
        <p:nvCxnSpPr>
          <p:cNvPr id="194" name="Straight Arrow Connector 193">
            <a:extLst>
              <a:ext uri="{FF2B5EF4-FFF2-40B4-BE49-F238E27FC236}">
                <a16:creationId xmlns:a16="http://schemas.microsoft.com/office/drawing/2014/main" id="{55552BDA-BCBD-4C65-8613-E3EB8AC15ED5}"/>
              </a:ext>
            </a:extLst>
          </p:cNvPr>
          <p:cNvCxnSpPr>
            <a:cxnSpLocks/>
          </p:cNvCxnSpPr>
          <p:nvPr/>
        </p:nvCxnSpPr>
        <p:spPr>
          <a:xfrm>
            <a:off x="9268405" y="1993756"/>
            <a:ext cx="201140" cy="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FF699D84-8469-4DF5-8891-6D6E43DABB4D}"/>
              </a:ext>
            </a:extLst>
          </p:cNvPr>
          <p:cNvCxnSpPr>
            <a:cxnSpLocks/>
          </p:cNvCxnSpPr>
          <p:nvPr/>
        </p:nvCxnSpPr>
        <p:spPr>
          <a:xfrm flipV="1">
            <a:off x="6190438" y="1993756"/>
            <a:ext cx="201140" cy="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C07E7D4E-1EE7-464F-ADAC-3F212A0B5122}"/>
              </a:ext>
            </a:extLst>
          </p:cNvPr>
          <p:cNvCxnSpPr>
            <a:cxnSpLocks/>
          </p:cNvCxnSpPr>
          <p:nvPr/>
        </p:nvCxnSpPr>
        <p:spPr>
          <a:xfrm>
            <a:off x="6190438" y="3031904"/>
            <a:ext cx="201140" cy="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15198316-8059-4759-9EB7-D86E373D90DD}"/>
              </a:ext>
            </a:extLst>
          </p:cNvPr>
          <p:cNvCxnSpPr>
            <a:cxnSpLocks/>
          </p:cNvCxnSpPr>
          <p:nvPr/>
        </p:nvCxnSpPr>
        <p:spPr>
          <a:xfrm>
            <a:off x="6190438" y="4036874"/>
            <a:ext cx="201140" cy="1421"/>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B60EADB8-674E-4037-87A4-EB2AE19BA511}"/>
              </a:ext>
            </a:extLst>
          </p:cNvPr>
          <p:cNvSpPr/>
          <p:nvPr/>
        </p:nvSpPr>
        <p:spPr>
          <a:xfrm>
            <a:off x="10746393" y="4248210"/>
            <a:ext cx="1150029" cy="290038"/>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400" b="0" i="0" u="none" strike="noStrike" kern="0" cap="none" spc="0" normalizeH="0" baseline="0" noProof="0" dirty="0">
                <a:ln>
                  <a:noFill/>
                </a:ln>
                <a:solidFill>
                  <a:srgbClr val="EB3C00"/>
                </a:solidFill>
                <a:effectLst/>
                <a:uLnTx/>
                <a:uFillTx/>
                <a:latin typeface="Segoe UI" panose="020B0502040204020203" pitchFamily="34" charset="0"/>
                <a:ea typeface="Segoe UI" panose="020B0502040204020203" pitchFamily="34" charset="0"/>
                <a:cs typeface="Segoe UI" panose="020B0502040204020203" pitchFamily="34" charset="0"/>
              </a:rPr>
              <a:t>Office 365</a:t>
            </a:r>
          </a:p>
        </p:txBody>
      </p:sp>
      <p:sp>
        <p:nvSpPr>
          <p:cNvPr id="170" name="Rectangle 169">
            <a:extLst>
              <a:ext uri="{FF2B5EF4-FFF2-40B4-BE49-F238E27FC236}">
                <a16:creationId xmlns:a16="http://schemas.microsoft.com/office/drawing/2014/main" id="{FF3D14F0-C999-4F42-95AF-CF85E93582FC}"/>
              </a:ext>
            </a:extLst>
          </p:cNvPr>
          <p:cNvSpPr/>
          <p:nvPr/>
        </p:nvSpPr>
        <p:spPr>
          <a:xfrm>
            <a:off x="9610845" y="4248210"/>
            <a:ext cx="1282992" cy="284377"/>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400" b="0" i="0" u="none" strike="noStrike" kern="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Dynamics 365</a:t>
            </a:r>
          </a:p>
        </p:txBody>
      </p:sp>
      <p:pic>
        <p:nvPicPr>
          <p:cNvPr id="2048" name="Picture 2047" descr="A picture containing paper clip&#10;&#10;Description generated with high confidence">
            <a:extLst>
              <a:ext uri="{FF2B5EF4-FFF2-40B4-BE49-F238E27FC236}">
                <a16:creationId xmlns:a16="http://schemas.microsoft.com/office/drawing/2014/main" id="{BD746B46-42AF-4F39-A6E3-B905037AA7CA}"/>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711606" y="1996089"/>
            <a:ext cx="516990" cy="516990"/>
          </a:xfrm>
          <a:prstGeom prst="rect">
            <a:avLst/>
          </a:prstGeom>
        </p:spPr>
      </p:pic>
      <p:pic>
        <p:nvPicPr>
          <p:cNvPr id="2051" name="Picture 2050" descr="A close up of a logo&#10;&#10;Description generated with very high confidence">
            <a:extLst>
              <a:ext uri="{FF2B5EF4-FFF2-40B4-BE49-F238E27FC236}">
                <a16:creationId xmlns:a16="http://schemas.microsoft.com/office/drawing/2014/main" id="{3F76FEFA-0C5B-49DC-9BCA-F7FEADC0669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915927" y="4613792"/>
            <a:ext cx="516990" cy="516990"/>
          </a:xfrm>
          <a:prstGeom prst="rect">
            <a:avLst/>
          </a:prstGeom>
        </p:spPr>
      </p:pic>
      <p:sp>
        <p:nvSpPr>
          <p:cNvPr id="174" name="Rectangle 173">
            <a:extLst>
              <a:ext uri="{FF2B5EF4-FFF2-40B4-BE49-F238E27FC236}">
                <a16:creationId xmlns:a16="http://schemas.microsoft.com/office/drawing/2014/main" id="{DC7CD314-A2E4-424A-A655-109608FCFA2A}"/>
              </a:ext>
            </a:extLst>
          </p:cNvPr>
          <p:cNvSpPr/>
          <p:nvPr/>
        </p:nvSpPr>
        <p:spPr>
          <a:xfrm>
            <a:off x="10742889" y="5024573"/>
            <a:ext cx="874472" cy="240609"/>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Flow</a:t>
            </a:r>
          </a:p>
        </p:txBody>
      </p:sp>
      <p:pic>
        <p:nvPicPr>
          <p:cNvPr id="2052" name="Picture 4" descr="Image result for logic apps logo">
            <a:extLst>
              <a:ext uri="{FF2B5EF4-FFF2-40B4-BE49-F238E27FC236}">
                <a16:creationId xmlns:a16="http://schemas.microsoft.com/office/drawing/2014/main" id="{85B61AA1-B377-4C85-9E1D-90ED1C6BCA21}"/>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091204" y="4735575"/>
            <a:ext cx="479452" cy="251713"/>
          </a:xfrm>
          <a:prstGeom prst="rect">
            <a:avLst/>
          </a:prstGeom>
          <a:noFill/>
          <a:extLst>
            <a:ext uri="{909E8E84-426E-40DD-AFC4-6F175D3DCCD1}">
              <a14:hiddenFill xmlns:a14="http://schemas.microsoft.com/office/drawing/2010/main">
                <a:solidFill>
                  <a:srgbClr val="FFFFFF"/>
                </a:solidFill>
              </a14:hiddenFill>
            </a:ext>
          </a:extLst>
        </p:spPr>
      </p:pic>
      <p:grpSp>
        <p:nvGrpSpPr>
          <p:cNvPr id="2053" name="Group 2052">
            <a:extLst>
              <a:ext uri="{FF2B5EF4-FFF2-40B4-BE49-F238E27FC236}">
                <a16:creationId xmlns:a16="http://schemas.microsoft.com/office/drawing/2014/main" id="{3C3F1D9E-2E6C-4868-9550-4B10BD5873FE}"/>
              </a:ext>
            </a:extLst>
          </p:cNvPr>
          <p:cNvGrpSpPr/>
          <p:nvPr/>
        </p:nvGrpSpPr>
        <p:grpSpPr>
          <a:xfrm>
            <a:off x="1309044" y="1953673"/>
            <a:ext cx="2099018" cy="978573"/>
            <a:chOff x="6386470" y="4592572"/>
            <a:chExt cx="2099316" cy="978711"/>
          </a:xfrm>
        </p:grpSpPr>
        <p:sp>
          <p:nvSpPr>
            <p:cNvPr id="201" name="Rectangle 200">
              <a:extLst>
                <a:ext uri="{FF2B5EF4-FFF2-40B4-BE49-F238E27FC236}">
                  <a16:creationId xmlns:a16="http://schemas.microsoft.com/office/drawing/2014/main" id="{393FFC5E-6E26-4333-9DA0-F5D4AB7B7D11}"/>
                </a:ext>
              </a:extLst>
            </p:cNvPr>
            <p:cNvSpPr/>
            <p:nvPr/>
          </p:nvSpPr>
          <p:spPr bwMode="auto">
            <a:xfrm>
              <a:off x="6386470" y="4592572"/>
              <a:ext cx="2099316" cy="978711"/>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0" bIns="91388" numCol="1" spcCol="0" rtlCol="0" fromWordArt="0" anchor="b" anchorCtr="0" forceAA="0" compatLnSpc="1">
              <a:prstTxWarp prst="textNoShape">
                <a:avLst/>
              </a:prstTxWarp>
              <a:no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2" name="Rectangle 201">
              <a:extLst>
                <a:ext uri="{FF2B5EF4-FFF2-40B4-BE49-F238E27FC236}">
                  <a16:creationId xmlns:a16="http://schemas.microsoft.com/office/drawing/2014/main" id="{BEEB6DFE-7D99-4239-9BFC-D686900C1738}"/>
                </a:ext>
              </a:extLst>
            </p:cNvPr>
            <p:cNvSpPr/>
            <p:nvPr/>
          </p:nvSpPr>
          <p:spPr>
            <a:xfrm>
              <a:off x="6517372" y="5266104"/>
              <a:ext cx="1710842" cy="247760"/>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1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Black" panose="020B0A02040204020203" pitchFamily="34" charset="0"/>
                  <a:cs typeface="Segoe UI" panose="020B0502040204020203" pitchFamily="34" charset="0"/>
                </a:rPr>
                <a:t>AI - </a:t>
              </a:r>
              <a:r>
                <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Cognitive Services</a:t>
              </a:r>
            </a:p>
          </p:txBody>
        </p:sp>
      </p:grpSp>
      <p:sp>
        <p:nvSpPr>
          <p:cNvPr id="195" name="Eye" title="Icon of an eye">
            <a:extLst>
              <a:ext uri="{FF2B5EF4-FFF2-40B4-BE49-F238E27FC236}">
                <a16:creationId xmlns:a16="http://schemas.microsoft.com/office/drawing/2014/main" id="{891E13C9-CCF5-4676-9CCA-5CD2AABAE646}"/>
              </a:ext>
            </a:extLst>
          </p:cNvPr>
          <p:cNvSpPr>
            <a:spLocks noChangeAspect="1" noEditPoints="1"/>
          </p:cNvSpPr>
          <p:nvPr/>
        </p:nvSpPr>
        <p:spPr bwMode="auto">
          <a:xfrm>
            <a:off x="1503202" y="2372513"/>
            <a:ext cx="258041" cy="142469"/>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Microsoft_E720" title="Icon of a microphone">
            <a:extLst>
              <a:ext uri="{FF2B5EF4-FFF2-40B4-BE49-F238E27FC236}">
                <a16:creationId xmlns:a16="http://schemas.microsoft.com/office/drawing/2014/main" id="{568AC55E-7D8E-43E4-9401-27E8AEC74497}"/>
              </a:ext>
            </a:extLst>
          </p:cNvPr>
          <p:cNvSpPr>
            <a:spLocks noChangeAspect="1" noEditPoints="1"/>
          </p:cNvSpPr>
          <p:nvPr/>
        </p:nvSpPr>
        <p:spPr bwMode="auto">
          <a:xfrm>
            <a:off x="2740192" y="2345553"/>
            <a:ext cx="125050" cy="187666"/>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97" name="Dictionary_E82D" title="Icon of a book">
            <a:extLst>
              <a:ext uri="{FF2B5EF4-FFF2-40B4-BE49-F238E27FC236}">
                <a16:creationId xmlns:a16="http://schemas.microsoft.com/office/drawing/2014/main" id="{43F651EB-A8CC-499E-801F-E99A20973A97}"/>
              </a:ext>
            </a:extLst>
          </p:cNvPr>
          <p:cNvSpPr>
            <a:spLocks noChangeAspect="1" noEditPoints="1"/>
          </p:cNvSpPr>
          <p:nvPr/>
        </p:nvSpPr>
        <p:spPr bwMode="auto">
          <a:xfrm>
            <a:off x="1880011" y="2345555"/>
            <a:ext cx="150133" cy="187666"/>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98" name="magnify" title="Icon of a magnifying glass">
            <a:extLst>
              <a:ext uri="{FF2B5EF4-FFF2-40B4-BE49-F238E27FC236}">
                <a16:creationId xmlns:a16="http://schemas.microsoft.com/office/drawing/2014/main" id="{C35C4505-14D1-4D64-92C9-2DB77D9559A5}"/>
              </a:ext>
            </a:extLst>
          </p:cNvPr>
          <p:cNvSpPr>
            <a:spLocks noChangeAspect="1" noEditPoints="1"/>
          </p:cNvSpPr>
          <p:nvPr/>
        </p:nvSpPr>
        <p:spPr bwMode="auto">
          <a:xfrm flipH="1">
            <a:off x="2430100" y="2343464"/>
            <a:ext cx="191323" cy="18766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9" name="Characters_E8C1" title="Icon of the letter A and a letter in another language">
            <a:extLst>
              <a:ext uri="{FF2B5EF4-FFF2-40B4-BE49-F238E27FC236}">
                <a16:creationId xmlns:a16="http://schemas.microsoft.com/office/drawing/2014/main" id="{1289AD19-A49F-421C-9662-BE6F1E1B2130}"/>
              </a:ext>
            </a:extLst>
          </p:cNvPr>
          <p:cNvSpPr>
            <a:spLocks noChangeAspect="1" noEditPoints="1"/>
          </p:cNvSpPr>
          <p:nvPr/>
        </p:nvSpPr>
        <p:spPr bwMode="auto">
          <a:xfrm>
            <a:off x="2984014" y="2345552"/>
            <a:ext cx="181932" cy="187666"/>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737373"/>
          </a:solidFill>
          <a:ln w="3175" cap="sq">
            <a:no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0" name="Beaker_F196" title="Icon of a scientific flask with liquid in it">
            <a:extLst>
              <a:ext uri="{FF2B5EF4-FFF2-40B4-BE49-F238E27FC236}">
                <a16:creationId xmlns:a16="http://schemas.microsoft.com/office/drawing/2014/main" id="{7598CFB8-116C-4791-9C1C-2BD161AFAE66}"/>
              </a:ext>
            </a:extLst>
          </p:cNvPr>
          <p:cNvSpPr>
            <a:spLocks noChangeAspect="1" noEditPoints="1"/>
          </p:cNvSpPr>
          <p:nvPr/>
        </p:nvSpPr>
        <p:spPr bwMode="auto">
          <a:xfrm>
            <a:off x="2148911" y="2345554"/>
            <a:ext cx="162419" cy="187666"/>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cxnSp>
        <p:nvCxnSpPr>
          <p:cNvPr id="203" name="Straight Arrow Connector 202">
            <a:extLst>
              <a:ext uri="{FF2B5EF4-FFF2-40B4-BE49-F238E27FC236}">
                <a16:creationId xmlns:a16="http://schemas.microsoft.com/office/drawing/2014/main" id="{C0CB31EC-E015-4E7A-81DF-2026A83722B9}"/>
              </a:ext>
            </a:extLst>
          </p:cNvPr>
          <p:cNvCxnSpPr>
            <a:cxnSpLocks/>
          </p:cNvCxnSpPr>
          <p:nvPr/>
        </p:nvCxnSpPr>
        <p:spPr>
          <a:xfrm>
            <a:off x="6190438" y="5080665"/>
            <a:ext cx="3288019" cy="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5" name="2 Arrow">
            <a:extLst>
              <a:ext uri="{FF2B5EF4-FFF2-40B4-BE49-F238E27FC236}">
                <a16:creationId xmlns:a16="http://schemas.microsoft.com/office/drawing/2014/main" id="{41564F25-0CB2-47B6-93D8-5196AF66C56E}"/>
              </a:ext>
            </a:extLst>
          </p:cNvPr>
          <p:cNvCxnSpPr>
            <a:cxnSpLocks/>
          </p:cNvCxnSpPr>
          <p:nvPr/>
        </p:nvCxnSpPr>
        <p:spPr>
          <a:xfrm flipV="1">
            <a:off x="2296735" y="2906927"/>
            <a:ext cx="0" cy="231868"/>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7" name="2   Arrow fg">
            <a:extLst>
              <a:ext uri="{FF2B5EF4-FFF2-40B4-BE49-F238E27FC236}">
                <a16:creationId xmlns:a16="http://schemas.microsoft.com/office/drawing/2014/main" id="{0EDEA809-9C2D-408C-AD70-B40DCF7F5269}"/>
              </a:ext>
            </a:extLst>
          </p:cNvPr>
          <p:cNvCxnSpPr>
            <a:cxnSpLocks/>
            <a:stCxn id="201" idx="3"/>
          </p:cNvCxnSpPr>
          <p:nvPr/>
        </p:nvCxnSpPr>
        <p:spPr>
          <a:xfrm>
            <a:off x="3408062" y="2442959"/>
            <a:ext cx="310064"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29" name="Picture 8" descr="Image result for Azure IoT Edge logo png">
            <a:extLst>
              <a:ext uri="{FF2B5EF4-FFF2-40B4-BE49-F238E27FC236}">
                <a16:creationId xmlns:a16="http://schemas.microsoft.com/office/drawing/2014/main" id="{F747B297-48AB-4EFF-B7CC-780901916D42}"/>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543611" y="3343018"/>
            <a:ext cx="348746" cy="348746"/>
          </a:xfrm>
          <a:prstGeom prst="rect">
            <a:avLst/>
          </a:prstGeom>
          <a:noFill/>
          <a:extLst>
            <a:ext uri="{909E8E84-426E-40DD-AFC4-6F175D3DCCD1}">
              <a14:hiddenFill xmlns:a14="http://schemas.microsoft.com/office/drawing/2010/main">
                <a:solidFill>
                  <a:srgbClr val="FFFFFF"/>
                </a:solidFill>
              </a14:hiddenFill>
            </a:ext>
          </a:extLst>
        </p:spPr>
      </p:pic>
      <p:cxnSp>
        <p:nvCxnSpPr>
          <p:cNvPr id="130" name="2 Arrow">
            <a:extLst>
              <a:ext uri="{FF2B5EF4-FFF2-40B4-BE49-F238E27FC236}">
                <a16:creationId xmlns:a16="http://schemas.microsoft.com/office/drawing/2014/main" id="{585DAE21-3910-4840-865B-DDA57C8951D4}"/>
              </a:ext>
            </a:extLst>
          </p:cNvPr>
          <p:cNvCxnSpPr>
            <a:cxnSpLocks/>
          </p:cNvCxnSpPr>
          <p:nvPr/>
        </p:nvCxnSpPr>
        <p:spPr>
          <a:xfrm flipV="1">
            <a:off x="912137" y="5027325"/>
            <a:ext cx="382784"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1" name="2 Arrow">
            <a:extLst>
              <a:ext uri="{FF2B5EF4-FFF2-40B4-BE49-F238E27FC236}">
                <a16:creationId xmlns:a16="http://schemas.microsoft.com/office/drawing/2014/main" id="{E5C63C99-7766-4836-BCF8-FFE9774AC9B0}"/>
              </a:ext>
            </a:extLst>
          </p:cNvPr>
          <p:cNvCxnSpPr>
            <a:cxnSpLocks/>
          </p:cNvCxnSpPr>
          <p:nvPr/>
        </p:nvCxnSpPr>
        <p:spPr>
          <a:xfrm flipV="1">
            <a:off x="903440" y="5383936"/>
            <a:ext cx="382784"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3" name="Group 132">
            <a:extLst>
              <a:ext uri="{FF2B5EF4-FFF2-40B4-BE49-F238E27FC236}">
                <a16:creationId xmlns:a16="http://schemas.microsoft.com/office/drawing/2014/main" id="{525C1621-4FF3-4AA4-B5BA-F1C810883E9D}"/>
              </a:ext>
            </a:extLst>
          </p:cNvPr>
          <p:cNvGrpSpPr/>
          <p:nvPr/>
        </p:nvGrpSpPr>
        <p:grpSpPr>
          <a:xfrm>
            <a:off x="3848719" y="1593653"/>
            <a:ext cx="1076596" cy="3544508"/>
            <a:chOff x="3773902" y="1594114"/>
            <a:chExt cx="935598" cy="3332094"/>
          </a:xfrm>
        </p:grpSpPr>
        <p:sp>
          <p:nvSpPr>
            <p:cNvPr id="134" name="Rectangle 133">
              <a:extLst>
                <a:ext uri="{FF2B5EF4-FFF2-40B4-BE49-F238E27FC236}">
                  <a16:creationId xmlns:a16="http://schemas.microsoft.com/office/drawing/2014/main" id="{8108C714-E67F-4330-9DFF-1F48B68F1674}"/>
                </a:ext>
              </a:extLst>
            </p:cNvPr>
            <p:cNvSpPr/>
            <p:nvPr/>
          </p:nvSpPr>
          <p:spPr bwMode="auto">
            <a:xfrm>
              <a:off x="3773902" y="1594114"/>
              <a:ext cx="935598" cy="3332094"/>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3" rtl="0" eaLnBrk="1" fontAlgn="base" latinLnBrk="0" hangingPunct="1">
                <a:lnSpc>
                  <a:spcPct val="90000"/>
                </a:lnSpc>
                <a:spcBef>
                  <a:spcPct val="0"/>
                </a:spcBef>
                <a:spcAft>
                  <a:spcPts val="0"/>
                </a:spcAft>
                <a:buClrTx/>
                <a:buSzTx/>
                <a:buFontTx/>
                <a:buNone/>
                <a:tabLst/>
                <a:defRPr/>
              </a:pPr>
              <a:endParaRPr kumimoji="0" lang="en-US" sz="8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573" rtl="0" eaLnBrk="1" fontAlgn="base" latinLnBrk="0" hangingPunct="1">
                <a:lnSpc>
                  <a:spcPct val="9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Azure IoT Hub</a:t>
              </a:r>
            </a:p>
          </p:txBody>
        </p:sp>
        <p:pic>
          <p:nvPicPr>
            <p:cNvPr id="135" name="Picture 134">
              <a:extLst>
                <a:ext uri="{FF2B5EF4-FFF2-40B4-BE49-F238E27FC236}">
                  <a16:creationId xmlns:a16="http://schemas.microsoft.com/office/drawing/2014/main" id="{4F06C854-2D58-4D53-89EC-10087A03212D}"/>
                </a:ext>
              </a:extLst>
            </p:cNvPr>
            <p:cNvPicPr>
              <a:picLocks noChangeAspect="1"/>
            </p:cNvPicPr>
            <p:nvPr/>
          </p:nvPicPr>
          <p:blipFill rotWithShape="1">
            <a:blip r:embed="rId20"/>
            <a:srcRect l="21003" r="21522"/>
            <a:stretch/>
          </p:blipFill>
          <p:spPr>
            <a:xfrm>
              <a:off x="3931523" y="4186375"/>
              <a:ext cx="298708" cy="300390"/>
            </a:xfrm>
            <a:prstGeom prst="rect">
              <a:avLst/>
            </a:prstGeom>
          </p:spPr>
        </p:pic>
      </p:grpSp>
      <p:sp>
        <p:nvSpPr>
          <p:cNvPr id="136" name="Rectangle 135">
            <a:extLst>
              <a:ext uri="{FF2B5EF4-FFF2-40B4-BE49-F238E27FC236}">
                <a16:creationId xmlns:a16="http://schemas.microsoft.com/office/drawing/2014/main" id="{17E4397B-2375-474E-AFD2-871DEDB6A693}"/>
              </a:ext>
            </a:extLst>
          </p:cNvPr>
          <p:cNvSpPr/>
          <p:nvPr/>
        </p:nvSpPr>
        <p:spPr>
          <a:xfrm>
            <a:off x="3773351" y="1632991"/>
            <a:ext cx="1115175" cy="2589940"/>
          </a:xfrm>
          <a:prstGeom prst="rect">
            <a:avLst/>
          </a:prstGeom>
        </p:spPr>
        <p:txBody>
          <a:bodyPr wrap="square">
            <a:spAutoFit/>
          </a:bodyPr>
          <a:lstStyle/>
          <a:p>
            <a:pPr marL="115888" marR="0" lvl="0" indent="-115888" algn="l" defTabSz="609585"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Bi-directional device-cloud </a:t>
            </a:r>
          </a:p>
          <a:p>
            <a:pPr marL="115888" marR="0" lvl="0" indent="-115888" algn="l" defTabSz="609585"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Telemetry ingestion</a:t>
            </a:r>
          </a:p>
          <a:p>
            <a:pPr marL="115888" marR="0" lvl="0" indent="-115888" algn="l" defTabSz="609585"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Command &amp; Control</a:t>
            </a:r>
          </a:p>
          <a:p>
            <a:pPr marL="115888" marR="0" lvl="0" indent="-115888" algn="l" defTabSz="609585"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Device Registry &amp; Identity</a:t>
            </a:r>
          </a:p>
          <a:p>
            <a:pPr marL="115888" marR="0" lvl="0" indent="-115888" algn="l" defTabSz="609585"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Device Provisioning</a:t>
            </a:r>
          </a:p>
          <a:p>
            <a:pPr marL="115888" marR="0" lvl="0" indent="-115888" algn="l" defTabSz="609585"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Device Mgmt</a:t>
            </a:r>
          </a:p>
          <a:p>
            <a:pPr marL="115888" marR="0" lvl="0" indent="-115888" algn="l" defTabSz="609585"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HTTP, AMQP, MQTT</a:t>
            </a:r>
          </a:p>
        </p:txBody>
      </p:sp>
      <p:pic>
        <p:nvPicPr>
          <p:cNvPr id="4" name="Graphic 3">
            <a:extLst>
              <a:ext uri="{FF2B5EF4-FFF2-40B4-BE49-F238E27FC236}">
                <a16:creationId xmlns:a16="http://schemas.microsoft.com/office/drawing/2014/main" id="{336DD69E-06C7-468B-B210-E8A7646FC528}"/>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316017" y="4646708"/>
            <a:ext cx="428650" cy="428650"/>
          </a:xfrm>
          <a:prstGeom prst="rect">
            <a:avLst/>
          </a:prstGeom>
        </p:spPr>
      </p:pic>
    </p:spTree>
    <p:extLst>
      <p:ext uri="{BB962C8B-B14F-4D97-AF65-F5344CB8AC3E}">
        <p14:creationId xmlns:p14="http://schemas.microsoft.com/office/powerpoint/2010/main" val="485458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A2784-1AA5-204D-A09C-B5332D32119D}"/>
              </a:ext>
            </a:extLst>
          </p:cNvPr>
          <p:cNvSpPr>
            <a:spLocks noGrp="1"/>
          </p:cNvSpPr>
          <p:nvPr>
            <p:ph type="title"/>
          </p:nvPr>
        </p:nvSpPr>
        <p:spPr/>
        <p:txBody>
          <a:bodyPr/>
          <a:lstStyle/>
          <a:p>
            <a:r>
              <a:rPr lang="en-US"/>
              <a:t>The components of a ML application</a:t>
            </a:r>
          </a:p>
        </p:txBody>
      </p:sp>
      <p:pic>
        <p:nvPicPr>
          <p:cNvPr id="7" name="Picture 6" descr="A screenshot of a cell phone screen with text&#10;&#10;Description generated with very high confidence">
            <a:extLst>
              <a:ext uri="{FF2B5EF4-FFF2-40B4-BE49-F238E27FC236}">
                <a16:creationId xmlns:a16="http://schemas.microsoft.com/office/drawing/2014/main" id="{7A9FAC50-220E-4524-AAC1-9F66CD09F6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27586"/>
            <a:ext cx="12192000" cy="4002831"/>
          </a:xfrm>
          <a:prstGeom prst="rect">
            <a:avLst/>
          </a:prstGeom>
        </p:spPr>
      </p:pic>
    </p:spTree>
    <p:extLst>
      <p:ext uri="{BB962C8B-B14F-4D97-AF65-F5344CB8AC3E}">
        <p14:creationId xmlns:p14="http://schemas.microsoft.com/office/powerpoint/2010/main" val="418003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31F32825-AB48-4E09-A71B-8573D9D8C989}"/>
              </a:ext>
            </a:extLst>
          </p:cNvPr>
          <p:cNvSpPr/>
          <p:nvPr/>
        </p:nvSpPr>
        <p:spPr>
          <a:xfrm>
            <a:off x="2205770" y="3518910"/>
            <a:ext cx="9636821" cy="2850804"/>
          </a:xfrm>
          <a:prstGeom prst="rect">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endParaRPr lang="en-US" sz="980" dirty="0">
              <a:solidFill>
                <a:srgbClr val="FFFFFF"/>
              </a:solidFill>
              <a:latin typeface="Segoe UI Semilight"/>
            </a:endParaRPr>
          </a:p>
        </p:txBody>
      </p:sp>
      <p:sp>
        <p:nvSpPr>
          <p:cNvPr id="30" name="Rectangle 29">
            <a:extLst>
              <a:ext uri="{FF2B5EF4-FFF2-40B4-BE49-F238E27FC236}">
                <a16:creationId xmlns:a16="http://schemas.microsoft.com/office/drawing/2014/main" id="{6F0FF852-3FF9-4236-BAD5-2661DC7D5489}"/>
              </a:ext>
            </a:extLst>
          </p:cNvPr>
          <p:cNvSpPr/>
          <p:nvPr/>
        </p:nvSpPr>
        <p:spPr>
          <a:xfrm>
            <a:off x="6744981" y="4269447"/>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Time Series Insights</a:t>
            </a:r>
          </a:p>
        </p:txBody>
      </p:sp>
      <p:sp>
        <p:nvSpPr>
          <p:cNvPr id="31" name="Rectangle 30">
            <a:extLst>
              <a:ext uri="{FF2B5EF4-FFF2-40B4-BE49-F238E27FC236}">
                <a16:creationId xmlns:a16="http://schemas.microsoft.com/office/drawing/2014/main" id="{C78F8E92-A4DE-4B3B-8ED5-E379C4F704EA}"/>
              </a:ext>
            </a:extLst>
          </p:cNvPr>
          <p:cNvSpPr/>
          <p:nvPr/>
        </p:nvSpPr>
        <p:spPr>
          <a:xfrm>
            <a:off x="6744981" y="483985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Machine Learning</a:t>
            </a:r>
          </a:p>
        </p:txBody>
      </p:sp>
      <p:sp>
        <p:nvSpPr>
          <p:cNvPr id="32" name="Rectangle 31">
            <a:extLst>
              <a:ext uri="{FF2B5EF4-FFF2-40B4-BE49-F238E27FC236}">
                <a16:creationId xmlns:a16="http://schemas.microsoft.com/office/drawing/2014/main" id="{DC4742F1-0870-4CF4-A923-7FC3B6D915CF}"/>
              </a:ext>
            </a:extLst>
          </p:cNvPr>
          <p:cNvSpPr/>
          <p:nvPr/>
        </p:nvSpPr>
        <p:spPr>
          <a:xfrm>
            <a:off x="6744981" y="369904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Stream Analytics</a:t>
            </a:r>
          </a:p>
        </p:txBody>
      </p:sp>
      <p:sp>
        <p:nvSpPr>
          <p:cNvPr id="33" name="Rectangle 32">
            <a:extLst>
              <a:ext uri="{FF2B5EF4-FFF2-40B4-BE49-F238E27FC236}">
                <a16:creationId xmlns:a16="http://schemas.microsoft.com/office/drawing/2014/main" id="{580230E9-20B7-430C-ABB3-E0D8499CF510}"/>
              </a:ext>
            </a:extLst>
          </p:cNvPr>
          <p:cNvSpPr/>
          <p:nvPr/>
        </p:nvSpPr>
        <p:spPr>
          <a:xfrm>
            <a:off x="6744981" y="5416263"/>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Cosmos DB</a:t>
            </a:r>
          </a:p>
        </p:txBody>
      </p:sp>
      <p:sp>
        <p:nvSpPr>
          <p:cNvPr id="34" name="Rectangle 33">
            <a:extLst>
              <a:ext uri="{FF2B5EF4-FFF2-40B4-BE49-F238E27FC236}">
                <a16:creationId xmlns:a16="http://schemas.microsoft.com/office/drawing/2014/main" id="{31020A35-9D90-4854-AB78-96E30F918587}"/>
              </a:ext>
            </a:extLst>
          </p:cNvPr>
          <p:cNvSpPr/>
          <p:nvPr/>
        </p:nvSpPr>
        <p:spPr>
          <a:xfrm>
            <a:off x="7891792" y="5416263"/>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Data Lake</a:t>
            </a:r>
          </a:p>
        </p:txBody>
      </p:sp>
      <p:sp>
        <p:nvSpPr>
          <p:cNvPr id="35" name="Rectangle 34">
            <a:extLst>
              <a:ext uri="{FF2B5EF4-FFF2-40B4-BE49-F238E27FC236}">
                <a16:creationId xmlns:a16="http://schemas.microsoft.com/office/drawing/2014/main" id="{48C656F1-202C-46C0-B364-5607D77470E4}"/>
              </a:ext>
            </a:extLst>
          </p:cNvPr>
          <p:cNvSpPr/>
          <p:nvPr/>
        </p:nvSpPr>
        <p:spPr>
          <a:xfrm>
            <a:off x="7891792" y="483985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Data Lake Analytics</a:t>
            </a:r>
          </a:p>
        </p:txBody>
      </p:sp>
      <p:sp>
        <p:nvSpPr>
          <p:cNvPr id="36" name="Rectangle 35">
            <a:extLst>
              <a:ext uri="{FF2B5EF4-FFF2-40B4-BE49-F238E27FC236}">
                <a16:creationId xmlns:a16="http://schemas.microsoft.com/office/drawing/2014/main" id="{727B0F7A-4EA4-4769-90E0-73C7648CB82A}"/>
              </a:ext>
            </a:extLst>
          </p:cNvPr>
          <p:cNvSpPr/>
          <p:nvPr/>
        </p:nvSpPr>
        <p:spPr>
          <a:xfrm>
            <a:off x="7891792" y="369904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HD Insight</a:t>
            </a:r>
          </a:p>
        </p:txBody>
      </p:sp>
      <p:sp>
        <p:nvSpPr>
          <p:cNvPr id="37" name="Rectangle 36">
            <a:extLst>
              <a:ext uri="{FF2B5EF4-FFF2-40B4-BE49-F238E27FC236}">
                <a16:creationId xmlns:a16="http://schemas.microsoft.com/office/drawing/2014/main" id="{CF2C0FAF-ADC9-4EB1-B819-594791B123AD}"/>
              </a:ext>
            </a:extLst>
          </p:cNvPr>
          <p:cNvSpPr/>
          <p:nvPr/>
        </p:nvSpPr>
        <p:spPr>
          <a:xfrm>
            <a:off x="7891792" y="4269447"/>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Event Hubs</a:t>
            </a:r>
          </a:p>
        </p:txBody>
      </p:sp>
      <p:sp>
        <p:nvSpPr>
          <p:cNvPr id="38" name="Rectangle 37">
            <a:extLst>
              <a:ext uri="{FF2B5EF4-FFF2-40B4-BE49-F238E27FC236}">
                <a16:creationId xmlns:a16="http://schemas.microsoft.com/office/drawing/2014/main" id="{91F8F560-D61E-4386-9F89-DDBE5F2C8D24}"/>
              </a:ext>
            </a:extLst>
          </p:cNvPr>
          <p:cNvSpPr/>
          <p:nvPr/>
        </p:nvSpPr>
        <p:spPr>
          <a:xfrm>
            <a:off x="9242748" y="369904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Microsoft Flow</a:t>
            </a:r>
          </a:p>
        </p:txBody>
      </p:sp>
      <p:sp>
        <p:nvSpPr>
          <p:cNvPr id="39" name="Rectangle 38">
            <a:extLst>
              <a:ext uri="{FF2B5EF4-FFF2-40B4-BE49-F238E27FC236}">
                <a16:creationId xmlns:a16="http://schemas.microsoft.com/office/drawing/2014/main" id="{9EE5F2EC-29F2-4C63-990D-8DD969465D17}"/>
              </a:ext>
            </a:extLst>
          </p:cNvPr>
          <p:cNvSpPr/>
          <p:nvPr/>
        </p:nvSpPr>
        <p:spPr>
          <a:xfrm>
            <a:off x="9242748" y="4269447"/>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Logic Apps</a:t>
            </a:r>
          </a:p>
        </p:txBody>
      </p:sp>
      <p:sp>
        <p:nvSpPr>
          <p:cNvPr id="40" name="Rectangle 39">
            <a:extLst>
              <a:ext uri="{FF2B5EF4-FFF2-40B4-BE49-F238E27FC236}">
                <a16:creationId xmlns:a16="http://schemas.microsoft.com/office/drawing/2014/main" id="{203687BD-8626-4E9F-8486-9BC5B0B9A227}"/>
              </a:ext>
            </a:extLst>
          </p:cNvPr>
          <p:cNvSpPr/>
          <p:nvPr/>
        </p:nvSpPr>
        <p:spPr>
          <a:xfrm>
            <a:off x="9242748" y="483985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Notification Hubs</a:t>
            </a:r>
          </a:p>
        </p:txBody>
      </p:sp>
      <p:sp>
        <p:nvSpPr>
          <p:cNvPr id="41" name="Rectangle 40">
            <a:extLst>
              <a:ext uri="{FF2B5EF4-FFF2-40B4-BE49-F238E27FC236}">
                <a16:creationId xmlns:a16="http://schemas.microsoft.com/office/drawing/2014/main" id="{E575E93B-3C43-4951-8AE9-5B96CDE76C9D}"/>
              </a:ext>
            </a:extLst>
          </p:cNvPr>
          <p:cNvSpPr/>
          <p:nvPr/>
        </p:nvSpPr>
        <p:spPr>
          <a:xfrm>
            <a:off x="9242748" y="5416263"/>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Websites</a:t>
            </a:r>
          </a:p>
        </p:txBody>
      </p:sp>
      <p:sp>
        <p:nvSpPr>
          <p:cNvPr id="42" name="Rectangle 41">
            <a:extLst>
              <a:ext uri="{FF2B5EF4-FFF2-40B4-BE49-F238E27FC236}">
                <a16:creationId xmlns:a16="http://schemas.microsoft.com/office/drawing/2014/main" id="{2ECEC971-6147-40FA-AF31-761EF3F89AFF}"/>
              </a:ext>
            </a:extLst>
          </p:cNvPr>
          <p:cNvSpPr/>
          <p:nvPr/>
        </p:nvSpPr>
        <p:spPr>
          <a:xfrm>
            <a:off x="10389559" y="369904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Microsoft Power BI</a:t>
            </a:r>
          </a:p>
        </p:txBody>
      </p:sp>
      <p:sp>
        <p:nvSpPr>
          <p:cNvPr id="43" name="Rectangle 42">
            <a:extLst>
              <a:ext uri="{FF2B5EF4-FFF2-40B4-BE49-F238E27FC236}">
                <a16:creationId xmlns:a16="http://schemas.microsoft.com/office/drawing/2014/main" id="{D36ADB0B-9C98-4573-9CAE-16DF715D7E25}"/>
              </a:ext>
            </a:extLst>
          </p:cNvPr>
          <p:cNvSpPr/>
          <p:nvPr/>
        </p:nvSpPr>
        <p:spPr>
          <a:xfrm>
            <a:off x="10389559" y="4269447"/>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Active Directory</a:t>
            </a:r>
          </a:p>
        </p:txBody>
      </p:sp>
      <p:sp>
        <p:nvSpPr>
          <p:cNvPr id="44" name="Rectangle 43">
            <a:extLst>
              <a:ext uri="{FF2B5EF4-FFF2-40B4-BE49-F238E27FC236}">
                <a16:creationId xmlns:a16="http://schemas.microsoft.com/office/drawing/2014/main" id="{E3384885-1B9F-448F-A5ED-CFC0E915CDDC}"/>
              </a:ext>
            </a:extLst>
          </p:cNvPr>
          <p:cNvSpPr/>
          <p:nvPr/>
        </p:nvSpPr>
        <p:spPr>
          <a:xfrm>
            <a:off x="5394026" y="369904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IoT Hub</a:t>
            </a:r>
          </a:p>
        </p:txBody>
      </p:sp>
      <p:sp>
        <p:nvSpPr>
          <p:cNvPr id="45" name="Rectangle 44">
            <a:extLst>
              <a:ext uri="{FF2B5EF4-FFF2-40B4-BE49-F238E27FC236}">
                <a16:creationId xmlns:a16="http://schemas.microsoft.com/office/drawing/2014/main" id="{12DE621A-DAAC-4179-ACF2-6B8592763C31}"/>
              </a:ext>
            </a:extLst>
          </p:cNvPr>
          <p:cNvSpPr/>
          <p:nvPr/>
        </p:nvSpPr>
        <p:spPr>
          <a:xfrm>
            <a:off x="5394026" y="4269447"/>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3874">
              <a:lnSpc>
                <a:spcPct val="90000"/>
              </a:lnSpc>
            </a:pPr>
            <a:r>
              <a:rPr lang="en-US" sz="980" dirty="0">
                <a:solidFill>
                  <a:srgbClr val="FFFFFF"/>
                </a:solidFill>
                <a:latin typeface="Segoe UI Semilight"/>
              </a:rPr>
              <a:t>Azure IoT Hub Device Provisioning Service</a:t>
            </a:r>
          </a:p>
        </p:txBody>
      </p:sp>
      <p:sp>
        <p:nvSpPr>
          <p:cNvPr id="46" name="Rectangle 45">
            <a:extLst>
              <a:ext uri="{FF2B5EF4-FFF2-40B4-BE49-F238E27FC236}">
                <a16:creationId xmlns:a16="http://schemas.microsoft.com/office/drawing/2014/main" id="{A6A52D6C-67C3-4AC9-BE2A-0D391AB0F6AF}"/>
              </a:ext>
            </a:extLst>
          </p:cNvPr>
          <p:cNvSpPr/>
          <p:nvPr/>
        </p:nvSpPr>
        <p:spPr>
          <a:xfrm>
            <a:off x="4041121" y="369904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IoT Edge</a:t>
            </a:r>
          </a:p>
        </p:txBody>
      </p:sp>
      <p:sp>
        <p:nvSpPr>
          <p:cNvPr id="47" name="Rectangle 46">
            <a:extLst>
              <a:ext uri="{FF2B5EF4-FFF2-40B4-BE49-F238E27FC236}">
                <a16:creationId xmlns:a16="http://schemas.microsoft.com/office/drawing/2014/main" id="{1CD397C3-9CA4-493C-8834-A3BFC95D4F93}"/>
              </a:ext>
            </a:extLst>
          </p:cNvPr>
          <p:cNvSpPr/>
          <p:nvPr/>
        </p:nvSpPr>
        <p:spPr>
          <a:xfrm>
            <a:off x="10389559" y="483985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Monitor</a:t>
            </a:r>
          </a:p>
        </p:txBody>
      </p:sp>
      <p:sp>
        <p:nvSpPr>
          <p:cNvPr id="48" name="Rectangle 47">
            <a:extLst>
              <a:ext uri="{FF2B5EF4-FFF2-40B4-BE49-F238E27FC236}">
                <a16:creationId xmlns:a16="http://schemas.microsoft.com/office/drawing/2014/main" id="{1D32EF39-EF46-4387-8DDD-5E4F879FE4FC}"/>
              </a:ext>
            </a:extLst>
          </p:cNvPr>
          <p:cNvSpPr/>
          <p:nvPr/>
        </p:nvSpPr>
        <p:spPr>
          <a:xfrm>
            <a:off x="2205770" y="2357092"/>
            <a:ext cx="9636821" cy="1074754"/>
          </a:xfrm>
          <a:prstGeom prst="rect">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endParaRPr lang="en-US" sz="980" dirty="0">
              <a:solidFill>
                <a:srgbClr val="FFFFFF"/>
              </a:solidFill>
              <a:latin typeface="Segoe UI Semilight"/>
            </a:endParaRPr>
          </a:p>
        </p:txBody>
      </p:sp>
      <p:sp>
        <p:nvSpPr>
          <p:cNvPr id="50" name="TextBox 49">
            <a:extLst>
              <a:ext uri="{FF2B5EF4-FFF2-40B4-BE49-F238E27FC236}">
                <a16:creationId xmlns:a16="http://schemas.microsoft.com/office/drawing/2014/main" id="{86AA0BC3-895F-4006-B0D2-2A9A2BDE3EC0}"/>
              </a:ext>
            </a:extLst>
          </p:cNvPr>
          <p:cNvSpPr txBox="1"/>
          <p:nvPr/>
        </p:nvSpPr>
        <p:spPr>
          <a:xfrm rot="16200000">
            <a:off x="1026888" y="4731983"/>
            <a:ext cx="1592039" cy="638765"/>
          </a:xfrm>
          <a:prstGeom prst="rect">
            <a:avLst/>
          </a:prstGeom>
        </p:spPr>
        <p:txBody>
          <a:bodyPr wrap="none">
            <a:spAutoFit/>
          </a:bodyPr>
          <a:lstStyle>
            <a:defPPr>
              <a:defRPr lang="en-US"/>
            </a:defPPr>
            <a:lvl1pPr lvl="0">
              <a:lnSpc>
                <a:spcPct val="110000"/>
              </a:lnSpc>
              <a:spcBef>
                <a:spcPts val="2941"/>
              </a:spcBef>
              <a:spcAft>
                <a:spcPts val="600"/>
              </a:spcAft>
              <a:buClr>
                <a:srgbClr val="505050"/>
              </a:buClr>
              <a:defRPr sz="2353">
                <a:solidFill>
                  <a:srgbClr val="0072C6"/>
                </a:solidFill>
              </a:defRPr>
            </a:lvl1pPr>
          </a:lstStyle>
          <a:p>
            <a:pPr defTabSz="913874">
              <a:lnSpc>
                <a:spcPct val="100000"/>
              </a:lnSpc>
              <a:spcBef>
                <a:spcPts val="2883"/>
              </a:spcBef>
              <a:spcAft>
                <a:spcPts val="0"/>
              </a:spcAft>
            </a:pPr>
            <a:r>
              <a:rPr lang="en-US" sz="1567" dirty="0">
                <a:latin typeface="Segoe UI Semilight"/>
              </a:rPr>
              <a:t>PaaS Services &amp; </a:t>
            </a:r>
          </a:p>
          <a:p>
            <a:pPr defTabSz="913874">
              <a:lnSpc>
                <a:spcPct val="100000"/>
              </a:lnSpc>
              <a:spcBef>
                <a:spcPts val="500"/>
              </a:spcBef>
              <a:spcAft>
                <a:spcPts val="0"/>
              </a:spcAft>
            </a:pPr>
            <a:r>
              <a:rPr lang="en-US" sz="1567" dirty="0">
                <a:latin typeface="Segoe UI Semilight"/>
              </a:rPr>
              <a:t>Device Support</a:t>
            </a:r>
          </a:p>
        </p:txBody>
      </p:sp>
      <p:sp>
        <p:nvSpPr>
          <p:cNvPr id="51" name="TextBox 50">
            <a:extLst>
              <a:ext uri="{FF2B5EF4-FFF2-40B4-BE49-F238E27FC236}">
                <a16:creationId xmlns:a16="http://schemas.microsoft.com/office/drawing/2014/main" id="{1DBA0720-2DCA-45EB-8AA8-E29F107D4006}"/>
              </a:ext>
            </a:extLst>
          </p:cNvPr>
          <p:cNvSpPr txBox="1"/>
          <p:nvPr/>
        </p:nvSpPr>
        <p:spPr>
          <a:xfrm>
            <a:off x="4036748" y="6084110"/>
            <a:ext cx="1107525" cy="276753"/>
          </a:xfrm>
          <a:prstGeom prst="rect">
            <a:avLst/>
          </a:prstGeom>
          <a:noFill/>
        </p:spPr>
        <p:txBody>
          <a:bodyPr wrap="none" rtlCol="0">
            <a:spAutoFit/>
          </a:bodyPr>
          <a:lstStyle/>
          <a:p>
            <a:pPr algn="ctr" defTabSz="913874"/>
            <a:r>
              <a:rPr lang="en-US" sz="1173" dirty="0">
                <a:solidFill>
                  <a:srgbClr val="505050"/>
                </a:solidFill>
                <a:latin typeface="Segoe UI"/>
              </a:rPr>
              <a:t>Edge Support</a:t>
            </a:r>
          </a:p>
        </p:txBody>
      </p:sp>
      <p:sp>
        <p:nvSpPr>
          <p:cNvPr id="52" name="TextBox 51">
            <a:extLst>
              <a:ext uri="{FF2B5EF4-FFF2-40B4-BE49-F238E27FC236}">
                <a16:creationId xmlns:a16="http://schemas.microsoft.com/office/drawing/2014/main" id="{E12E67D0-5718-4D6C-BBD6-F2542742B6D6}"/>
              </a:ext>
            </a:extLst>
          </p:cNvPr>
          <p:cNvSpPr txBox="1"/>
          <p:nvPr/>
        </p:nvSpPr>
        <p:spPr>
          <a:xfrm>
            <a:off x="2576096" y="6086121"/>
            <a:ext cx="1218084" cy="276753"/>
          </a:xfrm>
          <a:prstGeom prst="rect">
            <a:avLst/>
          </a:prstGeom>
          <a:noFill/>
        </p:spPr>
        <p:txBody>
          <a:bodyPr wrap="none" rtlCol="0">
            <a:spAutoFit/>
          </a:bodyPr>
          <a:lstStyle/>
          <a:p>
            <a:pPr algn="ctr" defTabSz="913874"/>
            <a:r>
              <a:rPr lang="en-US" sz="1173" dirty="0">
                <a:solidFill>
                  <a:srgbClr val="505050"/>
                </a:solidFill>
                <a:latin typeface="Segoe UI"/>
              </a:rPr>
              <a:t>Device Support</a:t>
            </a:r>
          </a:p>
        </p:txBody>
      </p:sp>
      <p:sp>
        <p:nvSpPr>
          <p:cNvPr id="53" name="Rectangle 52">
            <a:extLst>
              <a:ext uri="{FF2B5EF4-FFF2-40B4-BE49-F238E27FC236}">
                <a16:creationId xmlns:a16="http://schemas.microsoft.com/office/drawing/2014/main" id="{3E5ECE96-A219-4629-9DAD-F99D781AB1A9}"/>
              </a:ext>
            </a:extLst>
          </p:cNvPr>
          <p:cNvSpPr/>
          <p:nvPr/>
        </p:nvSpPr>
        <p:spPr>
          <a:xfrm>
            <a:off x="2635749" y="369904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IoT Device SDK</a:t>
            </a:r>
          </a:p>
        </p:txBody>
      </p:sp>
      <p:sp>
        <p:nvSpPr>
          <p:cNvPr id="54" name="Rectangle 53">
            <a:extLst>
              <a:ext uri="{FF2B5EF4-FFF2-40B4-BE49-F238E27FC236}">
                <a16:creationId xmlns:a16="http://schemas.microsoft.com/office/drawing/2014/main" id="{C58A2F98-4C3C-492A-B736-4F36C2AC1333}"/>
              </a:ext>
            </a:extLst>
          </p:cNvPr>
          <p:cNvSpPr/>
          <p:nvPr/>
        </p:nvSpPr>
        <p:spPr>
          <a:xfrm>
            <a:off x="2635749" y="4269447"/>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Certified Devices</a:t>
            </a:r>
          </a:p>
          <a:p>
            <a:pPr algn="ctr" defTabSz="913874">
              <a:lnSpc>
                <a:spcPct val="90000"/>
              </a:lnSpc>
            </a:pPr>
            <a:r>
              <a:rPr lang="en-US" sz="980" dirty="0">
                <a:solidFill>
                  <a:srgbClr val="FFFFFF"/>
                </a:solidFill>
                <a:latin typeface="Segoe UI Semilight"/>
              </a:rPr>
              <a:t>Azure Certified for IoT</a:t>
            </a:r>
          </a:p>
        </p:txBody>
      </p:sp>
      <p:sp>
        <p:nvSpPr>
          <p:cNvPr id="55" name="Rectangle 54">
            <a:extLst>
              <a:ext uri="{FF2B5EF4-FFF2-40B4-BE49-F238E27FC236}">
                <a16:creationId xmlns:a16="http://schemas.microsoft.com/office/drawing/2014/main" id="{AB7634E4-07C0-4DA8-B571-A99FE006AEA3}"/>
              </a:ext>
            </a:extLst>
          </p:cNvPr>
          <p:cNvSpPr/>
          <p:nvPr/>
        </p:nvSpPr>
        <p:spPr>
          <a:xfrm>
            <a:off x="2635749" y="483985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Security Program for Azure IoT</a:t>
            </a:r>
          </a:p>
        </p:txBody>
      </p:sp>
      <p:sp>
        <p:nvSpPr>
          <p:cNvPr id="56" name="TextBox 55">
            <a:extLst>
              <a:ext uri="{FF2B5EF4-FFF2-40B4-BE49-F238E27FC236}">
                <a16:creationId xmlns:a16="http://schemas.microsoft.com/office/drawing/2014/main" id="{102F8B62-3F10-4C23-B677-6949A289164C}"/>
              </a:ext>
            </a:extLst>
          </p:cNvPr>
          <p:cNvSpPr txBox="1"/>
          <p:nvPr/>
        </p:nvSpPr>
        <p:spPr>
          <a:xfrm>
            <a:off x="5453745" y="6086121"/>
            <a:ext cx="979338" cy="276753"/>
          </a:xfrm>
          <a:prstGeom prst="rect">
            <a:avLst/>
          </a:prstGeom>
          <a:noFill/>
        </p:spPr>
        <p:txBody>
          <a:bodyPr wrap="none" rtlCol="0">
            <a:spAutoFit/>
          </a:bodyPr>
          <a:lstStyle/>
          <a:p>
            <a:pPr algn="ctr" defTabSz="913874"/>
            <a:r>
              <a:rPr lang="en-US" sz="1173" dirty="0">
                <a:solidFill>
                  <a:srgbClr val="505050"/>
                </a:solidFill>
                <a:latin typeface="Segoe UI"/>
              </a:rPr>
              <a:t>IoT Services</a:t>
            </a:r>
          </a:p>
        </p:txBody>
      </p:sp>
      <p:sp>
        <p:nvSpPr>
          <p:cNvPr id="57" name="TextBox 56">
            <a:extLst>
              <a:ext uri="{FF2B5EF4-FFF2-40B4-BE49-F238E27FC236}">
                <a16:creationId xmlns:a16="http://schemas.microsoft.com/office/drawing/2014/main" id="{236C7872-DB96-4D62-B8DD-85DC4CA52622}"/>
              </a:ext>
            </a:extLst>
          </p:cNvPr>
          <p:cNvSpPr txBox="1"/>
          <p:nvPr/>
        </p:nvSpPr>
        <p:spPr>
          <a:xfrm>
            <a:off x="6924691" y="6086121"/>
            <a:ext cx="1892662" cy="276753"/>
          </a:xfrm>
          <a:prstGeom prst="rect">
            <a:avLst/>
          </a:prstGeom>
          <a:noFill/>
        </p:spPr>
        <p:txBody>
          <a:bodyPr wrap="none" rtlCol="0">
            <a:spAutoFit/>
          </a:bodyPr>
          <a:lstStyle/>
          <a:p>
            <a:pPr algn="ctr" defTabSz="913874"/>
            <a:r>
              <a:rPr lang="en-US" sz="1173" dirty="0">
                <a:solidFill>
                  <a:srgbClr val="505050"/>
                </a:solidFill>
                <a:latin typeface="Segoe UI"/>
              </a:rPr>
              <a:t>Data &amp; Analytics Services</a:t>
            </a:r>
          </a:p>
        </p:txBody>
      </p:sp>
      <p:sp>
        <p:nvSpPr>
          <p:cNvPr id="58" name="TextBox 57">
            <a:extLst>
              <a:ext uri="{FF2B5EF4-FFF2-40B4-BE49-F238E27FC236}">
                <a16:creationId xmlns:a16="http://schemas.microsoft.com/office/drawing/2014/main" id="{97D4637A-1964-40FD-9834-E3F9BD4798D2}"/>
              </a:ext>
            </a:extLst>
          </p:cNvPr>
          <p:cNvSpPr txBox="1"/>
          <p:nvPr/>
        </p:nvSpPr>
        <p:spPr>
          <a:xfrm>
            <a:off x="9160828" y="6086121"/>
            <a:ext cx="2573649" cy="276753"/>
          </a:xfrm>
          <a:prstGeom prst="rect">
            <a:avLst/>
          </a:prstGeom>
          <a:noFill/>
        </p:spPr>
        <p:txBody>
          <a:bodyPr wrap="none" rtlCol="0">
            <a:spAutoFit/>
          </a:bodyPr>
          <a:lstStyle/>
          <a:p>
            <a:pPr algn="ctr" defTabSz="913874"/>
            <a:r>
              <a:rPr lang="en-US" sz="1173" dirty="0">
                <a:solidFill>
                  <a:srgbClr val="505050"/>
                </a:solidFill>
                <a:latin typeface="Segoe UI"/>
              </a:rPr>
              <a:t>Visualization &amp; Integration Services</a:t>
            </a:r>
          </a:p>
        </p:txBody>
      </p:sp>
      <p:sp>
        <p:nvSpPr>
          <p:cNvPr id="59" name="TextBox 58">
            <a:extLst>
              <a:ext uri="{FF2B5EF4-FFF2-40B4-BE49-F238E27FC236}">
                <a16:creationId xmlns:a16="http://schemas.microsoft.com/office/drawing/2014/main" id="{96AD3A91-A0BE-4E74-B879-837B23234E7B}"/>
              </a:ext>
            </a:extLst>
          </p:cNvPr>
          <p:cNvSpPr txBox="1"/>
          <p:nvPr/>
        </p:nvSpPr>
        <p:spPr>
          <a:xfrm rot="16200000">
            <a:off x="1467167" y="2839996"/>
            <a:ext cx="593368" cy="336823"/>
          </a:xfrm>
          <a:prstGeom prst="rect">
            <a:avLst/>
          </a:prstGeom>
        </p:spPr>
        <p:txBody>
          <a:bodyPr wrap="none">
            <a:spAutoFit/>
          </a:bodyPr>
          <a:lstStyle>
            <a:defPPr>
              <a:defRPr lang="en-US"/>
            </a:defPPr>
            <a:lvl1pPr lvl="0">
              <a:lnSpc>
                <a:spcPct val="110000"/>
              </a:lnSpc>
              <a:spcBef>
                <a:spcPts val="2941"/>
              </a:spcBef>
              <a:spcAft>
                <a:spcPts val="600"/>
              </a:spcAft>
              <a:buClr>
                <a:srgbClr val="505050"/>
              </a:buClr>
              <a:defRPr sz="2353">
                <a:solidFill>
                  <a:srgbClr val="0072C6"/>
                </a:solidFill>
              </a:defRPr>
            </a:lvl1pPr>
          </a:lstStyle>
          <a:p>
            <a:pPr defTabSz="913874">
              <a:spcBef>
                <a:spcPts val="2883"/>
              </a:spcBef>
              <a:spcAft>
                <a:spcPts val="588"/>
              </a:spcAft>
            </a:pPr>
            <a:r>
              <a:rPr lang="en-US" sz="1567" dirty="0">
                <a:latin typeface="Segoe UI Semilight"/>
              </a:rPr>
              <a:t>PaaS</a:t>
            </a:r>
            <a:endParaRPr lang="en-US" sz="1600" dirty="0">
              <a:latin typeface="Segoe UI Semilight"/>
            </a:endParaRPr>
          </a:p>
        </p:txBody>
      </p:sp>
      <p:grpSp>
        <p:nvGrpSpPr>
          <p:cNvPr id="3" name="Group 2">
            <a:extLst>
              <a:ext uri="{FF2B5EF4-FFF2-40B4-BE49-F238E27FC236}">
                <a16:creationId xmlns:a16="http://schemas.microsoft.com/office/drawing/2014/main" id="{C6919132-6EB8-4115-8FB0-2AC491964474}"/>
              </a:ext>
            </a:extLst>
          </p:cNvPr>
          <p:cNvGrpSpPr/>
          <p:nvPr/>
        </p:nvGrpSpPr>
        <p:grpSpPr>
          <a:xfrm>
            <a:off x="1595437" y="1355602"/>
            <a:ext cx="10247153" cy="821360"/>
            <a:chOff x="1685478" y="1355012"/>
            <a:chExt cx="10250059" cy="821593"/>
          </a:xfrm>
        </p:grpSpPr>
        <p:sp>
          <p:nvSpPr>
            <p:cNvPr id="49" name="Rectangle 48">
              <a:extLst>
                <a:ext uri="{FF2B5EF4-FFF2-40B4-BE49-F238E27FC236}">
                  <a16:creationId xmlns:a16="http://schemas.microsoft.com/office/drawing/2014/main" id="{C578A5DF-6EE3-484E-AE2B-6A49AF0016B2}"/>
                </a:ext>
              </a:extLst>
            </p:cNvPr>
            <p:cNvSpPr/>
            <p:nvPr/>
          </p:nvSpPr>
          <p:spPr>
            <a:xfrm>
              <a:off x="2295982" y="1355012"/>
              <a:ext cx="9639555" cy="821593"/>
            </a:xfrm>
            <a:prstGeom prst="rect">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endParaRPr lang="en-US" sz="980" dirty="0">
                <a:solidFill>
                  <a:srgbClr val="FFFFFF"/>
                </a:solidFill>
                <a:latin typeface="Segoe UI Semilight"/>
              </a:endParaRPr>
            </a:p>
          </p:txBody>
        </p:sp>
        <p:sp>
          <p:nvSpPr>
            <p:cNvPr id="60" name="TextBox 59">
              <a:extLst>
                <a:ext uri="{FF2B5EF4-FFF2-40B4-BE49-F238E27FC236}">
                  <a16:creationId xmlns:a16="http://schemas.microsoft.com/office/drawing/2014/main" id="{FA29C989-0BA0-4644-9232-47D2ED763C11}"/>
                </a:ext>
              </a:extLst>
            </p:cNvPr>
            <p:cNvSpPr txBox="1"/>
            <p:nvPr/>
          </p:nvSpPr>
          <p:spPr>
            <a:xfrm rot="16200000">
              <a:off x="1557939" y="1700616"/>
              <a:ext cx="591997" cy="336919"/>
            </a:xfrm>
            <a:prstGeom prst="rect">
              <a:avLst/>
            </a:prstGeom>
          </p:spPr>
          <p:txBody>
            <a:bodyPr wrap="none">
              <a:spAutoFit/>
            </a:bodyPr>
            <a:lstStyle>
              <a:defPPr>
                <a:defRPr lang="en-US"/>
              </a:defPPr>
              <a:lvl1pPr lvl="0">
                <a:lnSpc>
                  <a:spcPct val="110000"/>
                </a:lnSpc>
                <a:spcBef>
                  <a:spcPts val="2941"/>
                </a:spcBef>
                <a:spcAft>
                  <a:spcPts val="600"/>
                </a:spcAft>
                <a:buClr>
                  <a:srgbClr val="505050"/>
                </a:buClr>
                <a:defRPr sz="2353">
                  <a:solidFill>
                    <a:srgbClr val="0072C6"/>
                  </a:solidFill>
                </a:defRPr>
              </a:lvl1pPr>
            </a:lstStyle>
            <a:p>
              <a:pPr defTabSz="913874">
                <a:spcBef>
                  <a:spcPts val="2883"/>
                </a:spcBef>
                <a:spcAft>
                  <a:spcPts val="588"/>
                </a:spcAft>
              </a:pPr>
              <a:r>
                <a:rPr lang="en-US" sz="1567" dirty="0">
                  <a:latin typeface="Segoe UI Semilight"/>
                </a:rPr>
                <a:t>SaaS</a:t>
              </a:r>
              <a:endParaRPr lang="en-US" sz="1600" dirty="0">
                <a:latin typeface="Segoe UI Semilight"/>
              </a:endParaRPr>
            </a:p>
          </p:txBody>
        </p:sp>
        <p:sp>
          <p:nvSpPr>
            <p:cNvPr id="61" name="Rectangle 60">
              <a:extLst>
                <a:ext uri="{FF2B5EF4-FFF2-40B4-BE49-F238E27FC236}">
                  <a16:creationId xmlns:a16="http://schemas.microsoft.com/office/drawing/2014/main" id="{DCF8573B-0B06-4CCB-8F64-5E349F14242F}"/>
                </a:ext>
              </a:extLst>
            </p:cNvPr>
            <p:cNvSpPr/>
            <p:nvPr/>
          </p:nvSpPr>
          <p:spPr>
            <a:xfrm>
              <a:off x="2726083" y="1525268"/>
              <a:ext cx="8853157" cy="52852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r>
                <a:rPr lang="en-US" sz="980" dirty="0">
                  <a:solidFill>
                    <a:srgbClr val="FFFFFF"/>
                  </a:solidFill>
                  <a:latin typeface="Segoe UI Semilight"/>
                </a:rPr>
                <a:t>Microsoft IoT Central</a:t>
              </a:r>
            </a:p>
            <a:p>
              <a:pPr algn="ctr" defTabSz="913874"/>
              <a:r>
                <a:rPr lang="en-US" sz="980" dirty="0">
                  <a:solidFill>
                    <a:srgbClr val="FFFFFF"/>
                  </a:solidFill>
                  <a:latin typeface="Segoe UI Semilight"/>
                </a:rPr>
                <a:t>IoT SaaS</a:t>
              </a:r>
            </a:p>
          </p:txBody>
        </p:sp>
      </p:grpSp>
      <p:sp>
        <p:nvSpPr>
          <p:cNvPr id="63" name="Rectangle 62">
            <a:extLst>
              <a:ext uri="{FF2B5EF4-FFF2-40B4-BE49-F238E27FC236}">
                <a16:creationId xmlns:a16="http://schemas.microsoft.com/office/drawing/2014/main" id="{383DAB3A-64D4-4BE3-A8D5-560EC6A7BAB2}"/>
              </a:ext>
            </a:extLst>
          </p:cNvPr>
          <p:cNvSpPr/>
          <p:nvPr/>
        </p:nvSpPr>
        <p:spPr>
          <a:xfrm>
            <a:off x="3580742" y="2823024"/>
            <a:ext cx="2104604" cy="370770"/>
          </a:xfrm>
          <a:prstGeom prst="rect">
            <a:avLst/>
          </a:prstGeom>
          <a:solidFill>
            <a:schemeClr val="bg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r>
              <a:rPr lang="en-US" sz="980" dirty="0">
                <a:solidFill>
                  <a:srgbClr val="505050"/>
                </a:solidFill>
                <a:latin typeface="Segoe UI Semilight"/>
              </a:rPr>
              <a:t>Remote Monitoring</a:t>
            </a:r>
          </a:p>
        </p:txBody>
      </p:sp>
      <p:sp>
        <p:nvSpPr>
          <p:cNvPr id="64" name="Rectangle 63">
            <a:extLst>
              <a:ext uri="{FF2B5EF4-FFF2-40B4-BE49-F238E27FC236}">
                <a16:creationId xmlns:a16="http://schemas.microsoft.com/office/drawing/2014/main" id="{4BA29256-AFF4-44B5-A0B1-ACFE36528A24}"/>
              </a:ext>
            </a:extLst>
          </p:cNvPr>
          <p:cNvSpPr/>
          <p:nvPr/>
        </p:nvSpPr>
        <p:spPr>
          <a:xfrm>
            <a:off x="5868363" y="2823023"/>
            <a:ext cx="2521783" cy="370771"/>
          </a:xfrm>
          <a:prstGeom prst="rect">
            <a:avLst/>
          </a:prstGeom>
          <a:solidFill>
            <a:schemeClr val="bg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r>
              <a:rPr lang="en-US" sz="980" dirty="0">
                <a:solidFill>
                  <a:srgbClr val="505050"/>
                </a:solidFill>
                <a:latin typeface="Segoe UI Semilight"/>
              </a:rPr>
              <a:t>Predictive Maintenance</a:t>
            </a:r>
          </a:p>
        </p:txBody>
      </p:sp>
      <p:sp>
        <p:nvSpPr>
          <p:cNvPr id="65" name="Rectangle 64">
            <a:extLst>
              <a:ext uri="{FF2B5EF4-FFF2-40B4-BE49-F238E27FC236}">
                <a16:creationId xmlns:a16="http://schemas.microsoft.com/office/drawing/2014/main" id="{25D77DC0-4B45-4EB5-B751-30443D660840}"/>
              </a:ext>
            </a:extLst>
          </p:cNvPr>
          <p:cNvSpPr/>
          <p:nvPr/>
        </p:nvSpPr>
        <p:spPr>
          <a:xfrm>
            <a:off x="8561070" y="2823025"/>
            <a:ext cx="2047129" cy="370770"/>
          </a:xfrm>
          <a:prstGeom prst="rect">
            <a:avLst/>
          </a:prstGeom>
          <a:solidFill>
            <a:schemeClr val="bg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r>
              <a:rPr lang="en-US" sz="980" dirty="0">
                <a:solidFill>
                  <a:srgbClr val="505050"/>
                </a:solidFill>
                <a:latin typeface="Segoe UI Semilight"/>
              </a:rPr>
              <a:t>Connected factory</a:t>
            </a:r>
          </a:p>
        </p:txBody>
      </p:sp>
      <p:sp>
        <p:nvSpPr>
          <p:cNvPr id="66" name="Rectangle 65">
            <a:extLst>
              <a:ext uri="{FF2B5EF4-FFF2-40B4-BE49-F238E27FC236}">
                <a16:creationId xmlns:a16="http://schemas.microsoft.com/office/drawing/2014/main" id="{A2E53B18-1342-410B-BE67-2C8164EA6EE9}"/>
              </a:ext>
            </a:extLst>
          </p:cNvPr>
          <p:cNvSpPr/>
          <p:nvPr/>
        </p:nvSpPr>
        <p:spPr>
          <a:xfrm>
            <a:off x="2635749" y="5416263"/>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Windows 10 IoT Core</a:t>
            </a:r>
          </a:p>
        </p:txBody>
      </p:sp>
      <p:sp>
        <p:nvSpPr>
          <p:cNvPr id="67" name="Freeform: Shape 66">
            <a:extLst>
              <a:ext uri="{FF2B5EF4-FFF2-40B4-BE49-F238E27FC236}">
                <a16:creationId xmlns:a16="http://schemas.microsoft.com/office/drawing/2014/main" id="{DD16B9DC-EB68-484E-8349-616E330F079C}"/>
              </a:ext>
            </a:extLst>
          </p:cNvPr>
          <p:cNvSpPr/>
          <p:nvPr/>
        </p:nvSpPr>
        <p:spPr>
          <a:xfrm>
            <a:off x="2635749" y="2479591"/>
            <a:ext cx="8852587" cy="851387"/>
          </a:xfrm>
          <a:custGeom>
            <a:avLst/>
            <a:gdLst>
              <a:gd name="connsiteX0" fmla="*/ 6605719 w 9886945"/>
              <a:gd name="connsiteY0" fmla="*/ 390952 h 958267"/>
              <a:gd name="connsiteX1" fmla="*/ 6605719 w 9886945"/>
              <a:gd name="connsiteY1" fmla="*/ 808268 h 958267"/>
              <a:gd name="connsiteX2" fmla="*/ 8909834 w 9886945"/>
              <a:gd name="connsiteY2" fmla="*/ 808268 h 958267"/>
              <a:gd name="connsiteX3" fmla="*/ 8909834 w 9886945"/>
              <a:gd name="connsiteY3" fmla="*/ 390952 h 958267"/>
              <a:gd name="connsiteX4" fmla="*/ 1000185 w 9886945"/>
              <a:gd name="connsiteY4" fmla="*/ 390951 h 958267"/>
              <a:gd name="connsiteX5" fmla="*/ 1000185 w 9886945"/>
              <a:gd name="connsiteY5" fmla="*/ 808267 h 958267"/>
              <a:gd name="connsiteX6" fmla="*/ 3368991 w 9886945"/>
              <a:gd name="connsiteY6" fmla="*/ 808267 h 958267"/>
              <a:gd name="connsiteX7" fmla="*/ 3368991 w 9886945"/>
              <a:gd name="connsiteY7" fmla="*/ 390951 h 958267"/>
              <a:gd name="connsiteX8" fmla="*/ 3574980 w 9886945"/>
              <a:gd name="connsiteY8" fmla="*/ 390950 h 958267"/>
              <a:gd name="connsiteX9" fmla="*/ 3574980 w 9886945"/>
              <a:gd name="connsiteY9" fmla="*/ 808267 h 958267"/>
              <a:gd name="connsiteX10" fmla="*/ 6413336 w 9886945"/>
              <a:gd name="connsiteY10" fmla="*/ 808267 h 958267"/>
              <a:gd name="connsiteX11" fmla="*/ 6413336 w 9886945"/>
              <a:gd name="connsiteY11" fmla="*/ 390950 h 958267"/>
              <a:gd name="connsiteX12" fmla="*/ 0 w 9886945"/>
              <a:gd name="connsiteY12" fmla="*/ 0 h 958267"/>
              <a:gd name="connsiteX13" fmla="*/ 9886945 w 9886945"/>
              <a:gd name="connsiteY13" fmla="*/ 0 h 958267"/>
              <a:gd name="connsiteX14" fmla="*/ 9886945 w 9886945"/>
              <a:gd name="connsiteY14" fmla="*/ 958267 h 958267"/>
              <a:gd name="connsiteX15" fmla="*/ 0 w 9886945"/>
              <a:gd name="connsiteY15" fmla="*/ 958267 h 95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886945" h="958267">
                <a:moveTo>
                  <a:pt x="6605719" y="390952"/>
                </a:moveTo>
                <a:lnTo>
                  <a:pt x="6605719" y="808268"/>
                </a:lnTo>
                <a:lnTo>
                  <a:pt x="8909834" y="808268"/>
                </a:lnTo>
                <a:lnTo>
                  <a:pt x="8909834" y="390952"/>
                </a:lnTo>
                <a:close/>
                <a:moveTo>
                  <a:pt x="1000185" y="390951"/>
                </a:moveTo>
                <a:lnTo>
                  <a:pt x="1000185" y="808267"/>
                </a:lnTo>
                <a:lnTo>
                  <a:pt x="3368991" y="808267"/>
                </a:lnTo>
                <a:lnTo>
                  <a:pt x="3368991" y="390951"/>
                </a:lnTo>
                <a:close/>
                <a:moveTo>
                  <a:pt x="3574980" y="390950"/>
                </a:moveTo>
                <a:lnTo>
                  <a:pt x="3574980" y="808267"/>
                </a:lnTo>
                <a:lnTo>
                  <a:pt x="6413336" y="808267"/>
                </a:lnTo>
                <a:lnTo>
                  <a:pt x="6413336" y="390950"/>
                </a:lnTo>
                <a:close/>
                <a:moveTo>
                  <a:pt x="0" y="0"/>
                </a:moveTo>
                <a:lnTo>
                  <a:pt x="9886945" y="0"/>
                </a:lnTo>
                <a:lnTo>
                  <a:pt x="9886945" y="958267"/>
                </a:lnTo>
                <a:lnTo>
                  <a:pt x="0" y="958267"/>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3874"/>
            <a:r>
              <a:rPr lang="en-US" sz="980" dirty="0">
                <a:solidFill>
                  <a:srgbClr val="FFFFFF"/>
                </a:solidFill>
                <a:latin typeface="Segoe UI Semilight"/>
              </a:rPr>
              <a:t>Azure IoT Suite</a:t>
            </a:r>
          </a:p>
          <a:p>
            <a:pPr algn="ctr" defTabSz="913874"/>
            <a:endParaRPr lang="en-US" sz="980" dirty="0">
              <a:solidFill>
                <a:srgbClr val="FFFFFF"/>
              </a:solidFill>
              <a:latin typeface="Segoe UI Semilight"/>
            </a:endParaRPr>
          </a:p>
          <a:p>
            <a:pPr algn="ctr" defTabSz="913874"/>
            <a:endParaRPr lang="en-US" sz="980" dirty="0">
              <a:solidFill>
                <a:srgbClr val="FFFFFF"/>
              </a:solidFill>
              <a:latin typeface="Segoe UI Semilight"/>
            </a:endParaRPr>
          </a:p>
          <a:p>
            <a:pPr algn="ctr" defTabSz="913874"/>
            <a:endParaRPr lang="en-US" sz="980" dirty="0">
              <a:solidFill>
                <a:srgbClr val="FFFFFF"/>
              </a:solidFill>
              <a:latin typeface="Segoe UI Semilight"/>
            </a:endParaRPr>
          </a:p>
          <a:p>
            <a:pPr algn="ctr" defTabSz="913874"/>
            <a:endParaRPr lang="en-US" sz="980" dirty="0">
              <a:solidFill>
                <a:srgbClr val="FFFFFF"/>
              </a:solidFill>
              <a:latin typeface="Segoe UI Semilight"/>
            </a:endParaRPr>
          </a:p>
        </p:txBody>
      </p:sp>
      <p:sp>
        <p:nvSpPr>
          <p:cNvPr id="68" name="Title 1">
            <a:extLst>
              <a:ext uri="{FF2B5EF4-FFF2-40B4-BE49-F238E27FC236}">
                <a16:creationId xmlns:a16="http://schemas.microsoft.com/office/drawing/2014/main" id="{FDED601E-0494-4DB3-8B15-9D967CEEC571}"/>
              </a:ext>
            </a:extLst>
          </p:cNvPr>
          <p:cNvSpPr>
            <a:spLocks noGrp="1"/>
          </p:cNvSpPr>
          <p:nvPr>
            <p:ph type="title"/>
          </p:nvPr>
        </p:nvSpPr>
        <p:spPr>
          <a:xfrm>
            <a:off x="1" y="-5962"/>
            <a:ext cx="12191999" cy="1074754"/>
          </a:xfrm>
        </p:spPr>
        <p:txBody>
          <a:bodyPr>
            <a:normAutofit/>
          </a:bodyPr>
          <a:lstStyle/>
          <a:p>
            <a:r>
              <a:rPr lang="en-US" sz="4000" dirty="0"/>
              <a:t>Comprehensive Set of Capabilities for IoT Solutions</a:t>
            </a:r>
          </a:p>
        </p:txBody>
      </p:sp>
      <p:sp>
        <p:nvSpPr>
          <p:cNvPr id="5" name="Rectangle 4">
            <a:extLst>
              <a:ext uri="{FF2B5EF4-FFF2-40B4-BE49-F238E27FC236}">
                <a16:creationId xmlns:a16="http://schemas.microsoft.com/office/drawing/2014/main" id="{D238D188-4BC5-46CB-B41B-914E0BCA98A9}"/>
              </a:ext>
            </a:extLst>
          </p:cNvPr>
          <p:cNvSpPr/>
          <p:nvPr/>
        </p:nvSpPr>
        <p:spPr>
          <a:xfrm rot="16200000">
            <a:off x="-71378" y="2124406"/>
            <a:ext cx="1372492" cy="459421"/>
          </a:xfrm>
          <a:prstGeom prst="rect">
            <a:avLst/>
          </a:prstGeom>
        </p:spPr>
        <p:txBody>
          <a:bodyPr wrap="none">
            <a:spAutoFit/>
          </a:bodyPr>
          <a:lstStyle/>
          <a:p>
            <a:pPr defTabSz="913874">
              <a:lnSpc>
                <a:spcPct val="110000"/>
              </a:lnSpc>
              <a:spcBef>
                <a:spcPts val="2941"/>
              </a:spcBef>
              <a:spcAft>
                <a:spcPts val="600"/>
              </a:spcAft>
              <a:buClr>
                <a:srgbClr val="505050"/>
              </a:buClr>
            </a:pPr>
            <a:r>
              <a:rPr lang="en-US" sz="2353" dirty="0">
                <a:solidFill>
                  <a:srgbClr val="0072C6"/>
                </a:solidFill>
                <a:latin typeface="Segoe UI Semilight"/>
              </a:rPr>
              <a:t>Solutions</a:t>
            </a:r>
          </a:p>
        </p:txBody>
      </p:sp>
      <p:sp>
        <p:nvSpPr>
          <p:cNvPr id="69" name="Rectangle 68">
            <a:extLst>
              <a:ext uri="{FF2B5EF4-FFF2-40B4-BE49-F238E27FC236}">
                <a16:creationId xmlns:a16="http://schemas.microsoft.com/office/drawing/2014/main" id="{1FDC05B1-C2E9-4F77-9C70-E5113EBFE891}"/>
              </a:ext>
            </a:extLst>
          </p:cNvPr>
          <p:cNvSpPr/>
          <p:nvPr/>
        </p:nvSpPr>
        <p:spPr>
          <a:xfrm rot="16200000">
            <a:off x="-1263" y="4694035"/>
            <a:ext cx="1232260" cy="459421"/>
          </a:xfrm>
          <a:prstGeom prst="rect">
            <a:avLst/>
          </a:prstGeom>
        </p:spPr>
        <p:txBody>
          <a:bodyPr wrap="none">
            <a:spAutoFit/>
          </a:bodyPr>
          <a:lstStyle/>
          <a:p>
            <a:pPr defTabSz="913874">
              <a:lnSpc>
                <a:spcPct val="110000"/>
              </a:lnSpc>
              <a:spcBef>
                <a:spcPts val="2941"/>
              </a:spcBef>
              <a:spcAft>
                <a:spcPts val="600"/>
              </a:spcAft>
              <a:buClr>
                <a:srgbClr val="505050"/>
              </a:buClr>
            </a:pPr>
            <a:r>
              <a:rPr lang="en-US" sz="2353" dirty="0">
                <a:solidFill>
                  <a:srgbClr val="0072C6"/>
                </a:solidFill>
                <a:latin typeface="Segoe UI Semilight"/>
              </a:rPr>
              <a:t>Services</a:t>
            </a:r>
          </a:p>
        </p:txBody>
      </p:sp>
      <p:sp>
        <p:nvSpPr>
          <p:cNvPr id="6" name="Left Brace 5">
            <a:extLst>
              <a:ext uri="{FF2B5EF4-FFF2-40B4-BE49-F238E27FC236}">
                <a16:creationId xmlns:a16="http://schemas.microsoft.com/office/drawing/2014/main" id="{C60A7CE3-D411-49C0-A90E-F2F77FE16159}"/>
              </a:ext>
            </a:extLst>
          </p:cNvPr>
          <p:cNvSpPr/>
          <p:nvPr/>
        </p:nvSpPr>
        <p:spPr>
          <a:xfrm>
            <a:off x="1096665" y="1355600"/>
            <a:ext cx="349893" cy="2076245"/>
          </a:xfrm>
          <a:prstGeom prst="leftBrace">
            <a:avLst>
              <a:gd name="adj1" fmla="val 0"/>
              <a:gd name="adj2" fmla="val 47937"/>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defTabSz="913874"/>
            <a:endParaRPr lang="en-US" sz="1836">
              <a:solidFill>
                <a:srgbClr val="505050"/>
              </a:solidFill>
              <a:latin typeface="Segoe UI Semilight"/>
            </a:endParaRPr>
          </a:p>
        </p:txBody>
      </p:sp>
      <p:sp>
        <p:nvSpPr>
          <p:cNvPr id="70" name="Left Brace 69">
            <a:extLst>
              <a:ext uri="{FF2B5EF4-FFF2-40B4-BE49-F238E27FC236}">
                <a16:creationId xmlns:a16="http://schemas.microsoft.com/office/drawing/2014/main" id="{7A489A4C-D9BE-43BD-9A72-7EFC88A8A504}"/>
              </a:ext>
            </a:extLst>
          </p:cNvPr>
          <p:cNvSpPr/>
          <p:nvPr/>
        </p:nvSpPr>
        <p:spPr>
          <a:xfrm>
            <a:off x="1084756" y="3593236"/>
            <a:ext cx="412512" cy="2764324"/>
          </a:xfrm>
          <a:prstGeom prst="leftBrace">
            <a:avLst>
              <a:gd name="adj1" fmla="val 0"/>
              <a:gd name="adj2" fmla="val 47937"/>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defTabSz="913874"/>
            <a:endParaRPr lang="en-US" sz="1836">
              <a:solidFill>
                <a:srgbClr val="505050"/>
              </a:solidFill>
              <a:latin typeface="Segoe UI Semilight"/>
            </a:endParaRPr>
          </a:p>
        </p:txBody>
      </p:sp>
    </p:spTree>
    <p:extLst>
      <p:ext uri="{BB962C8B-B14F-4D97-AF65-F5344CB8AC3E}">
        <p14:creationId xmlns:p14="http://schemas.microsoft.com/office/powerpoint/2010/main" val="29967307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A4DCBE-A8C0-4D21-9904-020335BCCD21}"/>
              </a:ext>
            </a:extLst>
          </p:cNvPr>
          <p:cNvSpPr>
            <a:spLocks noGrp="1"/>
          </p:cNvSpPr>
          <p:nvPr>
            <p:ph type="title"/>
          </p:nvPr>
        </p:nvSpPr>
        <p:spPr>
          <a:xfrm>
            <a:off x="269241" y="2607278"/>
            <a:ext cx="11922760" cy="836319"/>
          </a:xfrm>
        </p:spPr>
        <p:txBody>
          <a:bodyPr/>
          <a:lstStyle/>
          <a:p>
            <a:r>
              <a:rPr lang="en-US" sz="4705" dirty="0"/>
              <a:t>Building AI Solutions in Manufacturing</a:t>
            </a:r>
          </a:p>
        </p:txBody>
      </p:sp>
      <p:sp>
        <p:nvSpPr>
          <p:cNvPr id="3" name="Title 3">
            <a:extLst>
              <a:ext uri="{FF2B5EF4-FFF2-40B4-BE49-F238E27FC236}">
                <a16:creationId xmlns:a16="http://schemas.microsoft.com/office/drawing/2014/main" id="{335F7979-47B6-4CC2-A768-41D6C8D2DB8A}"/>
              </a:ext>
            </a:extLst>
          </p:cNvPr>
          <p:cNvSpPr txBox="1">
            <a:spLocks/>
          </p:cNvSpPr>
          <p:nvPr/>
        </p:nvSpPr>
        <p:spPr>
          <a:xfrm>
            <a:off x="269240" y="4167721"/>
            <a:ext cx="11922760" cy="832764"/>
          </a:xfrm>
          <a:prstGeom prst="rect">
            <a:avLst/>
          </a:prstGeom>
          <a:noFill/>
        </p:spPr>
        <p:txBody>
          <a:bodyPr vert="horz" wrap="square" lIns="146304" tIns="91440" rIns="146304" bIns="91440" rtlCol="0" anchor="t" anchorCtr="0">
            <a:spAutoFit/>
          </a:bodyPr>
          <a:lstStyle>
            <a:lvl1pPr algn="l" defTabSz="914367" rtl="0" eaLnBrk="1" latinLnBrk="0" hangingPunct="1">
              <a:lnSpc>
                <a:spcPct val="90000"/>
              </a:lnSpc>
              <a:spcBef>
                <a:spcPct val="0"/>
              </a:spcBef>
              <a:buNone/>
              <a:defRPr lang="en-US" sz="7056" b="0" kern="1200" cap="none" spc="-98"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sz="4705"/>
              <a:t>Azure Machine Learning</a:t>
            </a:r>
            <a:endParaRPr lang="en-US" sz="4705" dirty="0"/>
          </a:p>
        </p:txBody>
      </p:sp>
    </p:spTree>
    <p:extLst>
      <p:ext uri="{BB962C8B-B14F-4D97-AF65-F5344CB8AC3E}">
        <p14:creationId xmlns:p14="http://schemas.microsoft.com/office/powerpoint/2010/main" val="1350500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Rectangle 111">
            <a:extLst>
              <a:ext uri="{FF2B5EF4-FFF2-40B4-BE49-F238E27FC236}">
                <a16:creationId xmlns:a16="http://schemas.microsoft.com/office/drawing/2014/main" id="{A1022441-B84D-4793-B68D-9B66701BB69B}"/>
              </a:ext>
            </a:extLst>
          </p:cNvPr>
          <p:cNvSpPr/>
          <p:nvPr/>
        </p:nvSpPr>
        <p:spPr bwMode="auto">
          <a:xfrm>
            <a:off x="275464" y="1444418"/>
            <a:ext cx="7978149" cy="209886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3" name="Rectangle 112">
            <a:extLst>
              <a:ext uri="{FF2B5EF4-FFF2-40B4-BE49-F238E27FC236}">
                <a16:creationId xmlns:a16="http://schemas.microsoft.com/office/drawing/2014/main" id="{2B63EB57-8372-4346-A283-73E87023223A}"/>
              </a:ext>
            </a:extLst>
          </p:cNvPr>
          <p:cNvSpPr/>
          <p:nvPr/>
        </p:nvSpPr>
        <p:spPr bwMode="auto">
          <a:xfrm>
            <a:off x="275464" y="3579658"/>
            <a:ext cx="7978149" cy="24525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4" name="Rectangle 113">
            <a:extLst>
              <a:ext uri="{FF2B5EF4-FFF2-40B4-BE49-F238E27FC236}">
                <a16:creationId xmlns:a16="http://schemas.microsoft.com/office/drawing/2014/main" id="{BAEE5EA5-8C6C-4908-9490-D75C05F19D21}"/>
              </a:ext>
            </a:extLst>
          </p:cNvPr>
          <p:cNvSpPr/>
          <p:nvPr/>
        </p:nvSpPr>
        <p:spPr bwMode="auto">
          <a:xfrm>
            <a:off x="8293895" y="1444418"/>
            <a:ext cx="3529871" cy="4587799"/>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116" name="Group 115">
            <a:extLst>
              <a:ext uri="{FF2B5EF4-FFF2-40B4-BE49-F238E27FC236}">
                <a16:creationId xmlns:a16="http://schemas.microsoft.com/office/drawing/2014/main" id="{B96EDA7D-479A-478F-A192-E1E20C10FC85}"/>
              </a:ext>
            </a:extLst>
          </p:cNvPr>
          <p:cNvGrpSpPr/>
          <p:nvPr/>
        </p:nvGrpSpPr>
        <p:grpSpPr>
          <a:xfrm>
            <a:off x="492510" y="2191800"/>
            <a:ext cx="7613026" cy="1029780"/>
            <a:chOff x="491715" y="2191624"/>
            <a:chExt cx="7614106" cy="1029926"/>
          </a:xfrm>
        </p:grpSpPr>
        <p:sp>
          <p:nvSpPr>
            <p:cNvPr id="122" name="Rectangle 121">
              <a:extLst>
                <a:ext uri="{FF2B5EF4-FFF2-40B4-BE49-F238E27FC236}">
                  <a16:creationId xmlns:a16="http://schemas.microsoft.com/office/drawing/2014/main" id="{84138059-581A-4A36-8CB7-AEB9344CBE60}"/>
                </a:ext>
              </a:extLst>
            </p:cNvPr>
            <p:cNvSpPr/>
            <p:nvPr/>
          </p:nvSpPr>
          <p:spPr bwMode="auto">
            <a:xfrm>
              <a:off x="491715" y="2604627"/>
              <a:ext cx="2084994"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ognitive Services</a:t>
              </a:r>
            </a:p>
          </p:txBody>
        </p:sp>
        <p:sp>
          <p:nvSpPr>
            <p:cNvPr id="123" name="Rectangle 122">
              <a:extLst>
                <a:ext uri="{FF2B5EF4-FFF2-40B4-BE49-F238E27FC236}">
                  <a16:creationId xmlns:a16="http://schemas.microsoft.com/office/drawing/2014/main" id="{ACCC5988-E796-4BDE-93F3-79E63CDCE37D}"/>
                </a:ext>
              </a:extLst>
            </p:cNvPr>
            <p:cNvSpPr/>
            <p:nvPr/>
          </p:nvSpPr>
          <p:spPr bwMode="auto">
            <a:xfrm>
              <a:off x="4988489" y="2191624"/>
              <a:ext cx="3117332"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50000"/>
                </a:lnSpc>
                <a:spcBef>
                  <a:spcPts val="0"/>
                </a:spcBef>
                <a:spcAft>
                  <a:spcPts val="0"/>
                </a:spcAft>
                <a:buClrTx/>
                <a:buSzTx/>
                <a:buFontTx/>
                <a:buNone/>
                <a:tabLst/>
                <a:defRPr/>
              </a:pPr>
              <a:r>
                <a:rPr kumimoji="0" lang="en-US" sz="14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CUSTOM AI</a:t>
              </a:r>
              <a:endParaRPr kumimoji="0" lang="en-US" sz="11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24" name="Rectangle 123">
              <a:extLst>
                <a:ext uri="{FF2B5EF4-FFF2-40B4-BE49-F238E27FC236}">
                  <a16:creationId xmlns:a16="http://schemas.microsoft.com/office/drawing/2014/main" id="{D21A0CA6-9999-44F1-9672-7EC6C4C0B0C5}"/>
                </a:ext>
              </a:extLst>
            </p:cNvPr>
            <p:cNvSpPr/>
            <p:nvPr/>
          </p:nvSpPr>
          <p:spPr bwMode="auto">
            <a:xfrm>
              <a:off x="4988490" y="2626867"/>
              <a:ext cx="3117331"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zure Machine Learning</a:t>
              </a:r>
            </a:p>
          </p:txBody>
        </p:sp>
        <p:sp>
          <p:nvSpPr>
            <p:cNvPr id="125" name="Rectangle 124">
              <a:extLst>
                <a:ext uri="{FF2B5EF4-FFF2-40B4-BE49-F238E27FC236}">
                  <a16:creationId xmlns:a16="http://schemas.microsoft.com/office/drawing/2014/main" id="{60B2A14C-0795-414C-A131-D5D36D0EDC39}"/>
                </a:ext>
              </a:extLst>
            </p:cNvPr>
            <p:cNvSpPr/>
            <p:nvPr/>
          </p:nvSpPr>
          <p:spPr bwMode="auto">
            <a:xfrm>
              <a:off x="491715" y="2202057"/>
              <a:ext cx="2084994"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PRE-BUILT AI</a:t>
              </a:r>
              <a:endParaRPr kumimoji="0" lang="en-US" sz="11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26" name="Rectangle 125">
              <a:extLst>
                <a:ext uri="{FF2B5EF4-FFF2-40B4-BE49-F238E27FC236}">
                  <a16:creationId xmlns:a16="http://schemas.microsoft.com/office/drawing/2014/main" id="{136AE4AD-0A51-4287-BEF6-B333D23F47D9}"/>
                </a:ext>
              </a:extLst>
            </p:cNvPr>
            <p:cNvSpPr/>
            <p:nvPr/>
          </p:nvSpPr>
          <p:spPr bwMode="auto">
            <a:xfrm>
              <a:off x="2695945" y="2191628"/>
              <a:ext cx="2220602"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CONVERSATIONAL AI</a:t>
              </a:r>
              <a:endParaRPr kumimoji="0" lang="en-US" sz="11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27" name="Rectangle 126">
              <a:extLst>
                <a:ext uri="{FF2B5EF4-FFF2-40B4-BE49-F238E27FC236}">
                  <a16:creationId xmlns:a16="http://schemas.microsoft.com/office/drawing/2014/main" id="{7611F601-D888-473E-8C31-5BCC72DB0891}"/>
                </a:ext>
              </a:extLst>
            </p:cNvPr>
            <p:cNvSpPr/>
            <p:nvPr/>
          </p:nvSpPr>
          <p:spPr bwMode="auto">
            <a:xfrm>
              <a:off x="2695946" y="2621830"/>
              <a:ext cx="2220602"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Bot Service</a:t>
              </a:r>
            </a:p>
          </p:txBody>
        </p:sp>
      </p:grpSp>
      <p:grpSp>
        <p:nvGrpSpPr>
          <p:cNvPr id="128" name="Group 127">
            <a:extLst>
              <a:ext uri="{FF2B5EF4-FFF2-40B4-BE49-F238E27FC236}">
                <a16:creationId xmlns:a16="http://schemas.microsoft.com/office/drawing/2014/main" id="{B70BBE88-F0CD-4686-B53F-1959CD27E4B7}"/>
              </a:ext>
            </a:extLst>
          </p:cNvPr>
          <p:cNvGrpSpPr/>
          <p:nvPr/>
        </p:nvGrpSpPr>
        <p:grpSpPr>
          <a:xfrm>
            <a:off x="475396" y="4137858"/>
            <a:ext cx="7704178" cy="1760474"/>
            <a:chOff x="284271" y="4124646"/>
            <a:chExt cx="7705271" cy="1760724"/>
          </a:xfrm>
        </p:grpSpPr>
        <p:sp>
          <p:nvSpPr>
            <p:cNvPr id="129" name="Rectangle 128">
              <a:extLst>
                <a:ext uri="{FF2B5EF4-FFF2-40B4-BE49-F238E27FC236}">
                  <a16:creationId xmlns:a16="http://schemas.microsoft.com/office/drawing/2014/main" id="{15BF3632-A58D-4205-9324-05893B77B708}"/>
                </a:ext>
              </a:extLst>
            </p:cNvPr>
            <p:cNvSpPr/>
            <p:nvPr/>
          </p:nvSpPr>
          <p:spPr bwMode="auto">
            <a:xfrm>
              <a:off x="284272" y="4124646"/>
              <a:ext cx="3805742"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50000"/>
                </a:lnSpc>
                <a:spcBef>
                  <a:spcPts val="0"/>
                </a:spcBef>
                <a:spcAft>
                  <a:spcPts val="0"/>
                </a:spcAft>
                <a:buClrTx/>
                <a:buSzTx/>
                <a:buFontTx/>
                <a:buNone/>
                <a:tabLst/>
                <a:defRPr/>
              </a:pPr>
              <a:r>
                <a:rPr kumimoji="0" lang="en-US" sz="14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AI ON DATA</a:t>
              </a:r>
            </a:p>
          </p:txBody>
        </p:sp>
        <p:sp>
          <p:nvSpPr>
            <p:cNvPr id="130" name="Rectangle 129">
              <a:extLst>
                <a:ext uri="{FF2B5EF4-FFF2-40B4-BE49-F238E27FC236}">
                  <a16:creationId xmlns:a16="http://schemas.microsoft.com/office/drawing/2014/main" id="{47F0AB2E-2974-462E-B7D1-00779424A960}"/>
                </a:ext>
              </a:extLst>
            </p:cNvPr>
            <p:cNvSpPr/>
            <p:nvPr/>
          </p:nvSpPr>
          <p:spPr bwMode="auto">
            <a:xfrm>
              <a:off x="284273" y="4559136"/>
              <a:ext cx="904329"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osmos DB</a:t>
              </a:r>
            </a:p>
          </p:txBody>
        </p:sp>
        <p:sp>
          <p:nvSpPr>
            <p:cNvPr id="131" name="Rectangle 130">
              <a:extLst>
                <a:ext uri="{FF2B5EF4-FFF2-40B4-BE49-F238E27FC236}">
                  <a16:creationId xmlns:a16="http://schemas.microsoft.com/office/drawing/2014/main" id="{A254AE9A-339C-4669-B636-1156D4FF2F60}"/>
                </a:ext>
              </a:extLst>
            </p:cNvPr>
            <p:cNvSpPr/>
            <p:nvPr/>
          </p:nvSpPr>
          <p:spPr bwMode="auto">
            <a:xfrm>
              <a:off x="4753359" y="4144005"/>
              <a:ext cx="3113352"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50000"/>
                </a:lnSpc>
                <a:spcBef>
                  <a:spcPts val="0"/>
                </a:spcBef>
                <a:spcAft>
                  <a:spcPts val="0"/>
                </a:spcAft>
                <a:buClrTx/>
                <a:buSzTx/>
                <a:buFontTx/>
                <a:buNone/>
                <a:tabLst/>
                <a:defRPr/>
              </a:pPr>
              <a:r>
                <a:rPr kumimoji="0" lang="en-US" sz="14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AI COMPUTE</a:t>
              </a:r>
            </a:p>
          </p:txBody>
        </p:sp>
        <p:sp>
          <p:nvSpPr>
            <p:cNvPr id="132" name="Rectangle 131">
              <a:extLst>
                <a:ext uri="{FF2B5EF4-FFF2-40B4-BE49-F238E27FC236}">
                  <a16:creationId xmlns:a16="http://schemas.microsoft.com/office/drawing/2014/main" id="{0D1C1C72-D1A9-4310-9EA2-C17B1BE7E2FD}"/>
                </a:ext>
              </a:extLst>
            </p:cNvPr>
            <p:cNvSpPr/>
            <p:nvPr/>
          </p:nvSpPr>
          <p:spPr bwMode="auto">
            <a:xfrm>
              <a:off x="1234511" y="4559129"/>
              <a:ext cx="858775"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QL </a:t>
              </a:r>
            </a:p>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DB</a:t>
              </a:r>
            </a:p>
          </p:txBody>
        </p:sp>
        <p:sp>
          <p:nvSpPr>
            <p:cNvPr id="133" name="Rectangle 132">
              <a:extLst>
                <a:ext uri="{FF2B5EF4-FFF2-40B4-BE49-F238E27FC236}">
                  <a16:creationId xmlns:a16="http://schemas.microsoft.com/office/drawing/2014/main" id="{51E74D6C-B6AF-4B77-986E-5DBACA20436C}"/>
                </a:ext>
              </a:extLst>
            </p:cNvPr>
            <p:cNvSpPr/>
            <p:nvPr/>
          </p:nvSpPr>
          <p:spPr bwMode="auto">
            <a:xfrm>
              <a:off x="2139195" y="4559129"/>
              <a:ext cx="858775"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QL </a:t>
              </a:r>
            </a:p>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DW</a:t>
              </a:r>
            </a:p>
          </p:txBody>
        </p:sp>
        <p:sp>
          <p:nvSpPr>
            <p:cNvPr id="134" name="Rectangle 133">
              <a:extLst>
                <a:ext uri="{FF2B5EF4-FFF2-40B4-BE49-F238E27FC236}">
                  <a16:creationId xmlns:a16="http://schemas.microsoft.com/office/drawing/2014/main" id="{D48F0679-E699-45D9-BB88-24D47AA8A6DB}"/>
                </a:ext>
              </a:extLst>
            </p:cNvPr>
            <p:cNvSpPr/>
            <p:nvPr/>
          </p:nvSpPr>
          <p:spPr bwMode="auto">
            <a:xfrm>
              <a:off x="3049078" y="4559129"/>
              <a:ext cx="858775"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Data Lake</a:t>
              </a:r>
            </a:p>
          </p:txBody>
        </p:sp>
        <p:sp>
          <p:nvSpPr>
            <p:cNvPr id="135" name="Rectangle 134">
              <a:extLst>
                <a:ext uri="{FF2B5EF4-FFF2-40B4-BE49-F238E27FC236}">
                  <a16:creationId xmlns:a16="http://schemas.microsoft.com/office/drawing/2014/main" id="{63CBB3AE-B385-42B1-A9F7-87B9B1CAD77F}"/>
                </a:ext>
              </a:extLst>
            </p:cNvPr>
            <p:cNvSpPr/>
            <p:nvPr/>
          </p:nvSpPr>
          <p:spPr bwMode="auto">
            <a:xfrm>
              <a:off x="4091315" y="4559132"/>
              <a:ext cx="741769"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park</a:t>
              </a:r>
            </a:p>
          </p:txBody>
        </p:sp>
        <p:sp>
          <p:nvSpPr>
            <p:cNvPr id="136" name="Rectangle 135">
              <a:extLst>
                <a:ext uri="{FF2B5EF4-FFF2-40B4-BE49-F238E27FC236}">
                  <a16:creationId xmlns:a16="http://schemas.microsoft.com/office/drawing/2014/main" id="{0256DC00-1D8B-4C42-ABA1-9BE94BA19E9C}"/>
                </a:ext>
              </a:extLst>
            </p:cNvPr>
            <p:cNvSpPr/>
            <p:nvPr/>
          </p:nvSpPr>
          <p:spPr bwMode="auto">
            <a:xfrm>
              <a:off x="4863134" y="4559129"/>
              <a:ext cx="794794"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DSVM</a:t>
              </a:r>
            </a:p>
          </p:txBody>
        </p:sp>
        <p:sp>
          <p:nvSpPr>
            <p:cNvPr id="137" name="Rectangle 136">
              <a:extLst>
                <a:ext uri="{FF2B5EF4-FFF2-40B4-BE49-F238E27FC236}">
                  <a16:creationId xmlns:a16="http://schemas.microsoft.com/office/drawing/2014/main" id="{23BFE63E-914A-4126-B081-15B223ACA2DE}"/>
                </a:ext>
              </a:extLst>
            </p:cNvPr>
            <p:cNvSpPr/>
            <p:nvPr/>
          </p:nvSpPr>
          <p:spPr bwMode="auto">
            <a:xfrm>
              <a:off x="5684293" y="4559130"/>
              <a:ext cx="741769"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Batch AI</a:t>
              </a:r>
            </a:p>
          </p:txBody>
        </p:sp>
        <p:sp>
          <p:nvSpPr>
            <p:cNvPr id="138" name="Rectangle 137">
              <a:extLst>
                <a:ext uri="{FF2B5EF4-FFF2-40B4-BE49-F238E27FC236}">
                  <a16:creationId xmlns:a16="http://schemas.microsoft.com/office/drawing/2014/main" id="{59B189B1-6C94-4223-9EB2-97E42370E11E}"/>
                </a:ext>
              </a:extLst>
            </p:cNvPr>
            <p:cNvSpPr/>
            <p:nvPr/>
          </p:nvSpPr>
          <p:spPr bwMode="auto">
            <a:xfrm>
              <a:off x="6452427" y="4559129"/>
              <a:ext cx="741769"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CS</a:t>
              </a:r>
            </a:p>
          </p:txBody>
        </p:sp>
        <p:sp>
          <p:nvSpPr>
            <p:cNvPr id="139" name="Rectangle 138">
              <a:extLst>
                <a:ext uri="{FF2B5EF4-FFF2-40B4-BE49-F238E27FC236}">
                  <a16:creationId xmlns:a16="http://schemas.microsoft.com/office/drawing/2014/main" id="{251F6399-741D-4F66-BA38-3177CC96F29D}"/>
                </a:ext>
              </a:extLst>
            </p:cNvPr>
            <p:cNvSpPr/>
            <p:nvPr/>
          </p:nvSpPr>
          <p:spPr bwMode="auto">
            <a:xfrm>
              <a:off x="284271" y="5290687"/>
              <a:ext cx="7705271"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PU, FPGA, GPU</a:t>
              </a:r>
            </a:p>
          </p:txBody>
        </p:sp>
        <p:sp>
          <p:nvSpPr>
            <p:cNvPr id="140" name="Rectangle 139">
              <a:extLst>
                <a:ext uri="{FF2B5EF4-FFF2-40B4-BE49-F238E27FC236}">
                  <a16:creationId xmlns:a16="http://schemas.microsoft.com/office/drawing/2014/main" id="{6FF39AA3-9A63-4F2F-A4C1-193E75757C8D}"/>
                </a:ext>
              </a:extLst>
            </p:cNvPr>
            <p:cNvSpPr/>
            <p:nvPr/>
          </p:nvSpPr>
          <p:spPr bwMode="auto">
            <a:xfrm>
              <a:off x="7220948" y="4559129"/>
              <a:ext cx="752433"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oT Edge</a:t>
              </a:r>
            </a:p>
          </p:txBody>
        </p:sp>
      </p:grpSp>
      <p:grpSp>
        <p:nvGrpSpPr>
          <p:cNvPr id="141" name="Group 140">
            <a:extLst>
              <a:ext uri="{FF2B5EF4-FFF2-40B4-BE49-F238E27FC236}">
                <a16:creationId xmlns:a16="http://schemas.microsoft.com/office/drawing/2014/main" id="{B61142DF-126A-4264-A759-43B130179D88}"/>
              </a:ext>
            </a:extLst>
          </p:cNvPr>
          <p:cNvGrpSpPr/>
          <p:nvPr/>
        </p:nvGrpSpPr>
        <p:grpSpPr>
          <a:xfrm>
            <a:off x="8387104" y="2184040"/>
            <a:ext cx="3357154" cy="3418613"/>
            <a:chOff x="8283071" y="2183863"/>
            <a:chExt cx="3357630" cy="3419098"/>
          </a:xfrm>
        </p:grpSpPr>
        <p:sp>
          <p:nvSpPr>
            <p:cNvPr id="142" name="Rectangle 141">
              <a:extLst>
                <a:ext uri="{FF2B5EF4-FFF2-40B4-BE49-F238E27FC236}">
                  <a16:creationId xmlns:a16="http://schemas.microsoft.com/office/drawing/2014/main" id="{7DA1ED97-1B38-46C0-A3C2-33DE6C295EE3}"/>
                </a:ext>
              </a:extLst>
            </p:cNvPr>
            <p:cNvSpPr/>
            <p:nvPr/>
          </p:nvSpPr>
          <p:spPr bwMode="auto">
            <a:xfrm>
              <a:off x="8440989" y="2619106"/>
              <a:ext cx="1040516" cy="614041"/>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VS Tools </a:t>
              </a:r>
              <a:b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for AI</a:t>
              </a:r>
            </a:p>
          </p:txBody>
        </p:sp>
        <p:sp>
          <p:nvSpPr>
            <p:cNvPr id="143" name="Rectangle 142">
              <a:extLst>
                <a:ext uri="{FF2B5EF4-FFF2-40B4-BE49-F238E27FC236}">
                  <a16:creationId xmlns:a16="http://schemas.microsoft.com/office/drawing/2014/main" id="{C6053B38-8FC9-4769-A939-A4367FA419A5}"/>
                </a:ext>
              </a:extLst>
            </p:cNvPr>
            <p:cNvSpPr/>
            <p:nvPr/>
          </p:nvSpPr>
          <p:spPr bwMode="auto">
            <a:xfrm>
              <a:off x="9545632" y="2619106"/>
              <a:ext cx="896634" cy="614041"/>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zure ML Studio</a:t>
              </a:r>
            </a:p>
          </p:txBody>
        </p:sp>
        <p:sp>
          <p:nvSpPr>
            <p:cNvPr id="144" name="Rectangle 143">
              <a:extLst>
                <a:ext uri="{FF2B5EF4-FFF2-40B4-BE49-F238E27FC236}">
                  <a16:creationId xmlns:a16="http://schemas.microsoft.com/office/drawing/2014/main" id="{7DF5E67D-1818-43EA-B375-11FA28D56FC8}"/>
                </a:ext>
              </a:extLst>
            </p:cNvPr>
            <p:cNvSpPr/>
            <p:nvPr/>
          </p:nvSpPr>
          <p:spPr bwMode="auto">
            <a:xfrm>
              <a:off x="8283071" y="2183863"/>
              <a:ext cx="3357630"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50000"/>
                </a:lnSpc>
                <a:spcBef>
                  <a:spcPts val="0"/>
                </a:spcBef>
                <a:spcAft>
                  <a:spcPts val="0"/>
                </a:spcAft>
                <a:buClrTx/>
                <a:buSzTx/>
                <a:buFontTx/>
                <a:buNone/>
                <a:tabLst/>
                <a:defRPr/>
              </a:pPr>
              <a:r>
                <a:rPr kumimoji="0" lang="en-US" sz="14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CODING &amp; MANAGEMENT TOOLS</a:t>
              </a:r>
            </a:p>
          </p:txBody>
        </p:sp>
        <p:sp>
          <p:nvSpPr>
            <p:cNvPr id="145" name="Rectangle 144">
              <a:extLst>
                <a:ext uri="{FF2B5EF4-FFF2-40B4-BE49-F238E27FC236}">
                  <a16:creationId xmlns:a16="http://schemas.microsoft.com/office/drawing/2014/main" id="{21551998-7EA4-4A0F-9D0C-2439D031734C}"/>
                </a:ext>
              </a:extLst>
            </p:cNvPr>
            <p:cNvSpPr/>
            <p:nvPr/>
          </p:nvSpPr>
          <p:spPr bwMode="auto">
            <a:xfrm>
              <a:off x="10522021" y="2619106"/>
              <a:ext cx="960761" cy="614041"/>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zure ML Workbench</a:t>
              </a:r>
            </a:p>
          </p:txBody>
        </p:sp>
        <p:sp>
          <p:nvSpPr>
            <p:cNvPr id="146" name="Rectangle 145">
              <a:extLst>
                <a:ext uri="{FF2B5EF4-FFF2-40B4-BE49-F238E27FC236}">
                  <a16:creationId xmlns:a16="http://schemas.microsoft.com/office/drawing/2014/main" id="{F384834B-D138-4D4F-8B0E-01D321982E29}"/>
                </a:ext>
              </a:extLst>
            </p:cNvPr>
            <p:cNvSpPr/>
            <p:nvPr/>
          </p:nvSpPr>
          <p:spPr bwMode="auto">
            <a:xfrm>
              <a:off x="8283071" y="3930076"/>
              <a:ext cx="3357630"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50000"/>
                </a:lnSpc>
                <a:spcBef>
                  <a:spcPts val="0"/>
                </a:spcBef>
                <a:spcAft>
                  <a:spcPts val="0"/>
                </a:spcAft>
                <a:buClrTx/>
                <a:buSzTx/>
                <a:buFontTx/>
                <a:buNone/>
                <a:tabLst/>
                <a:defRPr/>
              </a:pPr>
              <a:r>
                <a:rPr kumimoji="0" lang="en-US" sz="14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DEEP LEARNING FRAMEWORKS</a:t>
              </a:r>
            </a:p>
          </p:txBody>
        </p:sp>
        <p:sp>
          <p:nvSpPr>
            <p:cNvPr id="147" name="Rectangle 146">
              <a:extLst>
                <a:ext uri="{FF2B5EF4-FFF2-40B4-BE49-F238E27FC236}">
                  <a16:creationId xmlns:a16="http://schemas.microsoft.com/office/drawing/2014/main" id="{CCD8B23F-9794-483F-A654-1DB74B80D306}"/>
                </a:ext>
              </a:extLst>
            </p:cNvPr>
            <p:cNvSpPr/>
            <p:nvPr/>
          </p:nvSpPr>
          <p:spPr bwMode="auto">
            <a:xfrm>
              <a:off x="8440738" y="4579938"/>
              <a:ext cx="846137" cy="614362"/>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ognitive Toolkit</a:t>
              </a:r>
            </a:p>
          </p:txBody>
        </p:sp>
        <p:sp>
          <p:nvSpPr>
            <p:cNvPr id="148" name="Rectangle 147">
              <a:extLst>
                <a:ext uri="{FF2B5EF4-FFF2-40B4-BE49-F238E27FC236}">
                  <a16:creationId xmlns:a16="http://schemas.microsoft.com/office/drawing/2014/main" id="{C7B35767-6CE7-4819-ADB9-0BF9119D8E16}"/>
                </a:ext>
              </a:extLst>
            </p:cNvPr>
            <p:cNvSpPr/>
            <p:nvPr/>
          </p:nvSpPr>
          <p:spPr bwMode="auto">
            <a:xfrm>
              <a:off x="9481505" y="4587350"/>
              <a:ext cx="960761" cy="614041"/>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TensorFlow</a:t>
              </a:r>
            </a:p>
          </p:txBody>
        </p:sp>
        <p:sp>
          <p:nvSpPr>
            <p:cNvPr id="149" name="Rectangle 148">
              <a:extLst>
                <a:ext uri="{FF2B5EF4-FFF2-40B4-BE49-F238E27FC236}">
                  <a16:creationId xmlns:a16="http://schemas.microsoft.com/office/drawing/2014/main" id="{D430DCDF-81F1-413F-ABCD-98E5E568E473}"/>
                </a:ext>
              </a:extLst>
            </p:cNvPr>
            <p:cNvSpPr/>
            <p:nvPr/>
          </p:nvSpPr>
          <p:spPr bwMode="auto">
            <a:xfrm>
              <a:off x="10522021" y="4587349"/>
              <a:ext cx="960761" cy="614041"/>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affe</a:t>
              </a:r>
            </a:p>
          </p:txBody>
        </p:sp>
        <p:sp>
          <p:nvSpPr>
            <p:cNvPr id="150" name="Rectangle 149">
              <a:extLst>
                <a:ext uri="{FF2B5EF4-FFF2-40B4-BE49-F238E27FC236}">
                  <a16:creationId xmlns:a16="http://schemas.microsoft.com/office/drawing/2014/main" id="{FB12FA12-0FC6-4C20-AD27-E2A9CFB486ED}"/>
                </a:ext>
              </a:extLst>
            </p:cNvPr>
            <p:cNvSpPr/>
            <p:nvPr/>
          </p:nvSpPr>
          <p:spPr bwMode="auto">
            <a:xfrm>
              <a:off x="8440738" y="5345376"/>
              <a:ext cx="3090271" cy="257585"/>
            </a:xfrm>
            <a:prstGeom prst="rect">
              <a:avLst/>
            </a:prstGeom>
            <a:no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Others (Scikit-learn, MXNet, Keras, Chainer, Gluon…)</a:t>
              </a:r>
            </a:p>
          </p:txBody>
        </p:sp>
        <p:sp>
          <p:nvSpPr>
            <p:cNvPr id="151" name="Rectangle 150">
              <a:extLst>
                <a:ext uri="{FF2B5EF4-FFF2-40B4-BE49-F238E27FC236}">
                  <a16:creationId xmlns:a16="http://schemas.microsoft.com/office/drawing/2014/main" id="{62936A50-074E-433A-89E2-B17862259435}"/>
                </a:ext>
              </a:extLst>
            </p:cNvPr>
            <p:cNvSpPr/>
            <p:nvPr/>
          </p:nvSpPr>
          <p:spPr bwMode="auto">
            <a:xfrm>
              <a:off x="9789094" y="4224592"/>
              <a:ext cx="1375924"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50000"/>
                </a:lnSpc>
                <a:spcBef>
                  <a:spcPts val="0"/>
                </a:spcBef>
                <a:spcAft>
                  <a:spcPts val="0"/>
                </a:spcAft>
                <a:buClrTx/>
                <a:buSzTx/>
                <a:buFontTx/>
                <a:buNone/>
                <a:tabLst/>
                <a:defRPr/>
              </a:pPr>
              <a:r>
                <a:rPr kumimoji="0" lang="en-US" sz="1200" b="0"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3rd Party</a:t>
              </a:r>
            </a:p>
          </p:txBody>
        </p:sp>
        <p:sp>
          <p:nvSpPr>
            <p:cNvPr id="152" name="Rectangle 151">
              <a:extLst>
                <a:ext uri="{FF2B5EF4-FFF2-40B4-BE49-F238E27FC236}">
                  <a16:creationId xmlns:a16="http://schemas.microsoft.com/office/drawing/2014/main" id="{642DFB83-ECF9-4A99-9C34-EE75B3419890}"/>
                </a:ext>
              </a:extLst>
            </p:cNvPr>
            <p:cNvSpPr/>
            <p:nvPr/>
          </p:nvSpPr>
          <p:spPr bwMode="auto">
            <a:xfrm>
              <a:off x="8448813" y="3315530"/>
              <a:ext cx="3090271" cy="257585"/>
            </a:xfrm>
            <a:prstGeom prst="rect">
              <a:avLst/>
            </a:prstGeom>
            <a:no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l" defTabSz="914016" rtl="0" eaLnBrk="1" fontAlgn="base" latinLnBrk="0" hangingPunct="1">
                <a:lnSpc>
                  <a:spcPct val="150000"/>
                </a:lnSpc>
                <a:spcBef>
                  <a:spcPct val="0"/>
                </a:spcBef>
                <a:spcAft>
                  <a:spcPct val="0"/>
                </a:spcAft>
                <a:buClrTx/>
                <a:buSzTx/>
                <a:buFontTx/>
                <a:buNone/>
                <a:tabLst/>
                <a:defRPr/>
              </a:pPr>
              <a:r>
                <a:rPr kumimoji="0" lang="en-US" sz="1200" b="0"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Others (PyCharm, Jupyter Notebooks…)</a:t>
              </a:r>
            </a:p>
          </p:txBody>
        </p:sp>
      </p:grpSp>
      <p:sp>
        <p:nvSpPr>
          <p:cNvPr id="153" name="Rectangle 152">
            <a:extLst>
              <a:ext uri="{FF2B5EF4-FFF2-40B4-BE49-F238E27FC236}">
                <a16:creationId xmlns:a16="http://schemas.microsoft.com/office/drawing/2014/main" id="{5DEFB41C-4134-48B8-BDE6-991FADFB2A5C}"/>
              </a:ext>
            </a:extLst>
          </p:cNvPr>
          <p:cNvSpPr/>
          <p:nvPr/>
        </p:nvSpPr>
        <p:spPr>
          <a:xfrm>
            <a:off x="345830" y="1713409"/>
            <a:ext cx="7907782" cy="594566"/>
          </a:xfrm>
          <a:prstGeom prst="rect">
            <a:avLst/>
          </a:prstGeom>
        </p:spPr>
        <p:txBody>
          <a:bodyPr wrap="square">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rPr>
              <a:t>Azure AI Services</a:t>
            </a:r>
          </a:p>
        </p:txBody>
      </p:sp>
      <p:sp>
        <p:nvSpPr>
          <p:cNvPr id="154" name="Rectangle 153">
            <a:extLst>
              <a:ext uri="{FF2B5EF4-FFF2-40B4-BE49-F238E27FC236}">
                <a16:creationId xmlns:a16="http://schemas.microsoft.com/office/drawing/2014/main" id="{9566CFA7-960E-4FAD-956A-30C717745ACA}"/>
              </a:ext>
            </a:extLst>
          </p:cNvPr>
          <p:cNvSpPr/>
          <p:nvPr/>
        </p:nvSpPr>
        <p:spPr>
          <a:xfrm>
            <a:off x="345830" y="3985162"/>
            <a:ext cx="7907782" cy="594566"/>
          </a:xfrm>
          <a:prstGeom prst="rect">
            <a:avLst/>
          </a:prstGeom>
        </p:spPr>
        <p:txBody>
          <a:bodyPr wrap="square">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rPr>
              <a:t>Azure Infrastructure</a:t>
            </a:r>
          </a:p>
        </p:txBody>
      </p:sp>
      <p:sp>
        <p:nvSpPr>
          <p:cNvPr id="155" name="Rectangle 154">
            <a:extLst>
              <a:ext uri="{FF2B5EF4-FFF2-40B4-BE49-F238E27FC236}">
                <a16:creationId xmlns:a16="http://schemas.microsoft.com/office/drawing/2014/main" id="{D4CBE999-543B-4969-823F-8D86481C51F7}"/>
              </a:ext>
            </a:extLst>
          </p:cNvPr>
          <p:cNvSpPr/>
          <p:nvPr/>
        </p:nvSpPr>
        <p:spPr>
          <a:xfrm>
            <a:off x="8266076" y="2562276"/>
            <a:ext cx="3526972" cy="594566"/>
          </a:xfrm>
          <a:prstGeom prst="rect">
            <a:avLst/>
          </a:prstGeom>
        </p:spPr>
        <p:txBody>
          <a:bodyPr wrap="square">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rPr>
              <a:t>Tools</a:t>
            </a:r>
          </a:p>
        </p:txBody>
      </p:sp>
      <p:grpSp>
        <p:nvGrpSpPr>
          <p:cNvPr id="9" name="Group 8">
            <a:extLst>
              <a:ext uri="{FF2B5EF4-FFF2-40B4-BE49-F238E27FC236}">
                <a16:creationId xmlns:a16="http://schemas.microsoft.com/office/drawing/2014/main" id="{C9CDC1B2-DEA2-4D19-9520-ADA45F5094E2}"/>
              </a:ext>
            </a:extLst>
          </p:cNvPr>
          <p:cNvGrpSpPr/>
          <p:nvPr/>
        </p:nvGrpSpPr>
        <p:grpSpPr>
          <a:xfrm>
            <a:off x="9612158" y="3234503"/>
            <a:ext cx="893344" cy="893344"/>
            <a:chOff x="9612657" y="3234476"/>
            <a:chExt cx="893470" cy="893470"/>
          </a:xfrm>
        </p:grpSpPr>
        <p:sp>
          <p:nvSpPr>
            <p:cNvPr id="2" name="Oval 1">
              <a:extLst>
                <a:ext uri="{FF2B5EF4-FFF2-40B4-BE49-F238E27FC236}">
                  <a16:creationId xmlns:a16="http://schemas.microsoft.com/office/drawing/2014/main" id="{F8FEECFF-E0B5-42C2-A476-E42D680DF292}"/>
                </a:ext>
              </a:extLst>
            </p:cNvPr>
            <p:cNvSpPr/>
            <p:nvPr/>
          </p:nvSpPr>
          <p:spPr bwMode="auto">
            <a:xfrm>
              <a:off x="9612657" y="3234476"/>
              <a:ext cx="893470" cy="89347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tool">
              <a:extLst>
                <a:ext uri="{FF2B5EF4-FFF2-40B4-BE49-F238E27FC236}">
                  <a16:creationId xmlns:a16="http://schemas.microsoft.com/office/drawing/2014/main" id="{2CB7861A-ECE5-41BA-B43C-9E5752DFD93F}"/>
                </a:ext>
              </a:extLst>
            </p:cNvPr>
            <p:cNvSpPr>
              <a:spLocks noChangeAspect="1" noEditPoints="1"/>
            </p:cNvSpPr>
            <p:nvPr/>
          </p:nvSpPr>
          <p:spPr bwMode="auto">
            <a:xfrm>
              <a:off x="9929561" y="3498331"/>
              <a:ext cx="259662" cy="36576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solidFill>
              <a:schemeClr val="bg1"/>
            </a:solidFill>
            <a:ln w="15875" cap="sq">
              <a:solidFill>
                <a:schemeClr val="accent4"/>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16F282D4-7041-42A2-9BA7-9202A5E54469}"/>
              </a:ext>
            </a:extLst>
          </p:cNvPr>
          <p:cNvGrpSpPr/>
          <p:nvPr/>
        </p:nvGrpSpPr>
        <p:grpSpPr>
          <a:xfrm>
            <a:off x="3807404" y="4711331"/>
            <a:ext cx="914270" cy="914270"/>
            <a:chOff x="3807078" y="4711512"/>
            <a:chExt cx="914400" cy="914400"/>
          </a:xfrm>
        </p:grpSpPr>
        <p:sp>
          <p:nvSpPr>
            <p:cNvPr id="51" name="Oval 50">
              <a:extLst>
                <a:ext uri="{FF2B5EF4-FFF2-40B4-BE49-F238E27FC236}">
                  <a16:creationId xmlns:a16="http://schemas.microsoft.com/office/drawing/2014/main" id="{C9B0E76C-F0C7-489D-BE06-6E34DDB0D6B9}"/>
                </a:ext>
              </a:extLst>
            </p:cNvPr>
            <p:cNvSpPr/>
            <p:nvPr/>
          </p:nvSpPr>
          <p:spPr bwMode="auto">
            <a:xfrm>
              <a:off x="3807078" y="4711512"/>
              <a:ext cx="914400" cy="91440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binary">
              <a:extLst>
                <a:ext uri="{FF2B5EF4-FFF2-40B4-BE49-F238E27FC236}">
                  <a16:creationId xmlns:a16="http://schemas.microsoft.com/office/drawing/2014/main" id="{093CDB57-185B-4DA2-B936-E21FAC510EF2}"/>
                </a:ext>
              </a:extLst>
            </p:cNvPr>
            <p:cNvSpPr>
              <a:spLocks noChangeAspect="1" noEditPoints="1"/>
            </p:cNvSpPr>
            <p:nvPr/>
          </p:nvSpPr>
          <p:spPr bwMode="auto">
            <a:xfrm>
              <a:off x="4081398" y="5010796"/>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solidFill>
              <a:schemeClr val="bg1"/>
            </a:solidFill>
            <a:ln w="15875" cap="sq">
              <a:solidFill>
                <a:schemeClr val="accent4"/>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 name="Group 7">
            <a:extLst>
              <a:ext uri="{FF2B5EF4-FFF2-40B4-BE49-F238E27FC236}">
                <a16:creationId xmlns:a16="http://schemas.microsoft.com/office/drawing/2014/main" id="{FDD0A51C-5FFC-4FE8-A638-867B82E92C46}"/>
              </a:ext>
            </a:extLst>
          </p:cNvPr>
          <p:cNvGrpSpPr/>
          <p:nvPr/>
        </p:nvGrpSpPr>
        <p:grpSpPr>
          <a:xfrm>
            <a:off x="3807404" y="2409767"/>
            <a:ext cx="914270" cy="914270"/>
            <a:chOff x="3807078" y="2409622"/>
            <a:chExt cx="914400" cy="914400"/>
          </a:xfrm>
          <a:solidFill>
            <a:schemeClr val="bg1"/>
          </a:solidFill>
        </p:grpSpPr>
        <p:sp>
          <p:nvSpPr>
            <p:cNvPr id="4" name="Oval 3">
              <a:extLst>
                <a:ext uri="{FF2B5EF4-FFF2-40B4-BE49-F238E27FC236}">
                  <a16:creationId xmlns:a16="http://schemas.microsoft.com/office/drawing/2014/main" id="{10EF2D3C-F058-4169-A72F-3F6F96840520}"/>
                </a:ext>
              </a:extLst>
            </p:cNvPr>
            <p:cNvSpPr/>
            <p:nvPr/>
          </p:nvSpPr>
          <p:spPr bwMode="auto">
            <a:xfrm>
              <a:off x="3807078" y="2409622"/>
              <a:ext cx="914400" cy="9144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 name="Freeform: Shape 27">
              <a:extLst>
                <a:ext uri="{FF2B5EF4-FFF2-40B4-BE49-F238E27FC236}">
                  <a16:creationId xmlns:a16="http://schemas.microsoft.com/office/drawing/2014/main" id="{7CDE25D8-8759-44C6-80A8-3F98441330F7}"/>
                </a:ext>
              </a:extLst>
            </p:cNvPr>
            <p:cNvSpPr/>
            <p:nvPr/>
          </p:nvSpPr>
          <p:spPr bwMode="auto">
            <a:xfrm flipV="1">
              <a:off x="3987576" y="2681119"/>
              <a:ext cx="553404" cy="30506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grpFill/>
            <a:ln w="15875" cap="sq">
              <a:solidFill>
                <a:schemeClr val="accent4"/>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53" name="Title 2">
            <a:extLst>
              <a:ext uri="{FF2B5EF4-FFF2-40B4-BE49-F238E27FC236}">
                <a16:creationId xmlns:a16="http://schemas.microsoft.com/office/drawing/2014/main" id="{5F35FCE0-AB7A-4555-A257-A1AFC7AB2305}"/>
              </a:ext>
            </a:extLst>
          </p:cNvPr>
          <p:cNvSpPr txBox="1">
            <a:spLocks/>
          </p:cNvSpPr>
          <p:nvPr/>
        </p:nvSpPr>
        <p:spPr>
          <a:xfrm>
            <a:off x="270066" y="289957"/>
            <a:ext cx="11654187" cy="899537"/>
          </a:xfrm>
          <a:prstGeom prst="rect">
            <a:avLst/>
          </a:prstGeom>
        </p:spPr>
        <p:txBody>
          <a:bodyPr vert="horz" wrap="square" lIns="146284" tIns="91427" rIns="146284" bIns="91427" rtlCol="0" anchor="t">
            <a:noAutofit/>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400" b="0" i="0" u="none" strike="noStrike" kern="1200" cap="all" spc="800" normalizeH="0" baseline="0" noProof="0">
                <a:ln w="3175">
                  <a:noFill/>
                </a:ln>
                <a:solidFill>
                  <a:srgbClr val="0078D7"/>
                </a:solidFill>
                <a:effectLst/>
                <a:uLnTx/>
                <a:uFillTx/>
                <a:latin typeface="Segoe UI Semilight" charset="0"/>
                <a:ea typeface="Segoe UI Semilight" charset="0"/>
                <a:cs typeface="Segoe UI Semilight" charset="0"/>
              </a:rPr>
              <a:t>MICROSOFT AI PLATFORM</a:t>
            </a:r>
            <a:endParaRPr kumimoji="0" lang="en-US" sz="2400" b="0" i="0" u="none" strike="noStrike" kern="1200" cap="all" spc="800" normalizeH="0" baseline="0" noProof="0">
              <a:ln w="3175">
                <a:noFill/>
              </a:ln>
              <a:solidFill>
                <a:srgbClr val="0078D7"/>
              </a:solidFill>
              <a:effectLst/>
              <a:uLnTx/>
              <a:uFillTx/>
              <a:latin typeface="Segoe UI Light"/>
              <a:ea typeface="+mn-ea"/>
              <a:cs typeface="Segoe UI Light" charset="0"/>
            </a:endParaRPr>
          </a:p>
        </p:txBody>
      </p:sp>
    </p:spTree>
    <p:extLst>
      <p:ext uri="{BB962C8B-B14F-4D97-AF65-F5344CB8AC3E}">
        <p14:creationId xmlns:p14="http://schemas.microsoft.com/office/powerpoint/2010/main" val="90606569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4.16667E-6 -1.11111E-6 L -4.16667E-6 -0.03518 " pathEditMode="relative" rAng="0" ptsTypes="AA">
                                      <p:cBhvr>
                                        <p:cTn id="6" dur="500" fill="hold"/>
                                        <p:tgtEl>
                                          <p:spTgt spid="153"/>
                                        </p:tgtEl>
                                        <p:attrNameLst>
                                          <p:attrName>ppt_x</p:attrName>
                                          <p:attrName>ppt_y</p:attrName>
                                        </p:attrNameLst>
                                      </p:cBhvr>
                                      <p:rCtr x="0" y="-1759"/>
                                    </p:animMotion>
                                  </p:childTnLst>
                                </p:cTn>
                              </p:par>
                              <p:par>
                                <p:cTn id="7" presetID="53" presetClass="exit" presetSubtype="32" fill="hold" nodeType="withEffect">
                                  <p:stCondLst>
                                    <p:cond delay="0"/>
                                  </p:stCondLst>
                                  <p:childTnLst>
                                    <p:anim calcmode="lin" valueType="num">
                                      <p:cBhvr>
                                        <p:cTn id="8" dur="500"/>
                                        <p:tgtEl>
                                          <p:spTgt spid="8"/>
                                        </p:tgtEl>
                                        <p:attrNameLst>
                                          <p:attrName>ppt_w</p:attrName>
                                        </p:attrNameLst>
                                      </p:cBhvr>
                                      <p:tavLst>
                                        <p:tav tm="0">
                                          <p:val>
                                            <p:strVal val="ppt_w"/>
                                          </p:val>
                                        </p:tav>
                                        <p:tav tm="100000">
                                          <p:val>
                                            <p:fltVal val="0"/>
                                          </p:val>
                                        </p:tav>
                                      </p:tavLst>
                                    </p:anim>
                                    <p:anim calcmode="lin" valueType="num">
                                      <p:cBhvr>
                                        <p:cTn id="9" dur="500"/>
                                        <p:tgtEl>
                                          <p:spTgt spid="8"/>
                                        </p:tgtEl>
                                        <p:attrNameLst>
                                          <p:attrName>ppt_h</p:attrName>
                                        </p:attrNameLst>
                                      </p:cBhvr>
                                      <p:tavLst>
                                        <p:tav tm="0">
                                          <p:val>
                                            <p:strVal val="ppt_h"/>
                                          </p:val>
                                        </p:tav>
                                        <p:tav tm="100000">
                                          <p:val>
                                            <p:fltVal val="0"/>
                                          </p:val>
                                        </p:tav>
                                      </p:tavLst>
                                    </p:anim>
                                    <p:animEffect transition="out" filter="fade">
                                      <p:cBhvr>
                                        <p:cTn id="10" dur="500"/>
                                        <p:tgtEl>
                                          <p:spTgt spid="8"/>
                                        </p:tgtEl>
                                      </p:cBhvr>
                                    </p:animEffect>
                                    <p:set>
                                      <p:cBhvr>
                                        <p:cTn id="11" dur="1" fill="hold">
                                          <p:stCondLst>
                                            <p:cond delay="499"/>
                                          </p:stCondLst>
                                        </p:cTn>
                                        <p:tgtEl>
                                          <p:spTgt spid="8"/>
                                        </p:tgtEl>
                                        <p:attrNameLst>
                                          <p:attrName>style.visibility</p:attrName>
                                        </p:attrNameLst>
                                      </p:cBhvr>
                                      <p:to>
                                        <p:strVal val="hidden"/>
                                      </p:to>
                                    </p:se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childTnLst>
                          </p:cTn>
                        </p:par>
                      </p:childTnLst>
                    </p:cTn>
                  </p:par>
                  <p:par>
                    <p:cTn id="16" fill="hold">
                      <p:stCondLst>
                        <p:cond delay="indefinite"/>
                      </p:stCondLst>
                      <p:childTnLst>
                        <p:par>
                          <p:cTn id="17" fill="hold">
                            <p:stCondLst>
                              <p:cond delay="0"/>
                            </p:stCondLst>
                            <p:childTnLst>
                              <p:par>
                                <p:cTn id="18" presetID="42" presetClass="path" presetSubtype="0" accel="50000" decel="50000" fill="hold" grpId="0" nodeType="clickEffect">
                                  <p:stCondLst>
                                    <p:cond delay="0"/>
                                  </p:stCondLst>
                                  <p:childTnLst>
                                    <p:animMotion origin="layout" path="M -4.16667E-6 -1.11111E-6 L -4.16667E-6 -0.05509 " pathEditMode="relative" rAng="0" ptsTypes="AA">
                                      <p:cBhvr>
                                        <p:cTn id="19" dur="500" fill="hold"/>
                                        <p:tgtEl>
                                          <p:spTgt spid="154"/>
                                        </p:tgtEl>
                                        <p:attrNameLst>
                                          <p:attrName>ppt_x</p:attrName>
                                          <p:attrName>ppt_y</p:attrName>
                                        </p:attrNameLst>
                                      </p:cBhvr>
                                      <p:rCtr x="0" y="-2755"/>
                                    </p:animMotion>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128"/>
                                        </p:tgtEl>
                                        <p:attrNameLst>
                                          <p:attrName>style.visibility</p:attrName>
                                        </p:attrNameLst>
                                      </p:cBhvr>
                                      <p:to>
                                        <p:strVal val="visible"/>
                                      </p:to>
                                    </p:set>
                                    <p:animEffect transition="in" filter="fade">
                                      <p:cBhvr>
                                        <p:cTn id="23" dur="500"/>
                                        <p:tgtEl>
                                          <p:spTgt spid="128"/>
                                        </p:tgtEl>
                                      </p:cBhvr>
                                    </p:animEffect>
                                  </p:childTnLst>
                                </p:cTn>
                              </p:par>
                              <p:par>
                                <p:cTn id="24" presetID="53" presetClass="exit" presetSubtype="32" fill="hold" nodeType="withEffect">
                                  <p:stCondLst>
                                    <p:cond delay="0"/>
                                  </p:stCondLst>
                                  <p:childTnLst>
                                    <p:anim calcmode="lin" valueType="num">
                                      <p:cBhvr>
                                        <p:cTn id="25" dur="500"/>
                                        <p:tgtEl>
                                          <p:spTgt spid="5"/>
                                        </p:tgtEl>
                                        <p:attrNameLst>
                                          <p:attrName>ppt_w</p:attrName>
                                        </p:attrNameLst>
                                      </p:cBhvr>
                                      <p:tavLst>
                                        <p:tav tm="0">
                                          <p:val>
                                            <p:strVal val="ppt_w"/>
                                          </p:val>
                                        </p:tav>
                                        <p:tav tm="100000">
                                          <p:val>
                                            <p:fltVal val="0"/>
                                          </p:val>
                                        </p:tav>
                                      </p:tavLst>
                                    </p:anim>
                                    <p:anim calcmode="lin" valueType="num">
                                      <p:cBhvr>
                                        <p:cTn id="26" dur="500"/>
                                        <p:tgtEl>
                                          <p:spTgt spid="5"/>
                                        </p:tgtEl>
                                        <p:attrNameLst>
                                          <p:attrName>ppt_h</p:attrName>
                                        </p:attrNameLst>
                                      </p:cBhvr>
                                      <p:tavLst>
                                        <p:tav tm="0">
                                          <p:val>
                                            <p:strVal val="ppt_h"/>
                                          </p:val>
                                        </p:tav>
                                        <p:tav tm="100000">
                                          <p:val>
                                            <p:fltVal val="0"/>
                                          </p:val>
                                        </p:tav>
                                      </p:tavLst>
                                    </p:anim>
                                    <p:animEffect transition="out" filter="fade">
                                      <p:cBhvr>
                                        <p:cTn id="27" dur="500"/>
                                        <p:tgtEl>
                                          <p:spTgt spid="5"/>
                                        </p:tgtEl>
                                      </p:cBhvr>
                                    </p:animEffect>
                                    <p:set>
                                      <p:cBhvr>
                                        <p:cTn id="28" dur="1" fill="hold">
                                          <p:stCondLst>
                                            <p:cond delay="499"/>
                                          </p:stCondLst>
                                        </p:cTn>
                                        <p:tgtEl>
                                          <p:spTgt spid="5"/>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42" presetClass="path" presetSubtype="0" accel="50000" decel="50000" fill="hold" grpId="0" nodeType="clickEffect">
                                  <p:stCondLst>
                                    <p:cond delay="0"/>
                                  </p:stCondLst>
                                  <p:childTnLst>
                                    <p:animMotion origin="layout" path="M 3.75E-6 -3.7037E-6 L 3.75E-6 -0.15787 " pathEditMode="relative" rAng="0" ptsTypes="AA">
                                      <p:cBhvr>
                                        <p:cTn id="32" dur="500" fill="hold"/>
                                        <p:tgtEl>
                                          <p:spTgt spid="155"/>
                                        </p:tgtEl>
                                        <p:attrNameLst>
                                          <p:attrName>ppt_x</p:attrName>
                                          <p:attrName>ppt_y</p:attrName>
                                        </p:attrNameLst>
                                      </p:cBhvr>
                                      <p:rCtr x="0" y="-7894"/>
                                    </p:animMotion>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141"/>
                                        </p:tgtEl>
                                        <p:attrNameLst>
                                          <p:attrName>style.visibility</p:attrName>
                                        </p:attrNameLst>
                                      </p:cBhvr>
                                      <p:to>
                                        <p:strVal val="visible"/>
                                      </p:to>
                                    </p:set>
                                    <p:animEffect transition="in" filter="fade">
                                      <p:cBhvr>
                                        <p:cTn id="36" dur="500"/>
                                        <p:tgtEl>
                                          <p:spTgt spid="141"/>
                                        </p:tgtEl>
                                      </p:cBhvr>
                                    </p:animEffect>
                                  </p:childTnLst>
                                </p:cTn>
                              </p:par>
                              <p:par>
                                <p:cTn id="37" presetID="53" presetClass="exit" presetSubtype="32" fill="hold" nodeType="withEffect">
                                  <p:stCondLst>
                                    <p:cond delay="0"/>
                                  </p:stCondLst>
                                  <p:childTnLst>
                                    <p:anim calcmode="lin" valueType="num">
                                      <p:cBhvr>
                                        <p:cTn id="38" dur="500"/>
                                        <p:tgtEl>
                                          <p:spTgt spid="9"/>
                                        </p:tgtEl>
                                        <p:attrNameLst>
                                          <p:attrName>ppt_w</p:attrName>
                                        </p:attrNameLst>
                                      </p:cBhvr>
                                      <p:tavLst>
                                        <p:tav tm="0">
                                          <p:val>
                                            <p:strVal val="ppt_w"/>
                                          </p:val>
                                        </p:tav>
                                        <p:tav tm="100000">
                                          <p:val>
                                            <p:fltVal val="0"/>
                                          </p:val>
                                        </p:tav>
                                      </p:tavLst>
                                    </p:anim>
                                    <p:anim calcmode="lin" valueType="num">
                                      <p:cBhvr>
                                        <p:cTn id="39" dur="500"/>
                                        <p:tgtEl>
                                          <p:spTgt spid="9"/>
                                        </p:tgtEl>
                                        <p:attrNameLst>
                                          <p:attrName>ppt_h</p:attrName>
                                        </p:attrNameLst>
                                      </p:cBhvr>
                                      <p:tavLst>
                                        <p:tav tm="0">
                                          <p:val>
                                            <p:strVal val="ppt_h"/>
                                          </p:val>
                                        </p:tav>
                                        <p:tav tm="100000">
                                          <p:val>
                                            <p:fltVal val="0"/>
                                          </p:val>
                                        </p:tav>
                                      </p:tavLst>
                                    </p:anim>
                                    <p:animEffect transition="out" filter="fade">
                                      <p:cBhvr>
                                        <p:cTn id="40" dur="500"/>
                                        <p:tgtEl>
                                          <p:spTgt spid="9"/>
                                        </p:tgtEl>
                                      </p:cBhvr>
                                    </p:animEffect>
                                    <p:set>
                                      <p:cBhvr>
                                        <p:cTn id="41"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3" grpId="0"/>
      <p:bldP spid="154" grpId="0"/>
      <p:bldP spid="15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D24A84-C164-4BE5-98EA-B20A00FDA067}"/>
              </a:ext>
            </a:extLst>
          </p:cNvPr>
          <p:cNvSpPr>
            <a:spLocks noGrp="1"/>
          </p:cNvSpPr>
          <p:nvPr>
            <p:ph type="title"/>
          </p:nvPr>
        </p:nvSpPr>
        <p:spPr/>
        <p:txBody>
          <a:bodyPr/>
          <a:lstStyle/>
          <a:p>
            <a:r>
              <a:rPr lang="en-US" dirty="0"/>
              <a:t>Building blocks for a Data Science Project</a:t>
            </a:r>
          </a:p>
        </p:txBody>
      </p:sp>
      <p:cxnSp>
        <p:nvCxnSpPr>
          <p:cNvPr id="81" name="Straight Arrow Connector 80">
            <a:extLst>
              <a:ext uri="{FF2B5EF4-FFF2-40B4-BE49-F238E27FC236}">
                <a16:creationId xmlns:a16="http://schemas.microsoft.com/office/drawing/2014/main" id="{24A747A7-FE44-45A8-94D3-B5D3BCF96544}"/>
              </a:ext>
            </a:extLst>
          </p:cNvPr>
          <p:cNvCxnSpPr>
            <a:cxnSpLocks/>
          </p:cNvCxnSpPr>
          <p:nvPr/>
        </p:nvCxnSpPr>
        <p:spPr>
          <a:xfrm>
            <a:off x="2993867" y="3945256"/>
            <a:ext cx="319297"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35038E9B-577C-4712-9A55-31085DF490DD}"/>
              </a:ext>
            </a:extLst>
          </p:cNvPr>
          <p:cNvCxnSpPr>
            <a:cxnSpLocks/>
          </p:cNvCxnSpPr>
          <p:nvPr/>
        </p:nvCxnSpPr>
        <p:spPr>
          <a:xfrm>
            <a:off x="5104059" y="3945256"/>
            <a:ext cx="319297"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FED5DCB4-E541-4A4C-8C8E-18580073F554}"/>
              </a:ext>
            </a:extLst>
          </p:cNvPr>
          <p:cNvCxnSpPr>
            <a:cxnSpLocks/>
          </p:cNvCxnSpPr>
          <p:nvPr/>
        </p:nvCxnSpPr>
        <p:spPr>
          <a:xfrm>
            <a:off x="7225772" y="3927258"/>
            <a:ext cx="319297"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7313D4B8-44D4-4119-9670-573BD8BDD19C}"/>
              </a:ext>
            </a:extLst>
          </p:cNvPr>
          <p:cNvCxnSpPr>
            <a:cxnSpLocks/>
          </p:cNvCxnSpPr>
          <p:nvPr/>
        </p:nvCxnSpPr>
        <p:spPr>
          <a:xfrm>
            <a:off x="9364327" y="3919720"/>
            <a:ext cx="319297"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E01BBAB0-3D78-42A0-82F3-BC88A51CF2DD}"/>
              </a:ext>
            </a:extLst>
          </p:cNvPr>
          <p:cNvCxnSpPr>
            <a:cxnSpLocks/>
            <a:stCxn id="78" idx="2"/>
            <a:endCxn id="9" idx="2"/>
          </p:cNvCxnSpPr>
          <p:nvPr/>
        </p:nvCxnSpPr>
        <p:spPr>
          <a:xfrm rot="5400000">
            <a:off x="6441709" y="928212"/>
            <a:ext cx="12450" cy="8462189"/>
          </a:xfrm>
          <a:prstGeom prst="bentConnector3">
            <a:avLst>
              <a:gd name="adj1" fmla="val 3285717"/>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3" name="Group 282">
            <a:extLst>
              <a:ext uri="{FF2B5EF4-FFF2-40B4-BE49-F238E27FC236}">
                <a16:creationId xmlns:a16="http://schemas.microsoft.com/office/drawing/2014/main" id="{A4D0372B-BC89-4EED-8564-DDAC0BE8A516}"/>
              </a:ext>
            </a:extLst>
          </p:cNvPr>
          <p:cNvGrpSpPr/>
          <p:nvPr/>
        </p:nvGrpSpPr>
        <p:grpSpPr>
          <a:xfrm>
            <a:off x="208593" y="3534139"/>
            <a:ext cx="1046890" cy="1027013"/>
            <a:chOff x="212775" y="3604509"/>
            <a:chExt cx="1067882" cy="1047607"/>
          </a:xfrm>
        </p:grpSpPr>
        <p:sp>
          <p:nvSpPr>
            <p:cNvPr id="93" name="Rectangle 92">
              <a:extLst>
                <a:ext uri="{FF2B5EF4-FFF2-40B4-BE49-F238E27FC236}">
                  <a16:creationId xmlns:a16="http://schemas.microsoft.com/office/drawing/2014/main" id="{19888860-1BF3-4A90-99DF-7FE502089451}"/>
                </a:ext>
              </a:extLst>
            </p:cNvPr>
            <p:cNvSpPr/>
            <p:nvPr/>
          </p:nvSpPr>
          <p:spPr>
            <a:xfrm>
              <a:off x="212775" y="4119385"/>
              <a:ext cx="1067882" cy="5327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13" rtlCol="0" anchor="t">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Data sources</a:t>
              </a:r>
            </a:p>
          </p:txBody>
        </p:sp>
        <p:grpSp>
          <p:nvGrpSpPr>
            <p:cNvPr id="94" name="Group 20">
              <a:extLst>
                <a:ext uri="{FF2B5EF4-FFF2-40B4-BE49-F238E27FC236}">
                  <a16:creationId xmlns:a16="http://schemas.microsoft.com/office/drawing/2014/main" id="{C11C2493-B16E-42A0-B345-98647238D8F3}"/>
                </a:ext>
              </a:extLst>
            </p:cNvPr>
            <p:cNvGrpSpPr>
              <a:grpSpLocks noChangeAspect="1"/>
            </p:cNvGrpSpPr>
            <p:nvPr/>
          </p:nvGrpSpPr>
          <p:grpSpPr bwMode="auto">
            <a:xfrm>
              <a:off x="496516" y="3604509"/>
              <a:ext cx="508369" cy="445002"/>
              <a:chOff x="3764" y="3313"/>
              <a:chExt cx="353" cy="309"/>
            </a:xfrm>
            <a:noFill/>
          </p:grpSpPr>
          <p:sp>
            <p:nvSpPr>
              <p:cNvPr id="95" name="Freeform 21">
                <a:extLst>
                  <a:ext uri="{FF2B5EF4-FFF2-40B4-BE49-F238E27FC236}">
                    <a16:creationId xmlns:a16="http://schemas.microsoft.com/office/drawing/2014/main" id="{A1A15F1A-9BE8-49E0-A67C-979D8C37E1B2}"/>
                  </a:ext>
                </a:extLst>
              </p:cNvPr>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6" name="Freeform 22">
                <a:extLst>
                  <a:ext uri="{FF2B5EF4-FFF2-40B4-BE49-F238E27FC236}">
                    <a16:creationId xmlns:a16="http://schemas.microsoft.com/office/drawing/2014/main" id="{2055A2A4-7698-4C40-8086-0FA30B397950}"/>
                  </a:ext>
                </a:extLst>
              </p:cNvPr>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7" name="Freeform 23">
                <a:extLst>
                  <a:ext uri="{FF2B5EF4-FFF2-40B4-BE49-F238E27FC236}">
                    <a16:creationId xmlns:a16="http://schemas.microsoft.com/office/drawing/2014/main" id="{B6B9EC88-EEE8-41A5-978B-AA56CBD4600C}"/>
                  </a:ext>
                </a:extLst>
              </p:cNvPr>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8" name="Freeform 24">
                <a:extLst>
                  <a:ext uri="{FF2B5EF4-FFF2-40B4-BE49-F238E27FC236}">
                    <a16:creationId xmlns:a16="http://schemas.microsoft.com/office/drawing/2014/main" id="{F10AA1AC-9A74-4167-9BBB-F5F2A3C3F74C}"/>
                  </a:ext>
                </a:extLst>
              </p:cNvPr>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9" name="Freeform 25">
                <a:extLst>
                  <a:ext uri="{FF2B5EF4-FFF2-40B4-BE49-F238E27FC236}">
                    <a16:creationId xmlns:a16="http://schemas.microsoft.com/office/drawing/2014/main" id="{CBBBAFC4-EE6F-491D-A1AB-9F80297B20B8}"/>
                  </a:ext>
                </a:extLst>
              </p:cNvPr>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0" name="Freeform 26">
                <a:extLst>
                  <a:ext uri="{FF2B5EF4-FFF2-40B4-BE49-F238E27FC236}">
                    <a16:creationId xmlns:a16="http://schemas.microsoft.com/office/drawing/2014/main" id="{9BCA1333-6B31-414D-8214-1DA282536E18}"/>
                  </a:ext>
                </a:extLst>
              </p:cNvPr>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Freeform 27">
                <a:extLst>
                  <a:ext uri="{FF2B5EF4-FFF2-40B4-BE49-F238E27FC236}">
                    <a16:creationId xmlns:a16="http://schemas.microsoft.com/office/drawing/2014/main" id="{F5401820-80BC-4A1A-B4A7-8A738D8C8AF6}"/>
                  </a:ext>
                </a:extLst>
              </p:cNvPr>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28">
                <a:extLst>
                  <a:ext uri="{FF2B5EF4-FFF2-40B4-BE49-F238E27FC236}">
                    <a16:creationId xmlns:a16="http://schemas.microsoft.com/office/drawing/2014/main" id="{351DAC64-765B-491B-97D4-BA394467AA5D}"/>
                  </a:ext>
                </a:extLst>
              </p:cNvPr>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29">
                <a:extLst>
                  <a:ext uri="{FF2B5EF4-FFF2-40B4-BE49-F238E27FC236}">
                    <a16:creationId xmlns:a16="http://schemas.microsoft.com/office/drawing/2014/main" id="{63F0DE9B-56C6-49AA-B809-8958687B91A2}"/>
                  </a:ext>
                </a:extLst>
              </p:cNvPr>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4" name="Freeform 30">
                <a:extLst>
                  <a:ext uri="{FF2B5EF4-FFF2-40B4-BE49-F238E27FC236}">
                    <a16:creationId xmlns:a16="http://schemas.microsoft.com/office/drawing/2014/main" id="{C8EABEB9-DEDD-4606-BE2C-422BDC665324}"/>
                  </a:ext>
                </a:extLst>
              </p:cNvPr>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5" name="Freeform 31">
                <a:extLst>
                  <a:ext uri="{FF2B5EF4-FFF2-40B4-BE49-F238E27FC236}">
                    <a16:creationId xmlns:a16="http://schemas.microsoft.com/office/drawing/2014/main" id="{435A1456-264C-455D-9B1A-C7D8C632826D}"/>
                  </a:ext>
                </a:extLst>
              </p:cNvPr>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6" name="Freeform 32">
                <a:extLst>
                  <a:ext uri="{FF2B5EF4-FFF2-40B4-BE49-F238E27FC236}">
                    <a16:creationId xmlns:a16="http://schemas.microsoft.com/office/drawing/2014/main" id="{704FA7DF-654D-4CA1-89B2-60AB7EF8CBC6}"/>
                  </a:ext>
                </a:extLst>
              </p:cNvPr>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7" name="Freeform 33">
                <a:extLst>
                  <a:ext uri="{FF2B5EF4-FFF2-40B4-BE49-F238E27FC236}">
                    <a16:creationId xmlns:a16="http://schemas.microsoft.com/office/drawing/2014/main" id="{809E5023-79B9-4D9E-9C80-A79B374E58E7}"/>
                  </a:ext>
                </a:extLst>
              </p:cNvPr>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8" name="Freeform 34">
                <a:extLst>
                  <a:ext uri="{FF2B5EF4-FFF2-40B4-BE49-F238E27FC236}">
                    <a16:creationId xmlns:a16="http://schemas.microsoft.com/office/drawing/2014/main" id="{FABC8410-0D83-43D4-B52A-52ACE393D280}"/>
                  </a:ext>
                </a:extLst>
              </p:cNvPr>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9" name="Freeform 35">
                <a:extLst>
                  <a:ext uri="{FF2B5EF4-FFF2-40B4-BE49-F238E27FC236}">
                    <a16:creationId xmlns:a16="http://schemas.microsoft.com/office/drawing/2014/main" id="{9547E65E-7170-464D-89C1-96883D781184}"/>
                  </a:ext>
                </a:extLst>
              </p:cNvPr>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0" name="Freeform 36">
                <a:extLst>
                  <a:ext uri="{FF2B5EF4-FFF2-40B4-BE49-F238E27FC236}">
                    <a16:creationId xmlns:a16="http://schemas.microsoft.com/office/drawing/2014/main" id="{750A041D-9DA1-4E8D-B3D2-84076CB88162}"/>
                  </a:ext>
                </a:extLst>
              </p:cNvPr>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1" name="Freeform 37">
                <a:extLst>
                  <a:ext uri="{FF2B5EF4-FFF2-40B4-BE49-F238E27FC236}">
                    <a16:creationId xmlns:a16="http://schemas.microsoft.com/office/drawing/2014/main" id="{6AB331B9-A44E-473B-BB29-76F5DACBD00B}"/>
                  </a:ext>
                </a:extLst>
              </p:cNvPr>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2" name="Freeform 38">
                <a:extLst>
                  <a:ext uri="{FF2B5EF4-FFF2-40B4-BE49-F238E27FC236}">
                    <a16:creationId xmlns:a16="http://schemas.microsoft.com/office/drawing/2014/main" id="{68B5B64F-383D-4CB6-950C-0641C9E8732A}"/>
                  </a:ext>
                </a:extLst>
              </p:cNvPr>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113" name="Left Brace 112">
            <a:extLst>
              <a:ext uri="{FF2B5EF4-FFF2-40B4-BE49-F238E27FC236}">
                <a16:creationId xmlns:a16="http://schemas.microsoft.com/office/drawing/2014/main" id="{893EA38A-3513-4FA6-9A9E-4501A9B59F61}"/>
              </a:ext>
            </a:extLst>
          </p:cNvPr>
          <p:cNvSpPr/>
          <p:nvPr/>
        </p:nvSpPr>
        <p:spPr>
          <a:xfrm flipH="1">
            <a:off x="1001324" y="3287378"/>
            <a:ext cx="422553" cy="1316459"/>
          </a:xfrm>
          <a:prstGeom prst="leftBrace">
            <a:avLst>
              <a:gd name="adj1" fmla="val 0"/>
              <a:gd name="adj2" fmla="val 49033"/>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284" name="Group 283">
            <a:extLst>
              <a:ext uri="{FF2B5EF4-FFF2-40B4-BE49-F238E27FC236}">
                <a16:creationId xmlns:a16="http://schemas.microsoft.com/office/drawing/2014/main" id="{A5FF9EF8-86B8-4FEF-B7F6-648AF7466B14}"/>
              </a:ext>
            </a:extLst>
          </p:cNvPr>
          <p:cNvGrpSpPr/>
          <p:nvPr/>
        </p:nvGrpSpPr>
        <p:grpSpPr>
          <a:xfrm>
            <a:off x="1163091" y="2403299"/>
            <a:ext cx="2009401" cy="2768945"/>
            <a:chOff x="1186413" y="2450994"/>
            <a:chExt cx="2049694" cy="2824468"/>
          </a:xfrm>
        </p:grpSpPr>
        <p:sp>
          <p:nvSpPr>
            <p:cNvPr id="114" name="TextBox 113">
              <a:extLst>
                <a:ext uri="{FF2B5EF4-FFF2-40B4-BE49-F238E27FC236}">
                  <a16:creationId xmlns:a16="http://schemas.microsoft.com/office/drawing/2014/main" id="{0075502D-4CE5-4706-82B0-EE40DEA0FB89}"/>
                </a:ext>
              </a:extLst>
            </p:cNvPr>
            <p:cNvSpPr txBox="1"/>
            <p:nvPr/>
          </p:nvSpPr>
          <p:spPr>
            <a:xfrm>
              <a:off x="1186413" y="3765690"/>
              <a:ext cx="2015837" cy="440890"/>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29"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Classical ML</a:t>
              </a:r>
            </a:p>
          </p:txBody>
        </p:sp>
        <p:sp>
          <p:nvSpPr>
            <p:cNvPr id="115" name="TextBox 114">
              <a:extLst>
                <a:ext uri="{FF2B5EF4-FFF2-40B4-BE49-F238E27FC236}">
                  <a16:creationId xmlns:a16="http://schemas.microsoft.com/office/drawing/2014/main" id="{5ADBA8F3-0C55-441D-AAEC-212E43983190}"/>
                </a:ext>
              </a:extLst>
            </p:cNvPr>
            <p:cNvSpPr txBox="1"/>
            <p:nvPr/>
          </p:nvSpPr>
          <p:spPr>
            <a:xfrm>
              <a:off x="1220270" y="4834572"/>
              <a:ext cx="2015837" cy="440890"/>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29"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Deep learning</a:t>
              </a:r>
            </a:p>
          </p:txBody>
        </p:sp>
        <p:grpSp>
          <p:nvGrpSpPr>
            <p:cNvPr id="278" name="Group 277">
              <a:extLst>
                <a:ext uri="{FF2B5EF4-FFF2-40B4-BE49-F238E27FC236}">
                  <a16:creationId xmlns:a16="http://schemas.microsoft.com/office/drawing/2014/main" id="{469EAB50-EBA9-4DEE-90B7-4A9CF5B66647}"/>
                </a:ext>
              </a:extLst>
            </p:cNvPr>
            <p:cNvGrpSpPr/>
            <p:nvPr/>
          </p:nvGrpSpPr>
          <p:grpSpPr>
            <a:xfrm>
              <a:off x="1455981" y="2450994"/>
              <a:ext cx="1599571" cy="2811271"/>
              <a:chOff x="1455981" y="2450994"/>
              <a:chExt cx="1599571" cy="2811271"/>
            </a:xfrm>
          </p:grpSpPr>
          <p:sp>
            <p:nvSpPr>
              <p:cNvPr id="4" name="TextBox 3">
                <a:extLst>
                  <a:ext uri="{FF2B5EF4-FFF2-40B4-BE49-F238E27FC236}">
                    <a16:creationId xmlns:a16="http://schemas.microsoft.com/office/drawing/2014/main" id="{7F0406A5-EE37-49A6-9C8A-06AFEA379762}"/>
                  </a:ext>
                </a:extLst>
              </p:cNvPr>
              <p:cNvSpPr txBox="1"/>
              <p:nvPr/>
            </p:nvSpPr>
            <p:spPr>
              <a:xfrm>
                <a:off x="1455981" y="2450994"/>
                <a:ext cx="1597919" cy="550281"/>
              </a:xfrm>
              <a:prstGeom prst="rect">
                <a:avLst/>
              </a:prstGeom>
              <a:noFill/>
            </p:spPr>
            <p:txBody>
              <a:bodyPr wrap="squar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a:ea typeface="+mn-ea"/>
                    <a:cs typeface="+mn-cs"/>
                  </a:rPr>
                  <a:t>Build and train models </a:t>
                </a:r>
              </a:p>
            </p:txBody>
          </p:sp>
          <p:grpSp>
            <p:nvGrpSpPr>
              <p:cNvPr id="61" name="Group 60">
                <a:extLst>
                  <a:ext uri="{FF2B5EF4-FFF2-40B4-BE49-F238E27FC236}">
                    <a16:creationId xmlns:a16="http://schemas.microsoft.com/office/drawing/2014/main" id="{01595755-F460-4360-98F0-3CAFAAA91CF6}"/>
                  </a:ext>
                </a:extLst>
              </p:cNvPr>
              <p:cNvGrpSpPr/>
              <p:nvPr/>
            </p:nvGrpSpPr>
            <p:grpSpPr>
              <a:xfrm>
                <a:off x="1455981" y="2457539"/>
                <a:ext cx="1599571" cy="2804726"/>
                <a:chOff x="3208859" y="4070542"/>
                <a:chExt cx="1458309" cy="2411828"/>
              </a:xfrm>
            </p:grpSpPr>
            <p:sp>
              <p:nvSpPr>
                <p:cNvPr id="9" name="Rectangle 8">
                  <a:extLst>
                    <a:ext uri="{FF2B5EF4-FFF2-40B4-BE49-F238E27FC236}">
                      <a16:creationId xmlns:a16="http://schemas.microsoft.com/office/drawing/2014/main" id="{0C1F3467-7240-4443-9238-C1B9E33ADBA6}"/>
                    </a:ext>
                  </a:extLst>
                </p:cNvPr>
                <p:cNvSpPr/>
                <p:nvPr/>
              </p:nvSpPr>
              <p:spPr bwMode="auto">
                <a:xfrm>
                  <a:off x="3208859" y="4070542"/>
                  <a:ext cx="1456803" cy="241182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 name="Straight Connector 9">
                  <a:extLst>
                    <a:ext uri="{FF2B5EF4-FFF2-40B4-BE49-F238E27FC236}">
                      <a16:creationId xmlns:a16="http://schemas.microsoft.com/office/drawing/2014/main" id="{89135A93-B12F-461D-BD1D-B1A00D97B82F}"/>
                    </a:ext>
                  </a:extLst>
                </p:cNvPr>
                <p:cNvCxnSpPr>
                  <a:cxnSpLocks/>
                </p:cNvCxnSpPr>
                <p:nvPr/>
              </p:nvCxnSpPr>
              <p:spPr>
                <a:xfrm>
                  <a:off x="3208859" y="4541668"/>
                  <a:ext cx="1458309"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306D6DB3-B9D9-452E-A0D9-5D80F78F7CD0}"/>
                  </a:ext>
                </a:extLst>
              </p:cNvPr>
              <p:cNvGrpSpPr/>
              <p:nvPr/>
            </p:nvGrpSpPr>
            <p:grpSpPr>
              <a:xfrm>
                <a:off x="1977313" y="4260192"/>
                <a:ext cx="604535" cy="514992"/>
                <a:chOff x="3097731" y="3411002"/>
                <a:chExt cx="3912131" cy="3332680"/>
              </a:xfrm>
            </p:grpSpPr>
            <p:sp>
              <p:nvSpPr>
                <p:cNvPr id="117" name="Freeform: Shape 399">
                  <a:extLst>
                    <a:ext uri="{FF2B5EF4-FFF2-40B4-BE49-F238E27FC236}">
                      <a16:creationId xmlns:a16="http://schemas.microsoft.com/office/drawing/2014/main" id="{2FCFA153-7062-4ABB-8E36-6A7B9ABE3017}"/>
                    </a:ext>
                  </a:extLst>
                </p:cNvPr>
                <p:cNvSpPr/>
                <p:nvPr/>
              </p:nvSpPr>
              <p:spPr bwMode="auto">
                <a:xfrm>
                  <a:off x="3097731" y="3411002"/>
                  <a:ext cx="3912131" cy="3326728"/>
                </a:xfrm>
                <a:custGeom>
                  <a:avLst/>
                  <a:gdLst>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009850 w 4510936"/>
                    <a:gd name="connsiteY14" fmla="*/ 3835942 h 3835942"/>
                    <a:gd name="connsiteX15" fmla="*/ 1789458 w 4510936"/>
                    <a:gd name="connsiteY15" fmla="*/ 3835942 h 3835942"/>
                    <a:gd name="connsiteX16" fmla="*/ 1792429 w 4510936"/>
                    <a:gd name="connsiteY16" fmla="*/ 3610035 h 3835942"/>
                    <a:gd name="connsiteX17" fmla="*/ 1770743 w 4510936"/>
                    <a:gd name="connsiteY17" fmla="*/ 2832642 h 3835942"/>
                    <a:gd name="connsiteX18" fmla="*/ 1081314 w 4510936"/>
                    <a:gd name="connsiteY18" fmla="*/ 2061571 h 3835942"/>
                    <a:gd name="connsiteX19" fmla="*/ 1562100 w 4510936"/>
                    <a:gd name="connsiteY19" fmla="*/ 1896471 h 3835942"/>
                    <a:gd name="connsiteX20" fmla="*/ 1034142 w 4510936"/>
                    <a:gd name="connsiteY20" fmla="*/ 1807570 h 3835942"/>
                    <a:gd name="connsiteX21" fmla="*/ 1676400 w 4510936"/>
                    <a:gd name="connsiteY21" fmla="*/ 10963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2674257 w 4510936"/>
                    <a:gd name="connsiteY25" fmla="*/ 1626142 h 3835942"/>
                    <a:gd name="connsiteX26" fmla="*/ 2238828 w 4510936"/>
                    <a:gd name="connsiteY26" fmla="*/ 16515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458028 w 4510936"/>
                    <a:gd name="connsiteY30" fmla="*/ 1742256 h 3835942"/>
                    <a:gd name="connsiteX31" fmla="*/ 3721099 w 4510936"/>
                    <a:gd name="connsiteY31" fmla="*/ 2203084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010556 w 4510936"/>
                    <a:gd name="connsiteY42" fmla="*/ 677270 h 3835942"/>
                    <a:gd name="connsiteX43" fmla="*/ 1248228 w 4510936"/>
                    <a:gd name="connsiteY43" fmla="*/ 994770 h 3835942"/>
                    <a:gd name="connsiteX44" fmla="*/ 801914 w 4510936"/>
                    <a:gd name="connsiteY44" fmla="*/ 1571713 h 3835942"/>
                    <a:gd name="connsiteX45" fmla="*/ 542471 w 4510936"/>
                    <a:gd name="connsiteY45" fmla="*/ 1132656 h 3835942"/>
                    <a:gd name="connsiteX46" fmla="*/ 812800 w 4510936"/>
                    <a:gd name="connsiteY46" fmla="*/ 1843856 h 3835942"/>
                    <a:gd name="connsiteX47" fmla="*/ 925285 w 4510936"/>
                    <a:gd name="connsiteY47" fmla="*/ 2235742 h 3835942"/>
                    <a:gd name="connsiteX48" fmla="*/ 651328 w 4510936"/>
                    <a:gd name="connsiteY48" fmla="*/ 2607670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556657 w 4510936"/>
                    <a:gd name="connsiteY49" fmla="*/ 2852599 h 3835942"/>
                    <a:gd name="connsiteX50" fmla="*/ 1580115 w 4510936"/>
                    <a:gd name="connsiteY50" fmla="*/ 3729193 h 3835942"/>
                    <a:gd name="connsiteX51" fmla="*/ 1581642 w 4510936"/>
                    <a:gd name="connsiteY51" fmla="*/ 3835942 h 3835942"/>
                    <a:gd name="connsiteX52" fmla="*/ 1113971 w 4510936"/>
                    <a:gd name="connsiteY52" fmla="*/ 3835942 h 3835942"/>
                    <a:gd name="connsiteX53" fmla="*/ 836413 w 4510936"/>
                    <a:gd name="connsiteY53" fmla="*/ 3086585 h 3835942"/>
                    <a:gd name="connsiteX54" fmla="*/ 116170 w 4510936"/>
                    <a:gd name="connsiteY54" fmla="*/ 2308285 h 3835942"/>
                    <a:gd name="connsiteX55" fmla="*/ 118297 w 4510936"/>
                    <a:gd name="connsiteY55" fmla="*/ 2287181 h 3835942"/>
                    <a:gd name="connsiteX56" fmla="*/ 98842 w 4510936"/>
                    <a:gd name="connsiteY56" fmla="*/ 2263602 h 3835942"/>
                    <a:gd name="connsiteX57" fmla="*/ 0 w 4510936"/>
                    <a:gd name="connsiteY57" fmla="*/ 1940013 h 3835942"/>
                    <a:gd name="connsiteX58" fmla="*/ 98842 w 4510936"/>
                    <a:gd name="connsiteY58" fmla="*/ 1616424 h 3835942"/>
                    <a:gd name="connsiteX59" fmla="*/ 158494 w 4510936"/>
                    <a:gd name="connsiteY59" fmla="*/ 1544125 h 3835942"/>
                    <a:gd name="connsiteX60" fmla="*/ 138294 w 4510936"/>
                    <a:gd name="connsiteY60" fmla="*/ 1479051 h 3835942"/>
                    <a:gd name="connsiteX61" fmla="*/ 124645 w 4510936"/>
                    <a:gd name="connsiteY61" fmla="*/ 1343654 h 3835942"/>
                    <a:gd name="connsiteX62" fmla="*/ 534966 w 4510936"/>
                    <a:gd name="connsiteY62" fmla="*/ 724623 h 3835942"/>
                    <a:gd name="connsiteX63" fmla="*/ 655270 w 4510936"/>
                    <a:gd name="connsiteY63" fmla="*/ 687278 h 3835942"/>
                    <a:gd name="connsiteX64" fmla="*/ 663127 w 4510936"/>
                    <a:gd name="connsiteY64" fmla="*/ 661967 h 3835942"/>
                    <a:gd name="connsiteX65" fmla="*/ 1282159 w 4510936"/>
                    <a:gd name="connsiteY65" fmla="*/ 251645 h 3835942"/>
                    <a:gd name="connsiteX66" fmla="*/ 1417556 w 4510936"/>
                    <a:gd name="connsiteY66" fmla="*/ 265294 h 3835942"/>
                    <a:gd name="connsiteX67" fmla="*/ 1421411 w 4510936"/>
                    <a:gd name="connsiteY67" fmla="*/ 266491 h 3835942"/>
                    <a:gd name="connsiteX68" fmla="*/ 1478933 w 4510936"/>
                    <a:gd name="connsiteY68" fmla="*/ 196773 h 3835942"/>
                    <a:gd name="connsiteX69" fmla="*/ 1953986 w 4510936"/>
                    <a:gd name="connsiteY6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1556657 w 4510936"/>
                    <a:gd name="connsiteY48" fmla="*/ 2852599 h 3835942"/>
                    <a:gd name="connsiteX49" fmla="*/ 1580115 w 4510936"/>
                    <a:gd name="connsiteY49" fmla="*/ 3729193 h 3835942"/>
                    <a:gd name="connsiteX50" fmla="*/ 1581642 w 4510936"/>
                    <a:gd name="connsiteY50" fmla="*/ 3835942 h 3835942"/>
                    <a:gd name="connsiteX51" fmla="*/ 1113971 w 4510936"/>
                    <a:gd name="connsiteY51" fmla="*/ 3835942 h 3835942"/>
                    <a:gd name="connsiteX52" fmla="*/ 836413 w 4510936"/>
                    <a:gd name="connsiteY52" fmla="*/ 3086585 h 3835942"/>
                    <a:gd name="connsiteX53" fmla="*/ 116170 w 4510936"/>
                    <a:gd name="connsiteY53" fmla="*/ 2308285 h 3835942"/>
                    <a:gd name="connsiteX54" fmla="*/ 118297 w 4510936"/>
                    <a:gd name="connsiteY54" fmla="*/ 2287181 h 3835942"/>
                    <a:gd name="connsiteX55" fmla="*/ 98842 w 4510936"/>
                    <a:gd name="connsiteY55" fmla="*/ 2263602 h 3835942"/>
                    <a:gd name="connsiteX56" fmla="*/ 0 w 4510936"/>
                    <a:gd name="connsiteY56" fmla="*/ 1940013 h 3835942"/>
                    <a:gd name="connsiteX57" fmla="*/ 98842 w 4510936"/>
                    <a:gd name="connsiteY57" fmla="*/ 1616424 h 3835942"/>
                    <a:gd name="connsiteX58" fmla="*/ 158494 w 4510936"/>
                    <a:gd name="connsiteY58" fmla="*/ 1544125 h 3835942"/>
                    <a:gd name="connsiteX59" fmla="*/ 138294 w 4510936"/>
                    <a:gd name="connsiteY59" fmla="*/ 1479051 h 3835942"/>
                    <a:gd name="connsiteX60" fmla="*/ 124645 w 4510936"/>
                    <a:gd name="connsiteY60" fmla="*/ 1343654 h 3835942"/>
                    <a:gd name="connsiteX61" fmla="*/ 534966 w 4510936"/>
                    <a:gd name="connsiteY61" fmla="*/ 724623 h 3835942"/>
                    <a:gd name="connsiteX62" fmla="*/ 655270 w 4510936"/>
                    <a:gd name="connsiteY62" fmla="*/ 687278 h 3835942"/>
                    <a:gd name="connsiteX63" fmla="*/ 663127 w 4510936"/>
                    <a:gd name="connsiteY63" fmla="*/ 661967 h 3835942"/>
                    <a:gd name="connsiteX64" fmla="*/ 1282159 w 4510936"/>
                    <a:gd name="connsiteY64" fmla="*/ 251645 h 3835942"/>
                    <a:gd name="connsiteX65" fmla="*/ 1417556 w 4510936"/>
                    <a:gd name="connsiteY65" fmla="*/ 265294 h 3835942"/>
                    <a:gd name="connsiteX66" fmla="*/ 1421411 w 4510936"/>
                    <a:gd name="connsiteY66" fmla="*/ 266491 h 3835942"/>
                    <a:gd name="connsiteX67" fmla="*/ 1478933 w 4510936"/>
                    <a:gd name="connsiteY67" fmla="*/ 196773 h 3835942"/>
                    <a:gd name="connsiteX68" fmla="*/ 1953986 w 4510936"/>
                    <a:gd name="connsiteY6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1556657 w 4510936"/>
                    <a:gd name="connsiteY47" fmla="*/ 2852599 h 3835942"/>
                    <a:gd name="connsiteX48" fmla="*/ 1580115 w 4510936"/>
                    <a:gd name="connsiteY48" fmla="*/ 3729193 h 3835942"/>
                    <a:gd name="connsiteX49" fmla="*/ 1581642 w 4510936"/>
                    <a:gd name="connsiteY49" fmla="*/ 3835942 h 3835942"/>
                    <a:gd name="connsiteX50" fmla="*/ 1113971 w 4510936"/>
                    <a:gd name="connsiteY50" fmla="*/ 3835942 h 3835942"/>
                    <a:gd name="connsiteX51" fmla="*/ 836413 w 4510936"/>
                    <a:gd name="connsiteY51" fmla="*/ 3086585 h 3835942"/>
                    <a:gd name="connsiteX52" fmla="*/ 116170 w 4510936"/>
                    <a:gd name="connsiteY52" fmla="*/ 2308285 h 3835942"/>
                    <a:gd name="connsiteX53" fmla="*/ 118297 w 4510936"/>
                    <a:gd name="connsiteY53" fmla="*/ 2287181 h 3835942"/>
                    <a:gd name="connsiteX54" fmla="*/ 98842 w 4510936"/>
                    <a:gd name="connsiteY54" fmla="*/ 2263602 h 3835942"/>
                    <a:gd name="connsiteX55" fmla="*/ 0 w 4510936"/>
                    <a:gd name="connsiteY55" fmla="*/ 1940013 h 3835942"/>
                    <a:gd name="connsiteX56" fmla="*/ 98842 w 4510936"/>
                    <a:gd name="connsiteY56" fmla="*/ 1616424 h 3835942"/>
                    <a:gd name="connsiteX57" fmla="*/ 158494 w 4510936"/>
                    <a:gd name="connsiteY57" fmla="*/ 1544125 h 3835942"/>
                    <a:gd name="connsiteX58" fmla="*/ 138294 w 4510936"/>
                    <a:gd name="connsiteY58" fmla="*/ 1479051 h 3835942"/>
                    <a:gd name="connsiteX59" fmla="*/ 124645 w 4510936"/>
                    <a:gd name="connsiteY59" fmla="*/ 1343654 h 3835942"/>
                    <a:gd name="connsiteX60" fmla="*/ 534966 w 4510936"/>
                    <a:gd name="connsiteY60" fmla="*/ 724623 h 3835942"/>
                    <a:gd name="connsiteX61" fmla="*/ 655270 w 4510936"/>
                    <a:gd name="connsiteY61" fmla="*/ 687278 h 3835942"/>
                    <a:gd name="connsiteX62" fmla="*/ 663127 w 4510936"/>
                    <a:gd name="connsiteY62" fmla="*/ 661967 h 3835942"/>
                    <a:gd name="connsiteX63" fmla="*/ 1282159 w 4510936"/>
                    <a:gd name="connsiteY63" fmla="*/ 251645 h 3835942"/>
                    <a:gd name="connsiteX64" fmla="*/ 1417556 w 4510936"/>
                    <a:gd name="connsiteY64" fmla="*/ 265294 h 3835942"/>
                    <a:gd name="connsiteX65" fmla="*/ 1421411 w 4510936"/>
                    <a:gd name="connsiteY65" fmla="*/ 266491 h 3835942"/>
                    <a:gd name="connsiteX66" fmla="*/ 1478933 w 4510936"/>
                    <a:gd name="connsiteY66" fmla="*/ 196773 h 3835942"/>
                    <a:gd name="connsiteX67" fmla="*/ 1953986 w 4510936"/>
                    <a:gd name="connsiteY6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1556657 w 4510936"/>
                    <a:gd name="connsiteY46" fmla="*/ 2852599 h 3835942"/>
                    <a:gd name="connsiteX47" fmla="*/ 1580115 w 4510936"/>
                    <a:gd name="connsiteY47" fmla="*/ 3729193 h 3835942"/>
                    <a:gd name="connsiteX48" fmla="*/ 1581642 w 4510936"/>
                    <a:gd name="connsiteY48" fmla="*/ 3835942 h 3835942"/>
                    <a:gd name="connsiteX49" fmla="*/ 1113971 w 4510936"/>
                    <a:gd name="connsiteY49" fmla="*/ 3835942 h 3835942"/>
                    <a:gd name="connsiteX50" fmla="*/ 836413 w 4510936"/>
                    <a:gd name="connsiteY50" fmla="*/ 3086585 h 3835942"/>
                    <a:gd name="connsiteX51" fmla="*/ 116170 w 4510936"/>
                    <a:gd name="connsiteY51" fmla="*/ 2308285 h 3835942"/>
                    <a:gd name="connsiteX52" fmla="*/ 118297 w 4510936"/>
                    <a:gd name="connsiteY52" fmla="*/ 2287181 h 3835942"/>
                    <a:gd name="connsiteX53" fmla="*/ 98842 w 4510936"/>
                    <a:gd name="connsiteY53" fmla="*/ 2263602 h 3835942"/>
                    <a:gd name="connsiteX54" fmla="*/ 0 w 4510936"/>
                    <a:gd name="connsiteY54" fmla="*/ 1940013 h 3835942"/>
                    <a:gd name="connsiteX55" fmla="*/ 98842 w 4510936"/>
                    <a:gd name="connsiteY55" fmla="*/ 1616424 h 3835942"/>
                    <a:gd name="connsiteX56" fmla="*/ 158494 w 4510936"/>
                    <a:gd name="connsiteY56" fmla="*/ 1544125 h 3835942"/>
                    <a:gd name="connsiteX57" fmla="*/ 138294 w 4510936"/>
                    <a:gd name="connsiteY57" fmla="*/ 1479051 h 3835942"/>
                    <a:gd name="connsiteX58" fmla="*/ 124645 w 4510936"/>
                    <a:gd name="connsiteY58" fmla="*/ 1343654 h 3835942"/>
                    <a:gd name="connsiteX59" fmla="*/ 534966 w 4510936"/>
                    <a:gd name="connsiteY59" fmla="*/ 724623 h 3835942"/>
                    <a:gd name="connsiteX60" fmla="*/ 655270 w 4510936"/>
                    <a:gd name="connsiteY60" fmla="*/ 687278 h 3835942"/>
                    <a:gd name="connsiteX61" fmla="*/ 663127 w 4510936"/>
                    <a:gd name="connsiteY61" fmla="*/ 661967 h 3835942"/>
                    <a:gd name="connsiteX62" fmla="*/ 1282159 w 4510936"/>
                    <a:gd name="connsiteY62" fmla="*/ 251645 h 3835942"/>
                    <a:gd name="connsiteX63" fmla="*/ 1417556 w 4510936"/>
                    <a:gd name="connsiteY63" fmla="*/ 265294 h 3835942"/>
                    <a:gd name="connsiteX64" fmla="*/ 1421411 w 4510936"/>
                    <a:gd name="connsiteY64" fmla="*/ 266491 h 3835942"/>
                    <a:gd name="connsiteX65" fmla="*/ 1478933 w 4510936"/>
                    <a:gd name="connsiteY65" fmla="*/ 196773 h 3835942"/>
                    <a:gd name="connsiteX66" fmla="*/ 1953986 w 4510936"/>
                    <a:gd name="connsiteY6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1556657 w 4510936"/>
                    <a:gd name="connsiteY45" fmla="*/ 2852599 h 3835942"/>
                    <a:gd name="connsiteX46" fmla="*/ 1580115 w 4510936"/>
                    <a:gd name="connsiteY46" fmla="*/ 3729193 h 3835942"/>
                    <a:gd name="connsiteX47" fmla="*/ 1581642 w 4510936"/>
                    <a:gd name="connsiteY47" fmla="*/ 3835942 h 3835942"/>
                    <a:gd name="connsiteX48" fmla="*/ 1113971 w 4510936"/>
                    <a:gd name="connsiteY48" fmla="*/ 3835942 h 3835942"/>
                    <a:gd name="connsiteX49" fmla="*/ 836413 w 4510936"/>
                    <a:gd name="connsiteY49" fmla="*/ 3086585 h 3835942"/>
                    <a:gd name="connsiteX50" fmla="*/ 116170 w 4510936"/>
                    <a:gd name="connsiteY50" fmla="*/ 2308285 h 3835942"/>
                    <a:gd name="connsiteX51" fmla="*/ 118297 w 4510936"/>
                    <a:gd name="connsiteY51" fmla="*/ 2287181 h 3835942"/>
                    <a:gd name="connsiteX52" fmla="*/ 98842 w 4510936"/>
                    <a:gd name="connsiteY52" fmla="*/ 2263602 h 3835942"/>
                    <a:gd name="connsiteX53" fmla="*/ 0 w 4510936"/>
                    <a:gd name="connsiteY53" fmla="*/ 1940013 h 3835942"/>
                    <a:gd name="connsiteX54" fmla="*/ 98842 w 4510936"/>
                    <a:gd name="connsiteY54" fmla="*/ 1616424 h 3835942"/>
                    <a:gd name="connsiteX55" fmla="*/ 158494 w 4510936"/>
                    <a:gd name="connsiteY55" fmla="*/ 1544125 h 3835942"/>
                    <a:gd name="connsiteX56" fmla="*/ 138294 w 4510936"/>
                    <a:gd name="connsiteY56" fmla="*/ 1479051 h 3835942"/>
                    <a:gd name="connsiteX57" fmla="*/ 124645 w 4510936"/>
                    <a:gd name="connsiteY57" fmla="*/ 1343654 h 3835942"/>
                    <a:gd name="connsiteX58" fmla="*/ 534966 w 4510936"/>
                    <a:gd name="connsiteY58" fmla="*/ 724623 h 3835942"/>
                    <a:gd name="connsiteX59" fmla="*/ 655270 w 4510936"/>
                    <a:gd name="connsiteY59" fmla="*/ 687278 h 3835942"/>
                    <a:gd name="connsiteX60" fmla="*/ 663127 w 4510936"/>
                    <a:gd name="connsiteY60" fmla="*/ 661967 h 3835942"/>
                    <a:gd name="connsiteX61" fmla="*/ 1282159 w 4510936"/>
                    <a:gd name="connsiteY61" fmla="*/ 251645 h 3835942"/>
                    <a:gd name="connsiteX62" fmla="*/ 1417556 w 4510936"/>
                    <a:gd name="connsiteY62" fmla="*/ 265294 h 3835942"/>
                    <a:gd name="connsiteX63" fmla="*/ 1421411 w 4510936"/>
                    <a:gd name="connsiteY63" fmla="*/ 266491 h 3835942"/>
                    <a:gd name="connsiteX64" fmla="*/ 1478933 w 4510936"/>
                    <a:gd name="connsiteY64" fmla="*/ 196773 h 3835942"/>
                    <a:gd name="connsiteX65" fmla="*/ 1953986 w 4510936"/>
                    <a:gd name="connsiteY6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556657 w 4510936"/>
                    <a:gd name="connsiteY44" fmla="*/ 2852599 h 3835942"/>
                    <a:gd name="connsiteX45" fmla="*/ 1580115 w 4510936"/>
                    <a:gd name="connsiteY45" fmla="*/ 3729193 h 3835942"/>
                    <a:gd name="connsiteX46" fmla="*/ 1581642 w 4510936"/>
                    <a:gd name="connsiteY46" fmla="*/ 3835942 h 3835942"/>
                    <a:gd name="connsiteX47" fmla="*/ 1113971 w 4510936"/>
                    <a:gd name="connsiteY47" fmla="*/ 3835942 h 3835942"/>
                    <a:gd name="connsiteX48" fmla="*/ 836413 w 4510936"/>
                    <a:gd name="connsiteY48" fmla="*/ 3086585 h 3835942"/>
                    <a:gd name="connsiteX49" fmla="*/ 116170 w 4510936"/>
                    <a:gd name="connsiteY49" fmla="*/ 2308285 h 3835942"/>
                    <a:gd name="connsiteX50" fmla="*/ 118297 w 4510936"/>
                    <a:gd name="connsiteY50" fmla="*/ 2287181 h 3835942"/>
                    <a:gd name="connsiteX51" fmla="*/ 98842 w 4510936"/>
                    <a:gd name="connsiteY51" fmla="*/ 2263602 h 3835942"/>
                    <a:gd name="connsiteX52" fmla="*/ 0 w 4510936"/>
                    <a:gd name="connsiteY52" fmla="*/ 1940013 h 3835942"/>
                    <a:gd name="connsiteX53" fmla="*/ 98842 w 4510936"/>
                    <a:gd name="connsiteY53" fmla="*/ 1616424 h 3835942"/>
                    <a:gd name="connsiteX54" fmla="*/ 158494 w 4510936"/>
                    <a:gd name="connsiteY54" fmla="*/ 1544125 h 3835942"/>
                    <a:gd name="connsiteX55" fmla="*/ 138294 w 4510936"/>
                    <a:gd name="connsiteY55" fmla="*/ 1479051 h 3835942"/>
                    <a:gd name="connsiteX56" fmla="*/ 124645 w 4510936"/>
                    <a:gd name="connsiteY56" fmla="*/ 1343654 h 3835942"/>
                    <a:gd name="connsiteX57" fmla="*/ 534966 w 4510936"/>
                    <a:gd name="connsiteY57" fmla="*/ 724623 h 3835942"/>
                    <a:gd name="connsiteX58" fmla="*/ 655270 w 4510936"/>
                    <a:gd name="connsiteY58" fmla="*/ 687278 h 3835942"/>
                    <a:gd name="connsiteX59" fmla="*/ 663127 w 4510936"/>
                    <a:gd name="connsiteY59" fmla="*/ 661967 h 3835942"/>
                    <a:gd name="connsiteX60" fmla="*/ 1282159 w 4510936"/>
                    <a:gd name="connsiteY60" fmla="*/ 251645 h 3835942"/>
                    <a:gd name="connsiteX61" fmla="*/ 1417556 w 4510936"/>
                    <a:gd name="connsiteY61" fmla="*/ 265294 h 3835942"/>
                    <a:gd name="connsiteX62" fmla="*/ 1421411 w 4510936"/>
                    <a:gd name="connsiteY62" fmla="*/ 266491 h 3835942"/>
                    <a:gd name="connsiteX63" fmla="*/ 1478933 w 4510936"/>
                    <a:gd name="connsiteY63" fmla="*/ 196773 h 3835942"/>
                    <a:gd name="connsiteX64" fmla="*/ 1953986 w 4510936"/>
                    <a:gd name="connsiteY6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556657 w 4510936"/>
                    <a:gd name="connsiteY43" fmla="*/ 2852599 h 3835942"/>
                    <a:gd name="connsiteX44" fmla="*/ 1580115 w 4510936"/>
                    <a:gd name="connsiteY44" fmla="*/ 3729193 h 3835942"/>
                    <a:gd name="connsiteX45" fmla="*/ 1581642 w 4510936"/>
                    <a:gd name="connsiteY45" fmla="*/ 3835942 h 3835942"/>
                    <a:gd name="connsiteX46" fmla="*/ 1113971 w 4510936"/>
                    <a:gd name="connsiteY46" fmla="*/ 3835942 h 3835942"/>
                    <a:gd name="connsiteX47" fmla="*/ 836413 w 4510936"/>
                    <a:gd name="connsiteY47" fmla="*/ 3086585 h 3835942"/>
                    <a:gd name="connsiteX48" fmla="*/ 116170 w 4510936"/>
                    <a:gd name="connsiteY48" fmla="*/ 2308285 h 3835942"/>
                    <a:gd name="connsiteX49" fmla="*/ 118297 w 4510936"/>
                    <a:gd name="connsiteY49" fmla="*/ 2287181 h 3835942"/>
                    <a:gd name="connsiteX50" fmla="*/ 98842 w 4510936"/>
                    <a:gd name="connsiteY50" fmla="*/ 2263602 h 3835942"/>
                    <a:gd name="connsiteX51" fmla="*/ 0 w 4510936"/>
                    <a:gd name="connsiteY51" fmla="*/ 1940013 h 3835942"/>
                    <a:gd name="connsiteX52" fmla="*/ 98842 w 4510936"/>
                    <a:gd name="connsiteY52" fmla="*/ 1616424 h 3835942"/>
                    <a:gd name="connsiteX53" fmla="*/ 158494 w 4510936"/>
                    <a:gd name="connsiteY53" fmla="*/ 1544125 h 3835942"/>
                    <a:gd name="connsiteX54" fmla="*/ 138294 w 4510936"/>
                    <a:gd name="connsiteY54" fmla="*/ 1479051 h 3835942"/>
                    <a:gd name="connsiteX55" fmla="*/ 124645 w 4510936"/>
                    <a:gd name="connsiteY55" fmla="*/ 1343654 h 3835942"/>
                    <a:gd name="connsiteX56" fmla="*/ 534966 w 4510936"/>
                    <a:gd name="connsiteY56" fmla="*/ 724623 h 3835942"/>
                    <a:gd name="connsiteX57" fmla="*/ 655270 w 4510936"/>
                    <a:gd name="connsiteY57" fmla="*/ 687278 h 3835942"/>
                    <a:gd name="connsiteX58" fmla="*/ 663127 w 4510936"/>
                    <a:gd name="connsiteY58" fmla="*/ 661967 h 3835942"/>
                    <a:gd name="connsiteX59" fmla="*/ 1282159 w 4510936"/>
                    <a:gd name="connsiteY59" fmla="*/ 251645 h 3835942"/>
                    <a:gd name="connsiteX60" fmla="*/ 1417556 w 4510936"/>
                    <a:gd name="connsiteY60" fmla="*/ 265294 h 3835942"/>
                    <a:gd name="connsiteX61" fmla="*/ 1421411 w 4510936"/>
                    <a:gd name="connsiteY61" fmla="*/ 266491 h 3835942"/>
                    <a:gd name="connsiteX62" fmla="*/ 1478933 w 4510936"/>
                    <a:gd name="connsiteY62" fmla="*/ 196773 h 3835942"/>
                    <a:gd name="connsiteX63" fmla="*/ 1953986 w 4510936"/>
                    <a:gd name="connsiteY6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556657 w 4510936"/>
                    <a:gd name="connsiteY42" fmla="*/ 2852599 h 3835942"/>
                    <a:gd name="connsiteX43" fmla="*/ 1580115 w 4510936"/>
                    <a:gd name="connsiteY43" fmla="*/ 3729193 h 3835942"/>
                    <a:gd name="connsiteX44" fmla="*/ 1581642 w 4510936"/>
                    <a:gd name="connsiteY44" fmla="*/ 3835942 h 3835942"/>
                    <a:gd name="connsiteX45" fmla="*/ 1113971 w 4510936"/>
                    <a:gd name="connsiteY45" fmla="*/ 3835942 h 3835942"/>
                    <a:gd name="connsiteX46" fmla="*/ 836413 w 4510936"/>
                    <a:gd name="connsiteY46" fmla="*/ 3086585 h 3835942"/>
                    <a:gd name="connsiteX47" fmla="*/ 116170 w 4510936"/>
                    <a:gd name="connsiteY47" fmla="*/ 2308285 h 3835942"/>
                    <a:gd name="connsiteX48" fmla="*/ 118297 w 4510936"/>
                    <a:gd name="connsiteY48" fmla="*/ 2287181 h 3835942"/>
                    <a:gd name="connsiteX49" fmla="*/ 98842 w 4510936"/>
                    <a:gd name="connsiteY49" fmla="*/ 2263602 h 3835942"/>
                    <a:gd name="connsiteX50" fmla="*/ 0 w 4510936"/>
                    <a:gd name="connsiteY50" fmla="*/ 1940013 h 3835942"/>
                    <a:gd name="connsiteX51" fmla="*/ 98842 w 4510936"/>
                    <a:gd name="connsiteY51" fmla="*/ 1616424 h 3835942"/>
                    <a:gd name="connsiteX52" fmla="*/ 158494 w 4510936"/>
                    <a:gd name="connsiteY52" fmla="*/ 1544125 h 3835942"/>
                    <a:gd name="connsiteX53" fmla="*/ 138294 w 4510936"/>
                    <a:gd name="connsiteY53" fmla="*/ 1479051 h 3835942"/>
                    <a:gd name="connsiteX54" fmla="*/ 124645 w 4510936"/>
                    <a:gd name="connsiteY54" fmla="*/ 1343654 h 3835942"/>
                    <a:gd name="connsiteX55" fmla="*/ 534966 w 4510936"/>
                    <a:gd name="connsiteY55" fmla="*/ 724623 h 3835942"/>
                    <a:gd name="connsiteX56" fmla="*/ 655270 w 4510936"/>
                    <a:gd name="connsiteY56" fmla="*/ 687278 h 3835942"/>
                    <a:gd name="connsiteX57" fmla="*/ 663127 w 4510936"/>
                    <a:gd name="connsiteY57" fmla="*/ 661967 h 3835942"/>
                    <a:gd name="connsiteX58" fmla="*/ 1282159 w 4510936"/>
                    <a:gd name="connsiteY58" fmla="*/ 251645 h 3835942"/>
                    <a:gd name="connsiteX59" fmla="*/ 1417556 w 4510936"/>
                    <a:gd name="connsiteY59" fmla="*/ 265294 h 3835942"/>
                    <a:gd name="connsiteX60" fmla="*/ 1421411 w 4510936"/>
                    <a:gd name="connsiteY60" fmla="*/ 266491 h 3835942"/>
                    <a:gd name="connsiteX61" fmla="*/ 1478933 w 4510936"/>
                    <a:gd name="connsiteY61" fmla="*/ 196773 h 3835942"/>
                    <a:gd name="connsiteX62" fmla="*/ 1953986 w 4510936"/>
                    <a:gd name="connsiteY6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599542 w 4510936"/>
                    <a:gd name="connsiteY31" fmla="*/ 1528170 h 3835942"/>
                    <a:gd name="connsiteX32" fmla="*/ 3900714 w 4510936"/>
                    <a:gd name="connsiteY32" fmla="*/ 1212485 h 3835942"/>
                    <a:gd name="connsiteX33" fmla="*/ 3358243 w 4510936"/>
                    <a:gd name="connsiteY33" fmla="*/ 1319527 h 3835942"/>
                    <a:gd name="connsiteX34" fmla="*/ 2895600 w 4510936"/>
                    <a:gd name="connsiteY34" fmla="*/ 1132656 h 3835942"/>
                    <a:gd name="connsiteX35" fmla="*/ 3218542 w 4510936"/>
                    <a:gd name="connsiteY35" fmla="*/ 617399 h 3835942"/>
                    <a:gd name="connsiteX36" fmla="*/ 2715985 w 4510936"/>
                    <a:gd name="connsiteY36" fmla="*/ 947598 h 3835942"/>
                    <a:gd name="connsiteX37" fmla="*/ 1948542 w 4510936"/>
                    <a:gd name="connsiteY37" fmla="*/ 925827 h 3835942"/>
                    <a:gd name="connsiteX38" fmla="*/ 2062843 w 4510936"/>
                    <a:gd name="connsiteY38" fmla="*/ 403313 h 3835942"/>
                    <a:gd name="connsiteX39" fmla="*/ 1816101 w 4510936"/>
                    <a:gd name="connsiteY39" fmla="*/ 780685 h 3835942"/>
                    <a:gd name="connsiteX40" fmla="*/ 1455057 w 4510936"/>
                    <a:gd name="connsiteY40" fmla="*/ 898614 h 3835942"/>
                    <a:gd name="connsiteX41" fmla="*/ 1556657 w 4510936"/>
                    <a:gd name="connsiteY41" fmla="*/ 2852599 h 3835942"/>
                    <a:gd name="connsiteX42" fmla="*/ 1580115 w 4510936"/>
                    <a:gd name="connsiteY42" fmla="*/ 3729193 h 3835942"/>
                    <a:gd name="connsiteX43" fmla="*/ 1581642 w 4510936"/>
                    <a:gd name="connsiteY43" fmla="*/ 3835942 h 3835942"/>
                    <a:gd name="connsiteX44" fmla="*/ 1113971 w 4510936"/>
                    <a:gd name="connsiteY44" fmla="*/ 3835942 h 3835942"/>
                    <a:gd name="connsiteX45" fmla="*/ 836413 w 4510936"/>
                    <a:gd name="connsiteY45" fmla="*/ 3086585 h 3835942"/>
                    <a:gd name="connsiteX46" fmla="*/ 116170 w 4510936"/>
                    <a:gd name="connsiteY46" fmla="*/ 2308285 h 3835942"/>
                    <a:gd name="connsiteX47" fmla="*/ 118297 w 4510936"/>
                    <a:gd name="connsiteY47" fmla="*/ 2287181 h 3835942"/>
                    <a:gd name="connsiteX48" fmla="*/ 98842 w 4510936"/>
                    <a:gd name="connsiteY48" fmla="*/ 2263602 h 3835942"/>
                    <a:gd name="connsiteX49" fmla="*/ 0 w 4510936"/>
                    <a:gd name="connsiteY49" fmla="*/ 1940013 h 3835942"/>
                    <a:gd name="connsiteX50" fmla="*/ 98842 w 4510936"/>
                    <a:gd name="connsiteY50" fmla="*/ 1616424 h 3835942"/>
                    <a:gd name="connsiteX51" fmla="*/ 158494 w 4510936"/>
                    <a:gd name="connsiteY51" fmla="*/ 1544125 h 3835942"/>
                    <a:gd name="connsiteX52" fmla="*/ 138294 w 4510936"/>
                    <a:gd name="connsiteY52" fmla="*/ 1479051 h 3835942"/>
                    <a:gd name="connsiteX53" fmla="*/ 124645 w 4510936"/>
                    <a:gd name="connsiteY53" fmla="*/ 1343654 h 3835942"/>
                    <a:gd name="connsiteX54" fmla="*/ 534966 w 4510936"/>
                    <a:gd name="connsiteY54" fmla="*/ 724623 h 3835942"/>
                    <a:gd name="connsiteX55" fmla="*/ 655270 w 4510936"/>
                    <a:gd name="connsiteY55" fmla="*/ 687278 h 3835942"/>
                    <a:gd name="connsiteX56" fmla="*/ 663127 w 4510936"/>
                    <a:gd name="connsiteY56" fmla="*/ 661967 h 3835942"/>
                    <a:gd name="connsiteX57" fmla="*/ 1282159 w 4510936"/>
                    <a:gd name="connsiteY57" fmla="*/ 251645 h 3835942"/>
                    <a:gd name="connsiteX58" fmla="*/ 1417556 w 4510936"/>
                    <a:gd name="connsiteY58" fmla="*/ 265294 h 3835942"/>
                    <a:gd name="connsiteX59" fmla="*/ 1421411 w 4510936"/>
                    <a:gd name="connsiteY59" fmla="*/ 266491 h 3835942"/>
                    <a:gd name="connsiteX60" fmla="*/ 1478933 w 4510936"/>
                    <a:gd name="connsiteY60" fmla="*/ 196773 h 3835942"/>
                    <a:gd name="connsiteX61" fmla="*/ 1953986 w 4510936"/>
                    <a:gd name="connsiteY6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900714 w 4510936"/>
                    <a:gd name="connsiteY31" fmla="*/ 1212485 h 3835942"/>
                    <a:gd name="connsiteX32" fmla="*/ 3358243 w 4510936"/>
                    <a:gd name="connsiteY32" fmla="*/ 1319527 h 3835942"/>
                    <a:gd name="connsiteX33" fmla="*/ 2895600 w 4510936"/>
                    <a:gd name="connsiteY33" fmla="*/ 1132656 h 3835942"/>
                    <a:gd name="connsiteX34" fmla="*/ 3218542 w 4510936"/>
                    <a:gd name="connsiteY34" fmla="*/ 617399 h 3835942"/>
                    <a:gd name="connsiteX35" fmla="*/ 2715985 w 4510936"/>
                    <a:gd name="connsiteY35" fmla="*/ 947598 h 3835942"/>
                    <a:gd name="connsiteX36" fmla="*/ 1948542 w 4510936"/>
                    <a:gd name="connsiteY36" fmla="*/ 925827 h 3835942"/>
                    <a:gd name="connsiteX37" fmla="*/ 2062843 w 4510936"/>
                    <a:gd name="connsiteY37" fmla="*/ 403313 h 3835942"/>
                    <a:gd name="connsiteX38" fmla="*/ 1816101 w 4510936"/>
                    <a:gd name="connsiteY38" fmla="*/ 780685 h 3835942"/>
                    <a:gd name="connsiteX39" fmla="*/ 1455057 w 4510936"/>
                    <a:gd name="connsiteY39" fmla="*/ 898614 h 3835942"/>
                    <a:gd name="connsiteX40" fmla="*/ 1556657 w 4510936"/>
                    <a:gd name="connsiteY40" fmla="*/ 2852599 h 3835942"/>
                    <a:gd name="connsiteX41" fmla="*/ 1580115 w 4510936"/>
                    <a:gd name="connsiteY41" fmla="*/ 3729193 h 3835942"/>
                    <a:gd name="connsiteX42" fmla="*/ 1581642 w 4510936"/>
                    <a:gd name="connsiteY42" fmla="*/ 3835942 h 3835942"/>
                    <a:gd name="connsiteX43" fmla="*/ 1113971 w 4510936"/>
                    <a:gd name="connsiteY43" fmla="*/ 3835942 h 3835942"/>
                    <a:gd name="connsiteX44" fmla="*/ 836413 w 4510936"/>
                    <a:gd name="connsiteY44" fmla="*/ 3086585 h 3835942"/>
                    <a:gd name="connsiteX45" fmla="*/ 116170 w 4510936"/>
                    <a:gd name="connsiteY45" fmla="*/ 2308285 h 3835942"/>
                    <a:gd name="connsiteX46" fmla="*/ 118297 w 4510936"/>
                    <a:gd name="connsiteY46" fmla="*/ 2287181 h 3835942"/>
                    <a:gd name="connsiteX47" fmla="*/ 98842 w 4510936"/>
                    <a:gd name="connsiteY47" fmla="*/ 2263602 h 3835942"/>
                    <a:gd name="connsiteX48" fmla="*/ 0 w 4510936"/>
                    <a:gd name="connsiteY48" fmla="*/ 1940013 h 3835942"/>
                    <a:gd name="connsiteX49" fmla="*/ 98842 w 4510936"/>
                    <a:gd name="connsiteY49" fmla="*/ 1616424 h 3835942"/>
                    <a:gd name="connsiteX50" fmla="*/ 158494 w 4510936"/>
                    <a:gd name="connsiteY50" fmla="*/ 1544125 h 3835942"/>
                    <a:gd name="connsiteX51" fmla="*/ 138294 w 4510936"/>
                    <a:gd name="connsiteY51" fmla="*/ 1479051 h 3835942"/>
                    <a:gd name="connsiteX52" fmla="*/ 124645 w 4510936"/>
                    <a:gd name="connsiteY52" fmla="*/ 1343654 h 3835942"/>
                    <a:gd name="connsiteX53" fmla="*/ 534966 w 4510936"/>
                    <a:gd name="connsiteY53" fmla="*/ 724623 h 3835942"/>
                    <a:gd name="connsiteX54" fmla="*/ 655270 w 4510936"/>
                    <a:gd name="connsiteY54" fmla="*/ 687278 h 3835942"/>
                    <a:gd name="connsiteX55" fmla="*/ 663127 w 4510936"/>
                    <a:gd name="connsiteY55" fmla="*/ 661967 h 3835942"/>
                    <a:gd name="connsiteX56" fmla="*/ 1282159 w 4510936"/>
                    <a:gd name="connsiteY56" fmla="*/ 251645 h 3835942"/>
                    <a:gd name="connsiteX57" fmla="*/ 1417556 w 4510936"/>
                    <a:gd name="connsiteY57" fmla="*/ 265294 h 3835942"/>
                    <a:gd name="connsiteX58" fmla="*/ 1421411 w 4510936"/>
                    <a:gd name="connsiteY58" fmla="*/ 266491 h 3835942"/>
                    <a:gd name="connsiteX59" fmla="*/ 1478933 w 4510936"/>
                    <a:gd name="connsiteY59" fmla="*/ 196773 h 3835942"/>
                    <a:gd name="connsiteX60" fmla="*/ 1953986 w 4510936"/>
                    <a:gd name="connsiteY6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358243 w 4510936"/>
                    <a:gd name="connsiteY31" fmla="*/ 1319527 h 3835942"/>
                    <a:gd name="connsiteX32" fmla="*/ 2895600 w 4510936"/>
                    <a:gd name="connsiteY32" fmla="*/ 1132656 h 3835942"/>
                    <a:gd name="connsiteX33" fmla="*/ 3218542 w 4510936"/>
                    <a:gd name="connsiteY33" fmla="*/ 617399 h 3835942"/>
                    <a:gd name="connsiteX34" fmla="*/ 2715985 w 4510936"/>
                    <a:gd name="connsiteY34" fmla="*/ 947598 h 3835942"/>
                    <a:gd name="connsiteX35" fmla="*/ 1948542 w 4510936"/>
                    <a:gd name="connsiteY35" fmla="*/ 925827 h 3835942"/>
                    <a:gd name="connsiteX36" fmla="*/ 2062843 w 4510936"/>
                    <a:gd name="connsiteY36" fmla="*/ 403313 h 3835942"/>
                    <a:gd name="connsiteX37" fmla="*/ 1816101 w 4510936"/>
                    <a:gd name="connsiteY37" fmla="*/ 780685 h 3835942"/>
                    <a:gd name="connsiteX38" fmla="*/ 1455057 w 4510936"/>
                    <a:gd name="connsiteY38" fmla="*/ 898614 h 3835942"/>
                    <a:gd name="connsiteX39" fmla="*/ 1556657 w 4510936"/>
                    <a:gd name="connsiteY39" fmla="*/ 2852599 h 3835942"/>
                    <a:gd name="connsiteX40" fmla="*/ 1580115 w 4510936"/>
                    <a:gd name="connsiteY40" fmla="*/ 3729193 h 3835942"/>
                    <a:gd name="connsiteX41" fmla="*/ 1581642 w 4510936"/>
                    <a:gd name="connsiteY41" fmla="*/ 3835942 h 3835942"/>
                    <a:gd name="connsiteX42" fmla="*/ 1113971 w 4510936"/>
                    <a:gd name="connsiteY42" fmla="*/ 3835942 h 3835942"/>
                    <a:gd name="connsiteX43" fmla="*/ 836413 w 4510936"/>
                    <a:gd name="connsiteY43" fmla="*/ 3086585 h 3835942"/>
                    <a:gd name="connsiteX44" fmla="*/ 116170 w 4510936"/>
                    <a:gd name="connsiteY44" fmla="*/ 2308285 h 3835942"/>
                    <a:gd name="connsiteX45" fmla="*/ 118297 w 4510936"/>
                    <a:gd name="connsiteY45" fmla="*/ 2287181 h 3835942"/>
                    <a:gd name="connsiteX46" fmla="*/ 98842 w 4510936"/>
                    <a:gd name="connsiteY46" fmla="*/ 2263602 h 3835942"/>
                    <a:gd name="connsiteX47" fmla="*/ 0 w 4510936"/>
                    <a:gd name="connsiteY47" fmla="*/ 1940013 h 3835942"/>
                    <a:gd name="connsiteX48" fmla="*/ 98842 w 4510936"/>
                    <a:gd name="connsiteY48" fmla="*/ 1616424 h 3835942"/>
                    <a:gd name="connsiteX49" fmla="*/ 158494 w 4510936"/>
                    <a:gd name="connsiteY49" fmla="*/ 1544125 h 3835942"/>
                    <a:gd name="connsiteX50" fmla="*/ 138294 w 4510936"/>
                    <a:gd name="connsiteY50" fmla="*/ 1479051 h 3835942"/>
                    <a:gd name="connsiteX51" fmla="*/ 124645 w 4510936"/>
                    <a:gd name="connsiteY51" fmla="*/ 1343654 h 3835942"/>
                    <a:gd name="connsiteX52" fmla="*/ 534966 w 4510936"/>
                    <a:gd name="connsiteY52" fmla="*/ 724623 h 3835942"/>
                    <a:gd name="connsiteX53" fmla="*/ 655270 w 4510936"/>
                    <a:gd name="connsiteY53" fmla="*/ 687278 h 3835942"/>
                    <a:gd name="connsiteX54" fmla="*/ 663127 w 4510936"/>
                    <a:gd name="connsiteY54" fmla="*/ 661967 h 3835942"/>
                    <a:gd name="connsiteX55" fmla="*/ 1282159 w 4510936"/>
                    <a:gd name="connsiteY55" fmla="*/ 251645 h 3835942"/>
                    <a:gd name="connsiteX56" fmla="*/ 1417556 w 4510936"/>
                    <a:gd name="connsiteY56" fmla="*/ 265294 h 3835942"/>
                    <a:gd name="connsiteX57" fmla="*/ 1421411 w 4510936"/>
                    <a:gd name="connsiteY57" fmla="*/ 266491 h 3835942"/>
                    <a:gd name="connsiteX58" fmla="*/ 1478933 w 4510936"/>
                    <a:gd name="connsiteY58" fmla="*/ 196773 h 3835942"/>
                    <a:gd name="connsiteX59" fmla="*/ 1953986 w 4510936"/>
                    <a:gd name="connsiteY5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2895600 w 4510936"/>
                    <a:gd name="connsiteY31" fmla="*/ 1132656 h 3835942"/>
                    <a:gd name="connsiteX32" fmla="*/ 3218542 w 4510936"/>
                    <a:gd name="connsiteY32" fmla="*/ 617399 h 3835942"/>
                    <a:gd name="connsiteX33" fmla="*/ 2715985 w 4510936"/>
                    <a:gd name="connsiteY33" fmla="*/ 947598 h 3835942"/>
                    <a:gd name="connsiteX34" fmla="*/ 1948542 w 4510936"/>
                    <a:gd name="connsiteY34" fmla="*/ 925827 h 3835942"/>
                    <a:gd name="connsiteX35" fmla="*/ 2062843 w 4510936"/>
                    <a:gd name="connsiteY35" fmla="*/ 403313 h 3835942"/>
                    <a:gd name="connsiteX36" fmla="*/ 1816101 w 4510936"/>
                    <a:gd name="connsiteY36" fmla="*/ 780685 h 3835942"/>
                    <a:gd name="connsiteX37" fmla="*/ 1455057 w 4510936"/>
                    <a:gd name="connsiteY37" fmla="*/ 898614 h 3835942"/>
                    <a:gd name="connsiteX38" fmla="*/ 1556657 w 4510936"/>
                    <a:gd name="connsiteY38" fmla="*/ 2852599 h 3835942"/>
                    <a:gd name="connsiteX39" fmla="*/ 1580115 w 4510936"/>
                    <a:gd name="connsiteY39" fmla="*/ 3729193 h 3835942"/>
                    <a:gd name="connsiteX40" fmla="*/ 1581642 w 4510936"/>
                    <a:gd name="connsiteY40" fmla="*/ 3835942 h 3835942"/>
                    <a:gd name="connsiteX41" fmla="*/ 1113971 w 4510936"/>
                    <a:gd name="connsiteY41" fmla="*/ 3835942 h 3835942"/>
                    <a:gd name="connsiteX42" fmla="*/ 836413 w 4510936"/>
                    <a:gd name="connsiteY42" fmla="*/ 3086585 h 3835942"/>
                    <a:gd name="connsiteX43" fmla="*/ 116170 w 4510936"/>
                    <a:gd name="connsiteY43" fmla="*/ 2308285 h 3835942"/>
                    <a:gd name="connsiteX44" fmla="*/ 118297 w 4510936"/>
                    <a:gd name="connsiteY44" fmla="*/ 2287181 h 3835942"/>
                    <a:gd name="connsiteX45" fmla="*/ 98842 w 4510936"/>
                    <a:gd name="connsiteY45" fmla="*/ 2263602 h 3835942"/>
                    <a:gd name="connsiteX46" fmla="*/ 0 w 4510936"/>
                    <a:gd name="connsiteY46" fmla="*/ 1940013 h 3835942"/>
                    <a:gd name="connsiteX47" fmla="*/ 98842 w 4510936"/>
                    <a:gd name="connsiteY47" fmla="*/ 1616424 h 3835942"/>
                    <a:gd name="connsiteX48" fmla="*/ 158494 w 4510936"/>
                    <a:gd name="connsiteY48" fmla="*/ 1544125 h 3835942"/>
                    <a:gd name="connsiteX49" fmla="*/ 138294 w 4510936"/>
                    <a:gd name="connsiteY49" fmla="*/ 1479051 h 3835942"/>
                    <a:gd name="connsiteX50" fmla="*/ 124645 w 4510936"/>
                    <a:gd name="connsiteY50" fmla="*/ 1343654 h 3835942"/>
                    <a:gd name="connsiteX51" fmla="*/ 534966 w 4510936"/>
                    <a:gd name="connsiteY51" fmla="*/ 724623 h 3835942"/>
                    <a:gd name="connsiteX52" fmla="*/ 655270 w 4510936"/>
                    <a:gd name="connsiteY52" fmla="*/ 687278 h 3835942"/>
                    <a:gd name="connsiteX53" fmla="*/ 663127 w 4510936"/>
                    <a:gd name="connsiteY53" fmla="*/ 661967 h 3835942"/>
                    <a:gd name="connsiteX54" fmla="*/ 1282159 w 4510936"/>
                    <a:gd name="connsiteY54" fmla="*/ 251645 h 3835942"/>
                    <a:gd name="connsiteX55" fmla="*/ 1417556 w 4510936"/>
                    <a:gd name="connsiteY55" fmla="*/ 265294 h 3835942"/>
                    <a:gd name="connsiteX56" fmla="*/ 1421411 w 4510936"/>
                    <a:gd name="connsiteY56" fmla="*/ 266491 h 3835942"/>
                    <a:gd name="connsiteX57" fmla="*/ 1478933 w 4510936"/>
                    <a:gd name="connsiteY57" fmla="*/ 196773 h 3835942"/>
                    <a:gd name="connsiteX58" fmla="*/ 1953986 w 4510936"/>
                    <a:gd name="connsiteY5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218542 w 4510936"/>
                    <a:gd name="connsiteY31" fmla="*/ 617399 h 3835942"/>
                    <a:gd name="connsiteX32" fmla="*/ 2715985 w 4510936"/>
                    <a:gd name="connsiteY32" fmla="*/ 947598 h 3835942"/>
                    <a:gd name="connsiteX33" fmla="*/ 1948542 w 4510936"/>
                    <a:gd name="connsiteY33" fmla="*/ 925827 h 3835942"/>
                    <a:gd name="connsiteX34" fmla="*/ 2062843 w 4510936"/>
                    <a:gd name="connsiteY34" fmla="*/ 403313 h 3835942"/>
                    <a:gd name="connsiteX35" fmla="*/ 1816101 w 4510936"/>
                    <a:gd name="connsiteY35" fmla="*/ 780685 h 3835942"/>
                    <a:gd name="connsiteX36" fmla="*/ 1455057 w 4510936"/>
                    <a:gd name="connsiteY36" fmla="*/ 898614 h 3835942"/>
                    <a:gd name="connsiteX37" fmla="*/ 1556657 w 4510936"/>
                    <a:gd name="connsiteY37" fmla="*/ 2852599 h 3835942"/>
                    <a:gd name="connsiteX38" fmla="*/ 1580115 w 4510936"/>
                    <a:gd name="connsiteY38" fmla="*/ 3729193 h 3835942"/>
                    <a:gd name="connsiteX39" fmla="*/ 1581642 w 4510936"/>
                    <a:gd name="connsiteY39" fmla="*/ 3835942 h 3835942"/>
                    <a:gd name="connsiteX40" fmla="*/ 1113971 w 4510936"/>
                    <a:gd name="connsiteY40" fmla="*/ 3835942 h 3835942"/>
                    <a:gd name="connsiteX41" fmla="*/ 836413 w 4510936"/>
                    <a:gd name="connsiteY41" fmla="*/ 3086585 h 3835942"/>
                    <a:gd name="connsiteX42" fmla="*/ 116170 w 4510936"/>
                    <a:gd name="connsiteY42" fmla="*/ 2308285 h 3835942"/>
                    <a:gd name="connsiteX43" fmla="*/ 118297 w 4510936"/>
                    <a:gd name="connsiteY43" fmla="*/ 2287181 h 3835942"/>
                    <a:gd name="connsiteX44" fmla="*/ 98842 w 4510936"/>
                    <a:gd name="connsiteY44" fmla="*/ 2263602 h 3835942"/>
                    <a:gd name="connsiteX45" fmla="*/ 0 w 4510936"/>
                    <a:gd name="connsiteY45" fmla="*/ 1940013 h 3835942"/>
                    <a:gd name="connsiteX46" fmla="*/ 98842 w 4510936"/>
                    <a:gd name="connsiteY46" fmla="*/ 1616424 h 3835942"/>
                    <a:gd name="connsiteX47" fmla="*/ 158494 w 4510936"/>
                    <a:gd name="connsiteY47" fmla="*/ 1544125 h 3835942"/>
                    <a:gd name="connsiteX48" fmla="*/ 138294 w 4510936"/>
                    <a:gd name="connsiteY48" fmla="*/ 1479051 h 3835942"/>
                    <a:gd name="connsiteX49" fmla="*/ 124645 w 4510936"/>
                    <a:gd name="connsiteY49" fmla="*/ 1343654 h 3835942"/>
                    <a:gd name="connsiteX50" fmla="*/ 534966 w 4510936"/>
                    <a:gd name="connsiteY50" fmla="*/ 724623 h 3835942"/>
                    <a:gd name="connsiteX51" fmla="*/ 655270 w 4510936"/>
                    <a:gd name="connsiteY51" fmla="*/ 687278 h 3835942"/>
                    <a:gd name="connsiteX52" fmla="*/ 663127 w 4510936"/>
                    <a:gd name="connsiteY52" fmla="*/ 661967 h 3835942"/>
                    <a:gd name="connsiteX53" fmla="*/ 1282159 w 4510936"/>
                    <a:gd name="connsiteY53" fmla="*/ 251645 h 3835942"/>
                    <a:gd name="connsiteX54" fmla="*/ 1417556 w 4510936"/>
                    <a:gd name="connsiteY54" fmla="*/ 265294 h 3835942"/>
                    <a:gd name="connsiteX55" fmla="*/ 1421411 w 4510936"/>
                    <a:gd name="connsiteY55" fmla="*/ 266491 h 3835942"/>
                    <a:gd name="connsiteX56" fmla="*/ 1478933 w 4510936"/>
                    <a:gd name="connsiteY56" fmla="*/ 196773 h 3835942"/>
                    <a:gd name="connsiteX57" fmla="*/ 1953986 w 4510936"/>
                    <a:gd name="connsiteY5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218542 w 4510936"/>
                    <a:gd name="connsiteY30" fmla="*/ 617399 h 3835942"/>
                    <a:gd name="connsiteX31" fmla="*/ 2715985 w 4510936"/>
                    <a:gd name="connsiteY31" fmla="*/ 947598 h 3835942"/>
                    <a:gd name="connsiteX32" fmla="*/ 1948542 w 4510936"/>
                    <a:gd name="connsiteY32" fmla="*/ 925827 h 3835942"/>
                    <a:gd name="connsiteX33" fmla="*/ 2062843 w 4510936"/>
                    <a:gd name="connsiteY33" fmla="*/ 403313 h 3835942"/>
                    <a:gd name="connsiteX34" fmla="*/ 1816101 w 4510936"/>
                    <a:gd name="connsiteY34" fmla="*/ 780685 h 3835942"/>
                    <a:gd name="connsiteX35" fmla="*/ 1455057 w 4510936"/>
                    <a:gd name="connsiteY35" fmla="*/ 898614 h 3835942"/>
                    <a:gd name="connsiteX36" fmla="*/ 1556657 w 4510936"/>
                    <a:gd name="connsiteY36" fmla="*/ 2852599 h 3835942"/>
                    <a:gd name="connsiteX37" fmla="*/ 1580115 w 4510936"/>
                    <a:gd name="connsiteY37" fmla="*/ 3729193 h 3835942"/>
                    <a:gd name="connsiteX38" fmla="*/ 1581642 w 4510936"/>
                    <a:gd name="connsiteY38" fmla="*/ 3835942 h 3835942"/>
                    <a:gd name="connsiteX39" fmla="*/ 1113971 w 4510936"/>
                    <a:gd name="connsiteY39" fmla="*/ 3835942 h 3835942"/>
                    <a:gd name="connsiteX40" fmla="*/ 836413 w 4510936"/>
                    <a:gd name="connsiteY40" fmla="*/ 3086585 h 3835942"/>
                    <a:gd name="connsiteX41" fmla="*/ 116170 w 4510936"/>
                    <a:gd name="connsiteY41" fmla="*/ 2308285 h 3835942"/>
                    <a:gd name="connsiteX42" fmla="*/ 118297 w 4510936"/>
                    <a:gd name="connsiteY42" fmla="*/ 2287181 h 3835942"/>
                    <a:gd name="connsiteX43" fmla="*/ 98842 w 4510936"/>
                    <a:gd name="connsiteY43" fmla="*/ 2263602 h 3835942"/>
                    <a:gd name="connsiteX44" fmla="*/ 0 w 4510936"/>
                    <a:gd name="connsiteY44" fmla="*/ 1940013 h 3835942"/>
                    <a:gd name="connsiteX45" fmla="*/ 98842 w 4510936"/>
                    <a:gd name="connsiteY45" fmla="*/ 1616424 h 3835942"/>
                    <a:gd name="connsiteX46" fmla="*/ 158494 w 4510936"/>
                    <a:gd name="connsiteY46" fmla="*/ 1544125 h 3835942"/>
                    <a:gd name="connsiteX47" fmla="*/ 138294 w 4510936"/>
                    <a:gd name="connsiteY47" fmla="*/ 1479051 h 3835942"/>
                    <a:gd name="connsiteX48" fmla="*/ 124645 w 4510936"/>
                    <a:gd name="connsiteY48" fmla="*/ 1343654 h 3835942"/>
                    <a:gd name="connsiteX49" fmla="*/ 534966 w 4510936"/>
                    <a:gd name="connsiteY49" fmla="*/ 724623 h 3835942"/>
                    <a:gd name="connsiteX50" fmla="*/ 655270 w 4510936"/>
                    <a:gd name="connsiteY50" fmla="*/ 687278 h 3835942"/>
                    <a:gd name="connsiteX51" fmla="*/ 663127 w 4510936"/>
                    <a:gd name="connsiteY51" fmla="*/ 661967 h 3835942"/>
                    <a:gd name="connsiteX52" fmla="*/ 1282159 w 4510936"/>
                    <a:gd name="connsiteY52" fmla="*/ 251645 h 3835942"/>
                    <a:gd name="connsiteX53" fmla="*/ 1417556 w 4510936"/>
                    <a:gd name="connsiteY53" fmla="*/ 265294 h 3835942"/>
                    <a:gd name="connsiteX54" fmla="*/ 1421411 w 4510936"/>
                    <a:gd name="connsiteY54" fmla="*/ 266491 h 3835942"/>
                    <a:gd name="connsiteX55" fmla="*/ 1478933 w 4510936"/>
                    <a:gd name="connsiteY55" fmla="*/ 196773 h 3835942"/>
                    <a:gd name="connsiteX56" fmla="*/ 1953986 w 4510936"/>
                    <a:gd name="connsiteY5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623457 w 4510936"/>
                    <a:gd name="connsiteY27" fmla="*/ 1212485 h 3835942"/>
                    <a:gd name="connsiteX28" fmla="*/ 3131457 w 4510936"/>
                    <a:gd name="connsiteY28" fmla="*/ 1528170 h 3835942"/>
                    <a:gd name="connsiteX29" fmla="*/ 3218542 w 4510936"/>
                    <a:gd name="connsiteY29" fmla="*/ 617399 h 3835942"/>
                    <a:gd name="connsiteX30" fmla="*/ 2715985 w 4510936"/>
                    <a:gd name="connsiteY30" fmla="*/ 947598 h 3835942"/>
                    <a:gd name="connsiteX31" fmla="*/ 1948542 w 4510936"/>
                    <a:gd name="connsiteY31" fmla="*/ 925827 h 3835942"/>
                    <a:gd name="connsiteX32" fmla="*/ 2062843 w 4510936"/>
                    <a:gd name="connsiteY32" fmla="*/ 403313 h 3835942"/>
                    <a:gd name="connsiteX33" fmla="*/ 1816101 w 4510936"/>
                    <a:gd name="connsiteY33" fmla="*/ 780685 h 3835942"/>
                    <a:gd name="connsiteX34" fmla="*/ 1455057 w 4510936"/>
                    <a:gd name="connsiteY34" fmla="*/ 898614 h 3835942"/>
                    <a:gd name="connsiteX35" fmla="*/ 1556657 w 4510936"/>
                    <a:gd name="connsiteY35" fmla="*/ 2852599 h 3835942"/>
                    <a:gd name="connsiteX36" fmla="*/ 1580115 w 4510936"/>
                    <a:gd name="connsiteY36" fmla="*/ 3729193 h 3835942"/>
                    <a:gd name="connsiteX37" fmla="*/ 1581642 w 4510936"/>
                    <a:gd name="connsiteY37" fmla="*/ 3835942 h 3835942"/>
                    <a:gd name="connsiteX38" fmla="*/ 1113971 w 4510936"/>
                    <a:gd name="connsiteY38" fmla="*/ 3835942 h 3835942"/>
                    <a:gd name="connsiteX39" fmla="*/ 836413 w 4510936"/>
                    <a:gd name="connsiteY39" fmla="*/ 3086585 h 3835942"/>
                    <a:gd name="connsiteX40" fmla="*/ 116170 w 4510936"/>
                    <a:gd name="connsiteY40" fmla="*/ 2308285 h 3835942"/>
                    <a:gd name="connsiteX41" fmla="*/ 118297 w 4510936"/>
                    <a:gd name="connsiteY41" fmla="*/ 2287181 h 3835942"/>
                    <a:gd name="connsiteX42" fmla="*/ 98842 w 4510936"/>
                    <a:gd name="connsiteY42" fmla="*/ 2263602 h 3835942"/>
                    <a:gd name="connsiteX43" fmla="*/ 0 w 4510936"/>
                    <a:gd name="connsiteY43" fmla="*/ 1940013 h 3835942"/>
                    <a:gd name="connsiteX44" fmla="*/ 98842 w 4510936"/>
                    <a:gd name="connsiteY44" fmla="*/ 1616424 h 3835942"/>
                    <a:gd name="connsiteX45" fmla="*/ 158494 w 4510936"/>
                    <a:gd name="connsiteY45" fmla="*/ 1544125 h 3835942"/>
                    <a:gd name="connsiteX46" fmla="*/ 138294 w 4510936"/>
                    <a:gd name="connsiteY46" fmla="*/ 1479051 h 3835942"/>
                    <a:gd name="connsiteX47" fmla="*/ 124645 w 4510936"/>
                    <a:gd name="connsiteY47" fmla="*/ 1343654 h 3835942"/>
                    <a:gd name="connsiteX48" fmla="*/ 534966 w 4510936"/>
                    <a:gd name="connsiteY48" fmla="*/ 724623 h 3835942"/>
                    <a:gd name="connsiteX49" fmla="*/ 655270 w 4510936"/>
                    <a:gd name="connsiteY49" fmla="*/ 687278 h 3835942"/>
                    <a:gd name="connsiteX50" fmla="*/ 663127 w 4510936"/>
                    <a:gd name="connsiteY50" fmla="*/ 661967 h 3835942"/>
                    <a:gd name="connsiteX51" fmla="*/ 1282159 w 4510936"/>
                    <a:gd name="connsiteY51" fmla="*/ 251645 h 3835942"/>
                    <a:gd name="connsiteX52" fmla="*/ 1417556 w 4510936"/>
                    <a:gd name="connsiteY52" fmla="*/ 265294 h 3835942"/>
                    <a:gd name="connsiteX53" fmla="*/ 1421411 w 4510936"/>
                    <a:gd name="connsiteY53" fmla="*/ 266491 h 3835942"/>
                    <a:gd name="connsiteX54" fmla="*/ 1478933 w 4510936"/>
                    <a:gd name="connsiteY54" fmla="*/ 196773 h 3835942"/>
                    <a:gd name="connsiteX55" fmla="*/ 1953986 w 4510936"/>
                    <a:gd name="connsiteY5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3131457 w 4510936"/>
                    <a:gd name="connsiteY27" fmla="*/ 1528170 h 3835942"/>
                    <a:gd name="connsiteX28" fmla="*/ 3218542 w 4510936"/>
                    <a:gd name="connsiteY28" fmla="*/ 617399 h 3835942"/>
                    <a:gd name="connsiteX29" fmla="*/ 2715985 w 4510936"/>
                    <a:gd name="connsiteY29" fmla="*/ 947598 h 3835942"/>
                    <a:gd name="connsiteX30" fmla="*/ 1948542 w 4510936"/>
                    <a:gd name="connsiteY30" fmla="*/ 925827 h 3835942"/>
                    <a:gd name="connsiteX31" fmla="*/ 2062843 w 4510936"/>
                    <a:gd name="connsiteY31" fmla="*/ 403313 h 3835942"/>
                    <a:gd name="connsiteX32" fmla="*/ 1816101 w 4510936"/>
                    <a:gd name="connsiteY32" fmla="*/ 780685 h 3835942"/>
                    <a:gd name="connsiteX33" fmla="*/ 1455057 w 4510936"/>
                    <a:gd name="connsiteY33" fmla="*/ 898614 h 3835942"/>
                    <a:gd name="connsiteX34" fmla="*/ 1556657 w 4510936"/>
                    <a:gd name="connsiteY34" fmla="*/ 2852599 h 3835942"/>
                    <a:gd name="connsiteX35" fmla="*/ 1580115 w 4510936"/>
                    <a:gd name="connsiteY35" fmla="*/ 3729193 h 3835942"/>
                    <a:gd name="connsiteX36" fmla="*/ 1581642 w 4510936"/>
                    <a:gd name="connsiteY36" fmla="*/ 3835942 h 3835942"/>
                    <a:gd name="connsiteX37" fmla="*/ 1113971 w 4510936"/>
                    <a:gd name="connsiteY37" fmla="*/ 3835942 h 3835942"/>
                    <a:gd name="connsiteX38" fmla="*/ 836413 w 4510936"/>
                    <a:gd name="connsiteY38" fmla="*/ 3086585 h 3835942"/>
                    <a:gd name="connsiteX39" fmla="*/ 116170 w 4510936"/>
                    <a:gd name="connsiteY39" fmla="*/ 2308285 h 3835942"/>
                    <a:gd name="connsiteX40" fmla="*/ 118297 w 4510936"/>
                    <a:gd name="connsiteY40" fmla="*/ 2287181 h 3835942"/>
                    <a:gd name="connsiteX41" fmla="*/ 98842 w 4510936"/>
                    <a:gd name="connsiteY41" fmla="*/ 2263602 h 3835942"/>
                    <a:gd name="connsiteX42" fmla="*/ 0 w 4510936"/>
                    <a:gd name="connsiteY42" fmla="*/ 1940013 h 3835942"/>
                    <a:gd name="connsiteX43" fmla="*/ 98842 w 4510936"/>
                    <a:gd name="connsiteY43" fmla="*/ 1616424 h 3835942"/>
                    <a:gd name="connsiteX44" fmla="*/ 158494 w 4510936"/>
                    <a:gd name="connsiteY44" fmla="*/ 1544125 h 3835942"/>
                    <a:gd name="connsiteX45" fmla="*/ 138294 w 4510936"/>
                    <a:gd name="connsiteY45" fmla="*/ 1479051 h 3835942"/>
                    <a:gd name="connsiteX46" fmla="*/ 124645 w 4510936"/>
                    <a:gd name="connsiteY46" fmla="*/ 1343654 h 3835942"/>
                    <a:gd name="connsiteX47" fmla="*/ 534966 w 4510936"/>
                    <a:gd name="connsiteY47" fmla="*/ 724623 h 3835942"/>
                    <a:gd name="connsiteX48" fmla="*/ 655270 w 4510936"/>
                    <a:gd name="connsiteY48" fmla="*/ 687278 h 3835942"/>
                    <a:gd name="connsiteX49" fmla="*/ 663127 w 4510936"/>
                    <a:gd name="connsiteY49" fmla="*/ 661967 h 3835942"/>
                    <a:gd name="connsiteX50" fmla="*/ 1282159 w 4510936"/>
                    <a:gd name="connsiteY50" fmla="*/ 251645 h 3835942"/>
                    <a:gd name="connsiteX51" fmla="*/ 1417556 w 4510936"/>
                    <a:gd name="connsiteY51" fmla="*/ 265294 h 3835942"/>
                    <a:gd name="connsiteX52" fmla="*/ 1421411 w 4510936"/>
                    <a:gd name="connsiteY52" fmla="*/ 266491 h 3835942"/>
                    <a:gd name="connsiteX53" fmla="*/ 1478933 w 4510936"/>
                    <a:gd name="connsiteY53" fmla="*/ 196773 h 3835942"/>
                    <a:gd name="connsiteX54" fmla="*/ 1953986 w 4510936"/>
                    <a:gd name="connsiteY5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131457 w 4510936"/>
                    <a:gd name="connsiteY26" fmla="*/ 1528170 h 3835942"/>
                    <a:gd name="connsiteX27" fmla="*/ 3218542 w 4510936"/>
                    <a:gd name="connsiteY27" fmla="*/ 617399 h 3835942"/>
                    <a:gd name="connsiteX28" fmla="*/ 2715985 w 4510936"/>
                    <a:gd name="connsiteY28" fmla="*/ 947598 h 3835942"/>
                    <a:gd name="connsiteX29" fmla="*/ 1948542 w 4510936"/>
                    <a:gd name="connsiteY29" fmla="*/ 925827 h 3835942"/>
                    <a:gd name="connsiteX30" fmla="*/ 2062843 w 4510936"/>
                    <a:gd name="connsiteY30" fmla="*/ 403313 h 3835942"/>
                    <a:gd name="connsiteX31" fmla="*/ 1816101 w 4510936"/>
                    <a:gd name="connsiteY31" fmla="*/ 780685 h 3835942"/>
                    <a:gd name="connsiteX32" fmla="*/ 1455057 w 4510936"/>
                    <a:gd name="connsiteY32" fmla="*/ 898614 h 3835942"/>
                    <a:gd name="connsiteX33" fmla="*/ 1556657 w 4510936"/>
                    <a:gd name="connsiteY33" fmla="*/ 2852599 h 3835942"/>
                    <a:gd name="connsiteX34" fmla="*/ 1580115 w 4510936"/>
                    <a:gd name="connsiteY34" fmla="*/ 3729193 h 3835942"/>
                    <a:gd name="connsiteX35" fmla="*/ 1581642 w 4510936"/>
                    <a:gd name="connsiteY35" fmla="*/ 3835942 h 3835942"/>
                    <a:gd name="connsiteX36" fmla="*/ 1113971 w 4510936"/>
                    <a:gd name="connsiteY36" fmla="*/ 3835942 h 3835942"/>
                    <a:gd name="connsiteX37" fmla="*/ 836413 w 4510936"/>
                    <a:gd name="connsiteY37" fmla="*/ 3086585 h 3835942"/>
                    <a:gd name="connsiteX38" fmla="*/ 116170 w 4510936"/>
                    <a:gd name="connsiteY38" fmla="*/ 2308285 h 3835942"/>
                    <a:gd name="connsiteX39" fmla="*/ 118297 w 4510936"/>
                    <a:gd name="connsiteY39" fmla="*/ 2287181 h 3835942"/>
                    <a:gd name="connsiteX40" fmla="*/ 98842 w 4510936"/>
                    <a:gd name="connsiteY40" fmla="*/ 2263602 h 3835942"/>
                    <a:gd name="connsiteX41" fmla="*/ 0 w 4510936"/>
                    <a:gd name="connsiteY41" fmla="*/ 1940013 h 3835942"/>
                    <a:gd name="connsiteX42" fmla="*/ 98842 w 4510936"/>
                    <a:gd name="connsiteY42" fmla="*/ 1616424 h 3835942"/>
                    <a:gd name="connsiteX43" fmla="*/ 158494 w 4510936"/>
                    <a:gd name="connsiteY43" fmla="*/ 1544125 h 3835942"/>
                    <a:gd name="connsiteX44" fmla="*/ 138294 w 4510936"/>
                    <a:gd name="connsiteY44" fmla="*/ 1479051 h 3835942"/>
                    <a:gd name="connsiteX45" fmla="*/ 124645 w 4510936"/>
                    <a:gd name="connsiteY45" fmla="*/ 1343654 h 3835942"/>
                    <a:gd name="connsiteX46" fmla="*/ 534966 w 4510936"/>
                    <a:gd name="connsiteY46" fmla="*/ 724623 h 3835942"/>
                    <a:gd name="connsiteX47" fmla="*/ 655270 w 4510936"/>
                    <a:gd name="connsiteY47" fmla="*/ 687278 h 3835942"/>
                    <a:gd name="connsiteX48" fmla="*/ 663127 w 4510936"/>
                    <a:gd name="connsiteY48" fmla="*/ 661967 h 3835942"/>
                    <a:gd name="connsiteX49" fmla="*/ 1282159 w 4510936"/>
                    <a:gd name="connsiteY49" fmla="*/ 251645 h 3835942"/>
                    <a:gd name="connsiteX50" fmla="*/ 1417556 w 4510936"/>
                    <a:gd name="connsiteY50" fmla="*/ 265294 h 3835942"/>
                    <a:gd name="connsiteX51" fmla="*/ 1421411 w 4510936"/>
                    <a:gd name="connsiteY51" fmla="*/ 266491 h 3835942"/>
                    <a:gd name="connsiteX52" fmla="*/ 1478933 w 4510936"/>
                    <a:gd name="connsiteY52" fmla="*/ 196773 h 3835942"/>
                    <a:gd name="connsiteX53" fmla="*/ 1953986 w 4510936"/>
                    <a:gd name="connsiteY5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218542 w 4510936"/>
                    <a:gd name="connsiteY26" fmla="*/ 617399 h 3835942"/>
                    <a:gd name="connsiteX27" fmla="*/ 2715985 w 4510936"/>
                    <a:gd name="connsiteY27" fmla="*/ 947598 h 3835942"/>
                    <a:gd name="connsiteX28" fmla="*/ 1948542 w 4510936"/>
                    <a:gd name="connsiteY28" fmla="*/ 925827 h 3835942"/>
                    <a:gd name="connsiteX29" fmla="*/ 2062843 w 4510936"/>
                    <a:gd name="connsiteY29" fmla="*/ 403313 h 3835942"/>
                    <a:gd name="connsiteX30" fmla="*/ 1816101 w 4510936"/>
                    <a:gd name="connsiteY30" fmla="*/ 780685 h 3835942"/>
                    <a:gd name="connsiteX31" fmla="*/ 1455057 w 4510936"/>
                    <a:gd name="connsiteY31" fmla="*/ 898614 h 3835942"/>
                    <a:gd name="connsiteX32" fmla="*/ 1556657 w 4510936"/>
                    <a:gd name="connsiteY32" fmla="*/ 2852599 h 3835942"/>
                    <a:gd name="connsiteX33" fmla="*/ 1580115 w 4510936"/>
                    <a:gd name="connsiteY33" fmla="*/ 3729193 h 3835942"/>
                    <a:gd name="connsiteX34" fmla="*/ 1581642 w 4510936"/>
                    <a:gd name="connsiteY34" fmla="*/ 3835942 h 3835942"/>
                    <a:gd name="connsiteX35" fmla="*/ 1113971 w 4510936"/>
                    <a:gd name="connsiteY35" fmla="*/ 3835942 h 3835942"/>
                    <a:gd name="connsiteX36" fmla="*/ 836413 w 4510936"/>
                    <a:gd name="connsiteY36" fmla="*/ 3086585 h 3835942"/>
                    <a:gd name="connsiteX37" fmla="*/ 116170 w 4510936"/>
                    <a:gd name="connsiteY37" fmla="*/ 2308285 h 3835942"/>
                    <a:gd name="connsiteX38" fmla="*/ 118297 w 4510936"/>
                    <a:gd name="connsiteY38" fmla="*/ 2287181 h 3835942"/>
                    <a:gd name="connsiteX39" fmla="*/ 98842 w 4510936"/>
                    <a:gd name="connsiteY39" fmla="*/ 2263602 h 3835942"/>
                    <a:gd name="connsiteX40" fmla="*/ 0 w 4510936"/>
                    <a:gd name="connsiteY40" fmla="*/ 1940013 h 3835942"/>
                    <a:gd name="connsiteX41" fmla="*/ 98842 w 4510936"/>
                    <a:gd name="connsiteY41" fmla="*/ 1616424 h 3835942"/>
                    <a:gd name="connsiteX42" fmla="*/ 158494 w 4510936"/>
                    <a:gd name="connsiteY42" fmla="*/ 1544125 h 3835942"/>
                    <a:gd name="connsiteX43" fmla="*/ 138294 w 4510936"/>
                    <a:gd name="connsiteY43" fmla="*/ 1479051 h 3835942"/>
                    <a:gd name="connsiteX44" fmla="*/ 124645 w 4510936"/>
                    <a:gd name="connsiteY44" fmla="*/ 1343654 h 3835942"/>
                    <a:gd name="connsiteX45" fmla="*/ 534966 w 4510936"/>
                    <a:gd name="connsiteY45" fmla="*/ 724623 h 3835942"/>
                    <a:gd name="connsiteX46" fmla="*/ 655270 w 4510936"/>
                    <a:gd name="connsiteY46" fmla="*/ 687278 h 3835942"/>
                    <a:gd name="connsiteX47" fmla="*/ 663127 w 4510936"/>
                    <a:gd name="connsiteY47" fmla="*/ 661967 h 3835942"/>
                    <a:gd name="connsiteX48" fmla="*/ 1282159 w 4510936"/>
                    <a:gd name="connsiteY48" fmla="*/ 251645 h 3835942"/>
                    <a:gd name="connsiteX49" fmla="*/ 1417556 w 4510936"/>
                    <a:gd name="connsiteY49" fmla="*/ 265294 h 3835942"/>
                    <a:gd name="connsiteX50" fmla="*/ 1421411 w 4510936"/>
                    <a:gd name="connsiteY50" fmla="*/ 266491 h 3835942"/>
                    <a:gd name="connsiteX51" fmla="*/ 1478933 w 4510936"/>
                    <a:gd name="connsiteY51" fmla="*/ 196773 h 3835942"/>
                    <a:gd name="connsiteX52" fmla="*/ 1953986 w 4510936"/>
                    <a:gd name="connsiteY5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715985 w 4510936"/>
                    <a:gd name="connsiteY26" fmla="*/ 947598 h 3835942"/>
                    <a:gd name="connsiteX27" fmla="*/ 1948542 w 4510936"/>
                    <a:gd name="connsiteY27" fmla="*/ 925827 h 3835942"/>
                    <a:gd name="connsiteX28" fmla="*/ 2062843 w 4510936"/>
                    <a:gd name="connsiteY28" fmla="*/ 403313 h 3835942"/>
                    <a:gd name="connsiteX29" fmla="*/ 1816101 w 4510936"/>
                    <a:gd name="connsiteY29" fmla="*/ 780685 h 3835942"/>
                    <a:gd name="connsiteX30" fmla="*/ 1455057 w 4510936"/>
                    <a:gd name="connsiteY30" fmla="*/ 898614 h 3835942"/>
                    <a:gd name="connsiteX31" fmla="*/ 1556657 w 4510936"/>
                    <a:gd name="connsiteY31" fmla="*/ 2852599 h 3835942"/>
                    <a:gd name="connsiteX32" fmla="*/ 1580115 w 4510936"/>
                    <a:gd name="connsiteY32" fmla="*/ 3729193 h 3835942"/>
                    <a:gd name="connsiteX33" fmla="*/ 1581642 w 4510936"/>
                    <a:gd name="connsiteY33" fmla="*/ 3835942 h 3835942"/>
                    <a:gd name="connsiteX34" fmla="*/ 1113971 w 4510936"/>
                    <a:gd name="connsiteY34" fmla="*/ 3835942 h 3835942"/>
                    <a:gd name="connsiteX35" fmla="*/ 836413 w 4510936"/>
                    <a:gd name="connsiteY35" fmla="*/ 3086585 h 3835942"/>
                    <a:gd name="connsiteX36" fmla="*/ 116170 w 4510936"/>
                    <a:gd name="connsiteY36" fmla="*/ 2308285 h 3835942"/>
                    <a:gd name="connsiteX37" fmla="*/ 118297 w 4510936"/>
                    <a:gd name="connsiteY37" fmla="*/ 2287181 h 3835942"/>
                    <a:gd name="connsiteX38" fmla="*/ 98842 w 4510936"/>
                    <a:gd name="connsiteY38" fmla="*/ 2263602 h 3835942"/>
                    <a:gd name="connsiteX39" fmla="*/ 0 w 4510936"/>
                    <a:gd name="connsiteY39" fmla="*/ 1940013 h 3835942"/>
                    <a:gd name="connsiteX40" fmla="*/ 98842 w 4510936"/>
                    <a:gd name="connsiteY40" fmla="*/ 1616424 h 3835942"/>
                    <a:gd name="connsiteX41" fmla="*/ 158494 w 4510936"/>
                    <a:gd name="connsiteY41" fmla="*/ 1544125 h 3835942"/>
                    <a:gd name="connsiteX42" fmla="*/ 138294 w 4510936"/>
                    <a:gd name="connsiteY42" fmla="*/ 1479051 h 3835942"/>
                    <a:gd name="connsiteX43" fmla="*/ 124645 w 4510936"/>
                    <a:gd name="connsiteY43" fmla="*/ 1343654 h 3835942"/>
                    <a:gd name="connsiteX44" fmla="*/ 534966 w 4510936"/>
                    <a:gd name="connsiteY44" fmla="*/ 724623 h 3835942"/>
                    <a:gd name="connsiteX45" fmla="*/ 655270 w 4510936"/>
                    <a:gd name="connsiteY45" fmla="*/ 687278 h 3835942"/>
                    <a:gd name="connsiteX46" fmla="*/ 663127 w 4510936"/>
                    <a:gd name="connsiteY46" fmla="*/ 661967 h 3835942"/>
                    <a:gd name="connsiteX47" fmla="*/ 1282159 w 4510936"/>
                    <a:gd name="connsiteY47" fmla="*/ 251645 h 3835942"/>
                    <a:gd name="connsiteX48" fmla="*/ 1417556 w 4510936"/>
                    <a:gd name="connsiteY48" fmla="*/ 265294 h 3835942"/>
                    <a:gd name="connsiteX49" fmla="*/ 1421411 w 4510936"/>
                    <a:gd name="connsiteY49" fmla="*/ 266491 h 3835942"/>
                    <a:gd name="connsiteX50" fmla="*/ 1478933 w 4510936"/>
                    <a:gd name="connsiteY50" fmla="*/ 196773 h 3835942"/>
                    <a:gd name="connsiteX51" fmla="*/ 1953986 w 4510936"/>
                    <a:gd name="connsiteY5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948542 w 4510936"/>
                    <a:gd name="connsiteY26" fmla="*/ 925827 h 3835942"/>
                    <a:gd name="connsiteX27" fmla="*/ 2062843 w 4510936"/>
                    <a:gd name="connsiteY27" fmla="*/ 403313 h 3835942"/>
                    <a:gd name="connsiteX28" fmla="*/ 1816101 w 4510936"/>
                    <a:gd name="connsiteY28" fmla="*/ 780685 h 3835942"/>
                    <a:gd name="connsiteX29" fmla="*/ 1455057 w 4510936"/>
                    <a:gd name="connsiteY29" fmla="*/ 898614 h 3835942"/>
                    <a:gd name="connsiteX30" fmla="*/ 1556657 w 4510936"/>
                    <a:gd name="connsiteY30" fmla="*/ 2852599 h 3835942"/>
                    <a:gd name="connsiteX31" fmla="*/ 1580115 w 4510936"/>
                    <a:gd name="connsiteY31" fmla="*/ 3729193 h 3835942"/>
                    <a:gd name="connsiteX32" fmla="*/ 1581642 w 4510936"/>
                    <a:gd name="connsiteY32" fmla="*/ 3835942 h 3835942"/>
                    <a:gd name="connsiteX33" fmla="*/ 1113971 w 4510936"/>
                    <a:gd name="connsiteY33" fmla="*/ 3835942 h 3835942"/>
                    <a:gd name="connsiteX34" fmla="*/ 836413 w 4510936"/>
                    <a:gd name="connsiteY34" fmla="*/ 3086585 h 3835942"/>
                    <a:gd name="connsiteX35" fmla="*/ 116170 w 4510936"/>
                    <a:gd name="connsiteY35" fmla="*/ 2308285 h 3835942"/>
                    <a:gd name="connsiteX36" fmla="*/ 118297 w 4510936"/>
                    <a:gd name="connsiteY36" fmla="*/ 2287181 h 3835942"/>
                    <a:gd name="connsiteX37" fmla="*/ 98842 w 4510936"/>
                    <a:gd name="connsiteY37" fmla="*/ 2263602 h 3835942"/>
                    <a:gd name="connsiteX38" fmla="*/ 0 w 4510936"/>
                    <a:gd name="connsiteY38" fmla="*/ 1940013 h 3835942"/>
                    <a:gd name="connsiteX39" fmla="*/ 98842 w 4510936"/>
                    <a:gd name="connsiteY39" fmla="*/ 1616424 h 3835942"/>
                    <a:gd name="connsiteX40" fmla="*/ 158494 w 4510936"/>
                    <a:gd name="connsiteY40" fmla="*/ 1544125 h 3835942"/>
                    <a:gd name="connsiteX41" fmla="*/ 138294 w 4510936"/>
                    <a:gd name="connsiteY41" fmla="*/ 1479051 h 3835942"/>
                    <a:gd name="connsiteX42" fmla="*/ 124645 w 4510936"/>
                    <a:gd name="connsiteY42" fmla="*/ 1343654 h 3835942"/>
                    <a:gd name="connsiteX43" fmla="*/ 534966 w 4510936"/>
                    <a:gd name="connsiteY43" fmla="*/ 724623 h 3835942"/>
                    <a:gd name="connsiteX44" fmla="*/ 655270 w 4510936"/>
                    <a:gd name="connsiteY44" fmla="*/ 687278 h 3835942"/>
                    <a:gd name="connsiteX45" fmla="*/ 663127 w 4510936"/>
                    <a:gd name="connsiteY45" fmla="*/ 661967 h 3835942"/>
                    <a:gd name="connsiteX46" fmla="*/ 1282159 w 4510936"/>
                    <a:gd name="connsiteY46" fmla="*/ 251645 h 3835942"/>
                    <a:gd name="connsiteX47" fmla="*/ 1417556 w 4510936"/>
                    <a:gd name="connsiteY47" fmla="*/ 265294 h 3835942"/>
                    <a:gd name="connsiteX48" fmla="*/ 1421411 w 4510936"/>
                    <a:gd name="connsiteY48" fmla="*/ 266491 h 3835942"/>
                    <a:gd name="connsiteX49" fmla="*/ 1478933 w 4510936"/>
                    <a:gd name="connsiteY49" fmla="*/ 196773 h 3835942"/>
                    <a:gd name="connsiteX50" fmla="*/ 1953986 w 4510936"/>
                    <a:gd name="connsiteY5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062843 w 4510936"/>
                    <a:gd name="connsiteY26" fmla="*/ 403313 h 3835942"/>
                    <a:gd name="connsiteX27" fmla="*/ 1816101 w 4510936"/>
                    <a:gd name="connsiteY27" fmla="*/ 780685 h 3835942"/>
                    <a:gd name="connsiteX28" fmla="*/ 1455057 w 4510936"/>
                    <a:gd name="connsiteY28" fmla="*/ 898614 h 3835942"/>
                    <a:gd name="connsiteX29" fmla="*/ 1556657 w 4510936"/>
                    <a:gd name="connsiteY29" fmla="*/ 2852599 h 3835942"/>
                    <a:gd name="connsiteX30" fmla="*/ 1580115 w 4510936"/>
                    <a:gd name="connsiteY30" fmla="*/ 3729193 h 3835942"/>
                    <a:gd name="connsiteX31" fmla="*/ 1581642 w 4510936"/>
                    <a:gd name="connsiteY31" fmla="*/ 3835942 h 3835942"/>
                    <a:gd name="connsiteX32" fmla="*/ 1113971 w 4510936"/>
                    <a:gd name="connsiteY32" fmla="*/ 3835942 h 3835942"/>
                    <a:gd name="connsiteX33" fmla="*/ 836413 w 4510936"/>
                    <a:gd name="connsiteY33" fmla="*/ 3086585 h 3835942"/>
                    <a:gd name="connsiteX34" fmla="*/ 116170 w 4510936"/>
                    <a:gd name="connsiteY34" fmla="*/ 2308285 h 3835942"/>
                    <a:gd name="connsiteX35" fmla="*/ 118297 w 4510936"/>
                    <a:gd name="connsiteY35" fmla="*/ 2287181 h 3835942"/>
                    <a:gd name="connsiteX36" fmla="*/ 98842 w 4510936"/>
                    <a:gd name="connsiteY36" fmla="*/ 2263602 h 3835942"/>
                    <a:gd name="connsiteX37" fmla="*/ 0 w 4510936"/>
                    <a:gd name="connsiteY37" fmla="*/ 1940013 h 3835942"/>
                    <a:gd name="connsiteX38" fmla="*/ 98842 w 4510936"/>
                    <a:gd name="connsiteY38" fmla="*/ 1616424 h 3835942"/>
                    <a:gd name="connsiteX39" fmla="*/ 158494 w 4510936"/>
                    <a:gd name="connsiteY39" fmla="*/ 1544125 h 3835942"/>
                    <a:gd name="connsiteX40" fmla="*/ 138294 w 4510936"/>
                    <a:gd name="connsiteY40" fmla="*/ 1479051 h 3835942"/>
                    <a:gd name="connsiteX41" fmla="*/ 124645 w 4510936"/>
                    <a:gd name="connsiteY41" fmla="*/ 1343654 h 3835942"/>
                    <a:gd name="connsiteX42" fmla="*/ 534966 w 4510936"/>
                    <a:gd name="connsiteY42" fmla="*/ 724623 h 3835942"/>
                    <a:gd name="connsiteX43" fmla="*/ 655270 w 4510936"/>
                    <a:gd name="connsiteY43" fmla="*/ 687278 h 3835942"/>
                    <a:gd name="connsiteX44" fmla="*/ 663127 w 4510936"/>
                    <a:gd name="connsiteY44" fmla="*/ 661967 h 3835942"/>
                    <a:gd name="connsiteX45" fmla="*/ 1282159 w 4510936"/>
                    <a:gd name="connsiteY45" fmla="*/ 251645 h 3835942"/>
                    <a:gd name="connsiteX46" fmla="*/ 1417556 w 4510936"/>
                    <a:gd name="connsiteY46" fmla="*/ 265294 h 3835942"/>
                    <a:gd name="connsiteX47" fmla="*/ 1421411 w 4510936"/>
                    <a:gd name="connsiteY47" fmla="*/ 266491 h 3835942"/>
                    <a:gd name="connsiteX48" fmla="*/ 1478933 w 4510936"/>
                    <a:gd name="connsiteY48" fmla="*/ 196773 h 3835942"/>
                    <a:gd name="connsiteX49" fmla="*/ 1953986 w 4510936"/>
                    <a:gd name="connsiteY4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816101 w 4510936"/>
                    <a:gd name="connsiteY26" fmla="*/ 780685 h 3835942"/>
                    <a:gd name="connsiteX27" fmla="*/ 1455057 w 4510936"/>
                    <a:gd name="connsiteY27" fmla="*/ 898614 h 3835942"/>
                    <a:gd name="connsiteX28" fmla="*/ 1556657 w 4510936"/>
                    <a:gd name="connsiteY28" fmla="*/ 2852599 h 3835942"/>
                    <a:gd name="connsiteX29" fmla="*/ 1580115 w 4510936"/>
                    <a:gd name="connsiteY29" fmla="*/ 3729193 h 3835942"/>
                    <a:gd name="connsiteX30" fmla="*/ 1581642 w 4510936"/>
                    <a:gd name="connsiteY30" fmla="*/ 3835942 h 3835942"/>
                    <a:gd name="connsiteX31" fmla="*/ 1113971 w 4510936"/>
                    <a:gd name="connsiteY31" fmla="*/ 3835942 h 3835942"/>
                    <a:gd name="connsiteX32" fmla="*/ 836413 w 4510936"/>
                    <a:gd name="connsiteY32" fmla="*/ 3086585 h 3835942"/>
                    <a:gd name="connsiteX33" fmla="*/ 116170 w 4510936"/>
                    <a:gd name="connsiteY33" fmla="*/ 2308285 h 3835942"/>
                    <a:gd name="connsiteX34" fmla="*/ 118297 w 4510936"/>
                    <a:gd name="connsiteY34" fmla="*/ 2287181 h 3835942"/>
                    <a:gd name="connsiteX35" fmla="*/ 98842 w 4510936"/>
                    <a:gd name="connsiteY35" fmla="*/ 2263602 h 3835942"/>
                    <a:gd name="connsiteX36" fmla="*/ 0 w 4510936"/>
                    <a:gd name="connsiteY36" fmla="*/ 1940013 h 3835942"/>
                    <a:gd name="connsiteX37" fmla="*/ 98842 w 4510936"/>
                    <a:gd name="connsiteY37" fmla="*/ 1616424 h 3835942"/>
                    <a:gd name="connsiteX38" fmla="*/ 158494 w 4510936"/>
                    <a:gd name="connsiteY38" fmla="*/ 1544125 h 3835942"/>
                    <a:gd name="connsiteX39" fmla="*/ 138294 w 4510936"/>
                    <a:gd name="connsiteY39" fmla="*/ 1479051 h 3835942"/>
                    <a:gd name="connsiteX40" fmla="*/ 124645 w 4510936"/>
                    <a:gd name="connsiteY40" fmla="*/ 1343654 h 3835942"/>
                    <a:gd name="connsiteX41" fmla="*/ 534966 w 4510936"/>
                    <a:gd name="connsiteY41" fmla="*/ 724623 h 3835942"/>
                    <a:gd name="connsiteX42" fmla="*/ 655270 w 4510936"/>
                    <a:gd name="connsiteY42" fmla="*/ 687278 h 3835942"/>
                    <a:gd name="connsiteX43" fmla="*/ 663127 w 4510936"/>
                    <a:gd name="connsiteY43" fmla="*/ 661967 h 3835942"/>
                    <a:gd name="connsiteX44" fmla="*/ 1282159 w 4510936"/>
                    <a:gd name="connsiteY44" fmla="*/ 251645 h 3835942"/>
                    <a:gd name="connsiteX45" fmla="*/ 1417556 w 4510936"/>
                    <a:gd name="connsiteY45" fmla="*/ 265294 h 3835942"/>
                    <a:gd name="connsiteX46" fmla="*/ 1421411 w 4510936"/>
                    <a:gd name="connsiteY46" fmla="*/ 266491 h 3835942"/>
                    <a:gd name="connsiteX47" fmla="*/ 1478933 w 4510936"/>
                    <a:gd name="connsiteY47" fmla="*/ 196773 h 3835942"/>
                    <a:gd name="connsiteX48" fmla="*/ 1953986 w 4510936"/>
                    <a:gd name="connsiteY4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455057 w 4510936"/>
                    <a:gd name="connsiteY26" fmla="*/ 898614 h 3835942"/>
                    <a:gd name="connsiteX27" fmla="*/ 1556657 w 4510936"/>
                    <a:gd name="connsiteY27" fmla="*/ 2852599 h 3835942"/>
                    <a:gd name="connsiteX28" fmla="*/ 1580115 w 4510936"/>
                    <a:gd name="connsiteY28" fmla="*/ 3729193 h 3835942"/>
                    <a:gd name="connsiteX29" fmla="*/ 1581642 w 4510936"/>
                    <a:gd name="connsiteY29" fmla="*/ 3835942 h 3835942"/>
                    <a:gd name="connsiteX30" fmla="*/ 1113971 w 4510936"/>
                    <a:gd name="connsiteY30" fmla="*/ 3835942 h 3835942"/>
                    <a:gd name="connsiteX31" fmla="*/ 836413 w 4510936"/>
                    <a:gd name="connsiteY31" fmla="*/ 3086585 h 3835942"/>
                    <a:gd name="connsiteX32" fmla="*/ 116170 w 4510936"/>
                    <a:gd name="connsiteY32" fmla="*/ 2308285 h 3835942"/>
                    <a:gd name="connsiteX33" fmla="*/ 118297 w 4510936"/>
                    <a:gd name="connsiteY33" fmla="*/ 2287181 h 3835942"/>
                    <a:gd name="connsiteX34" fmla="*/ 98842 w 4510936"/>
                    <a:gd name="connsiteY34" fmla="*/ 2263602 h 3835942"/>
                    <a:gd name="connsiteX35" fmla="*/ 0 w 4510936"/>
                    <a:gd name="connsiteY35" fmla="*/ 1940013 h 3835942"/>
                    <a:gd name="connsiteX36" fmla="*/ 98842 w 4510936"/>
                    <a:gd name="connsiteY36" fmla="*/ 1616424 h 3835942"/>
                    <a:gd name="connsiteX37" fmla="*/ 158494 w 4510936"/>
                    <a:gd name="connsiteY37" fmla="*/ 1544125 h 3835942"/>
                    <a:gd name="connsiteX38" fmla="*/ 138294 w 4510936"/>
                    <a:gd name="connsiteY38" fmla="*/ 1479051 h 3835942"/>
                    <a:gd name="connsiteX39" fmla="*/ 124645 w 4510936"/>
                    <a:gd name="connsiteY39" fmla="*/ 1343654 h 3835942"/>
                    <a:gd name="connsiteX40" fmla="*/ 534966 w 4510936"/>
                    <a:gd name="connsiteY40" fmla="*/ 724623 h 3835942"/>
                    <a:gd name="connsiteX41" fmla="*/ 655270 w 4510936"/>
                    <a:gd name="connsiteY41" fmla="*/ 687278 h 3835942"/>
                    <a:gd name="connsiteX42" fmla="*/ 663127 w 4510936"/>
                    <a:gd name="connsiteY42" fmla="*/ 661967 h 3835942"/>
                    <a:gd name="connsiteX43" fmla="*/ 1282159 w 4510936"/>
                    <a:gd name="connsiteY43" fmla="*/ 251645 h 3835942"/>
                    <a:gd name="connsiteX44" fmla="*/ 1417556 w 4510936"/>
                    <a:gd name="connsiteY44" fmla="*/ 265294 h 3835942"/>
                    <a:gd name="connsiteX45" fmla="*/ 1421411 w 4510936"/>
                    <a:gd name="connsiteY45" fmla="*/ 266491 h 3835942"/>
                    <a:gd name="connsiteX46" fmla="*/ 1478933 w 4510936"/>
                    <a:gd name="connsiteY46" fmla="*/ 196773 h 3835942"/>
                    <a:gd name="connsiteX47" fmla="*/ 1953986 w 4510936"/>
                    <a:gd name="connsiteY4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556657 w 4510936"/>
                    <a:gd name="connsiteY26" fmla="*/ 2852599 h 3835942"/>
                    <a:gd name="connsiteX27" fmla="*/ 1580115 w 4510936"/>
                    <a:gd name="connsiteY27" fmla="*/ 3729193 h 3835942"/>
                    <a:gd name="connsiteX28" fmla="*/ 1581642 w 4510936"/>
                    <a:gd name="connsiteY28" fmla="*/ 3835942 h 3835942"/>
                    <a:gd name="connsiteX29" fmla="*/ 1113971 w 4510936"/>
                    <a:gd name="connsiteY29" fmla="*/ 3835942 h 3835942"/>
                    <a:gd name="connsiteX30" fmla="*/ 836413 w 4510936"/>
                    <a:gd name="connsiteY30" fmla="*/ 3086585 h 3835942"/>
                    <a:gd name="connsiteX31" fmla="*/ 116170 w 4510936"/>
                    <a:gd name="connsiteY31" fmla="*/ 2308285 h 3835942"/>
                    <a:gd name="connsiteX32" fmla="*/ 118297 w 4510936"/>
                    <a:gd name="connsiteY32" fmla="*/ 2287181 h 3835942"/>
                    <a:gd name="connsiteX33" fmla="*/ 98842 w 4510936"/>
                    <a:gd name="connsiteY33" fmla="*/ 2263602 h 3835942"/>
                    <a:gd name="connsiteX34" fmla="*/ 0 w 4510936"/>
                    <a:gd name="connsiteY34" fmla="*/ 1940013 h 3835942"/>
                    <a:gd name="connsiteX35" fmla="*/ 98842 w 4510936"/>
                    <a:gd name="connsiteY35" fmla="*/ 1616424 h 3835942"/>
                    <a:gd name="connsiteX36" fmla="*/ 158494 w 4510936"/>
                    <a:gd name="connsiteY36" fmla="*/ 1544125 h 3835942"/>
                    <a:gd name="connsiteX37" fmla="*/ 138294 w 4510936"/>
                    <a:gd name="connsiteY37" fmla="*/ 1479051 h 3835942"/>
                    <a:gd name="connsiteX38" fmla="*/ 124645 w 4510936"/>
                    <a:gd name="connsiteY38" fmla="*/ 1343654 h 3835942"/>
                    <a:gd name="connsiteX39" fmla="*/ 534966 w 4510936"/>
                    <a:gd name="connsiteY39" fmla="*/ 724623 h 3835942"/>
                    <a:gd name="connsiteX40" fmla="*/ 655270 w 4510936"/>
                    <a:gd name="connsiteY40" fmla="*/ 687278 h 3835942"/>
                    <a:gd name="connsiteX41" fmla="*/ 663127 w 4510936"/>
                    <a:gd name="connsiteY41" fmla="*/ 661967 h 3835942"/>
                    <a:gd name="connsiteX42" fmla="*/ 1282159 w 4510936"/>
                    <a:gd name="connsiteY42" fmla="*/ 251645 h 3835942"/>
                    <a:gd name="connsiteX43" fmla="*/ 1417556 w 4510936"/>
                    <a:gd name="connsiteY43" fmla="*/ 265294 h 3835942"/>
                    <a:gd name="connsiteX44" fmla="*/ 1421411 w 4510936"/>
                    <a:gd name="connsiteY44" fmla="*/ 266491 h 3835942"/>
                    <a:gd name="connsiteX45" fmla="*/ 1478933 w 4510936"/>
                    <a:gd name="connsiteY45" fmla="*/ 196773 h 3835942"/>
                    <a:gd name="connsiteX46" fmla="*/ 1953986 w 4510936"/>
                    <a:gd name="connsiteY4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1556657 w 4510936"/>
                    <a:gd name="connsiteY25" fmla="*/ 2852599 h 3835942"/>
                    <a:gd name="connsiteX26" fmla="*/ 1580115 w 4510936"/>
                    <a:gd name="connsiteY26" fmla="*/ 3729193 h 3835942"/>
                    <a:gd name="connsiteX27" fmla="*/ 1581642 w 4510936"/>
                    <a:gd name="connsiteY27" fmla="*/ 3835942 h 3835942"/>
                    <a:gd name="connsiteX28" fmla="*/ 1113971 w 4510936"/>
                    <a:gd name="connsiteY28" fmla="*/ 3835942 h 3835942"/>
                    <a:gd name="connsiteX29" fmla="*/ 836413 w 4510936"/>
                    <a:gd name="connsiteY29" fmla="*/ 3086585 h 3835942"/>
                    <a:gd name="connsiteX30" fmla="*/ 116170 w 4510936"/>
                    <a:gd name="connsiteY30" fmla="*/ 2308285 h 3835942"/>
                    <a:gd name="connsiteX31" fmla="*/ 118297 w 4510936"/>
                    <a:gd name="connsiteY31" fmla="*/ 2287181 h 3835942"/>
                    <a:gd name="connsiteX32" fmla="*/ 98842 w 4510936"/>
                    <a:gd name="connsiteY32" fmla="*/ 2263602 h 3835942"/>
                    <a:gd name="connsiteX33" fmla="*/ 0 w 4510936"/>
                    <a:gd name="connsiteY33" fmla="*/ 1940013 h 3835942"/>
                    <a:gd name="connsiteX34" fmla="*/ 98842 w 4510936"/>
                    <a:gd name="connsiteY34" fmla="*/ 1616424 h 3835942"/>
                    <a:gd name="connsiteX35" fmla="*/ 158494 w 4510936"/>
                    <a:gd name="connsiteY35" fmla="*/ 1544125 h 3835942"/>
                    <a:gd name="connsiteX36" fmla="*/ 138294 w 4510936"/>
                    <a:gd name="connsiteY36" fmla="*/ 1479051 h 3835942"/>
                    <a:gd name="connsiteX37" fmla="*/ 124645 w 4510936"/>
                    <a:gd name="connsiteY37" fmla="*/ 1343654 h 3835942"/>
                    <a:gd name="connsiteX38" fmla="*/ 534966 w 4510936"/>
                    <a:gd name="connsiteY38" fmla="*/ 724623 h 3835942"/>
                    <a:gd name="connsiteX39" fmla="*/ 655270 w 4510936"/>
                    <a:gd name="connsiteY39" fmla="*/ 687278 h 3835942"/>
                    <a:gd name="connsiteX40" fmla="*/ 663127 w 4510936"/>
                    <a:gd name="connsiteY40" fmla="*/ 661967 h 3835942"/>
                    <a:gd name="connsiteX41" fmla="*/ 1282159 w 4510936"/>
                    <a:gd name="connsiteY41" fmla="*/ 251645 h 3835942"/>
                    <a:gd name="connsiteX42" fmla="*/ 1417556 w 4510936"/>
                    <a:gd name="connsiteY42" fmla="*/ 265294 h 3835942"/>
                    <a:gd name="connsiteX43" fmla="*/ 1421411 w 4510936"/>
                    <a:gd name="connsiteY43" fmla="*/ 266491 h 3835942"/>
                    <a:gd name="connsiteX44" fmla="*/ 1478933 w 4510936"/>
                    <a:gd name="connsiteY44" fmla="*/ 196773 h 3835942"/>
                    <a:gd name="connsiteX45" fmla="*/ 1953986 w 4510936"/>
                    <a:gd name="connsiteY4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850570 w 4510936"/>
                    <a:gd name="connsiteY22" fmla="*/ 2130513 h 3835942"/>
                    <a:gd name="connsiteX23" fmla="*/ 2148114 w 4510936"/>
                    <a:gd name="connsiteY23" fmla="*/ 1901913 h 3835942"/>
                    <a:gd name="connsiteX24" fmla="*/ 1556657 w 4510936"/>
                    <a:gd name="connsiteY24" fmla="*/ 2852599 h 3835942"/>
                    <a:gd name="connsiteX25" fmla="*/ 1580115 w 4510936"/>
                    <a:gd name="connsiteY25" fmla="*/ 3729193 h 3835942"/>
                    <a:gd name="connsiteX26" fmla="*/ 1581642 w 4510936"/>
                    <a:gd name="connsiteY26" fmla="*/ 3835942 h 3835942"/>
                    <a:gd name="connsiteX27" fmla="*/ 1113971 w 4510936"/>
                    <a:gd name="connsiteY27" fmla="*/ 3835942 h 3835942"/>
                    <a:gd name="connsiteX28" fmla="*/ 836413 w 4510936"/>
                    <a:gd name="connsiteY28" fmla="*/ 3086585 h 3835942"/>
                    <a:gd name="connsiteX29" fmla="*/ 116170 w 4510936"/>
                    <a:gd name="connsiteY29" fmla="*/ 2308285 h 3835942"/>
                    <a:gd name="connsiteX30" fmla="*/ 118297 w 4510936"/>
                    <a:gd name="connsiteY30" fmla="*/ 2287181 h 3835942"/>
                    <a:gd name="connsiteX31" fmla="*/ 98842 w 4510936"/>
                    <a:gd name="connsiteY31" fmla="*/ 2263602 h 3835942"/>
                    <a:gd name="connsiteX32" fmla="*/ 0 w 4510936"/>
                    <a:gd name="connsiteY32" fmla="*/ 1940013 h 3835942"/>
                    <a:gd name="connsiteX33" fmla="*/ 98842 w 4510936"/>
                    <a:gd name="connsiteY33" fmla="*/ 1616424 h 3835942"/>
                    <a:gd name="connsiteX34" fmla="*/ 158494 w 4510936"/>
                    <a:gd name="connsiteY34" fmla="*/ 1544125 h 3835942"/>
                    <a:gd name="connsiteX35" fmla="*/ 138294 w 4510936"/>
                    <a:gd name="connsiteY35" fmla="*/ 1479051 h 3835942"/>
                    <a:gd name="connsiteX36" fmla="*/ 124645 w 4510936"/>
                    <a:gd name="connsiteY36" fmla="*/ 1343654 h 3835942"/>
                    <a:gd name="connsiteX37" fmla="*/ 534966 w 4510936"/>
                    <a:gd name="connsiteY37" fmla="*/ 724623 h 3835942"/>
                    <a:gd name="connsiteX38" fmla="*/ 655270 w 4510936"/>
                    <a:gd name="connsiteY38" fmla="*/ 687278 h 3835942"/>
                    <a:gd name="connsiteX39" fmla="*/ 663127 w 4510936"/>
                    <a:gd name="connsiteY39" fmla="*/ 661967 h 3835942"/>
                    <a:gd name="connsiteX40" fmla="*/ 1282159 w 4510936"/>
                    <a:gd name="connsiteY40" fmla="*/ 251645 h 3835942"/>
                    <a:gd name="connsiteX41" fmla="*/ 1417556 w 4510936"/>
                    <a:gd name="connsiteY41" fmla="*/ 265294 h 3835942"/>
                    <a:gd name="connsiteX42" fmla="*/ 1421411 w 4510936"/>
                    <a:gd name="connsiteY42" fmla="*/ 266491 h 3835942"/>
                    <a:gd name="connsiteX43" fmla="*/ 1478933 w 4510936"/>
                    <a:gd name="connsiteY43" fmla="*/ 196773 h 3835942"/>
                    <a:gd name="connsiteX44" fmla="*/ 1953986 w 4510936"/>
                    <a:gd name="connsiteY4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850570 w 4510936"/>
                    <a:gd name="connsiteY21" fmla="*/ 2130513 h 3835942"/>
                    <a:gd name="connsiteX22" fmla="*/ 2148114 w 4510936"/>
                    <a:gd name="connsiteY22" fmla="*/ 1901913 h 3835942"/>
                    <a:gd name="connsiteX23" fmla="*/ 1556657 w 4510936"/>
                    <a:gd name="connsiteY23" fmla="*/ 2852599 h 3835942"/>
                    <a:gd name="connsiteX24" fmla="*/ 1580115 w 4510936"/>
                    <a:gd name="connsiteY24" fmla="*/ 3729193 h 3835942"/>
                    <a:gd name="connsiteX25" fmla="*/ 1581642 w 4510936"/>
                    <a:gd name="connsiteY25" fmla="*/ 3835942 h 3835942"/>
                    <a:gd name="connsiteX26" fmla="*/ 1113971 w 4510936"/>
                    <a:gd name="connsiteY26" fmla="*/ 3835942 h 3835942"/>
                    <a:gd name="connsiteX27" fmla="*/ 836413 w 4510936"/>
                    <a:gd name="connsiteY27" fmla="*/ 3086585 h 3835942"/>
                    <a:gd name="connsiteX28" fmla="*/ 116170 w 4510936"/>
                    <a:gd name="connsiteY28" fmla="*/ 2308285 h 3835942"/>
                    <a:gd name="connsiteX29" fmla="*/ 118297 w 4510936"/>
                    <a:gd name="connsiteY29" fmla="*/ 2287181 h 3835942"/>
                    <a:gd name="connsiteX30" fmla="*/ 98842 w 4510936"/>
                    <a:gd name="connsiteY30" fmla="*/ 2263602 h 3835942"/>
                    <a:gd name="connsiteX31" fmla="*/ 0 w 4510936"/>
                    <a:gd name="connsiteY31" fmla="*/ 1940013 h 3835942"/>
                    <a:gd name="connsiteX32" fmla="*/ 98842 w 4510936"/>
                    <a:gd name="connsiteY32" fmla="*/ 1616424 h 3835942"/>
                    <a:gd name="connsiteX33" fmla="*/ 158494 w 4510936"/>
                    <a:gd name="connsiteY33" fmla="*/ 1544125 h 3835942"/>
                    <a:gd name="connsiteX34" fmla="*/ 138294 w 4510936"/>
                    <a:gd name="connsiteY34" fmla="*/ 1479051 h 3835942"/>
                    <a:gd name="connsiteX35" fmla="*/ 124645 w 4510936"/>
                    <a:gd name="connsiteY35" fmla="*/ 1343654 h 3835942"/>
                    <a:gd name="connsiteX36" fmla="*/ 534966 w 4510936"/>
                    <a:gd name="connsiteY36" fmla="*/ 724623 h 3835942"/>
                    <a:gd name="connsiteX37" fmla="*/ 655270 w 4510936"/>
                    <a:gd name="connsiteY37" fmla="*/ 687278 h 3835942"/>
                    <a:gd name="connsiteX38" fmla="*/ 663127 w 4510936"/>
                    <a:gd name="connsiteY38" fmla="*/ 661967 h 3835942"/>
                    <a:gd name="connsiteX39" fmla="*/ 1282159 w 4510936"/>
                    <a:gd name="connsiteY39" fmla="*/ 251645 h 3835942"/>
                    <a:gd name="connsiteX40" fmla="*/ 1417556 w 4510936"/>
                    <a:gd name="connsiteY40" fmla="*/ 265294 h 3835942"/>
                    <a:gd name="connsiteX41" fmla="*/ 1421411 w 4510936"/>
                    <a:gd name="connsiteY41" fmla="*/ 266491 h 3835942"/>
                    <a:gd name="connsiteX42" fmla="*/ 1478933 w 4510936"/>
                    <a:gd name="connsiteY42" fmla="*/ 196773 h 3835942"/>
                    <a:gd name="connsiteX43" fmla="*/ 1953986 w 4510936"/>
                    <a:gd name="connsiteY4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850570 w 4510936"/>
                    <a:gd name="connsiteY20" fmla="*/ 2130513 h 3835942"/>
                    <a:gd name="connsiteX21" fmla="*/ 2148114 w 4510936"/>
                    <a:gd name="connsiteY21" fmla="*/ 1901913 h 3835942"/>
                    <a:gd name="connsiteX22" fmla="*/ 1556657 w 4510936"/>
                    <a:gd name="connsiteY22" fmla="*/ 2852599 h 3835942"/>
                    <a:gd name="connsiteX23" fmla="*/ 1580115 w 4510936"/>
                    <a:gd name="connsiteY23" fmla="*/ 3729193 h 3835942"/>
                    <a:gd name="connsiteX24" fmla="*/ 1581642 w 4510936"/>
                    <a:gd name="connsiteY24" fmla="*/ 3835942 h 3835942"/>
                    <a:gd name="connsiteX25" fmla="*/ 1113971 w 4510936"/>
                    <a:gd name="connsiteY25" fmla="*/ 3835942 h 3835942"/>
                    <a:gd name="connsiteX26" fmla="*/ 836413 w 4510936"/>
                    <a:gd name="connsiteY26" fmla="*/ 3086585 h 3835942"/>
                    <a:gd name="connsiteX27" fmla="*/ 116170 w 4510936"/>
                    <a:gd name="connsiteY27" fmla="*/ 2308285 h 3835942"/>
                    <a:gd name="connsiteX28" fmla="*/ 118297 w 4510936"/>
                    <a:gd name="connsiteY28" fmla="*/ 2287181 h 3835942"/>
                    <a:gd name="connsiteX29" fmla="*/ 98842 w 4510936"/>
                    <a:gd name="connsiteY29" fmla="*/ 2263602 h 3835942"/>
                    <a:gd name="connsiteX30" fmla="*/ 0 w 4510936"/>
                    <a:gd name="connsiteY30" fmla="*/ 1940013 h 3835942"/>
                    <a:gd name="connsiteX31" fmla="*/ 98842 w 4510936"/>
                    <a:gd name="connsiteY31" fmla="*/ 1616424 h 3835942"/>
                    <a:gd name="connsiteX32" fmla="*/ 158494 w 4510936"/>
                    <a:gd name="connsiteY32" fmla="*/ 1544125 h 3835942"/>
                    <a:gd name="connsiteX33" fmla="*/ 138294 w 4510936"/>
                    <a:gd name="connsiteY33" fmla="*/ 1479051 h 3835942"/>
                    <a:gd name="connsiteX34" fmla="*/ 124645 w 4510936"/>
                    <a:gd name="connsiteY34" fmla="*/ 1343654 h 3835942"/>
                    <a:gd name="connsiteX35" fmla="*/ 534966 w 4510936"/>
                    <a:gd name="connsiteY35" fmla="*/ 724623 h 3835942"/>
                    <a:gd name="connsiteX36" fmla="*/ 655270 w 4510936"/>
                    <a:gd name="connsiteY36" fmla="*/ 687278 h 3835942"/>
                    <a:gd name="connsiteX37" fmla="*/ 663127 w 4510936"/>
                    <a:gd name="connsiteY37" fmla="*/ 661967 h 3835942"/>
                    <a:gd name="connsiteX38" fmla="*/ 1282159 w 4510936"/>
                    <a:gd name="connsiteY38" fmla="*/ 251645 h 3835942"/>
                    <a:gd name="connsiteX39" fmla="*/ 1417556 w 4510936"/>
                    <a:gd name="connsiteY39" fmla="*/ 265294 h 3835942"/>
                    <a:gd name="connsiteX40" fmla="*/ 1421411 w 4510936"/>
                    <a:gd name="connsiteY40" fmla="*/ 266491 h 3835942"/>
                    <a:gd name="connsiteX41" fmla="*/ 1478933 w 4510936"/>
                    <a:gd name="connsiteY41" fmla="*/ 196773 h 3835942"/>
                    <a:gd name="connsiteX42" fmla="*/ 1953986 w 4510936"/>
                    <a:gd name="connsiteY4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850570 w 4510936"/>
                    <a:gd name="connsiteY19" fmla="*/ 2130513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33865 w 4510936"/>
                    <a:gd name="connsiteY19" fmla="*/ 1977965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33865 w 4510936"/>
                    <a:gd name="connsiteY18" fmla="*/ 1977965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48114 w 4510936"/>
                    <a:gd name="connsiteY18" fmla="*/ 1901913 h 3835942"/>
                    <a:gd name="connsiteX19" fmla="*/ 1556657 w 4510936"/>
                    <a:gd name="connsiteY19" fmla="*/ 2852599 h 3835942"/>
                    <a:gd name="connsiteX20" fmla="*/ 1580115 w 4510936"/>
                    <a:gd name="connsiteY20" fmla="*/ 3729193 h 3835942"/>
                    <a:gd name="connsiteX21" fmla="*/ 1581642 w 4510936"/>
                    <a:gd name="connsiteY21" fmla="*/ 3835942 h 3835942"/>
                    <a:gd name="connsiteX22" fmla="*/ 1113971 w 4510936"/>
                    <a:gd name="connsiteY22" fmla="*/ 3835942 h 3835942"/>
                    <a:gd name="connsiteX23" fmla="*/ 836413 w 4510936"/>
                    <a:gd name="connsiteY23" fmla="*/ 3086585 h 3835942"/>
                    <a:gd name="connsiteX24" fmla="*/ 116170 w 4510936"/>
                    <a:gd name="connsiteY24" fmla="*/ 2308285 h 3835942"/>
                    <a:gd name="connsiteX25" fmla="*/ 118297 w 4510936"/>
                    <a:gd name="connsiteY25" fmla="*/ 2287181 h 3835942"/>
                    <a:gd name="connsiteX26" fmla="*/ 98842 w 4510936"/>
                    <a:gd name="connsiteY26" fmla="*/ 2263602 h 3835942"/>
                    <a:gd name="connsiteX27" fmla="*/ 0 w 4510936"/>
                    <a:gd name="connsiteY27" fmla="*/ 1940013 h 3835942"/>
                    <a:gd name="connsiteX28" fmla="*/ 98842 w 4510936"/>
                    <a:gd name="connsiteY28" fmla="*/ 1616424 h 3835942"/>
                    <a:gd name="connsiteX29" fmla="*/ 158494 w 4510936"/>
                    <a:gd name="connsiteY29" fmla="*/ 1544125 h 3835942"/>
                    <a:gd name="connsiteX30" fmla="*/ 138294 w 4510936"/>
                    <a:gd name="connsiteY30" fmla="*/ 1479051 h 3835942"/>
                    <a:gd name="connsiteX31" fmla="*/ 124645 w 4510936"/>
                    <a:gd name="connsiteY31" fmla="*/ 1343654 h 3835942"/>
                    <a:gd name="connsiteX32" fmla="*/ 534966 w 4510936"/>
                    <a:gd name="connsiteY32" fmla="*/ 724623 h 3835942"/>
                    <a:gd name="connsiteX33" fmla="*/ 655270 w 4510936"/>
                    <a:gd name="connsiteY33" fmla="*/ 687278 h 3835942"/>
                    <a:gd name="connsiteX34" fmla="*/ 663127 w 4510936"/>
                    <a:gd name="connsiteY34" fmla="*/ 661967 h 3835942"/>
                    <a:gd name="connsiteX35" fmla="*/ 1282159 w 4510936"/>
                    <a:gd name="connsiteY35" fmla="*/ 251645 h 3835942"/>
                    <a:gd name="connsiteX36" fmla="*/ 1417556 w 4510936"/>
                    <a:gd name="connsiteY36" fmla="*/ 265294 h 3835942"/>
                    <a:gd name="connsiteX37" fmla="*/ 1421411 w 4510936"/>
                    <a:gd name="connsiteY37" fmla="*/ 266491 h 3835942"/>
                    <a:gd name="connsiteX38" fmla="*/ 1478933 w 4510936"/>
                    <a:gd name="connsiteY38" fmla="*/ 196773 h 3835942"/>
                    <a:gd name="connsiteX39" fmla="*/ 1953986 w 4510936"/>
                    <a:gd name="connsiteY3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556657 w 4510936"/>
                    <a:gd name="connsiteY18" fmla="*/ 2852599 h 3835942"/>
                    <a:gd name="connsiteX19" fmla="*/ 1580115 w 4510936"/>
                    <a:gd name="connsiteY19" fmla="*/ 3729193 h 3835942"/>
                    <a:gd name="connsiteX20" fmla="*/ 1581642 w 4510936"/>
                    <a:gd name="connsiteY20" fmla="*/ 3835942 h 3835942"/>
                    <a:gd name="connsiteX21" fmla="*/ 1113971 w 4510936"/>
                    <a:gd name="connsiteY21" fmla="*/ 3835942 h 3835942"/>
                    <a:gd name="connsiteX22" fmla="*/ 836413 w 4510936"/>
                    <a:gd name="connsiteY22" fmla="*/ 3086585 h 3835942"/>
                    <a:gd name="connsiteX23" fmla="*/ 116170 w 4510936"/>
                    <a:gd name="connsiteY23" fmla="*/ 2308285 h 3835942"/>
                    <a:gd name="connsiteX24" fmla="*/ 118297 w 4510936"/>
                    <a:gd name="connsiteY24" fmla="*/ 2287181 h 3835942"/>
                    <a:gd name="connsiteX25" fmla="*/ 98842 w 4510936"/>
                    <a:gd name="connsiteY25" fmla="*/ 2263602 h 3835942"/>
                    <a:gd name="connsiteX26" fmla="*/ 0 w 4510936"/>
                    <a:gd name="connsiteY26" fmla="*/ 1940013 h 3835942"/>
                    <a:gd name="connsiteX27" fmla="*/ 98842 w 4510936"/>
                    <a:gd name="connsiteY27" fmla="*/ 1616424 h 3835942"/>
                    <a:gd name="connsiteX28" fmla="*/ 158494 w 4510936"/>
                    <a:gd name="connsiteY28" fmla="*/ 1544125 h 3835942"/>
                    <a:gd name="connsiteX29" fmla="*/ 138294 w 4510936"/>
                    <a:gd name="connsiteY29" fmla="*/ 1479051 h 3835942"/>
                    <a:gd name="connsiteX30" fmla="*/ 124645 w 4510936"/>
                    <a:gd name="connsiteY30" fmla="*/ 1343654 h 3835942"/>
                    <a:gd name="connsiteX31" fmla="*/ 534966 w 4510936"/>
                    <a:gd name="connsiteY31" fmla="*/ 724623 h 3835942"/>
                    <a:gd name="connsiteX32" fmla="*/ 655270 w 4510936"/>
                    <a:gd name="connsiteY32" fmla="*/ 687278 h 3835942"/>
                    <a:gd name="connsiteX33" fmla="*/ 663127 w 4510936"/>
                    <a:gd name="connsiteY33" fmla="*/ 661967 h 3835942"/>
                    <a:gd name="connsiteX34" fmla="*/ 1282159 w 4510936"/>
                    <a:gd name="connsiteY34" fmla="*/ 251645 h 3835942"/>
                    <a:gd name="connsiteX35" fmla="*/ 1417556 w 4510936"/>
                    <a:gd name="connsiteY35" fmla="*/ 265294 h 3835942"/>
                    <a:gd name="connsiteX36" fmla="*/ 1421411 w 4510936"/>
                    <a:gd name="connsiteY36" fmla="*/ 266491 h 3835942"/>
                    <a:gd name="connsiteX37" fmla="*/ 1478933 w 4510936"/>
                    <a:gd name="connsiteY37" fmla="*/ 196773 h 3835942"/>
                    <a:gd name="connsiteX38" fmla="*/ 1953986 w 4510936"/>
                    <a:gd name="connsiteY3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0115 w 4510936"/>
                    <a:gd name="connsiteY18" fmla="*/ 3729193 h 3835942"/>
                    <a:gd name="connsiteX19" fmla="*/ 1581642 w 4510936"/>
                    <a:gd name="connsiteY19" fmla="*/ 3835942 h 3835942"/>
                    <a:gd name="connsiteX20" fmla="*/ 1113971 w 4510936"/>
                    <a:gd name="connsiteY20" fmla="*/ 3835942 h 3835942"/>
                    <a:gd name="connsiteX21" fmla="*/ 836413 w 4510936"/>
                    <a:gd name="connsiteY21" fmla="*/ 3086585 h 3835942"/>
                    <a:gd name="connsiteX22" fmla="*/ 116170 w 4510936"/>
                    <a:gd name="connsiteY22" fmla="*/ 2308285 h 3835942"/>
                    <a:gd name="connsiteX23" fmla="*/ 118297 w 4510936"/>
                    <a:gd name="connsiteY23" fmla="*/ 2287181 h 3835942"/>
                    <a:gd name="connsiteX24" fmla="*/ 98842 w 4510936"/>
                    <a:gd name="connsiteY24" fmla="*/ 2263602 h 3835942"/>
                    <a:gd name="connsiteX25" fmla="*/ 0 w 4510936"/>
                    <a:gd name="connsiteY25" fmla="*/ 1940013 h 3835942"/>
                    <a:gd name="connsiteX26" fmla="*/ 98842 w 4510936"/>
                    <a:gd name="connsiteY26" fmla="*/ 1616424 h 3835942"/>
                    <a:gd name="connsiteX27" fmla="*/ 158494 w 4510936"/>
                    <a:gd name="connsiteY27" fmla="*/ 1544125 h 3835942"/>
                    <a:gd name="connsiteX28" fmla="*/ 138294 w 4510936"/>
                    <a:gd name="connsiteY28" fmla="*/ 1479051 h 3835942"/>
                    <a:gd name="connsiteX29" fmla="*/ 124645 w 4510936"/>
                    <a:gd name="connsiteY29" fmla="*/ 1343654 h 3835942"/>
                    <a:gd name="connsiteX30" fmla="*/ 534966 w 4510936"/>
                    <a:gd name="connsiteY30" fmla="*/ 724623 h 3835942"/>
                    <a:gd name="connsiteX31" fmla="*/ 655270 w 4510936"/>
                    <a:gd name="connsiteY31" fmla="*/ 687278 h 3835942"/>
                    <a:gd name="connsiteX32" fmla="*/ 663127 w 4510936"/>
                    <a:gd name="connsiteY32" fmla="*/ 661967 h 3835942"/>
                    <a:gd name="connsiteX33" fmla="*/ 1282159 w 4510936"/>
                    <a:gd name="connsiteY33" fmla="*/ 251645 h 3835942"/>
                    <a:gd name="connsiteX34" fmla="*/ 1417556 w 4510936"/>
                    <a:gd name="connsiteY34" fmla="*/ 265294 h 3835942"/>
                    <a:gd name="connsiteX35" fmla="*/ 1421411 w 4510936"/>
                    <a:gd name="connsiteY35" fmla="*/ 266491 h 3835942"/>
                    <a:gd name="connsiteX36" fmla="*/ 1478933 w 4510936"/>
                    <a:gd name="connsiteY36" fmla="*/ 196773 h 3835942"/>
                    <a:gd name="connsiteX37" fmla="*/ 1953986 w 4510936"/>
                    <a:gd name="connsiteY3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1642 w 4510936"/>
                    <a:gd name="connsiteY18" fmla="*/ 3835942 h 3835942"/>
                    <a:gd name="connsiteX19" fmla="*/ 1113971 w 4510936"/>
                    <a:gd name="connsiteY19" fmla="*/ 3835942 h 3835942"/>
                    <a:gd name="connsiteX20" fmla="*/ 836413 w 4510936"/>
                    <a:gd name="connsiteY20" fmla="*/ 3086585 h 3835942"/>
                    <a:gd name="connsiteX21" fmla="*/ 116170 w 4510936"/>
                    <a:gd name="connsiteY21" fmla="*/ 2308285 h 3835942"/>
                    <a:gd name="connsiteX22" fmla="*/ 118297 w 4510936"/>
                    <a:gd name="connsiteY22" fmla="*/ 2287181 h 3835942"/>
                    <a:gd name="connsiteX23" fmla="*/ 98842 w 4510936"/>
                    <a:gd name="connsiteY23" fmla="*/ 2263602 h 3835942"/>
                    <a:gd name="connsiteX24" fmla="*/ 0 w 4510936"/>
                    <a:gd name="connsiteY24" fmla="*/ 1940013 h 3835942"/>
                    <a:gd name="connsiteX25" fmla="*/ 98842 w 4510936"/>
                    <a:gd name="connsiteY25" fmla="*/ 1616424 h 3835942"/>
                    <a:gd name="connsiteX26" fmla="*/ 158494 w 4510936"/>
                    <a:gd name="connsiteY26" fmla="*/ 1544125 h 3835942"/>
                    <a:gd name="connsiteX27" fmla="*/ 138294 w 4510936"/>
                    <a:gd name="connsiteY27" fmla="*/ 1479051 h 3835942"/>
                    <a:gd name="connsiteX28" fmla="*/ 124645 w 4510936"/>
                    <a:gd name="connsiteY28" fmla="*/ 1343654 h 3835942"/>
                    <a:gd name="connsiteX29" fmla="*/ 534966 w 4510936"/>
                    <a:gd name="connsiteY29" fmla="*/ 724623 h 3835942"/>
                    <a:gd name="connsiteX30" fmla="*/ 655270 w 4510936"/>
                    <a:gd name="connsiteY30" fmla="*/ 687278 h 3835942"/>
                    <a:gd name="connsiteX31" fmla="*/ 663127 w 4510936"/>
                    <a:gd name="connsiteY31" fmla="*/ 661967 h 3835942"/>
                    <a:gd name="connsiteX32" fmla="*/ 1282159 w 4510936"/>
                    <a:gd name="connsiteY32" fmla="*/ 251645 h 3835942"/>
                    <a:gd name="connsiteX33" fmla="*/ 1417556 w 4510936"/>
                    <a:gd name="connsiteY33" fmla="*/ 265294 h 3835942"/>
                    <a:gd name="connsiteX34" fmla="*/ 1421411 w 4510936"/>
                    <a:gd name="connsiteY34" fmla="*/ 266491 h 3835942"/>
                    <a:gd name="connsiteX35" fmla="*/ 1478933 w 4510936"/>
                    <a:gd name="connsiteY35" fmla="*/ 196773 h 3835942"/>
                    <a:gd name="connsiteX36" fmla="*/ 1953986 w 4510936"/>
                    <a:gd name="connsiteY3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81642 w 4510936"/>
                    <a:gd name="connsiteY17" fmla="*/ 3835942 h 3835942"/>
                    <a:gd name="connsiteX18" fmla="*/ 1113971 w 4510936"/>
                    <a:gd name="connsiteY18" fmla="*/ 3835942 h 3835942"/>
                    <a:gd name="connsiteX19" fmla="*/ 836413 w 4510936"/>
                    <a:gd name="connsiteY19" fmla="*/ 3086585 h 3835942"/>
                    <a:gd name="connsiteX20" fmla="*/ 116170 w 4510936"/>
                    <a:gd name="connsiteY20" fmla="*/ 2308285 h 3835942"/>
                    <a:gd name="connsiteX21" fmla="*/ 118297 w 4510936"/>
                    <a:gd name="connsiteY21" fmla="*/ 2287181 h 3835942"/>
                    <a:gd name="connsiteX22" fmla="*/ 98842 w 4510936"/>
                    <a:gd name="connsiteY22" fmla="*/ 2263602 h 3835942"/>
                    <a:gd name="connsiteX23" fmla="*/ 0 w 4510936"/>
                    <a:gd name="connsiteY23" fmla="*/ 1940013 h 3835942"/>
                    <a:gd name="connsiteX24" fmla="*/ 98842 w 4510936"/>
                    <a:gd name="connsiteY24" fmla="*/ 1616424 h 3835942"/>
                    <a:gd name="connsiteX25" fmla="*/ 158494 w 4510936"/>
                    <a:gd name="connsiteY25" fmla="*/ 1544125 h 3835942"/>
                    <a:gd name="connsiteX26" fmla="*/ 138294 w 4510936"/>
                    <a:gd name="connsiteY26" fmla="*/ 1479051 h 3835942"/>
                    <a:gd name="connsiteX27" fmla="*/ 124645 w 4510936"/>
                    <a:gd name="connsiteY27" fmla="*/ 1343654 h 3835942"/>
                    <a:gd name="connsiteX28" fmla="*/ 534966 w 4510936"/>
                    <a:gd name="connsiteY28" fmla="*/ 724623 h 3835942"/>
                    <a:gd name="connsiteX29" fmla="*/ 655270 w 4510936"/>
                    <a:gd name="connsiteY29" fmla="*/ 687278 h 3835942"/>
                    <a:gd name="connsiteX30" fmla="*/ 663127 w 4510936"/>
                    <a:gd name="connsiteY30" fmla="*/ 661967 h 3835942"/>
                    <a:gd name="connsiteX31" fmla="*/ 1282159 w 4510936"/>
                    <a:gd name="connsiteY31" fmla="*/ 251645 h 3835942"/>
                    <a:gd name="connsiteX32" fmla="*/ 1417556 w 4510936"/>
                    <a:gd name="connsiteY32" fmla="*/ 265294 h 3835942"/>
                    <a:gd name="connsiteX33" fmla="*/ 1421411 w 4510936"/>
                    <a:gd name="connsiteY33" fmla="*/ 266491 h 3835942"/>
                    <a:gd name="connsiteX34" fmla="*/ 1478933 w 4510936"/>
                    <a:gd name="connsiteY34" fmla="*/ 196773 h 3835942"/>
                    <a:gd name="connsiteX35" fmla="*/ 1953986 w 4510936"/>
                    <a:gd name="connsiteY35" fmla="*/ 0 h 3835942"/>
                    <a:gd name="connsiteX0" fmla="*/ 1581642 w 4510936"/>
                    <a:gd name="connsiteY0" fmla="*/ 3835942 h 4045762"/>
                    <a:gd name="connsiteX1" fmla="*/ 1113971 w 4510936"/>
                    <a:gd name="connsiteY1" fmla="*/ 3835942 h 4045762"/>
                    <a:gd name="connsiteX2" fmla="*/ 836413 w 4510936"/>
                    <a:gd name="connsiteY2" fmla="*/ 3086585 h 4045762"/>
                    <a:gd name="connsiteX3" fmla="*/ 116170 w 4510936"/>
                    <a:gd name="connsiteY3" fmla="*/ 2308285 h 4045762"/>
                    <a:gd name="connsiteX4" fmla="*/ 118297 w 4510936"/>
                    <a:gd name="connsiteY4" fmla="*/ 2287181 h 4045762"/>
                    <a:gd name="connsiteX5" fmla="*/ 98842 w 4510936"/>
                    <a:gd name="connsiteY5" fmla="*/ 2263602 h 4045762"/>
                    <a:gd name="connsiteX6" fmla="*/ 0 w 4510936"/>
                    <a:gd name="connsiteY6" fmla="*/ 1940013 h 4045762"/>
                    <a:gd name="connsiteX7" fmla="*/ 98842 w 4510936"/>
                    <a:gd name="connsiteY7" fmla="*/ 1616424 h 4045762"/>
                    <a:gd name="connsiteX8" fmla="*/ 158494 w 4510936"/>
                    <a:gd name="connsiteY8" fmla="*/ 1544125 h 4045762"/>
                    <a:gd name="connsiteX9" fmla="*/ 138294 w 4510936"/>
                    <a:gd name="connsiteY9" fmla="*/ 1479051 h 4045762"/>
                    <a:gd name="connsiteX10" fmla="*/ 124645 w 4510936"/>
                    <a:gd name="connsiteY10" fmla="*/ 1343654 h 4045762"/>
                    <a:gd name="connsiteX11" fmla="*/ 534966 w 4510936"/>
                    <a:gd name="connsiteY11" fmla="*/ 724623 h 4045762"/>
                    <a:gd name="connsiteX12" fmla="*/ 655270 w 4510936"/>
                    <a:gd name="connsiteY12" fmla="*/ 687278 h 4045762"/>
                    <a:gd name="connsiteX13" fmla="*/ 663127 w 4510936"/>
                    <a:gd name="connsiteY13" fmla="*/ 661967 h 4045762"/>
                    <a:gd name="connsiteX14" fmla="*/ 1282159 w 4510936"/>
                    <a:gd name="connsiteY14" fmla="*/ 251645 h 4045762"/>
                    <a:gd name="connsiteX15" fmla="*/ 1417556 w 4510936"/>
                    <a:gd name="connsiteY15" fmla="*/ 265294 h 4045762"/>
                    <a:gd name="connsiteX16" fmla="*/ 1421411 w 4510936"/>
                    <a:gd name="connsiteY16" fmla="*/ 266491 h 4045762"/>
                    <a:gd name="connsiteX17" fmla="*/ 1478933 w 4510936"/>
                    <a:gd name="connsiteY17" fmla="*/ 196773 h 4045762"/>
                    <a:gd name="connsiteX18" fmla="*/ 1953986 w 4510936"/>
                    <a:gd name="connsiteY18" fmla="*/ 0 h 4045762"/>
                    <a:gd name="connsiteX19" fmla="*/ 2329611 w 4510936"/>
                    <a:gd name="connsiteY19" fmla="*/ 114738 h 4045762"/>
                    <a:gd name="connsiteX20" fmla="*/ 2418153 w 4510936"/>
                    <a:gd name="connsiteY20" fmla="*/ 187791 h 4045762"/>
                    <a:gd name="connsiteX21" fmla="*/ 2436328 w 4510936"/>
                    <a:gd name="connsiteY21" fmla="*/ 172795 h 4045762"/>
                    <a:gd name="connsiteX22" fmla="*/ 2811953 w 4510936"/>
                    <a:gd name="connsiteY22" fmla="*/ 58057 h 4045762"/>
                    <a:gd name="connsiteX23" fmla="*/ 3430985 w 4510936"/>
                    <a:gd name="connsiteY23" fmla="*/ 468379 h 4045762"/>
                    <a:gd name="connsiteX24" fmla="*/ 3439052 w 4510936"/>
                    <a:gd name="connsiteY24" fmla="*/ 494366 h 4045762"/>
                    <a:gd name="connsiteX25" fmla="*/ 3483780 w 4510936"/>
                    <a:gd name="connsiteY25" fmla="*/ 489857 h 4045762"/>
                    <a:gd name="connsiteX26" fmla="*/ 4155607 w 4510936"/>
                    <a:gd name="connsiteY26" fmla="*/ 1161684 h 4045762"/>
                    <a:gd name="connsiteX27" fmla="*/ 4153309 w 4510936"/>
                    <a:gd name="connsiteY27" fmla="*/ 1184483 h 4045762"/>
                    <a:gd name="connsiteX28" fmla="*/ 4214734 w 4510936"/>
                    <a:gd name="connsiteY28" fmla="*/ 1217823 h 4045762"/>
                    <a:gd name="connsiteX29" fmla="*/ 4510936 w 4510936"/>
                    <a:gd name="connsiteY29" fmla="*/ 1774913 h 4045762"/>
                    <a:gd name="connsiteX30" fmla="*/ 3839109 w 4510936"/>
                    <a:gd name="connsiteY30" fmla="*/ 2446740 h 4045762"/>
                    <a:gd name="connsiteX31" fmla="*/ 2763472 w 4510936"/>
                    <a:gd name="connsiteY31" fmla="*/ 2548740 h 4045762"/>
                    <a:gd name="connsiteX32" fmla="*/ 2130180 w 4510936"/>
                    <a:gd name="connsiteY32" fmla="*/ 2990785 h 4045762"/>
                    <a:gd name="connsiteX33" fmla="*/ 2009850 w 4510936"/>
                    <a:gd name="connsiteY33" fmla="*/ 3835942 h 4045762"/>
                    <a:gd name="connsiteX34" fmla="*/ 1789458 w 4510936"/>
                    <a:gd name="connsiteY34" fmla="*/ 3835942 h 4045762"/>
                    <a:gd name="connsiteX35" fmla="*/ 1791461 w 4510936"/>
                    <a:gd name="connsiteY35" fmla="*/ 4045762 h 404576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34" fmla="*/ 1789458 w 4510936"/>
                    <a:gd name="connsiteY34" fmla="*/ 3835942 h 383594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10936" h="3835942">
                      <a:moveTo>
                        <a:pt x="1113971" y="3835942"/>
                      </a:moveTo>
                      <a:cubicBezTo>
                        <a:pt x="1117004" y="3353928"/>
                        <a:pt x="1047465" y="3115028"/>
                        <a:pt x="836413" y="3086585"/>
                      </a:cubicBezTo>
                      <a:cubicBezTo>
                        <a:pt x="446170" y="3033993"/>
                        <a:pt x="116170" y="2702056"/>
                        <a:pt x="116170" y="2308285"/>
                      </a:cubicBezTo>
                      <a:lnTo>
                        <a:pt x="118297" y="2287181"/>
                      </a:lnTo>
                      <a:lnTo>
                        <a:pt x="98842" y="2263602"/>
                      </a:lnTo>
                      <a:cubicBezTo>
                        <a:pt x="36438" y="2171232"/>
                        <a:pt x="0" y="2059878"/>
                        <a:pt x="0" y="1940013"/>
                      </a:cubicBezTo>
                      <a:cubicBezTo>
                        <a:pt x="0" y="1820148"/>
                        <a:pt x="36438" y="1708794"/>
                        <a:pt x="98842" y="1616424"/>
                      </a:cubicBezTo>
                      <a:lnTo>
                        <a:pt x="158494" y="1544125"/>
                      </a:lnTo>
                      <a:lnTo>
                        <a:pt x="138294" y="1479051"/>
                      </a:lnTo>
                      <a:cubicBezTo>
                        <a:pt x="129345" y="1435316"/>
                        <a:pt x="124645" y="1390034"/>
                        <a:pt x="124645" y="1343654"/>
                      </a:cubicBezTo>
                      <a:cubicBezTo>
                        <a:pt x="124645" y="1065374"/>
                        <a:pt x="293838" y="826611"/>
                        <a:pt x="534966" y="724623"/>
                      </a:cubicBezTo>
                      <a:lnTo>
                        <a:pt x="655270" y="687278"/>
                      </a:lnTo>
                      <a:lnTo>
                        <a:pt x="663127" y="661967"/>
                      </a:lnTo>
                      <a:cubicBezTo>
                        <a:pt x="765116" y="420838"/>
                        <a:pt x="1003879" y="251645"/>
                        <a:pt x="1282159" y="251645"/>
                      </a:cubicBezTo>
                      <a:cubicBezTo>
                        <a:pt x="1328539" y="251645"/>
                        <a:pt x="1373822" y="256345"/>
                        <a:pt x="1417556" y="265294"/>
                      </a:cubicBezTo>
                      <a:lnTo>
                        <a:pt x="1421411" y="266491"/>
                      </a:lnTo>
                      <a:lnTo>
                        <a:pt x="1478933" y="196773"/>
                      </a:lnTo>
                      <a:cubicBezTo>
                        <a:pt x="1600510" y="75197"/>
                        <a:pt x="1768466" y="0"/>
                        <a:pt x="1953986" y="0"/>
                      </a:cubicBezTo>
                      <a:cubicBezTo>
                        <a:pt x="2093126" y="0"/>
                        <a:pt x="2222387" y="42298"/>
                        <a:pt x="2329611" y="114738"/>
                      </a:cubicBezTo>
                      <a:lnTo>
                        <a:pt x="2418153" y="187791"/>
                      </a:lnTo>
                      <a:lnTo>
                        <a:pt x="2436328" y="172795"/>
                      </a:lnTo>
                      <a:cubicBezTo>
                        <a:pt x="2543553" y="100355"/>
                        <a:pt x="2672813" y="58057"/>
                        <a:pt x="2811953" y="58057"/>
                      </a:cubicBezTo>
                      <a:cubicBezTo>
                        <a:pt x="3090233" y="58057"/>
                        <a:pt x="3328996" y="227250"/>
                        <a:pt x="3430985" y="468379"/>
                      </a:cubicBezTo>
                      <a:lnTo>
                        <a:pt x="3439052" y="494366"/>
                      </a:lnTo>
                      <a:lnTo>
                        <a:pt x="3483780" y="489857"/>
                      </a:lnTo>
                      <a:cubicBezTo>
                        <a:pt x="3854820" y="489857"/>
                        <a:pt x="4155607" y="790644"/>
                        <a:pt x="4155607" y="1161684"/>
                      </a:cubicBezTo>
                      <a:lnTo>
                        <a:pt x="4153309" y="1184483"/>
                      </a:lnTo>
                      <a:lnTo>
                        <a:pt x="4214734" y="1217823"/>
                      </a:lnTo>
                      <a:cubicBezTo>
                        <a:pt x="4393441" y="1338556"/>
                        <a:pt x="4510936" y="1543013"/>
                        <a:pt x="4510936" y="1774913"/>
                      </a:cubicBezTo>
                      <a:cubicBezTo>
                        <a:pt x="4510936" y="2145953"/>
                        <a:pt x="4124085" y="2449471"/>
                        <a:pt x="3839109" y="2446740"/>
                      </a:cubicBezTo>
                      <a:cubicBezTo>
                        <a:pt x="3585495" y="2638428"/>
                        <a:pt x="3061074" y="2617143"/>
                        <a:pt x="2763472" y="2548740"/>
                      </a:cubicBezTo>
                      <a:cubicBezTo>
                        <a:pt x="2701568" y="2771878"/>
                        <a:pt x="2355083" y="3064742"/>
                        <a:pt x="2130180" y="2990785"/>
                      </a:cubicBezTo>
                      <a:cubicBezTo>
                        <a:pt x="2055794" y="3192776"/>
                        <a:pt x="1994823" y="3676349"/>
                        <a:pt x="2009850" y="3835942"/>
                      </a:cubicBezTo>
                    </a:path>
                  </a:pathLst>
                </a:custGeom>
                <a:noFill/>
                <a:ln w="12700"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8" name="Group 117">
                  <a:extLst>
                    <a:ext uri="{FF2B5EF4-FFF2-40B4-BE49-F238E27FC236}">
                      <a16:creationId xmlns:a16="http://schemas.microsoft.com/office/drawing/2014/main" id="{03A88CFF-E7CD-4C75-BE75-333D16586191}"/>
                    </a:ext>
                  </a:extLst>
                </p:cNvPr>
                <p:cNvGrpSpPr/>
                <p:nvPr/>
              </p:nvGrpSpPr>
              <p:grpSpPr>
                <a:xfrm>
                  <a:off x="3558863" y="3838170"/>
                  <a:ext cx="2873016" cy="2905512"/>
                  <a:chOff x="3440120" y="3859753"/>
                  <a:chExt cx="2873016" cy="2905512"/>
                </a:xfrm>
              </p:grpSpPr>
              <p:sp>
                <p:nvSpPr>
                  <p:cNvPr id="119" name="Freeform: Shape 935">
                    <a:extLst>
                      <a:ext uri="{FF2B5EF4-FFF2-40B4-BE49-F238E27FC236}">
                        <a16:creationId xmlns:a16="http://schemas.microsoft.com/office/drawing/2014/main" id="{74D47607-800B-495E-8562-09B6CE273C03}"/>
                      </a:ext>
                    </a:extLst>
                  </p:cNvPr>
                  <p:cNvSpPr/>
                  <p:nvPr/>
                </p:nvSpPr>
                <p:spPr bwMode="auto">
                  <a:xfrm>
                    <a:off x="3729167" y="3859753"/>
                    <a:ext cx="1024256" cy="2905512"/>
                  </a:xfrm>
                  <a:custGeom>
                    <a:avLst/>
                    <a:gdLst>
                      <a:gd name="connsiteX0" fmla="*/ 343153 w 511882"/>
                      <a:gd name="connsiteY0" fmla="*/ 1460046 h 1460046"/>
                      <a:gd name="connsiteX1" fmla="*/ 334989 w 511882"/>
                      <a:gd name="connsiteY1" fmla="*/ 1013732 h 1460046"/>
                      <a:gd name="connsiteX2" fmla="*/ 253 w 511882"/>
                      <a:gd name="connsiteY2" fmla="*/ 511628 h 1460046"/>
                      <a:gd name="connsiteX3" fmla="*/ 394861 w 511882"/>
                      <a:gd name="connsiteY3" fmla="*/ 198664 h 1460046"/>
                      <a:gd name="connsiteX4" fmla="*/ 511882 w 511882"/>
                      <a:gd name="connsiteY4" fmla="*/ 0 h 1460046"/>
                      <a:gd name="connsiteX0" fmla="*/ 343139 w 511868"/>
                      <a:gd name="connsiteY0" fmla="*/ 1460046 h 1460046"/>
                      <a:gd name="connsiteX1" fmla="*/ 334975 w 511868"/>
                      <a:gd name="connsiteY1" fmla="*/ 1013732 h 1460046"/>
                      <a:gd name="connsiteX2" fmla="*/ 239 w 511868"/>
                      <a:gd name="connsiteY2" fmla="*/ 511628 h 1460046"/>
                      <a:gd name="connsiteX3" fmla="*/ 394847 w 511868"/>
                      <a:gd name="connsiteY3" fmla="*/ 198664 h 1460046"/>
                      <a:gd name="connsiteX4" fmla="*/ 511868 w 511868"/>
                      <a:gd name="connsiteY4" fmla="*/ 0 h 1460046"/>
                      <a:gd name="connsiteX0" fmla="*/ 346813 w 515542"/>
                      <a:gd name="connsiteY0" fmla="*/ 1460046 h 1460046"/>
                      <a:gd name="connsiteX1" fmla="*/ 338649 w 515542"/>
                      <a:gd name="connsiteY1" fmla="*/ 1013732 h 1460046"/>
                      <a:gd name="connsiteX2" fmla="*/ 3913 w 515542"/>
                      <a:gd name="connsiteY2" fmla="*/ 511628 h 1460046"/>
                      <a:gd name="connsiteX3" fmla="*/ 398521 w 515542"/>
                      <a:gd name="connsiteY3" fmla="*/ 198664 h 1460046"/>
                      <a:gd name="connsiteX4" fmla="*/ 515542 w 515542"/>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698" h="1460046">
                        <a:moveTo>
                          <a:pt x="345969" y="1460046"/>
                        </a:moveTo>
                        <a:cubicBezTo>
                          <a:pt x="343247" y="1279185"/>
                          <a:pt x="359576" y="1110571"/>
                          <a:pt x="337805" y="1013732"/>
                        </a:cubicBezTo>
                        <a:cubicBezTo>
                          <a:pt x="301287" y="851299"/>
                          <a:pt x="-35485" y="768576"/>
                          <a:pt x="3069" y="511628"/>
                        </a:cubicBezTo>
                        <a:cubicBezTo>
                          <a:pt x="41623" y="254680"/>
                          <a:pt x="312406" y="245835"/>
                          <a:pt x="397677" y="198664"/>
                        </a:cubicBezTo>
                        <a:cubicBezTo>
                          <a:pt x="482948" y="151493"/>
                          <a:pt x="507712" y="62166"/>
                          <a:pt x="514698" y="0"/>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0" name="Freeform: Shape 936">
                    <a:extLst>
                      <a:ext uri="{FF2B5EF4-FFF2-40B4-BE49-F238E27FC236}">
                        <a16:creationId xmlns:a16="http://schemas.microsoft.com/office/drawing/2014/main" id="{8BAB20D3-D675-41B6-88F3-520C44D0D802}"/>
                      </a:ext>
                    </a:extLst>
                  </p:cNvPr>
                  <p:cNvSpPr/>
                  <p:nvPr/>
                </p:nvSpPr>
                <p:spPr bwMode="auto">
                  <a:xfrm>
                    <a:off x="4475931" y="4041179"/>
                    <a:ext cx="1233358" cy="351610"/>
                  </a:xfrm>
                  <a:custGeom>
                    <a:avLst/>
                    <a:gdLst>
                      <a:gd name="connsiteX0" fmla="*/ 640896 w 640896"/>
                      <a:gd name="connsiteY0" fmla="*/ 0 h 180184"/>
                      <a:gd name="connsiteX1" fmla="*/ 336096 w 640896"/>
                      <a:gd name="connsiteY1" fmla="*/ 176892 h 180184"/>
                      <a:gd name="connsiteX2" fmla="*/ 0 w 640896"/>
                      <a:gd name="connsiteY2" fmla="*/ 122464 h 180184"/>
                      <a:gd name="connsiteX0" fmla="*/ 640896 w 640896"/>
                      <a:gd name="connsiteY0" fmla="*/ 0 h 181666"/>
                      <a:gd name="connsiteX1" fmla="*/ 336096 w 640896"/>
                      <a:gd name="connsiteY1" fmla="*/ 176892 h 181666"/>
                      <a:gd name="connsiteX2" fmla="*/ 0 w 640896"/>
                      <a:gd name="connsiteY2" fmla="*/ 122464 h 181666"/>
                      <a:gd name="connsiteX0" fmla="*/ 640896 w 640896"/>
                      <a:gd name="connsiteY0" fmla="*/ 0 h 122464"/>
                      <a:gd name="connsiteX1" fmla="*/ 0 w 640896"/>
                      <a:gd name="connsiteY1" fmla="*/ 122464 h 122464"/>
                      <a:gd name="connsiteX0" fmla="*/ 640896 w 640896"/>
                      <a:gd name="connsiteY0" fmla="*/ 0 h 150251"/>
                      <a:gd name="connsiteX1" fmla="*/ 0 w 640896"/>
                      <a:gd name="connsiteY1" fmla="*/ 122464 h 150251"/>
                      <a:gd name="connsiteX0" fmla="*/ 640896 w 640896"/>
                      <a:gd name="connsiteY0" fmla="*/ 0 h 179415"/>
                      <a:gd name="connsiteX1" fmla="*/ 0 w 640896"/>
                      <a:gd name="connsiteY1" fmla="*/ 122464 h 179415"/>
                      <a:gd name="connsiteX0" fmla="*/ 625928 w 625928"/>
                      <a:gd name="connsiteY0" fmla="*/ 0 h 176687"/>
                      <a:gd name="connsiteX1" fmla="*/ 0 w 625928"/>
                      <a:gd name="connsiteY1" fmla="*/ 118381 h 176687"/>
                      <a:gd name="connsiteX0" fmla="*/ 619774 w 619774"/>
                      <a:gd name="connsiteY0" fmla="*/ 0 h 176687"/>
                      <a:gd name="connsiteX1" fmla="*/ 0 w 619774"/>
                      <a:gd name="connsiteY1" fmla="*/ 118381 h 176687"/>
                    </a:gdLst>
                    <a:ahLst/>
                    <a:cxnLst>
                      <a:cxn ang="0">
                        <a:pos x="connsiteX0" y="connsiteY0"/>
                      </a:cxn>
                      <a:cxn ang="0">
                        <a:pos x="connsiteX1" y="connsiteY1"/>
                      </a:cxn>
                    </a:cxnLst>
                    <a:rect l="l" t="t" r="r" b="b"/>
                    <a:pathLst>
                      <a:path w="619774" h="176687">
                        <a:moveTo>
                          <a:pt x="619774" y="0"/>
                        </a:moveTo>
                        <a:cubicBezTo>
                          <a:pt x="554460" y="204107"/>
                          <a:pt x="205468" y="213631"/>
                          <a:pt x="0" y="118381"/>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1" name="Freeform: Shape 937">
                    <a:extLst>
                      <a:ext uri="{FF2B5EF4-FFF2-40B4-BE49-F238E27FC236}">
                        <a16:creationId xmlns:a16="http://schemas.microsoft.com/office/drawing/2014/main" id="{3629BF8F-93AB-46CB-9E0B-98A24FBF0CF5}"/>
                      </a:ext>
                    </a:extLst>
                  </p:cNvPr>
                  <p:cNvSpPr/>
                  <p:nvPr/>
                </p:nvSpPr>
                <p:spPr bwMode="auto">
                  <a:xfrm>
                    <a:off x="3903160" y="4041179"/>
                    <a:ext cx="285801" cy="322233"/>
                  </a:xfrm>
                  <a:custGeom>
                    <a:avLst/>
                    <a:gdLst>
                      <a:gd name="connsiteX0" fmla="*/ 0 w 136071"/>
                      <a:gd name="connsiteY0" fmla="*/ 0 h 171450"/>
                      <a:gd name="connsiteX1" fmla="*/ 108857 w 136071"/>
                      <a:gd name="connsiteY1" fmla="*/ 76200 h 171450"/>
                      <a:gd name="connsiteX2" fmla="*/ 136071 w 136071"/>
                      <a:gd name="connsiteY2"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Lst>
                    <a:ahLst/>
                    <a:cxnLst>
                      <a:cxn ang="0">
                        <a:pos x="connsiteX0" y="connsiteY0"/>
                      </a:cxn>
                      <a:cxn ang="0">
                        <a:pos x="connsiteX1" y="connsiteY1"/>
                      </a:cxn>
                    </a:cxnLst>
                    <a:rect l="l" t="t" r="r" b="b"/>
                    <a:pathLst>
                      <a:path w="136071" h="171450">
                        <a:moveTo>
                          <a:pt x="0" y="0"/>
                        </a:moveTo>
                        <a:cubicBezTo>
                          <a:pt x="90058" y="31810"/>
                          <a:pt x="113388" y="112852"/>
                          <a:pt x="136071" y="171450"/>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2" name="Freeform: Shape 938">
                    <a:extLst>
                      <a:ext uri="{FF2B5EF4-FFF2-40B4-BE49-F238E27FC236}">
                        <a16:creationId xmlns:a16="http://schemas.microsoft.com/office/drawing/2014/main" id="{93FA97AF-40F5-4DFF-BE51-F84C2D34D408}"/>
                      </a:ext>
                    </a:extLst>
                  </p:cNvPr>
                  <p:cNvSpPr/>
                  <p:nvPr/>
                </p:nvSpPr>
                <p:spPr bwMode="auto">
                  <a:xfrm>
                    <a:off x="3440120" y="4482556"/>
                    <a:ext cx="289738" cy="446794"/>
                  </a:xfrm>
                  <a:custGeom>
                    <a:avLst/>
                    <a:gdLst>
                      <a:gd name="connsiteX0" fmla="*/ 0 w 145596"/>
                      <a:gd name="connsiteY0" fmla="*/ 0 h 230238"/>
                      <a:gd name="connsiteX1" fmla="*/ 85725 w 145596"/>
                      <a:gd name="connsiteY1" fmla="*/ 201386 h 230238"/>
                      <a:gd name="connsiteX2" fmla="*/ 145596 w 145596"/>
                      <a:gd name="connsiteY2" fmla="*/ 224518 h 23023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Lst>
                    <a:ahLst/>
                    <a:cxnLst>
                      <a:cxn ang="0">
                        <a:pos x="connsiteX0" y="connsiteY0"/>
                      </a:cxn>
                      <a:cxn ang="0">
                        <a:pos x="connsiteX1" y="connsiteY1"/>
                      </a:cxn>
                    </a:cxnLst>
                    <a:rect l="l" t="t" r="r" b="b"/>
                    <a:pathLst>
                      <a:path w="145596" h="224518">
                        <a:moveTo>
                          <a:pt x="0" y="0"/>
                        </a:moveTo>
                        <a:cubicBezTo>
                          <a:pt x="12976" y="98771"/>
                          <a:pt x="56722" y="206432"/>
                          <a:pt x="145596" y="224518"/>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3" name="Freeform: Shape 939">
                    <a:extLst>
                      <a:ext uri="{FF2B5EF4-FFF2-40B4-BE49-F238E27FC236}">
                        <a16:creationId xmlns:a16="http://schemas.microsoft.com/office/drawing/2014/main" id="{0E5A4423-E8E2-42AC-99A6-ECB28EA65FFD}"/>
                      </a:ext>
                    </a:extLst>
                  </p:cNvPr>
                  <p:cNvSpPr/>
                  <p:nvPr/>
                </p:nvSpPr>
                <p:spPr bwMode="auto">
                  <a:xfrm>
                    <a:off x="3770503" y="5061350"/>
                    <a:ext cx="452182" cy="87336"/>
                  </a:xfrm>
                  <a:custGeom>
                    <a:avLst/>
                    <a:gdLst>
                      <a:gd name="connsiteX0" fmla="*/ 0 w 229961"/>
                      <a:gd name="connsiteY0" fmla="*/ 46002 h 46002"/>
                      <a:gd name="connsiteX1" fmla="*/ 111579 w 229961"/>
                      <a:gd name="connsiteY1" fmla="*/ 2459 h 46002"/>
                      <a:gd name="connsiteX2" fmla="*/ 229961 w 229961"/>
                      <a:gd name="connsiteY2" fmla="*/ 9262 h 46002"/>
                      <a:gd name="connsiteX0" fmla="*/ 0 w 227226"/>
                      <a:gd name="connsiteY0" fmla="*/ 46002 h 46002"/>
                      <a:gd name="connsiteX1" fmla="*/ 108844 w 227226"/>
                      <a:gd name="connsiteY1" fmla="*/ 2459 h 46002"/>
                      <a:gd name="connsiteX2" fmla="*/ 227226 w 227226"/>
                      <a:gd name="connsiteY2" fmla="*/ 9262 h 46002"/>
                      <a:gd name="connsiteX0" fmla="*/ 0 w 227226"/>
                      <a:gd name="connsiteY0" fmla="*/ 36740 h 36740"/>
                      <a:gd name="connsiteX1" fmla="*/ 227226 w 227226"/>
                      <a:gd name="connsiteY1" fmla="*/ 0 h 36740"/>
                      <a:gd name="connsiteX0" fmla="*/ 0 w 227226"/>
                      <a:gd name="connsiteY0" fmla="*/ 36740 h 36740"/>
                      <a:gd name="connsiteX1" fmla="*/ 227226 w 227226"/>
                      <a:gd name="connsiteY1" fmla="*/ 0 h 36740"/>
                      <a:gd name="connsiteX0" fmla="*/ 0 w 227226"/>
                      <a:gd name="connsiteY0" fmla="*/ 43887 h 43887"/>
                      <a:gd name="connsiteX1" fmla="*/ 227226 w 227226"/>
                      <a:gd name="connsiteY1" fmla="*/ 7147 h 43887"/>
                    </a:gdLst>
                    <a:ahLst/>
                    <a:cxnLst>
                      <a:cxn ang="0">
                        <a:pos x="connsiteX0" y="connsiteY0"/>
                      </a:cxn>
                      <a:cxn ang="0">
                        <a:pos x="connsiteX1" y="connsiteY1"/>
                      </a:cxn>
                    </a:cxnLst>
                    <a:rect l="l" t="t" r="r" b="b"/>
                    <a:pathLst>
                      <a:path w="227226" h="43887">
                        <a:moveTo>
                          <a:pt x="0" y="43887"/>
                        </a:moveTo>
                        <a:cubicBezTo>
                          <a:pt x="82580" y="4289"/>
                          <a:pt x="148065" y="-10008"/>
                          <a:pt x="227226" y="7147"/>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4" name="Freeform: Shape 940">
                    <a:extLst>
                      <a:ext uri="{FF2B5EF4-FFF2-40B4-BE49-F238E27FC236}">
                        <a16:creationId xmlns:a16="http://schemas.microsoft.com/office/drawing/2014/main" id="{B177B2FD-2DA6-466F-99F0-B7450E4FFE96}"/>
                      </a:ext>
                    </a:extLst>
                  </p:cNvPr>
                  <p:cNvSpPr/>
                  <p:nvPr/>
                </p:nvSpPr>
                <p:spPr bwMode="auto">
                  <a:xfrm>
                    <a:off x="3587852" y="5344832"/>
                    <a:ext cx="315308" cy="304679"/>
                  </a:xfrm>
                  <a:custGeom>
                    <a:avLst/>
                    <a:gdLst>
                      <a:gd name="connsiteX0" fmla="*/ 0 w 171450"/>
                      <a:gd name="connsiteY0" fmla="*/ 163285 h 163285"/>
                      <a:gd name="connsiteX1" fmla="*/ 137432 w 171450"/>
                      <a:gd name="connsiteY1" fmla="*/ 59871 h 163285"/>
                      <a:gd name="connsiteX2" fmla="*/ 171450 w 171450"/>
                      <a:gd name="connsiteY2" fmla="*/ 0 h 163285"/>
                      <a:gd name="connsiteX0" fmla="*/ 0 w 155969"/>
                      <a:gd name="connsiteY0" fmla="*/ 151135 h 151135"/>
                      <a:gd name="connsiteX1" fmla="*/ 121951 w 155969"/>
                      <a:gd name="connsiteY1" fmla="*/ 59871 h 151135"/>
                      <a:gd name="connsiteX2" fmla="*/ 155969 w 155969"/>
                      <a:gd name="connsiteY2"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Lst>
                    <a:ahLst/>
                    <a:cxnLst>
                      <a:cxn ang="0">
                        <a:pos x="connsiteX0" y="connsiteY0"/>
                      </a:cxn>
                      <a:cxn ang="0">
                        <a:pos x="connsiteX1" y="connsiteY1"/>
                      </a:cxn>
                    </a:cxnLst>
                    <a:rect l="l" t="t" r="r" b="b"/>
                    <a:pathLst>
                      <a:path w="155969" h="151135">
                        <a:moveTo>
                          <a:pt x="0" y="151135"/>
                        </a:moveTo>
                        <a:cubicBezTo>
                          <a:pt x="67471" y="118307"/>
                          <a:pt x="120134" y="58477"/>
                          <a:pt x="155969" y="0"/>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5" name="Freeform: Shape 941">
                    <a:extLst>
                      <a:ext uri="{FF2B5EF4-FFF2-40B4-BE49-F238E27FC236}">
                        <a16:creationId xmlns:a16="http://schemas.microsoft.com/office/drawing/2014/main" id="{DBC7548A-FAB9-4300-9939-5F4560ACAC6D}"/>
                      </a:ext>
                    </a:extLst>
                  </p:cNvPr>
                  <p:cNvSpPr/>
                  <p:nvPr/>
                </p:nvSpPr>
                <p:spPr bwMode="auto">
                  <a:xfrm>
                    <a:off x="4642401" y="4363411"/>
                    <a:ext cx="179213" cy="831307"/>
                  </a:xfrm>
                  <a:custGeom>
                    <a:avLst/>
                    <a:gdLst>
                      <a:gd name="connsiteX0" fmla="*/ 0 w 100249"/>
                      <a:gd name="connsiteY0" fmla="*/ 421822 h 421822"/>
                      <a:gd name="connsiteX1" fmla="*/ 99332 w 100249"/>
                      <a:gd name="connsiteY1" fmla="*/ 201386 h 421822"/>
                      <a:gd name="connsiteX2" fmla="*/ 48985 w 100249"/>
                      <a:gd name="connsiteY2" fmla="*/ 0 h 421822"/>
                      <a:gd name="connsiteX0" fmla="*/ 0 w 48985"/>
                      <a:gd name="connsiteY0" fmla="*/ 421822 h 421822"/>
                      <a:gd name="connsiteX1" fmla="*/ 48985 w 48985"/>
                      <a:gd name="connsiteY1" fmla="*/ 0 h 421822"/>
                      <a:gd name="connsiteX0" fmla="*/ 0 w 52272"/>
                      <a:gd name="connsiteY0" fmla="*/ 421822 h 421822"/>
                      <a:gd name="connsiteX1" fmla="*/ 48985 w 52272"/>
                      <a:gd name="connsiteY1" fmla="*/ 0 h 421822"/>
                      <a:gd name="connsiteX0" fmla="*/ 0 w 89757"/>
                      <a:gd name="connsiteY0" fmla="*/ 421822 h 421822"/>
                      <a:gd name="connsiteX1" fmla="*/ 48985 w 89757"/>
                      <a:gd name="connsiteY1" fmla="*/ 0 h 421822"/>
                      <a:gd name="connsiteX0" fmla="*/ 0 w 90056"/>
                      <a:gd name="connsiteY0" fmla="*/ 421822 h 421822"/>
                      <a:gd name="connsiteX1" fmla="*/ 48985 w 90056"/>
                      <a:gd name="connsiteY1" fmla="*/ 0 h 421822"/>
                    </a:gdLst>
                    <a:ahLst/>
                    <a:cxnLst>
                      <a:cxn ang="0">
                        <a:pos x="connsiteX0" y="connsiteY0"/>
                      </a:cxn>
                      <a:cxn ang="0">
                        <a:pos x="connsiteX1" y="connsiteY1"/>
                      </a:cxn>
                    </a:cxnLst>
                    <a:rect l="l" t="t" r="r" b="b"/>
                    <a:pathLst>
                      <a:path w="90056" h="421822">
                        <a:moveTo>
                          <a:pt x="0" y="421822"/>
                        </a:moveTo>
                        <a:cubicBezTo>
                          <a:pt x="90175" y="294333"/>
                          <a:pt x="123598" y="206200"/>
                          <a:pt x="48985" y="0"/>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6" name="Freeform: Shape 942">
                    <a:extLst>
                      <a:ext uri="{FF2B5EF4-FFF2-40B4-BE49-F238E27FC236}">
                        <a16:creationId xmlns:a16="http://schemas.microsoft.com/office/drawing/2014/main" id="{BA84792D-1D49-4D15-969B-2150E476AD3D}"/>
                      </a:ext>
                    </a:extLst>
                  </p:cNvPr>
                  <p:cNvSpPr/>
                  <p:nvPr/>
                </p:nvSpPr>
                <p:spPr bwMode="auto">
                  <a:xfrm>
                    <a:off x="4785632" y="4875193"/>
                    <a:ext cx="414582" cy="100715"/>
                  </a:xfrm>
                  <a:custGeom>
                    <a:avLst/>
                    <a:gdLst>
                      <a:gd name="connsiteX0" fmla="*/ 213632 w 213632"/>
                      <a:gd name="connsiteY0" fmla="*/ 0 h 55831"/>
                      <a:gd name="connsiteX1" fmla="*/ 84364 w 213632"/>
                      <a:gd name="connsiteY1" fmla="*/ 53067 h 55831"/>
                      <a:gd name="connsiteX2" fmla="*/ 0 w 213632"/>
                      <a:gd name="connsiteY2" fmla="*/ 43542 h 55831"/>
                      <a:gd name="connsiteX0" fmla="*/ 213632 w 213632"/>
                      <a:gd name="connsiteY0" fmla="*/ 0 h 43542"/>
                      <a:gd name="connsiteX1" fmla="*/ 0 w 213632"/>
                      <a:gd name="connsiteY1" fmla="*/ 43542 h 43542"/>
                      <a:gd name="connsiteX0" fmla="*/ 213632 w 213632"/>
                      <a:gd name="connsiteY0" fmla="*/ 0 h 48873"/>
                      <a:gd name="connsiteX1" fmla="*/ 0 w 213632"/>
                      <a:gd name="connsiteY1" fmla="*/ 43542 h 48873"/>
                      <a:gd name="connsiteX0" fmla="*/ 213632 w 213632"/>
                      <a:gd name="connsiteY0" fmla="*/ 0 h 51702"/>
                      <a:gd name="connsiteX1" fmla="*/ 0 w 213632"/>
                      <a:gd name="connsiteY1" fmla="*/ 43542 h 51702"/>
                      <a:gd name="connsiteX0" fmla="*/ 213632 w 213632"/>
                      <a:gd name="connsiteY0" fmla="*/ 0 h 50610"/>
                      <a:gd name="connsiteX1" fmla="*/ 0 w 213632"/>
                      <a:gd name="connsiteY1" fmla="*/ 43542 h 50610"/>
                    </a:gdLst>
                    <a:ahLst/>
                    <a:cxnLst>
                      <a:cxn ang="0">
                        <a:pos x="connsiteX0" y="connsiteY0"/>
                      </a:cxn>
                      <a:cxn ang="0">
                        <a:pos x="connsiteX1" y="connsiteY1"/>
                      </a:cxn>
                    </a:cxnLst>
                    <a:rect l="l" t="t" r="r" b="b"/>
                    <a:pathLst>
                      <a:path w="213632" h="50610">
                        <a:moveTo>
                          <a:pt x="213632" y="0"/>
                        </a:moveTo>
                        <a:cubicBezTo>
                          <a:pt x="168195" y="32976"/>
                          <a:pt x="91725" y="65268"/>
                          <a:pt x="0" y="43542"/>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7" name="Freeform: Shape 943">
                    <a:extLst>
                      <a:ext uri="{FF2B5EF4-FFF2-40B4-BE49-F238E27FC236}">
                        <a16:creationId xmlns:a16="http://schemas.microsoft.com/office/drawing/2014/main" id="{9811BB00-A8AF-4859-A4CC-0EEF1B60011D}"/>
                      </a:ext>
                    </a:extLst>
                  </p:cNvPr>
                  <p:cNvSpPr/>
                  <p:nvPr/>
                </p:nvSpPr>
                <p:spPr bwMode="auto">
                  <a:xfrm>
                    <a:off x="5311236" y="4363412"/>
                    <a:ext cx="1001900" cy="308046"/>
                  </a:xfrm>
                  <a:custGeom>
                    <a:avLst/>
                    <a:gdLst>
                      <a:gd name="connsiteX0" fmla="*/ 503464 w 503464"/>
                      <a:gd name="connsiteY0" fmla="*/ 106135 h 154882"/>
                      <a:gd name="connsiteX1" fmla="*/ 216354 w 503464"/>
                      <a:gd name="connsiteY1" fmla="*/ 149678 h 154882"/>
                      <a:gd name="connsiteX2" fmla="*/ 0 w 503464"/>
                      <a:gd name="connsiteY2" fmla="*/ 0 h 154882"/>
                      <a:gd name="connsiteX0" fmla="*/ 503464 w 503464"/>
                      <a:gd name="connsiteY0" fmla="*/ 106135 h 106135"/>
                      <a:gd name="connsiteX1" fmla="*/ 0 w 503464"/>
                      <a:gd name="connsiteY1" fmla="*/ 0 h 106135"/>
                      <a:gd name="connsiteX0" fmla="*/ 503464 w 503464"/>
                      <a:gd name="connsiteY0" fmla="*/ 106135 h 106135"/>
                      <a:gd name="connsiteX1" fmla="*/ 0 w 503464"/>
                      <a:gd name="connsiteY1" fmla="*/ 0 h 106135"/>
                      <a:gd name="connsiteX0" fmla="*/ 503464 w 503464"/>
                      <a:gd name="connsiteY0" fmla="*/ 106135 h 154796"/>
                      <a:gd name="connsiteX1" fmla="*/ 0 w 503464"/>
                      <a:gd name="connsiteY1" fmla="*/ 0 h 154796"/>
                    </a:gdLst>
                    <a:ahLst/>
                    <a:cxnLst>
                      <a:cxn ang="0">
                        <a:pos x="connsiteX0" y="connsiteY0"/>
                      </a:cxn>
                      <a:cxn ang="0">
                        <a:pos x="connsiteX1" y="connsiteY1"/>
                      </a:cxn>
                    </a:cxnLst>
                    <a:rect l="l" t="t" r="r" b="b"/>
                    <a:pathLst>
                      <a:path w="503464" h="154796">
                        <a:moveTo>
                          <a:pt x="503464" y="106135"/>
                        </a:moveTo>
                        <a:cubicBezTo>
                          <a:pt x="387609" y="195203"/>
                          <a:pt x="72093" y="163243"/>
                          <a:pt x="0" y="0"/>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8" name="Freeform: Shape 944">
                    <a:extLst>
                      <a:ext uri="{FF2B5EF4-FFF2-40B4-BE49-F238E27FC236}">
                        <a16:creationId xmlns:a16="http://schemas.microsoft.com/office/drawing/2014/main" id="{71C101D3-6B05-4504-9334-3B4EBFF439DB}"/>
                      </a:ext>
                    </a:extLst>
                  </p:cNvPr>
                  <p:cNvSpPr/>
                  <p:nvPr/>
                </p:nvSpPr>
                <p:spPr bwMode="auto">
                  <a:xfrm>
                    <a:off x="5863318" y="4671458"/>
                    <a:ext cx="349629" cy="604494"/>
                  </a:xfrm>
                  <a:custGeom>
                    <a:avLst/>
                    <a:gdLst>
                      <a:gd name="connsiteX0" fmla="*/ 187779 w 187779"/>
                      <a:gd name="connsiteY0" fmla="*/ 318407 h 318407"/>
                      <a:gd name="connsiteX1" fmla="*/ 99333 w 187779"/>
                      <a:gd name="connsiteY1" fmla="*/ 110218 h 318407"/>
                      <a:gd name="connsiteX2" fmla="*/ 0 w 187779"/>
                      <a:gd name="connsiteY2"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Lst>
                    <a:ahLst/>
                    <a:cxnLst>
                      <a:cxn ang="0">
                        <a:pos x="connsiteX0" y="connsiteY0"/>
                      </a:cxn>
                      <a:cxn ang="0">
                        <a:pos x="connsiteX1" y="connsiteY1"/>
                      </a:cxn>
                    </a:cxnLst>
                    <a:rect l="l" t="t" r="r" b="b"/>
                    <a:pathLst>
                      <a:path w="187779" h="318407">
                        <a:moveTo>
                          <a:pt x="187779" y="318407"/>
                        </a:moveTo>
                        <a:cubicBezTo>
                          <a:pt x="179997" y="236640"/>
                          <a:pt x="132751" y="105419"/>
                          <a:pt x="0" y="0"/>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129" name="Group 128">
                <a:extLst>
                  <a:ext uri="{FF2B5EF4-FFF2-40B4-BE49-F238E27FC236}">
                    <a16:creationId xmlns:a16="http://schemas.microsoft.com/office/drawing/2014/main" id="{398550EE-58C5-475B-9366-5696A7B2E8A0}"/>
                  </a:ext>
                </a:extLst>
              </p:cNvPr>
              <p:cNvGrpSpPr/>
              <p:nvPr/>
            </p:nvGrpSpPr>
            <p:grpSpPr>
              <a:xfrm>
                <a:off x="1826397" y="3179833"/>
                <a:ext cx="764471" cy="606801"/>
                <a:chOff x="4223626" y="2353385"/>
                <a:chExt cx="1173971" cy="931848"/>
              </a:xfrm>
            </p:grpSpPr>
            <p:grpSp>
              <p:nvGrpSpPr>
                <p:cNvPr id="130" name="Group 129">
                  <a:extLst>
                    <a:ext uri="{FF2B5EF4-FFF2-40B4-BE49-F238E27FC236}">
                      <a16:creationId xmlns:a16="http://schemas.microsoft.com/office/drawing/2014/main" id="{C1ED8025-2371-4DE7-83C8-F154E9CF56FC}"/>
                    </a:ext>
                  </a:extLst>
                </p:cNvPr>
                <p:cNvGrpSpPr/>
                <p:nvPr/>
              </p:nvGrpSpPr>
              <p:grpSpPr>
                <a:xfrm>
                  <a:off x="4273550" y="2402418"/>
                  <a:ext cx="1079500" cy="840315"/>
                  <a:chOff x="4273550" y="2402418"/>
                  <a:chExt cx="1079500" cy="840315"/>
                </a:xfrm>
              </p:grpSpPr>
              <p:cxnSp>
                <p:nvCxnSpPr>
                  <p:cNvPr id="139" name="Straight Connector 138">
                    <a:extLst>
                      <a:ext uri="{FF2B5EF4-FFF2-40B4-BE49-F238E27FC236}">
                        <a16:creationId xmlns:a16="http://schemas.microsoft.com/office/drawing/2014/main" id="{DECF136F-693D-46DE-9723-DECECA9AA19D}"/>
                      </a:ext>
                    </a:extLst>
                  </p:cNvPr>
                  <p:cNvCxnSpPr>
                    <a:cxnSpLocks/>
                  </p:cNvCxnSpPr>
                  <p:nvPr/>
                </p:nvCxnSpPr>
                <p:spPr>
                  <a:xfrm>
                    <a:off x="4997450" y="2413000"/>
                    <a:ext cx="355600" cy="23283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0" name="Straight Connector 139">
                    <a:extLst>
                      <a:ext uri="{FF2B5EF4-FFF2-40B4-BE49-F238E27FC236}">
                        <a16:creationId xmlns:a16="http://schemas.microsoft.com/office/drawing/2014/main" id="{EBC41110-E004-42A9-B8D0-573A774103A1}"/>
                      </a:ext>
                    </a:extLst>
                  </p:cNvPr>
                  <p:cNvCxnSpPr>
                    <a:cxnSpLocks/>
                  </p:cNvCxnSpPr>
                  <p:nvPr/>
                </p:nvCxnSpPr>
                <p:spPr>
                  <a:xfrm>
                    <a:off x="4997450" y="2413000"/>
                    <a:ext cx="296333" cy="72178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1" name="Straight Connector 140">
                    <a:extLst>
                      <a:ext uri="{FF2B5EF4-FFF2-40B4-BE49-F238E27FC236}">
                        <a16:creationId xmlns:a16="http://schemas.microsoft.com/office/drawing/2014/main" id="{09206B78-3035-4784-82F1-43FC922563B5}"/>
                      </a:ext>
                    </a:extLst>
                  </p:cNvPr>
                  <p:cNvCxnSpPr>
                    <a:cxnSpLocks/>
                  </p:cNvCxnSpPr>
                  <p:nvPr/>
                </p:nvCxnSpPr>
                <p:spPr>
                  <a:xfrm flipV="1">
                    <a:off x="4762500" y="3143250"/>
                    <a:ext cx="520700" cy="8678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2" name="Straight Connector 141">
                    <a:extLst>
                      <a:ext uri="{FF2B5EF4-FFF2-40B4-BE49-F238E27FC236}">
                        <a16:creationId xmlns:a16="http://schemas.microsoft.com/office/drawing/2014/main" id="{139012D2-29C2-4AF3-B084-E6065CCECE69}"/>
                      </a:ext>
                    </a:extLst>
                  </p:cNvPr>
                  <p:cNvCxnSpPr>
                    <a:cxnSpLocks/>
                  </p:cNvCxnSpPr>
                  <p:nvPr/>
                </p:nvCxnSpPr>
                <p:spPr>
                  <a:xfrm flipV="1">
                    <a:off x="5039783" y="2641600"/>
                    <a:ext cx="300567" cy="241300"/>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3" name="Straight Connector 142">
                    <a:extLst>
                      <a:ext uri="{FF2B5EF4-FFF2-40B4-BE49-F238E27FC236}">
                        <a16:creationId xmlns:a16="http://schemas.microsoft.com/office/drawing/2014/main" id="{8F45E352-67F0-4415-934C-7E7FB6ACEC39}"/>
                      </a:ext>
                    </a:extLst>
                  </p:cNvPr>
                  <p:cNvCxnSpPr>
                    <a:cxnSpLocks/>
                  </p:cNvCxnSpPr>
                  <p:nvPr/>
                </p:nvCxnSpPr>
                <p:spPr>
                  <a:xfrm flipV="1">
                    <a:off x="4413250" y="2413001"/>
                    <a:ext cx="571500" cy="126999"/>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4" name="Straight Connector 143">
                    <a:extLst>
                      <a:ext uri="{FF2B5EF4-FFF2-40B4-BE49-F238E27FC236}">
                        <a16:creationId xmlns:a16="http://schemas.microsoft.com/office/drawing/2014/main" id="{F1C7B16A-C721-4661-B87C-2A2BF6B1519E}"/>
                      </a:ext>
                    </a:extLst>
                  </p:cNvPr>
                  <p:cNvCxnSpPr>
                    <a:cxnSpLocks/>
                  </p:cNvCxnSpPr>
                  <p:nvPr/>
                </p:nvCxnSpPr>
                <p:spPr>
                  <a:xfrm flipV="1">
                    <a:off x="4703233" y="2450099"/>
                    <a:ext cx="251425" cy="248651"/>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5" name="Straight Connector 144">
                    <a:extLst>
                      <a:ext uri="{FF2B5EF4-FFF2-40B4-BE49-F238E27FC236}">
                        <a16:creationId xmlns:a16="http://schemas.microsoft.com/office/drawing/2014/main" id="{77EFB8EE-9676-45EC-8354-08F2EF9BF053}"/>
                      </a:ext>
                    </a:extLst>
                  </p:cNvPr>
                  <p:cNvCxnSpPr>
                    <a:cxnSpLocks/>
                  </p:cNvCxnSpPr>
                  <p:nvPr/>
                </p:nvCxnSpPr>
                <p:spPr>
                  <a:xfrm flipV="1">
                    <a:off x="4762500" y="2402418"/>
                    <a:ext cx="232833" cy="821265"/>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6" name="Straight Connector 145">
                    <a:extLst>
                      <a:ext uri="{FF2B5EF4-FFF2-40B4-BE49-F238E27FC236}">
                        <a16:creationId xmlns:a16="http://schemas.microsoft.com/office/drawing/2014/main" id="{26545596-D48C-477C-B9A6-B563F110720C}"/>
                      </a:ext>
                    </a:extLst>
                  </p:cNvPr>
                  <p:cNvCxnSpPr>
                    <a:cxnSpLocks/>
                  </p:cNvCxnSpPr>
                  <p:nvPr/>
                </p:nvCxnSpPr>
                <p:spPr>
                  <a:xfrm flipH="1" flipV="1">
                    <a:off x="4273550" y="2984500"/>
                    <a:ext cx="495300" cy="25188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7" name="Straight Connector 146">
                    <a:extLst>
                      <a:ext uri="{FF2B5EF4-FFF2-40B4-BE49-F238E27FC236}">
                        <a16:creationId xmlns:a16="http://schemas.microsoft.com/office/drawing/2014/main" id="{3B3965A5-2268-462C-AAC2-8C532CF94990}"/>
                      </a:ext>
                    </a:extLst>
                  </p:cNvPr>
                  <p:cNvCxnSpPr>
                    <a:cxnSpLocks/>
                  </p:cNvCxnSpPr>
                  <p:nvPr/>
                </p:nvCxnSpPr>
                <p:spPr>
                  <a:xfrm flipH="1" flipV="1">
                    <a:off x="4417483" y="2537884"/>
                    <a:ext cx="647700" cy="338666"/>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8" name="Straight Connector 147">
                    <a:extLst>
                      <a:ext uri="{FF2B5EF4-FFF2-40B4-BE49-F238E27FC236}">
                        <a16:creationId xmlns:a16="http://schemas.microsoft.com/office/drawing/2014/main" id="{76625647-74C3-483E-B553-3BD23EE3C39C}"/>
                      </a:ext>
                    </a:extLst>
                  </p:cNvPr>
                  <p:cNvCxnSpPr>
                    <a:cxnSpLocks/>
                  </p:cNvCxnSpPr>
                  <p:nvPr/>
                </p:nvCxnSpPr>
                <p:spPr>
                  <a:xfrm flipV="1">
                    <a:off x="4277783" y="2874433"/>
                    <a:ext cx="770467" cy="107950"/>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9" name="Straight Connector 148">
                    <a:extLst>
                      <a:ext uri="{FF2B5EF4-FFF2-40B4-BE49-F238E27FC236}">
                        <a16:creationId xmlns:a16="http://schemas.microsoft.com/office/drawing/2014/main" id="{09044013-54C9-4EE3-8E08-C44346EFE6B7}"/>
                      </a:ext>
                    </a:extLst>
                  </p:cNvPr>
                  <p:cNvCxnSpPr>
                    <a:cxnSpLocks/>
                  </p:cNvCxnSpPr>
                  <p:nvPr/>
                </p:nvCxnSpPr>
                <p:spPr>
                  <a:xfrm flipH="1" flipV="1">
                    <a:off x="4413250" y="2531533"/>
                    <a:ext cx="353483" cy="698500"/>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0" name="Straight Connector 149">
                    <a:extLst>
                      <a:ext uri="{FF2B5EF4-FFF2-40B4-BE49-F238E27FC236}">
                        <a16:creationId xmlns:a16="http://schemas.microsoft.com/office/drawing/2014/main" id="{489AB49B-AC85-46CB-9BDF-911217A1F0E0}"/>
                      </a:ext>
                    </a:extLst>
                  </p:cNvPr>
                  <p:cNvCxnSpPr>
                    <a:cxnSpLocks/>
                  </p:cNvCxnSpPr>
                  <p:nvPr/>
                </p:nvCxnSpPr>
                <p:spPr>
                  <a:xfrm flipH="1" flipV="1">
                    <a:off x="4715933" y="2698750"/>
                    <a:ext cx="50800" cy="54398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1" name="Straight Connector 150">
                    <a:extLst>
                      <a:ext uri="{FF2B5EF4-FFF2-40B4-BE49-F238E27FC236}">
                        <a16:creationId xmlns:a16="http://schemas.microsoft.com/office/drawing/2014/main" id="{7CDF5EC2-9B50-48AC-8CFF-3BA8569B91E0}"/>
                      </a:ext>
                    </a:extLst>
                  </p:cNvPr>
                  <p:cNvCxnSpPr>
                    <a:cxnSpLocks/>
                  </p:cNvCxnSpPr>
                  <p:nvPr/>
                </p:nvCxnSpPr>
                <p:spPr>
                  <a:xfrm flipH="1" flipV="1">
                    <a:off x="5052483" y="2899834"/>
                    <a:ext cx="234950" cy="218016"/>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2" name="Straight Connector 151">
                    <a:extLst>
                      <a:ext uri="{FF2B5EF4-FFF2-40B4-BE49-F238E27FC236}">
                        <a16:creationId xmlns:a16="http://schemas.microsoft.com/office/drawing/2014/main" id="{086DF099-9E6D-45F2-B1AC-8D4457B315CF}"/>
                      </a:ext>
                    </a:extLst>
                  </p:cNvPr>
                  <p:cNvCxnSpPr>
                    <a:cxnSpLocks/>
                  </p:cNvCxnSpPr>
                  <p:nvPr/>
                </p:nvCxnSpPr>
                <p:spPr>
                  <a:xfrm flipV="1">
                    <a:off x="4762500" y="2876550"/>
                    <a:ext cx="292101" cy="34078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131" name="Oval 19">
                  <a:extLst>
                    <a:ext uri="{FF2B5EF4-FFF2-40B4-BE49-F238E27FC236}">
                      <a16:creationId xmlns:a16="http://schemas.microsoft.com/office/drawing/2014/main" id="{98B32F2A-2956-494C-BA2B-0B953A533129}"/>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a:ea typeface="+mn-ea"/>
                    <a:cs typeface="+mn-cs"/>
                  </a:endParaRPr>
                </a:p>
              </p:txBody>
            </p:sp>
            <p:sp useBgFill="1">
              <p:nvSpPr>
                <p:cNvPr id="132" name="Oval 19">
                  <a:extLst>
                    <a:ext uri="{FF2B5EF4-FFF2-40B4-BE49-F238E27FC236}">
                      <a16:creationId xmlns:a16="http://schemas.microsoft.com/office/drawing/2014/main" id="{6283AD0F-AEE6-4B7D-8F27-D9C50E91CFB3}"/>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a:ea typeface="+mn-ea"/>
                    <a:cs typeface="+mn-cs"/>
                  </a:endParaRPr>
                </a:p>
              </p:txBody>
            </p:sp>
            <p:sp useBgFill="1">
              <p:nvSpPr>
                <p:cNvPr id="133" name="Oval 19">
                  <a:extLst>
                    <a:ext uri="{FF2B5EF4-FFF2-40B4-BE49-F238E27FC236}">
                      <a16:creationId xmlns:a16="http://schemas.microsoft.com/office/drawing/2014/main" id="{418B66E4-8AF5-4FB7-A6E3-42FB954005B6}"/>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a:ea typeface="+mn-ea"/>
                    <a:cs typeface="+mn-cs"/>
                  </a:endParaRPr>
                </a:p>
              </p:txBody>
            </p:sp>
            <p:sp useBgFill="1">
              <p:nvSpPr>
                <p:cNvPr id="134" name="Oval 19">
                  <a:extLst>
                    <a:ext uri="{FF2B5EF4-FFF2-40B4-BE49-F238E27FC236}">
                      <a16:creationId xmlns:a16="http://schemas.microsoft.com/office/drawing/2014/main" id="{6EF27885-61FA-4C1A-8E94-257E7DEF4014}"/>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a:ea typeface="+mn-ea"/>
                    <a:cs typeface="+mn-cs"/>
                  </a:endParaRPr>
                </a:p>
              </p:txBody>
            </p:sp>
            <p:sp useBgFill="1">
              <p:nvSpPr>
                <p:cNvPr id="135" name="Oval 19">
                  <a:extLst>
                    <a:ext uri="{FF2B5EF4-FFF2-40B4-BE49-F238E27FC236}">
                      <a16:creationId xmlns:a16="http://schemas.microsoft.com/office/drawing/2014/main" id="{1C404463-BFC6-469A-9A78-1D3B65A0D0D1}"/>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a:ea typeface="+mn-ea"/>
                    <a:cs typeface="+mn-cs"/>
                  </a:endParaRPr>
                </a:p>
              </p:txBody>
            </p:sp>
            <p:sp useBgFill="1">
              <p:nvSpPr>
                <p:cNvPr id="136" name="Oval 19">
                  <a:extLst>
                    <a:ext uri="{FF2B5EF4-FFF2-40B4-BE49-F238E27FC236}">
                      <a16:creationId xmlns:a16="http://schemas.microsoft.com/office/drawing/2014/main" id="{116CDCBA-2113-4B1B-B931-C3123FC21A22}"/>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a:ea typeface="+mn-ea"/>
                    <a:cs typeface="+mn-cs"/>
                  </a:endParaRPr>
                </a:p>
              </p:txBody>
            </p:sp>
            <p:sp useBgFill="1">
              <p:nvSpPr>
                <p:cNvPr id="137" name="Oval 19">
                  <a:extLst>
                    <a:ext uri="{FF2B5EF4-FFF2-40B4-BE49-F238E27FC236}">
                      <a16:creationId xmlns:a16="http://schemas.microsoft.com/office/drawing/2014/main" id="{4B3B48D0-4EB6-4702-BEE9-D05FE0A52556}"/>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a:ea typeface="+mn-ea"/>
                    <a:cs typeface="+mn-cs"/>
                  </a:endParaRPr>
                </a:p>
              </p:txBody>
            </p:sp>
            <p:sp useBgFill="1">
              <p:nvSpPr>
                <p:cNvPr id="138" name="Oval 19">
                  <a:extLst>
                    <a:ext uri="{FF2B5EF4-FFF2-40B4-BE49-F238E27FC236}">
                      <a16:creationId xmlns:a16="http://schemas.microsoft.com/office/drawing/2014/main" id="{D975F671-6AF6-404E-A13A-06C36978D96F}"/>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a:ea typeface="+mn-ea"/>
                    <a:cs typeface="+mn-cs"/>
                  </a:endParaRPr>
                </a:p>
              </p:txBody>
            </p:sp>
          </p:grpSp>
        </p:grpSp>
      </p:grpSp>
      <p:grpSp>
        <p:nvGrpSpPr>
          <p:cNvPr id="280" name="Group 279">
            <a:extLst>
              <a:ext uri="{FF2B5EF4-FFF2-40B4-BE49-F238E27FC236}">
                <a16:creationId xmlns:a16="http://schemas.microsoft.com/office/drawing/2014/main" id="{DBA38EA2-A2F2-4E7B-B255-961B6B1DA799}"/>
              </a:ext>
            </a:extLst>
          </p:cNvPr>
          <p:cNvGrpSpPr/>
          <p:nvPr/>
        </p:nvGrpSpPr>
        <p:grpSpPr>
          <a:xfrm>
            <a:off x="5648099" y="2409716"/>
            <a:ext cx="1577673" cy="2749591"/>
            <a:chOff x="5761354" y="2457539"/>
            <a:chExt cx="1609309" cy="2804726"/>
          </a:xfrm>
        </p:grpSpPr>
        <p:sp>
          <p:nvSpPr>
            <p:cNvPr id="66" name="TextBox 65">
              <a:extLst>
                <a:ext uri="{FF2B5EF4-FFF2-40B4-BE49-F238E27FC236}">
                  <a16:creationId xmlns:a16="http://schemas.microsoft.com/office/drawing/2014/main" id="{0E7FAD95-104D-4DEC-A86A-F36C73BACFA1}"/>
                </a:ext>
              </a:extLst>
            </p:cNvPr>
            <p:cNvSpPr txBox="1"/>
            <p:nvPr/>
          </p:nvSpPr>
          <p:spPr>
            <a:xfrm>
              <a:off x="5772744" y="2463820"/>
              <a:ext cx="1597919" cy="550281"/>
            </a:xfrm>
            <a:prstGeom prst="rect">
              <a:avLst/>
            </a:prstGeom>
            <a:noFill/>
          </p:spPr>
          <p:txBody>
            <a:bodyPr wrap="squar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a:ea typeface="+mn-ea"/>
                  <a:cs typeface="+mn-cs"/>
                </a:rPr>
                <a:t>Experimentation and pipelines</a:t>
              </a:r>
            </a:p>
          </p:txBody>
        </p:sp>
        <p:grpSp>
          <p:nvGrpSpPr>
            <p:cNvPr id="67" name="Group 66">
              <a:extLst>
                <a:ext uri="{FF2B5EF4-FFF2-40B4-BE49-F238E27FC236}">
                  <a16:creationId xmlns:a16="http://schemas.microsoft.com/office/drawing/2014/main" id="{D7B3C6ED-23D6-4C8B-9EA8-0154B6174B55}"/>
                </a:ext>
              </a:extLst>
            </p:cNvPr>
            <p:cNvGrpSpPr/>
            <p:nvPr/>
          </p:nvGrpSpPr>
          <p:grpSpPr>
            <a:xfrm>
              <a:off x="5761354" y="2457539"/>
              <a:ext cx="1599571" cy="2804726"/>
              <a:chOff x="3208859" y="4070542"/>
              <a:chExt cx="1458309" cy="2411828"/>
            </a:xfrm>
          </p:grpSpPr>
          <p:sp>
            <p:nvSpPr>
              <p:cNvPr id="68" name="Rectangle 67">
                <a:extLst>
                  <a:ext uri="{FF2B5EF4-FFF2-40B4-BE49-F238E27FC236}">
                    <a16:creationId xmlns:a16="http://schemas.microsoft.com/office/drawing/2014/main" id="{D7E27CF5-4175-4508-9FA1-C4819E3A18BA}"/>
                  </a:ext>
                </a:extLst>
              </p:cNvPr>
              <p:cNvSpPr/>
              <p:nvPr/>
            </p:nvSpPr>
            <p:spPr bwMode="auto">
              <a:xfrm>
                <a:off x="3208859" y="4070542"/>
                <a:ext cx="1456803" cy="241182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0FD65F42-2853-4B2A-935A-2DA3680A374D}"/>
                  </a:ext>
                </a:extLst>
              </p:cNvPr>
              <p:cNvCxnSpPr>
                <a:cxnSpLocks/>
              </p:cNvCxnSpPr>
              <p:nvPr/>
            </p:nvCxnSpPr>
            <p:spPr>
              <a:xfrm>
                <a:off x="3208859" y="4541668"/>
                <a:ext cx="1458309"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4" name="Group 153">
              <a:extLst>
                <a:ext uri="{FF2B5EF4-FFF2-40B4-BE49-F238E27FC236}">
                  <a16:creationId xmlns:a16="http://schemas.microsoft.com/office/drawing/2014/main" id="{309C420D-11C2-476C-ACBA-9DE2341111F3}"/>
                </a:ext>
              </a:extLst>
            </p:cNvPr>
            <p:cNvGrpSpPr/>
            <p:nvPr/>
          </p:nvGrpSpPr>
          <p:grpSpPr>
            <a:xfrm rot="16200000">
              <a:off x="5954942" y="3927503"/>
              <a:ext cx="1233524" cy="911785"/>
              <a:chOff x="3863969" y="5013705"/>
              <a:chExt cx="909508" cy="505347"/>
            </a:xfrm>
          </p:grpSpPr>
          <p:sp>
            <p:nvSpPr>
              <p:cNvPr id="155" name="Cylinder 828">
                <a:extLst>
                  <a:ext uri="{FF2B5EF4-FFF2-40B4-BE49-F238E27FC236}">
                    <a16:creationId xmlns:a16="http://schemas.microsoft.com/office/drawing/2014/main" id="{692D54D6-9563-4F2A-8EF4-ACDE5FBC049F}"/>
                  </a:ext>
                </a:extLst>
              </p:cNvPr>
              <p:cNvSpPr/>
              <p:nvPr/>
            </p:nvSpPr>
            <p:spPr bwMode="auto">
              <a:xfrm rot="5400000">
                <a:off x="3732837" y="5144837"/>
                <a:ext cx="505346" cy="243081"/>
              </a:xfrm>
              <a:prstGeom prst="can">
                <a:avLst>
                  <a:gd name="adj" fmla="val 5000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0078D4"/>
                  </a:solidFill>
                  <a:effectLst/>
                  <a:uLnTx/>
                  <a:uFillTx/>
                  <a:latin typeface="Segoe UI Semibold"/>
                  <a:ea typeface="Segoe UI" pitchFamily="34" charset="0"/>
                  <a:cs typeface="Segoe UI" pitchFamily="34" charset="0"/>
                </a:endParaRPr>
              </a:p>
            </p:txBody>
          </p:sp>
          <p:sp>
            <p:nvSpPr>
              <p:cNvPr id="156" name="Cylinder 828">
                <a:extLst>
                  <a:ext uri="{FF2B5EF4-FFF2-40B4-BE49-F238E27FC236}">
                    <a16:creationId xmlns:a16="http://schemas.microsoft.com/office/drawing/2014/main" id="{404CC736-C870-44FC-B064-B22B4EA36B05}"/>
                  </a:ext>
                </a:extLst>
              </p:cNvPr>
              <p:cNvSpPr/>
              <p:nvPr/>
            </p:nvSpPr>
            <p:spPr bwMode="auto">
              <a:xfrm rot="5400000">
                <a:off x="4110202" y="4958596"/>
                <a:ext cx="430050" cy="615564"/>
              </a:xfrm>
              <a:prstGeom prst="can">
                <a:avLst>
                  <a:gd name="adj" fmla="val 17907"/>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0078D4"/>
                  </a:solidFill>
                  <a:effectLst/>
                  <a:uLnTx/>
                  <a:uFillTx/>
                  <a:latin typeface="Segoe UI Semibold"/>
                  <a:ea typeface="Segoe UI" pitchFamily="34" charset="0"/>
                  <a:cs typeface="Segoe UI" pitchFamily="34" charset="0"/>
                </a:endParaRPr>
              </a:p>
            </p:txBody>
          </p:sp>
          <p:sp>
            <p:nvSpPr>
              <p:cNvPr id="157" name="Cylinder 828">
                <a:extLst>
                  <a:ext uri="{FF2B5EF4-FFF2-40B4-BE49-F238E27FC236}">
                    <a16:creationId xmlns:a16="http://schemas.microsoft.com/office/drawing/2014/main" id="{CC3B40B5-2BE6-48A6-9A93-EC073419C0EE}"/>
                  </a:ext>
                </a:extLst>
              </p:cNvPr>
              <p:cNvSpPr/>
              <p:nvPr/>
            </p:nvSpPr>
            <p:spPr bwMode="auto">
              <a:xfrm rot="5400000">
                <a:off x="4399264" y="5144838"/>
                <a:ext cx="505346" cy="243081"/>
              </a:xfrm>
              <a:prstGeom prst="can">
                <a:avLst>
                  <a:gd name="adj" fmla="val 5000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0078D4"/>
                  </a:solidFill>
                  <a:effectLst/>
                  <a:uLnTx/>
                  <a:uFillTx/>
                  <a:latin typeface="Segoe UI Semibold"/>
                  <a:ea typeface="Segoe UI" pitchFamily="34" charset="0"/>
                  <a:cs typeface="Segoe UI" pitchFamily="34" charset="0"/>
                </a:endParaRPr>
              </a:p>
            </p:txBody>
          </p:sp>
        </p:grpSp>
        <p:grpSp>
          <p:nvGrpSpPr>
            <p:cNvPr id="158" name="Group 20">
              <a:extLst>
                <a:ext uri="{FF2B5EF4-FFF2-40B4-BE49-F238E27FC236}">
                  <a16:creationId xmlns:a16="http://schemas.microsoft.com/office/drawing/2014/main" id="{B905EE4C-5620-496A-A0AB-08374E607BAC}"/>
                </a:ext>
              </a:extLst>
            </p:cNvPr>
            <p:cNvGrpSpPr>
              <a:grpSpLocks noChangeAspect="1"/>
            </p:cNvGrpSpPr>
            <p:nvPr/>
          </p:nvGrpSpPr>
          <p:grpSpPr bwMode="auto">
            <a:xfrm>
              <a:off x="6352732" y="3464312"/>
              <a:ext cx="479602" cy="419822"/>
              <a:chOff x="3764" y="3313"/>
              <a:chExt cx="353" cy="309"/>
            </a:xfrm>
          </p:grpSpPr>
          <p:sp>
            <p:nvSpPr>
              <p:cNvPr id="159" name="Freeform 21">
                <a:extLst>
                  <a:ext uri="{FF2B5EF4-FFF2-40B4-BE49-F238E27FC236}">
                    <a16:creationId xmlns:a16="http://schemas.microsoft.com/office/drawing/2014/main" id="{87E8DC1C-13C8-4661-AEAE-D78A878F468E}"/>
                  </a:ext>
                </a:extLst>
              </p:cNvPr>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0" name="Freeform 22">
                <a:extLst>
                  <a:ext uri="{FF2B5EF4-FFF2-40B4-BE49-F238E27FC236}">
                    <a16:creationId xmlns:a16="http://schemas.microsoft.com/office/drawing/2014/main" id="{0E901512-1AB8-4975-947B-FB5A4DAA2BD6}"/>
                  </a:ext>
                </a:extLst>
              </p:cNvPr>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23">
                <a:extLst>
                  <a:ext uri="{FF2B5EF4-FFF2-40B4-BE49-F238E27FC236}">
                    <a16:creationId xmlns:a16="http://schemas.microsoft.com/office/drawing/2014/main" id="{E2897025-3D68-4B8B-9A92-E10568E963EC}"/>
                  </a:ext>
                </a:extLst>
              </p:cNvPr>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24">
                <a:extLst>
                  <a:ext uri="{FF2B5EF4-FFF2-40B4-BE49-F238E27FC236}">
                    <a16:creationId xmlns:a16="http://schemas.microsoft.com/office/drawing/2014/main" id="{F01F5F08-0371-48FA-8F4F-834ED7A6A332}"/>
                  </a:ext>
                </a:extLst>
              </p:cNvPr>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25">
                <a:extLst>
                  <a:ext uri="{FF2B5EF4-FFF2-40B4-BE49-F238E27FC236}">
                    <a16:creationId xmlns:a16="http://schemas.microsoft.com/office/drawing/2014/main" id="{04107197-6220-4514-B9F7-F0B78CE435D4}"/>
                  </a:ext>
                </a:extLst>
              </p:cNvPr>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26">
                <a:extLst>
                  <a:ext uri="{FF2B5EF4-FFF2-40B4-BE49-F238E27FC236}">
                    <a16:creationId xmlns:a16="http://schemas.microsoft.com/office/drawing/2014/main" id="{2FC3C904-2195-49C9-A92E-1CF512A73F9E}"/>
                  </a:ext>
                </a:extLst>
              </p:cNvPr>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5" name="Freeform 27">
                <a:extLst>
                  <a:ext uri="{FF2B5EF4-FFF2-40B4-BE49-F238E27FC236}">
                    <a16:creationId xmlns:a16="http://schemas.microsoft.com/office/drawing/2014/main" id="{32D4F55D-D688-4248-990E-33BB8BBF322B}"/>
                  </a:ext>
                </a:extLst>
              </p:cNvPr>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6" name="Freeform 28">
                <a:extLst>
                  <a:ext uri="{FF2B5EF4-FFF2-40B4-BE49-F238E27FC236}">
                    <a16:creationId xmlns:a16="http://schemas.microsoft.com/office/drawing/2014/main" id="{A54DAA4C-9B02-4AB8-866A-90B802D4BA4A}"/>
                  </a:ext>
                </a:extLst>
              </p:cNvPr>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7" name="Freeform 29">
                <a:extLst>
                  <a:ext uri="{FF2B5EF4-FFF2-40B4-BE49-F238E27FC236}">
                    <a16:creationId xmlns:a16="http://schemas.microsoft.com/office/drawing/2014/main" id="{02E70F45-9F3C-43AF-B958-B936701DA19D}"/>
                  </a:ext>
                </a:extLst>
              </p:cNvPr>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8" name="Freeform 30">
                <a:extLst>
                  <a:ext uri="{FF2B5EF4-FFF2-40B4-BE49-F238E27FC236}">
                    <a16:creationId xmlns:a16="http://schemas.microsoft.com/office/drawing/2014/main" id="{2626286D-8A71-4B38-B462-19F0E8AD4E56}"/>
                  </a:ext>
                </a:extLst>
              </p:cNvPr>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9" name="Freeform 31">
                <a:extLst>
                  <a:ext uri="{FF2B5EF4-FFF2-40B4-BE49-F238E27FC236}">
                    <a16:creationId xmlns:a16="http://schemas.microsoft.com/office/drawing/2014/main" id="{53058B24-0583-4555-AF95-12DD68395D3B}"/>
                  </a:ext>
                </a:extLst>
              </p:cNvPr>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0" name="Freeform 32">
                <a:extLst>
                  <a:ext uri="{FF2B5EF4-FFF2-40B4-BE49-F238E27FC236}">
                    <a16:creationId xmlns:a16="http://schemas.microsoft.com/office/drawing/2014/main" id="{8760C7AC-99F3-4B52-AD34-7652FF5C1BC0}"/>
                  </a:ext>
                </a:extLst>
              </p:cNvPr>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1" name="Freeform 33">
                <a:extLst>
                  <a:ext uri="{FF2B5EF4-FFF2-40B4-BE49-F238E27FC236}">
                    <a16:creationId xmlns:a16="http://schemas.microsoft.com/office/drawing/2014/main" id="{7EF4DD0E-9C9B-4590-B568-FD9893DAFE56}"/>
                  </a:ext>
                </a:extLst>
              </p:cNvPr>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2" name="Freeform 34">
                <a:extLst>
                  <a:ext uri="{FF2B5EF4-FFF2-40B4-BE49-F238E27FC236}">
                    <a16:creationId xmlns:a16="http://schemas.microsoft.com/office/drawing/2014/main" id="{14146093-CC9E-423E-A189-C832D27FE89D}"/>
                  </a:ext>
                </a:extLst>
              </p:cNvPr>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3" name="Freeform 35">
                <a:extLst>
                  <a:ext uri="{FF2B5EF4-FFF2-40B4-BE49-F238E27FC236}">
                    <a16:creationId xmlns:a16="http://schemas.microsoft.com/office/drawing/2014/main" id="{9F144BF0-C7B6-4336-B3FE-E9E26CC64D5C}"/>
                  </a:ext>
                </a:extLst>
              </p:cNvPr>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4" name="Freeform 36">
                <a:extLst>
                  <a:ext uri="{FF2B5EF4-FFF2-40B4-BE49-F238E27FC236}">
                    <a16:creationId xmlns:a16="http://schemas.microsoft.com/office/drawing/2014/main" id="{F43B98CE-2FFC-4414-A519-7F72D5018542}"/>
                  </a:ext>
                </a:extLst>
              </p:cNvPr>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5" name="Freeform 37">
                <a:extLst>
                  <a:ext uri="{FF2B5EF4-FFF2-40B4-BE49-F238E27FC236}">
                    <a16:creationId xmlns:a16="http://schemas.microsoft.com/office/drawing/2014/main" id="{910B94DC-2976-4D25-B2A7-C520786836A7}"/>
                  </a:ext>
                </a:extLst>
              </p:cNvPr>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6" name="Freeform 38">
                <a:extLst>
                  <a:ext uri="{FF2B5EF4-FFF2-40B4-BE49-F238E27FC236}">
                    <a16:creationId xmlns:a16="http://schemas.microsoft.com/office/drawing/2014/main" id="{FC6B3C98-7AAD-4AFE-A18F-D380B0E6F2A9}"/>
                  </a:ext>
                </a:extLst>
              </p:cNvPr>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279" name="Group 278">
            <a:extLst>
              <a:ext uri="{FF2B5EF4-FFF2-40B4-BE49-F238E27FC236}">
                <a16:creationId xmlns:a16="http://schemas.microsoft.com/office/drawing/2014/main" id="{15EB0153-84BE-4F40-8A25-120098F23108}"/>
              </a:ext>
            </a:extLst>
          </p:cNvPr>
          <p:cNvGrpSpPr/>
          <p:nvPr/>
        </p:nvGrpSpPr>
        <p:grpSpPr>
          <a:xfrm>
            <a:off x="3537552" y="2415666"/>
            <a:ext cx="1568127" cy="2756007"/>
            <a:chOff x="3608486" y="2463608"/>
            <a:chExt cx="1599571" cy="2811271"/>
          </a:xfrm>
        </p:grpSpPr>
        <p:sp>
          <p:nvSpPr>
            <p:cNvPr id="62" name="TextBox 61">
              <a:extLst>
                <a:ext uri="{FF2B5EF4-FFF2-40B4-BE49-F238E27FC236}">
                  <a16:creationId xmlns:a16="http://schemas.microsoft.com/office/drawing/2014/main" id="{E69A5B79-85F3-4A1A-9303-B28CA49A33B5}"/>
                </a:ext>
              </a:extLst>
            </p:cNvPr>
            <p:cNvSpPr txBox="1"/>
            <p:nvPr/>
          </p:nvSpPr>
          <p:spPr>
            <a:xfrm>
              <a:off x="3608486" y="2463608"/>
              <a:ext cx="1597919" cy="550281"/>
            </a:xfrm>
            <a:prstGeom prst="rect">
              <a:avLst/>
            </a:prstGeom>
            <a:noFill/>
          </p:spPr>
          <p:txBody>
            <a:bodyPr wrap="squar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a:ea typeface="+mn-ea"/>
                  <a:cs typeface="+mn-cs"/>
                </a:rPr>
                <a:t>Hyperparameter tuning </a:t>
              </a:r>
            </a:p>
          </p:txBody>
        </p:sp>
        <p:grpSp>
          <p:nvGrpSpPr>
            <p:cNvPr id="63" name="Group 62">
              <a:extLst>
                <a:ext uri="{FF2B5EF4-FFF2-40B4-BE49-F238E27FC236}">
                  <a16:creationId xmlns:a16="http://schemas.microsoft.com/office/drawing/2014/main" id="{9AA4F058-4864-4C86-9A04-0ECFDAAAF48B}"/>
                </a:ext>
              </a:extLst>
            </p:cNvPr>
            <p:cNvGrpSpPr/>
            <p:nvPr/>
          </p:nvGrpSpPr>
          <p:grpSpPr>
            <a:xfrm>
              <a:off x="3608486" y="2470153"/>
              <a:ext cx="1599571" cy="2804726"/>
              <a:chOff x="3208859" y="4070542"/>
              <a:chExt cx="1458309" cy="2411828"/>
            </a:xfrm>
          </p:grpSpPr>
          <p:sp>
            <p:nvSpPr>
              <p:cNvPr id="64" name="Rectangle 63">
                <a:extLst>
                  <a:ext uri="{FF2B5EF4-FFF2-40B4-BE49-F238E27FC236}">
                    <a16:creationId xmlns:a16="http://schemas.microsoft.com/office/drawing/2014/main" id="{6E466891-BC17-4D06-AA59-CB1A445B801B}"/>
                  </a:ext>
                </a:extLst>
              </p:cNvPr>
              <p:cNvSpPr/>
              <p:nvPr/>
            </p:nvSpPr>
            <p:spPr bwMode="auto">
              <a:xfrm>
                <a:off x="3208859" y="4070542"/>
                <a:ext cx="1456803" cy="241182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5" name="Straight Connector 64">
                <a:extLst>
                  <a:ext uri="{FF2B5EF4-FFF2-40B4-BE49-F238E27FC236}">
                    <a16:creationId xmlns:a16="http://schemas.microsoft.com/office/drawing/2014/main" id="{F80081D5-60DC-47B3-B05B-5AA9F79AAD17}"/>
                  </a:ext>
                </a:extLst>
              </p:cNvPr>
              <p:cNvCxnSpPr>
                <a:cxnSpLocks/>
              </p:cNvCxnSpPr>
              <p:nvPr/>
            </p:nvCxnSpPr>
            <p:spPr>
              <a:xfrm>
                <a:off x="3208859" y="4541668"/>
                <a:ext cx="1458309"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53" name="Freeform 17">
              <a:extLst>
                <a:ext uri="{FF2B5EF4-FFF2-40B4-BE49-F238E27FC236}">
                  <a16:creationId xmlns:a16="http://schemas.microsoft.com/office/drawing/2014/main" id="{0B0BEFD6-2684-4FF0-8B8A-62D1BD1BB8A2}"/>
                </a:ext>
              </a:extLst>
            </p:cNvPr>
            <p:cNvSpPr>
              <a:spLocks noEditPoints="1"/>
            </p:cNvSpPr>
            <p:nvPr/>
          </p:nvSpPr>
          <p:spPr bwMode="auto">
            <a:xfrm>
              <a:off x="3915354" y="3352113"/>
              <a:ext cx="846553" cy="780935"/>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nvGrpSpPr>
            <p:cNvPr id="177" name="Group 176">
              <a:extLst>
                <a:ext uri="{FF2B5EF4-FFF2-40B4-BE49-F238E27FC236}">
                  <a16:creationId xmlns:a16="http://schemas.microsoft.com/office/drawing/2014/main" id="{63C74CE1-33EF-4468-AC5C-72DD310B38F8}"/>
                </a:ext>
              </a:extLst>
            </p:cNvPr>
            <p:cNvGrpSpPr/>
            <p:nvPr/>
          </p:nvGrpSpPr>
          <p:grpSpPr>
            <a:xfrm>
              <a:off x="3972610" y="4239763"/>
              <a:ext cx="823081" cy="723675"/>
              <a:chOff x="5378450" y="2388754"/>
              <a:chExt cx="1314450" cy="1155700"/>
            </a:xfrm>
          </p:grpSpPr>
          <p:cxnSp>
            <p:nvCxnSpPr>
              <p:cNvPr id="178" name="Straight Connector 177">
                <a:extLst>
                  <a:ext uri="{FF2B5EF4-FFF2-40B4-BE49-F238E27FC236}">
                    <a16:creationId xmlns:a16="http://schemas.microsoft.com/office/drawing/2014/main" id="{D2B611D1-CF9D-4BC0-A2DF-56FCB6304F50}"/>
                  </a:ext>
                </a:extLst>
              </p:cNvPr>
              <p:cNvCxnSpPr/>
              <p:nvPr/>
            </p:nvCxnSpPr>
            <p:spPr>
              <a:xfrm>
                <a:off x="6035675" y="2388754"/>
                <a:ext cx="0" cy="1155700"/>
              </a:xfrm>
              <a:prstGeom prst="line">
                <a:avLst/>
              </a:prstGeom>
              <a:noFill/>
              <a:ln w="12700" cap="flat" cmpd="sng" algn="ctr">
                <a:solidFill>
                  <a:schemeClr val="tx2"/>
                </a:solidFill>
                <a:prstDash val="solid"/>
                <a:headEnd type="none"/>
                <a:tailEnd type="none"/>
              </a:ln>
              <a:effectLst/>
            </p:spPr>
          </p:cxnSp>
          <p:sp>
            <p:nvSpPr>
              <p:cNvPr id="179" name="check">
                <a:extLst>
                  <a:ext uri="{FF2B5EF4-FFF2-40B4-BE49-F238E27FC236}">
                    <a16:creationId xmlns:a16="http://schemas.microsoft.com/office/drawing/2014/main" id="{A7DD95C6-8CAF-4CBC-B09D-45C455828E0C}"/>
                  </a:ext>
                </a:extLst>
              </p:cNvPr>
              <p:cNvSpPr>
                <a:spLocks noChangeAspect="1"/>
              </p:cNvSpPr>
              <p:nvPr/>
            </p:nvSpPr>
            <p:spPr bwMode="auto">
              <a:xfrm>
                <a:off x="5565996" y="2490522"/>
                <a:ext cx="276004" cy="19489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80" name="check">
                <a:extLst>
                  <a:ext uri="{FF2B5EF4-FFF2-40B4-BE49-F238E27FC236}">
                    <a16:creationId xmlns:a16="http://schemas.microsoft.com/office/drawing/2014/main" id="{F12D4298-5B90-4B47-807F-C8517611DC01}"/>
                  </a:ext>
                </a:extLst>
              </p:cNvPr>
              <p:cNvSpPr>
                <a:spLocks noChangeAspect="1"/>
              </p:cNvSpPr>
              <p:nvPr/>
            </p:nvSpPr>
            <p:spPr bwMode="auto">
              <a:xfrm>
                <a:off x="6213696" y="2490522"/>
                <a:ext cx="276004" cy="19489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81" name="check">
                <a:extLst>
                  <a:ext uri="{FF2B5EF4-FFF2-40B4-BE49-F238E27FC236}">
                    <a16:creationId xmlns:a16="http://schemas.microsoft.com/office/drawing/2014/main" id="{385925B6-6EB4-4937-90C9-F32B5694C7FA}"/>
                  </a:ext>
                </a:extLst>
              </p:cNvPr>
              <p:cNvSpPr>
                <a:spLocks noChangeAspect="1"/>
              </p:cNvSpPr>
              <p:nvPr/>
            </p:nvSpPr>
            <p:spPr bwMode="auto">
              <a:xfrm>
                <a:off x="5565996" y="2858822"/>
                <a:ext cx="276004" cy="19489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82" name="check">
                <a:extLst>
                  <a:ext uri="{FF2B5EF4-FFF2-40B4-BE49-F238E27FC236}">
                    <a16:creationId xmlns:a16="http://schemas.microsoft.com/office/drawing/2014/main" id="{58CDAF87-473E-492F-80A0-D922B7E8C650}"/>
                  </a:ext>
                </a:extLst>
              </p:cNvPr>
              <p:cNvSpPr>
                <a:spLocks noChangeAspect="1"/>
              </p:cNvSpPr>
              <p:nvPr/>
            </p:nvSpPr>
            <p:spPr bwMode="auto">
              <a:xfrm>
                <a:off x="5565996" y="3252522"/>
                <a:ext cx="276004" cy="19489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83" name="check">
                <a:extLst>
                  <a:ext uri="{FF2B5EF4-FFF2-40B4-BE49-F238E27FC236}">
                    <a16:creationId xmlns:a16="http://schemas.microsoft.com/office/drawing/2014/main" id="{062D8735-9872-4BFB-B13B-1E4E51884F63}"/>
                  </a:ext>
                </a:extLst>
              </p:cNvPr>
              <p:cNvSpPr>
                <a:spLocks noChangeAspect="1"/>
              </p:cNvSpPr>
              <p:nvPr/>
            </p:nvSpPr>
            <p:spPr bwMode="auto">
              <a:xfrm>
                <a:off x="6213696" y="3252522"/>
                <a:ext cx="276004" cy="19489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184" name="Group 183">
                <a:extLst>
                  <a:ext uri="{FF2B5EF4-FFF2-40B4-BE49-F238E27FC236}">
                    <a16:creationId xmlns:a16="http://schemas.microsoft.com/office/drawing/2014/main" id="{0C33CE1A-07BA-4D3A-AE8F-F8CF993B6E60}"/>
                  </a:ext>
                </a:extLst>
              </p:cNvPr>
              <p:cNvGrpSpPr/>
              <p:nvPr/>
            </p:nvGrpSpPr>
            <p:grpSpPr>
              <a:xfrm>
                <a:off x="5378450" y="2782454"/>
                <a:ext cx="1314450" cy="368300"/>
                <a:chOff x="1873250" y="3079750"/>
                <a:chExt cx="1314450" cy="368300"/>
              </a:xfrm>
            </p:grpSpPr>
            <p:cxnSp>
              <p:nvCxnSpPr>
                <p:cNvPr id="185" name="Straight Connector 184">
                  <a:extLst>
                    <a:ext uri="{FF2B5EF4-FFF2-40B4-BE49-F238E27FC236}">
                      <a16:creationId xmlns:a16="http://schemas.microsoft.com/office/drawing/2014/main" id="{12F0A4C1-0DF8-4C97-B521-D8813885485F}"/>
                    </a:ext>
                  </a:extLst>
                </p:cNvPr>
                <p:cNvCxnSpPr/>
                <p:nvPr/>
              </p:nvCxnSpPr>
              <p:spPr>
                <a:xfrm>
                  <a:off x="1873250" y="3079750"/>
                  <a:ext cx="1314450" cy="0"/>
                </a:xfrm>
                <a:prstGeom prst="line">
                  <a:avLst/>
                </a:prstGeom>
                <a:noFill/>
                <a:ln w="12700" cap="flat" cmpd="sng" algn="ctr">
                  <a:solidFill>
                    <a:schemeClr val="tx2"/>
                  </a:solidFill>
                  <a:prstDash val="solid"/>
                  <a:headEnd type="none"/>
                  <a:tailEnd type="none"/>
                </a:ln>
                <a:effectLst/>
              </p:spPr>
            </p:cxnSp>
            <p:cxnSp>
              <p:nvCxnSpPr>
                <p:cNvPr id="186" name="Straight Connector 185">
                  <a:extLst>
                    <a:ext uri="{FF2B5EF4-FFF2-40B4-BE49-F238E27FC236}">
                      <a16:creationId xmlns:a16="http://schemas.microsoft.com/office/drawing/2014/main" id="{DFFF190A-B32F-4534-8763-C7198380DFB7}"/>
                    </a:ext>
                  </a:extLst>
                </p:cNvPr>
                <p:cNvCxnSpPr/>
                <p:nvPr/>
              </p:nvCxnSpPr>
              <p:spPr>
                <a:xfrm>
                  <a:off x="1873250" y="3448050"/>
                  <a:ext cx="1314450" cy="0"/>
                </a:xfrm>
                <a:prstGeom prst="line">
                  <a:avLst/>
                </a:prstGeom>
                <a:noFill/>
                <a:ln w="12700" cap="flat" cmpd="sng" algn="ctr">
                  <a:solidFill>
                    <a:schemeClr val="tx2"/>
                  </a:solidFill>
                  <a:prstDash val="solid"/>
                  <a:headEnd type="none"/>
                  <a:tailEnd type="none"/>
                </a:ln>
                <a:effectLst/>
              </p:spPr>
            </p:cxnSp>
          </p:grpSp>
        </p:grpSp>
      </p:grpSp>
      <p:grpSp>
        <p:nvGrpSpPr>
          <p:cNvPr id="282" name="Group 281">
            <a:extLst>
              <a:ext uri="{FF2B5EF4-FFF2-40B4-BE49-F238E27FC236}">
                <a16:creationId xmlns:a16="http://schemas.microsoft.com/office/drawing/2014/main" id="{37A3A77A-BB79-46FF-A4A8-62EAB264557C}"/>
              </a:ext>
            </a:extLst>
          </p:cNvPr>
          <p:cNvGrpSpPr/>
          <p:nvPr/>
        </p:nvGrpSpPr>
        <p:grpSpPr>
          <a:xfrm>
            <a:off x="9889549" y="2409716"/>
            <a:ext cx="1585325" cy="2749591"/>
            <a:chOff x="10087855" y="2457539"/>
            <a:chExt cx="1617114" cy="2804726"/>
          </a:xfrm>
        </p:grpSpPr>
        <p:grpSp>
          <p:nvGrpSpPr>
            <p:cNvPr id="75" name="Group 74">
              <a:extLst>
                <a:ext uri="{FF2B5EF4-FFF2-40B4-BE49-F238E27FC236}">
                  <a16:creationId xmlns:a16="http://schemas.microsoft.com/office/drawing/2014/main" id="{7C76C57F-AC0C-4D38-AB3A-896FAE91AAC6}"/>
                </a:ext>
              </a:extLst>
            </p:cNvPr>
            <p:cNvGrpSpPr/>
            <p:nvPr/>
          </p:nvGrpSpPr>
          <p:grpSpPr>
            <a:xfrm>
              <a:off x="10087855" y="2457539"/>
              <a:ext cx="1617114" cy="2804726"/>
              <a:chOff x="8107209" y="3065834"/>
              <a:chExt cx="1617114" cy="2804726"/>
            </a:xfrm>
          </p:grpSpPr>
          <p:grpSp>
            <p:nvGrpSpPr>
              <p:cNvPr id="76" name="Group 75">
                <a:extLst>
                  <a:ext uri="{FF2B5EF4-FFF2-40B4-BE49-F238E27FC236}">
                    <a16:creationId xmlns:a16="http://schemas.microsoft.com/office/drawing/2014/main" id="{D74D0C9C-009E-4C10-A7A3-B12A7C055179}"/>
                  </a:ext>
                </a:extLst>
              </p:cNvPr>
              <p:cNvGrpSpPr/>
              <p:nvPr/>
            </p:nvGrpSpPr>
            <p:grpSpPr>
              <a:xfrm>
                <a:off x="8107209" y="3065834"/>
                <a:ext cx="1599571" cy="2804726"/>
                <a:chOff x="3208859" y="4070542"/>
                <a:chExt cx="1458309" cy="2411828"/>
              </a:xfrm>
            </p:grpSpPr>
            <p:sp>
              <p:nvSpPr>
                <p:cNvPr id="78" name="Rectangle 77">
                  <a:extLst>
                    <a:ext uri="{FF2B5EF4-FFF2-40B4-BE49-F238E27FC236}">
                      <a16:creationId xmlns:a16="http://schemas.microsoft.com/office/drawing/2014/main" id="{A4787C52-8EE0-4FB7-A5FB-D932E60E3E80}"/>
                    </a:ext>
                  </a:extLst>
                </p:cNvPr>
                <p:cNvSpPr/>
                <p:nvPr/>
              </p:nvSpPr>
              <p:spPr bwMode="auto">
                <a:xfrm>
                  <a:off x="3208859" y="4070542"/>
                  <a:ext cx="1456803" cy="241182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9" name="Straight Connector 78">
                  <a:extLst>
                    <a:ext uri="{FF2B5EF4-FFF2-40B4-BE49-F238E27FC236}">
                      <a16:creationId xmlns:a16="http://schemas.microsoft.com/office/drawing/2014/main" id="{B6AADBBA-B6E4-4FB2-8E5E-34F06BC98129}"/>
                    </a:ext>
                  </a:extLst>
                </p:cNvPr>
                <p:cNvCxnSpPr>
                  <a:cxnSpLocks/>
                </p:cNvCxnSpPr>
                <p:nvPr/>
              </p:nvCxnSpPr>
              <p:spPr>
                <a:xfrm>
                  <a:off x="3208859" y="4541668"/>
                  <a:ext cx="1458309"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7" name="TextBox 76">
                <a:extLst>
                  <a:ext uri="{FF2B5EF4-FFF2-40B4-BE49-F238E27FC236}">
                    <a16:creationId xmlns:a16="http://schemas.microsoft.com/office/drawing/2014/main" id="{7F72A909-8D53-466B-A8FB-46CADD19FC3C}"/>
                  </a:ext>
                </a:extLst>
              </p:cNvPr>
              <p:cNvSpPr txBox="1"/>
              <p:nvPr/>
            </p:nvSpPr>
            <p:spPr>
              <a:xfrm>
                <a:off x="8126404" y="3065834"/>
                <a:ext cx="1597919" cy="550281"/>
              </a:xfrm>
              <a:prstGeom prst="rect">
                <a:avLst/>
              </a:prstGeom>
              <a:noFill/>
            </p:spPr>
            <p:txBody>
              <a:bodyPr wrap="squar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a:ea typeface="+mn-ea"/>
                    <a:cs typeface="+mn-cs"/>
                  </a:rPr>
                  <a:t>DevOps for data science</a:t>
                </a:r>
              </a:p>
            </p:txBody>
          </p:sp>
        </p:grpSp>
        <p:grpSp>
          <p:nvGrpSpPr>
            <p:cNvPr id="187" name="Group 186">
              <a:extLst>
                <a:ext uri="{FF2B5EF4-FFF2-40B4-BE49-F238E27FC236}">
                  <a16:creationId xmlns:a16="http://schemas.microsoft.com/office/drawing/2014/main" id="{97A7E32B-2DE1-409A-BF3E-1AC682462DCD}"/>
                </a:ext>
              </a:extLst>
            </p:cNvPr>
            <p:cNvGrpSpPr/>
            <p:nvPr/>
          </p:nvGrpSpPr>
          <p:grpSpPr>
            <a:xfrm>
              <a:off x="10356988" y="3378050"/>
              <a:ext cx="1119682" cy="1403911"/>
              <a:chOff x="13906501" y="3886200"/>
              <a:chExt cx="619125" cy="776287"/>
            </a:xfrm>
          </p:grpSpPr>
          <p:sp>
            <p:nvSpPr>
              <p:cNvPr id="188" name="Freeform 17">
                <a:extLst>
                  <a:ext uri="{FF2B5EF4-FFF2-40B4-BE49-F238E27FC236}">
                    <a16:creationId xmlns:a16="http://schemas.microsoft.com/office/drawing/2014/main" id="{EA44C9BD-17EE-4A88-91BB-3FB26F95980F}"/>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189" name="Freeform 18">
                <a:extLst>
                  <a:ext uri="{FF2B5EF4-FFF2-40B4-BE49-F238E27FC236}">
                    <a16:creationId xmlns:a16="http://schemas.microsoft.com/office/drawing/2014/main" id="{1A033CA0-3674-44D6-BE5D-3125550C3FCE}"/>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190" name="Line 19">
                <a:extLst>
                  <a:ext uri="{FF2B5EF4-FFF2-40B4-BE49-F238E27FC236}">
                    <a16:creationId xmlns:a16="http://schemas.microsoft.com/office/drawing/2014/main" id="{3D09CCB7-59D4-4368-87D8-D77D580943A1}"/>
                  </a:ext>
                </a:extLst>
              </p:cNvPr>
              <p:cNvSpPr>
                <a:spLocks noChangeShapeType="1"/>
              </p:cNvSpPr>
              <p:nvPr/>
            </p:nvSpPr>
            <p:spPr bwMode="auto">
              <a:xfrm>
                <a:off x="14216063" y="4221163"/>
                <a:ext cx="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191" name="Freeform 20">
                <a:extLst>
                  <a:ext uri="{FF2B5EF4-FFF2-40B4-BE49-F238E27FC236}">
                    <a16:creationId xmlns:a16="http://schemas.microsoft.com/office/drawing/2014/main" id="{0EE4CAA5-AE95-4D57-87B1-47156C139616}"/>
                  </a:ext>
                </a:extLst>
              </p:cNvPr>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192" name="Line 21">
                <a:extLst>
                  <a:ext uri="{FF2B5EF4-FFF2-40B4-BE49-F238E27FC236}">
                    <a16:creationId xmlns:a16="http://schemas.microsoft.com/office/drawing/2014/main" id="{52C99023-E9EB-44E6-B091-F83944E50972}"/>
                  </a:ext>
                </a:extLst>
              </p:cNvPr>
              <p:cNvSpPr>
                <a:spLocks noChangeShapeType="1"/>
              </p:cNvSpPr>
              <p:nvPr/>
            </p:nvSpPr>
            <p:spPr bwMode="auto">
              <a:xfrm>
                <a:off x="14216063" y="3967163"/>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193" name="Freeform 22">
                <a:extLst>
                  <a:ext uri="{FF2B5EF4-FFF2-40B4-BE49-F238E27FC236}">
                    <a16:creationId xmlns:a16="http://schemas.microsoft.com/office/drawing/2014/main" id="{0B856B7B-A532-493D-9E34-092FDE929B65}"/>
                  </a:ext>
                </a:extLst>
              </p:cNvPr>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194" name="Line 23">
                <a:extLst>
                  <a:ext uri="{FF2B5EF4-FFF2-40B4-BE49-F238E27FC236}">
                    <a16:creationId xmlns:a16="http://schemas.microsoft.com/office/drawing/2014/main" id="{2C1A2F20-22E3-48E4-85EF-16D67668E635}"/>
                  </a:ext>
                </a:extLst>
              </p:cNvPr>
              <p:cNvSpPr>
                <a:spLocks noChangeShapeType="1"/>
              </p:cNvSpPr>
              <p:nvPr/>
            </p:nvSpPr>
            <p:spPr bwMode="auto">
              <a:xfrm flipH="1">
                <a:off x="14177963" y="4581525"/>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grpSp>
        <p:grpSp>
          <p:nvGrpSpPr>
            <p:cNvPr id="249" name="Group 248">
              <a:extLst>
                <a:ext uri="{FF2B5EF4-FFF2-40B4-BE49-F238E27FC236}">
                  <a16:creationId xmlns:a16="http://schemas.microsoft.com/office/drawing/2014/main" id="{C5718830-4759-43C1-9989-9D60B785CC69}"/>
                </a:ext>
              </a:extLst>
            </p:cNvPr>
            <p:cNvGrpSpPr/>
            <p:nvPr/>
          </p:nvGrpSpPr>
          <p:grpSpPr>
            <a:xfrm>
              <a:off x="10704931" y="3715311"/>
              <a:ext cx="441410" cy="653002"/>
              <a:chOff x="7961123" y="2412912"/>
              <a:chExt cx="826716" cy="1223007"/>
            </a:xfrm>
          </p:grpSpPr>
          <p:grpSp>
            <p:nvGrpSpPr>
              <p:cNvPr id="250" name="Group 249">
                <a:extLst>
                  <a:ext uri="{FF2B5EF4-FFF2-40B4-BE49-F238E27FC236}">
                    <a16:creationId xmlns:a16="http://schemas.microsoft.com/office/drawing/2014/main" id="{46439029-7E0A-42D7-8F07-BE8A939AF371}"/>
                  </a:ext>
                </a:extLst>
              </p:cNvPr>
              <p:cNvGrpSpPr/>
              <p:nvPr/>
            </p:nvGrpSpPr>
            <p:grpSpPr>
              <a:xfrm>
                <a:off x="7961123" y="2735181"/>
                <a:ext cx="826716" cy="900738"/>
                <a:chOff x="514349" y="3279731"/>
                <a:chExt cx="2565735" cy="2795467"/>
              </a:xfrm>
            </p:grpSpPr>
            <p:sp>
              <p:nvSpPr>
                <p:cNvPr id="254" name="Line 14">
                  <a:extLst>
                    <a:ext uri="{FF2B5EF4-FFF2-40B4-BE49-F238E27FC236}">
                      <a16:creationId xmlns:a16="http://schemas.microsoft.com/office/drawing/2014/main" id="{5EF87FE7-EE48-43F9-B474-5EE906422D4E}"/>
                    </a:ext>
                  </a:extLst>
                </p:cNvPr>
                <p:cNvSpPr>
                  <a:spLocks noChangeShapeType="1"/>
                </p:cNvSpPr>
                <p:nvPr/>
              </p:nvSpPr>
              <p:spPr bwMode="auto">
                <a:xfrm>
                  <a:off x="1934666" y="3784356"/>
                  <a:ext cx="36653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55" name="Line 15">
                  <a:extLst>
                    <a:ext uri="{FF2B5EF4-FFF2-40B4-BE49-F238E27FC236}">
                      <a16:creationId xmlns:a16="http://schemas.microsoft.com/office/drawing/2014/main" id="{7CCEF1EA-872A-4D9E-9C1B-F3EAD7F4A526}"/>
                    </a:ext>
                  </a:extLst>
                </p:cNvPr>
                <p:cNvSpPr>
                  <a:spLocks noChangeShapeType="1"/>
                </p:cNvSpPr>
                <p:nvPr/>
              </p:nvSpPr>
              <p:spPr bwMode="auto">
                <a:xfrm>
                  <a:off x="1934666" y="4288341"/>
                  <a:ext cx="36653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56" name="Line 16">
                  <a:extLst>
                    <a:ext uri="{FF2B5EF4-FFF2-40B4-BE49-F238E27FC236}">
                      <a16:creationId xmlns:a16="http://schemas.microsoft.com/office/drawing/2014/main" id="{B05DB525-C127-44B2-BACB-2CC7CDB2A7BA}"/>
                    </a:ext>
                  </a:extLst>
                </p:cNvPr>
                <p:cNvSpPr>
                  <a:spLocks noChangeShapeType="1"/>
                </p:cNvSpPr>
                <p:nvPr/>
              </p:nvSpPr>
              <p:spPr bwMode="auto">
                <a:xfrm>
                  <a:off x="1934666" y="4815238"/>
                  <a:ext cx="595617"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57" name="Line 13">
                  <a:extLst>
                    <a:ext uri="{FF2B5EF4-FFF2-40B4-BE49-F238E27FC236}">
                      <a16:creationId xmlns:a16="http://schemas.microsoft.com/office/drawing/2014/main" id="{C3D315E1-1CDC-4C47-822E-1606B9693287}"/>
                    </a:ext>
                  </a:extLst>
                </p:cNvPr>
                <p:cNvSpPr>
                  <a:spLocks noChangeShapeType="1"/>
                </p:cNvSpPr>
                <p:nvPr/>
              </p:nvSpPr>
              <p:spPr bwMode="auto">
                <a:xfrm>
                  <a:off x="1064149" y="3279731"/>
                  <a:ext cx="1438419"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258" name="Freeform 12">
                  <a:extLst>
                    <a:ext uri="{FF2B5EF4-FFF2-40B4-BE49-F238E27FC236}">
                      <a16:creationId xmlns:a16="http://schemas.microsoft.com/office/drawing/2014/main" id="{B7CEF0D5-B0E9-417F-AB86-A757BAA1CB95}"/>
                    </a:ext>
                  </a:extLst>
                </p:cNvPr>
                <p:cNvSpPr>
                  <a:spLocks/>
                </p:cNvSpPr>
                <p:nvPr/>
              </p:nvSpPr>
              <p:spPr bwMode="auto">
                <a:xfrm>
                  <a:off x="514349" y="3280373"/>
                  <a:ext cx="2565735" cy="2794825"/>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251" name="Freeform 199">
                <a:extLst>
                  <a:ext uri="{FF2B5EF4-FFF2-40B4-BE49-F238E27FC236}">
                    <a16:creationId xmlns:a16="http://schemas.microsoft.com/office/drawing/2014/main" id="{AA49ACA8-FDDD-49C9-9674-5A98BBD1D59F}"/>
                  </a:ext>
                </a:extLst>
              </p:cNvPr>
              <p:cNvSpPr/>
              <p:nvPr/>
            </p:nvSpPr>
            <p:spPr bwMode="auto">
              <a:xfrm>
                <a:off x="8293354" y="2634916"/>
                <a:ext cx="128338" cy="100401"/>
              </a:xfrm>
              <a:custGeom>
                <a:avLst/>
                <a:gdLst>
                  <a:gd name="connsiteX0" fmla="*/ 64169 w 128338"/>
                  <a:gd name="connsiteY0" fmla="*/ 0 h 100401"/>
                  <a:gd name="connsiteX1" fmla="*/ 128338 w 128338"/>
                  <a:gd name="connsiteY1" fmla="*/ 64169 h 100401"/>
                  <a:gd name="connsiteX2" fmla="*/ 123295 w 128338"/>
                  <a:gd name="connsiteY2" fmla="*/ 89147 h 100401"/>
                  <a:gd name="connsiteX3" fmla="*/ 115708 w 128338"/>
                  <a:gd name="connsiteY3" fmla="*/ 100401 h 100401"/>
                  <a:gd name="connsiteX4" fmla="*/ 12631 w 128338"/>
                  <a:gd name="connsiteY4" fmla="*/ 100401 h 100401"/>
                  <a:gd name="connsiteX5" fmla="*/ 5043 w 128338"/>
                  <a:gd name="connsiteY5" fmla="*/ 89147 h 100401"/>
                  <a:gd name="connsiteX6" fmla="*/ 0 w 128338"/>
                  <a:gd name="connsiteY6" fmla="*/ 64169 h 100401"/>
                  <a:gd name="connsiteX7" fmla="*/ 64169 w 128338"/>
                  <a:gd name="connsiteY7" fmla="*/ 0 h 100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338" h="100401">
                    <a:moveTo>
                      <a:pt x="64169" y="0"/>
                    </a:moveTo>
                    <a:cubicBezTo>
                      <a:pt x="99609" y="0"/>
                      <a:pt x="128338" y="28729"/>
                      <a:pt x="128338" y="64169"/>
                    </a:cubicBezTo>
                    <a:cubicBezTo>
                      <a:pt x="128338" y="73029"/>
                      <a:pt x="126542" y="81469"/>
                      <a:pt x="123295" y="89147"/>
                    </a:cubicBezTo>
                    <a:lnTo>
                      <a:pt x="115708" y="100401"/>
                    </a:lnTo>
                    <a:lnTo>
                      <a:pt x="12631" y="100401"/>
                    </a:lnTo>
                    <a:lnTo>
                      <a:pt x="5043" y="89147"/>
                    </a:lnTo>
                    <a:cubicBezTo>
                      <a:pt x="1796" y="81469"/>
                      <a:pt x="0" y="73029"/>
                      <a:pt x="0" y="64169"/>
                    </a:cubicBezTo>
                    <a:cubicBezTo>
                      <a:pt x="0" y="28729"/>
                      <a:pt x="28729" y="0"/>
                      <a:pt x="64169" y="0"/>
                    </a:cubicBezTo>
                    <a:close/>
                  </a:path>
                </a:pathLst>
              </a:custGeom>
              <a:noFill/>
              <a:ln w="12700" cap="rnd">
                <a:solidFill>
                  <a:schemeClr val="tx2"/>
                </a:solidFill>
                <a:miter lim="800000"/>
                <a:headEnd/>
                <a:tailEnd/>
              </a:ln>
              <a:effectLst/>
            </p:spPr>
            <p:txBody>
              <a:bodyPr wrap="square" lIns="89642" tIns="44821" rIns="89642" bIns="44821" numCol="1" spcCol="0" rtlCol="0" fromWordArt="0" anchor="ctr" anchorCtr="0" forceAA="0" compatLnSpc="1"/>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2" name="Oval 251">
                <a:extLst>
                  <a:ext uri="{FF2B5EF4-FFF2-40B4-BE49-F238E27FC236}">
                    <a16:creationId xmlns:a16="http://schemas.microsoft.com/office/drawing/2014/main" id="{952CE89D-6827-492F-ACB9-7AFB5BF1EEAF}"/>
                  </a:ext>
                </a:extLst>
              </p:cNvPr>
              <p:cNvSpPr/>
              <p:nvPr/>
            </p:nvSpPr>
            <p:spPr bwMode="auto">
              <a:xfrm>
                <a:off x="8406962" y="2522482"/>
                <a:ext cx="55180" cy="55180"/>
              </a:xfrm>
              <a:prstGeom prst="ellipse">
                <a:avLst/>
              </a:prstGeom>
              <a:noFill/>
              <a:ln w="12700" cap="rnd">
                <a:solidFill>
                  <a:schemeClr val="tx2"/>
                </a:solidFill>
                <a:miter lim="800000"/>
                <a:headEnd/>
                <a:tailEnd/>
              </a:ln>
              <a:effectLst/>
            </p:spPr>
            <p:txBody>
              <a:bodyPr wrap="none" rtlCol="0"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3" name="Oval 252">
                <a:extLst>
                  <a:ext uri="{FF2B5EF4-FFF2-40B4-BE49-F238E27FC236}">
                    <a16:creationId xmlns:a16="http://schemas.microsoft.com/office/drawing/2014/main" id="{420A2DA6-1B33-4026-A6A6-A68B905796BB}"/>
                  </a:ext>
                </a:extLst>
              </p:cNvPr>
              <p:cNvSpPr/>
              <p:nvPr/>
            </p:nvSpPr>
            <p:spPr bwMode="auto">
              <a:xfrm>
                <a:off x="8321040" y="2412912"/>
                <a:ext cx="45720" cy="45720"/>
              </a:xfrm>
              <a:prstGeom prst="ellipse">
                <a:avLst/>
              </a:prstGeom>
              <a:noFill/>
              <a:ln w="12700" cap="rnd">
                <a:solidFill>
                  <a:schemeClr val="tx2"/>
                </a:solidFill>
                <a:miter lim="800000"/>
                <a:headEnd/>
                <a:tailEnd/>
              </a:ln>
              <a:effectLst/>
            </p:spPr>
            <p:txBody>
              <a:bodyPr wrap="none" rtlCol="0"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grpSp>
        <p:nvGrpSpPr>
          <p:cNvPr id="281" name="Group 280">
            <a:extLst>
              <a:ext uri="{FF2B5EF4-FFF2-40B4-BE49-F238E27FC236}">
                <a16:creationId xmlns:a16="http://schemas.microsoft.com/office/drawing/2014/main" id="{45A032EA-068C-481F-9A30-87CC2F888CF5}"/>
              </a:ext>
            </a:extLst>
          </p:cNvPr>
          <p:cNvGrpSpPr/>
          <p:nvPr/>
        </p:nvGrpSpPr>
        <p:grpSpPr>
          <a:xfrm>
            <a:off x="7779002" y="2422082"/>
            <a:ext cx="1585325" cy="2749591"/>
            <a:chOff x="7934987" y="2470153"/>
            <a:chExt cx="1617114" cy="2804726"/>
          </a:xfrm>
        </p:grpSpPr>
        <p:grpSp>
          <p:nvGrpSpPr>
            <p:cNvPr id="74" name="Group 73">
              <a:extLst>
                <a:ext uri="{FF2B5EF4-FFF2-40B4-BE49-F238E27FC236}">
                  <a16:creationId xmlns:a16="http://schemas.microsoft.com/office/drawing/2014/main" id="{4EB548B6-4225-43C8-918C-A852FBF0785C}"/>
                </a:ext>
              </a:extLst>
            </p:cNvPr>
            <p:cNvGrpSpPr/>
            <p:nvPr/>
          </p:nvGrpSpPr>
          <p:grpSpPr>
            <a:xfrm>
              <a:off x="7934987" y="2470153"/>
              <a:ext cx="1617114" cy="2804726"/>
              <a:chOff x="8107209" y="3065834"/>
              <a:chExt cx="1617114" cy="2804726"/>
            </a:xfrm>
          </p:grpSpPr>
          <p:grpSp>
            <p:nvGrpSpPr>
              <p:cNvPr id="70" name="Group 69">
                <a:extLst>
                  <a:ext uri="{FF2B5EF4-FFF2-40B4-BE49-F238E27FC236}">
                    <a16:creationId xmlns:a16="http://schemas.microsoft.com/office/drawing/2014/main" id="{65E5FA80-5F6C-47EF-B945-A24C8E25BEE7}"/>
                  </a:ext>
                </a:extLst>
              </p:cNvPr>
              <p:cNvGrpSpPr/>
              <p:nvPr/>
            </p:nvGrpSpPr>
            <p:grpSpPr>
              <a:xfrm>
                <a:off x="8107209" y="3065834"/>
                <a:ext cx="1599571" cy="2804726"/>
                <a:chOff x="3208859" y="4070542"/>
                <a:chExt cx="1458309" cy="2411828"/>
              </a:xfrm>
            </p:grpSpPr>
            <p:sp>
              <p:nvSpPr>
                <p:cNvPr id="71" name="Rectangle 70">
                  <a:extLst>
                    <a:ext uri="{FF2B5EF4-FFF2-40B4-BE49-F238E27FC236}">
                      <a16:creationId xmlns:a16="http://schemas.microsoft.com/office/drawing/2014/main" id="{0391B1BC-9EE6-46A7-943E-43C5649F6CFF}"/>
                    </a:ext>
                  </a:extLst>
                </p:cNvPr>
                <p:cNvSpPr/>
                <p:nvPr/>
              </p:nvSpPr>
              <p:spPr bwMode="auto">
                <a:xfrm>
                  <a:off x="3208859" y="4070542"/>
                  <a:ext cx="1456803" cy="241182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2FA53280-A008-4DF8-9868-32ED03DE5000}"/>
                    </a:ext>
                  </a:extLst>
                </p:cNvPr>
                <p:cNvCxnSpPr>
                  <a:cxnSpLocks/>
                </p:cNvCxnSpPr>
                <p:nvPr/>
              </p:nvCxnSpPr>
              <p:spPr>
                <a:xfrm>
                  <a:off x="3208859" y="4541668"/>
                  <a:ext cx="1458309"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3" name="TextBox 72">
                <a:extLst>
                  <a:ext uri="{FF2B5EF4-FFF2-40B4-BE49-F238E27FC236}">
                    <a16:creationId xmlns:a16="http://schemas.microsoft.com/office/drawing/2014/main" id="{883B726D-D2F0-4EAB-819F-BB5A8371F394}"/>
                  </a:ext>
                </a:extLst>
              </p:cNvPr>
              <p:cNvSpPr txBox="1"/>
              <p:nvPr/>
            </p:nvSpPr>
            <p:spPr>
              <a:xfrm>
                <a:off x="8126404" y="3065834"/>
                <a:ext cx="1597919" cy="550281"/>
              </a:xfrm>
              <a:prstGeom prst="rect">
                <a:avLst/>
              </a:prstGeom>
              <a:noFill/>
            </p:spPr>
            <p:txBody>
              <a:bodyPr wrap="squar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a:ea typeface="+mn-ea"/>
                    <a:cs typeface="+mn-cs"/>
                  </a:rPr>
                  <a:t>Deployment</a:t>
                </a:r>
              </a:p>
            </p:txBody>
          </p:sp>
        </p:grpSp>
        <p:grpSp>
          <p:nvGrpSpPr>
            <p:cNvPr id="265" name="Group 264">
              <a:extLst>
                <a:ext uri="{FF2B5EF4-FFF2-40B4-BE49-F238E27FC236}">
                  <a16:creationId xmlns:a16="http://schemas.microsoft.com/office/drawing/2014/main" id="{C973E2FA-B57B-4216-8514-8170E05A836D}"/>
                </a:ext>
              </a:extLst>
            </p:cNvPr>
            <p:cNvGrpSpPr/>
            <p:nvPr/>
          </p:nvGrpSpPr>
          <p:grpSpPr>
            <a:xfrm>
              <a:off x="8240993" y="4177631"/>
              <a:ext cx="965141" cy="797842"/>
              <a:chOff x="9524460" y="2632636"/>
              <a:chExt cx="2021177" cy="1670823"/>
            </a:xfrm>
          </p:grpSpPr>
          <p:sp>
            <p:nvSpPr>
              <p:cNvPr id="269" name="gear_3">
                <a:extLst>
                  <a:ext uri="{FF2B5EF4-FFF2-40B4-BE49-F238E27FC236}">
                    <a16:creationId xmlns:a16="http://schemas.microsoft.com/office/drawing/2014/main" id="{F1038FE7-0D38-4FC9-8A9A-F9D9C7D13F9A}"/>
                  </a:ext>
                </a:extLst>
              </p:cNvPr>
              <p:cNvSpPr>
                <a:spLocks noChangeAspect="1" noEditPoints="1"/>
              </p:cNvSpPr>
              <p:nvPr/>
            </p:nvSpPr>
            <p:spPr bwMode="auto">
              <a:xfrm>
                <a:off x="9524460" y="3183698"/>
                <a:ext cx="1110355" cy="111976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0" name="gear_3">
                <a:extLst>
                  <a:ext uri="{FF2B5EF4-FFF2-40B4-BE49-F238E27FC236}">
                    <a16:creationId xmlns:a16="http://schemas.microsoft.com/office/drawing/2014/main" id="{B5659DF4-C1CA-44A3-A382-863AF26594EC}"/>
                  </a:ext>
                </a:extLst>
              </p:cNvPr>
              <p:cNvSpPr>
                <a:spLocks noChangeAspect="1" noEditPoints="1"/>
              </p:cNvSpPr>
              <p:nvPr/>
            </p:nvSpPr>
            <p:spPr bwMode="auto">
              <a:xfrm>
                <a:off x="10421433" y="2632636"/>
                <a:ext cx="735342" cy="74157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1" name="gear_3">
                <a:extLst>
                  <a:ext uri="{FF2B5EF4-FFF2-40B4-BE49-F238E27FC236}">
                    <a16:creationId xmlns:a16="http://schemas.microsoft.com/office/drawing/2014/main" id="{E831E26D-75A9-4384-BA61-D0A554EE551B}"/>
                  </a:ext>
                </a:extLst>
              </p:cNvPr>
              <p:cNvSpPr>
                <a:spLocks noChangeAspect="1" noEditPoints="1"/>
              </p:cNvSpPr>
              <p:nvPr/>
            </p:nvSpPr>
            <p:spPr bwMode="auto">
              <a:xfrm>
                <a:off x="11022746" y="3309209"/>
                <a:ext cx="522891" cy="527320"/>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272" name="Group 271">
              <a:extLst>
                <a:ext uri="{FF2B5EF4-FFF2-40B4-BE49-F238E27FC236}">
                  <a16:creationId xmlns:a16="http://schemas.microsoft.com/office/drawing/2014/main" id="{2E359A57-19B3-43D4-97C4-A8C59AA47825}"/>
                </a:ext>
              </a:extLst>
            </p:cNvPr>
            <p:cNvGrpSpPr/>
            <p:nvPr/>
          </p:nvGrpSpPr>
          <p:grpSpPr>
            <a:xfrm>
              <a:off x="8249297" y="3399195"/>
              <a:ext cx="849131" cy="627807"/>
              <a:chOff x="10902845" y="2693238"/>
              <a:chExt cx="644231" cy="476314"/>
            </a:xfrm>
          </p:grpSpPr>
          <p:sp>
            <p:nvSpPr>
              <p:cNvPr id="273" name="Freeform 146">
                <a:extLst>
                  <a:ext uri="{FF2B5EF4-FFF2-40B4-BE49-F238E27FC236}">
                    <a16:creationId xmlns:a16="http://schemas.microsoft.com/office/drawing/2014/main" id="{B4462F19-E371-4BB6-AB3C-09EFE5F88B12}"/>
                  </a:ext>
                </a:extLst>
              </p:cNvPr>
              <p:cNvSpPr>
                <a:spLocks noChangeAspect="1"/>
              </p:cNvSpPr>
              <p:nvPr/>
            </p:nvSpPr>
            <p:spPr bwMode="auto">
              <a:xfrm>
                <a:off x="10902845" y="2693238"/>
                <a:ext cx="644231" cy="40799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marL="0" marR="0" lvl="0" indent="0" algn="ctr" defTabSz="895751" rtl="0" eaLnBrk="1" fontAlgn="base" latinLnBrk="0" hangingPunct="1">
                  <a:lnSpc>
                    <a:spcPct val="90000"/>
                  </a:lnSpc>
                  <a:spcBef>
                    <a:spcPct val="0"/>
                  </a:spcBef>
                  <a:spcAft>
                    <a:spcPct val="0"/>
                  </a:spcAft>
                  <a:buClrTx/>
                  <a:buSzTx/>
                  <a:buFontTx/>
                  <a:buNone/>
                  <a:tabLst/>
                  <a:defRPr/>
                </a:pPr>
                <a:endParaRPr kumimoji="0" lang="en-IN" sz="192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74" name="Rectangle 273">
                <a:extLst>
                  <a:ext uri="{FF2B5EF4-FFF2-40B4-BE49-F238E27FC236}">
                    <a16:creationId xmlns:a16="http://schemas.microsoft.com/office/drawing/2014/main" id="{1A385601-8155-4550-9224-F0930CB64496}"/>
                  </a:ext>
                </a:extLst>
              </p:cNvPr>
              <p:cNvSpPr/>
              <p:nvPr/>
            </p:nvSpPr>
            <p:spPr bwMode="auto">
              <a:xfrm>
                <a:off x="11138157" y="3021086"/>
                <a:ext cx="205040" cy="1484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76" name="Arrow: Up 275">
              <a:extLst>
                <a:ext uri="{FF2B5EF4-FFF2-40B4-BE49-F238E27FC236}">
                  <a16:creationId xmlns:a16="http://schemas.microsoft.com/office/drawing/2014/main" id="{7A9FB5B8-D87A-4426-AD99-85783A7A3DAA}"/>
                </a:ext>
              </a:extLst>
            </p:cNvPr>
            <p:cNvSpPr/>
            <p:nvPr/>
          </p:nvSpPr>
          <p:spPr bwMode="auto">
            <a:xfrm>
              <a:off x="8586063" y="3675127"/>
              <a:ext cx="217029" cy="438275"/>
            </a:xfrm>
            <a:prstGeom prst="upArrow">
              <a:avLst>
                <a:gd name="adj1" fmla="val 50000"/>
                <a:gd name="adj2" fmla="val 69446"/>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369651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3"/>
                                        </p:tgtEl>
                                        <p:attrNameLst>
                                          <p:attrName>style.visibility</p:attrName>
                                        </p:attrNameLst>
                                      </p:cBhvr>
                                      <p:to>
                                        <p:strVal val="visible"/>
                                      </p:to>
                                    </p:set>
                                    <p:animEffect transition="in" filter="fade">
                                      <p:cBhvr>
                                        <p:cTn id="7" dur="500"/>
                                        <p:tgtEl>
                                          <p:spTgt spid="28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3"/>
                                        </p:tgtEl>
                                        <p:attrNameLst>
                                          <p:attrName>style.visibility</p:attrName>
                                        </p:attrNameLst>
                                      </p:cBhvr>
                                      <p:to>
                                        <p:strVal val="visible"/>
                                      </p:to>
                                    </p:set>
                                    <p:animEffect transition="in" filter="wipe(left)">
                                      <p:cBhvr>
                                        <p:cTn id="11" dur="500"/>
                                        <p:tgtEl>
                                          <p:spTgt spid="11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84"/>
                                        </p:tgtEl>
                                        <p:attrNameLst>
                                          <p:attrName>style.visibility</p:attrName>
                                        </p:attrNameLst>
                                      </p:cBhvr>
                                      <p:to>
                                        <p:strVal val="visible"/>
                                      </p:to>
                                    </p:set>
                                    <p:animEffect transition="in" filter="fade">
                                      <p:cBhvr>
                                        <p:cTn id="15" dur="500"/>
                                        <p:tgtEl>
                                          <p:spTgt spid="284"/>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81"/>
                                        </p:tgtEl>
                                        <p:attrNameLst>
                                          <p:attrName>style.visibility</p:attrName>
                                        </p:attrNameLst>
                                      </p:cBhvr>
                                      <p:to>
                                        <p:strVal val="visible"/>
                                      </p:to>
                                    </p:set>
                                    <p:animEffect transition="in" filter="wipe(left)">
                                      <p:cBhvr>
                                        <p:cTn id="19" dur="500"/>
                                        <p:tgtEl>
                                          <p:spTgt spid="8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79"/>
                                        </p:tgtEl>
                                        <p:attrNameLst>
                                          <p:attrName>style.visibility</p:attrName>
                                        </p:attrNameLst>
                                      </p:cBhvr>
                                      <p:to>
                                        <p:strVal val="visible"/>
                                      </p:to>
                                    </p:set>
                                    <p:animEffect transition="in" filter="fade">
                                      <p:cBhvr>
                                        <p:cTn id="23" dur="500"/>
                                        <p:tgtEl>
                                          <p:spTgt spid="279"/>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82"/>
                                        </p:tgtEl>
                                        <p:attrNameLst>
                                          <p:attrName>style.visibility</p:attrName>
                                        </p:attrNameLst>
                                      </p:cBhvr>
                                      <p:to>
                                        <p:strVal val="visible"/>
                                      </p:to>
                                    </p:set>
                                    <p:animEffect transition="in" filter="wipe(left)">
                                      <p:cBhvr>
                                        <p:cTn id="27" dur="500"/>
                                        <p:tgtEl>
                                          <p:spTgt spid="82"/>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280"/>
                                        </p:tgtEl>
                                        <p:attrNameLst>
                                          <p:attrName>style.visibility</p:attrName>
                                        </p:attrNameLst>
                                      </p:cBhvr>
                                      <p:to>
                                        <p:strVal val="visible"/>
                                      </p:to>
                                    </p:set>
                                    <p:animEffect transition="in" filter="fade">
                                      <p:cBhvr>
                                        <p:cTn id="31" dur="500"/>
                                        <p:tgtEl>
                                          <p:spTgt spid="280"/>
                                        </p:tgtEl>
                                      </p:cBhvr>
                                    </p:animEffect>
                                  </p:childTnLst>
                                </p:cTn>
                              </p:par>
                            </p:childTnLst>
                          </p:cTn>
                        </p:par>
                        <p:par>
                          <p:cTn id="32" fill="hold">
                            <p:stCondLst>
                              <p:cond delay="3500"/>
                            </p:stCondLst>
                            <p:childTnLst>
                              <p:par>
                                <p:cTn id="33" presetID="22" presetClass="entr" presetSubtype="8" fill="hold" nodeType="afterEffect">
                                  <p:stCondLst>
                                    <p:cond delay="0"/>
                                  </p:stCondLst>
                                  <p:childTnLst>
                                    <p:set>
                                      <p:cBhvr>
                                        <p:cTn id="34" dur="1" fill="hold">
                                          <p:stCondLst>
                                            <p:cond delay="0"/>
                                          </p:stCondLst>
                                        </p:cTn>
                                        <p:tgtEl>
                                          <p:spTgt spid="83"/>
                                        </p:tgtEl>
                                        <p:attrNameLst>
                                          <p:attrName>style.visibility</p:attrName>
                                        </p:attrNameLst>
                                      </p:cBhvr>
                                      <p:to>
                                        <p:strVal val="visible"/>
                                      </p:to>
                                    </p:set>
                                    <p:animEffect transition="in" filter="wipe(left)">
                                      <p:cBhvr>
                                        <p:cTn id="35" dur="500"/>
                                        <p:tgtEl>
                                          <p:spTgt spid="83"/>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281"/>
                                        </p:tgtEl>
                                        <p:attrNameLst>
                                          <p:attrName>style.visibility</p:attrName>
                                        </p:attrNameLst>
                                      </p:cBhvr>
                                      <p:to>
                                        <p:strVal val="visible"/>
                                      </p:to>
                                    </p:set>
                                    <p:animEffect transition="in" filter="fade">
                                      <p:cBhvr>
                                        <p:cTn id="39" dur="500"/>
                                        <p:tgtEl>
                                          <p:spTgt spid="281"/>
                                        </p:tgtEl>
                                      </p:cBhvr>
                                    </p:animEffect>
                                  </p:childTnLst>
                                </p:cTn>
                              </p:par>
                            </p:childTnLst>
                          </p:cTn>
                        </p:par>
                        <p:par>
                          <p:cTn id="40" fill="hold">
                            <p:stCondLst>
                              <p:cond delay="4500"/>
                            </p:stCondLst>
                            <p:childTnLst>
                              <p:par>
                                <p:cTn id="41" presetID="22" presetClass="entr" presetSubtype="8" fill="hold" nodeType="afterEffect">
                                  <p:stCondLst>
                                    <p:cond delay="0"/>
                                  </p:stCondLst>
                                  <p:childTnLst>
                                    <p:set>
                                      <p:cBhvr>
                                        <p:cTn id="42" dur="1" fill="hold">
                                          <p:stCondLst>
                                            <p:cond delay="0"/>
                                          </p:stCondLst>
                                        </p:cTn>
                                        <p:tgtEl>
                                          <p:spTgt spid="84"/>
                                        </p:tgtEl>
                                        <p:attrNameLst>
                                          <p:attrName>style.visibility</p:attrName>
                                        </p:attrNameLst>
                                      </p:cBhvr>
                                      <p:to>
                                        <p:strVal val="visible"/>
                                      </p:to>
                                    </p:set>
                                    <p:animEffect transition="in" filter="wipe(left)">
                                      <p:cBhvr>
                                        <p:cTn id="43" dur="500"/>
                                        <p:tgtEl>
                                          <p:spTgt spid="84"/>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282"/>
                                        </p:tgtEl>
                                        <p:attrNameLst>
                                          <p:attrName>style.visibility</p:attrName>
                                        </p:attrNameLst>
                                      </p:cBhvr>
                                      <p:to>
                                        <p:strVal val="visible"/>
                                      </p:to>
                                    </p:set>
                                    <p:animEffect transition="in" filter="fade">
                                      <p:cBhvr>
                                        <p:cTn id="47" dur="500"/>
                                        <p:tgtEl>
                                          <p:spTgt spid="282"/>
                                        </p:tgtEl>
                                      </p:cBhvr>
                                    </p:animEffect>
                                  </p:childTnLst>
                                </p:cTn>
                              </p:par>
                            </p:childTnLst>
                          </p:cTn>
                        </p:par>
                        <p:par>
                          <p:cTn id="48" fill="hold">
                            <p:stCondLst>
                              <p:cond delay="5500"/>
                            </p:stCondLst>
                            <p:childTnLst>
                              <p:par>
                                <p:cTn id="49" presetID="22" presetClass="entr" presetSubtype="2" fill="hold" nodeType="afterEffect">
                                  <p:stCondLst>
                                    <p:cond delay="0"/>
                                  </p:stCondLst>
                                  <p:childTnLst>
                                    <p:set>
                                      <p:cBhvr>
                                        <p:cTn id="50" dur="1" fill="hold">
                                          <p:stCondLst>
                                            <p:cond delay="0"/>
                                          </p:stCondLst>
                                        </p:cTn>
                                        <p:tgtEl>
                                          <p:spTgt spid="86"/>
                                        </p:tgtEl>
                                        <p:attrNameLst>
                                          <p:attrName>style.visibility</p:attrName>
                                        </p:attrNameLst>
                                      </p:cBhvr>
                                      <p:to>
                                        <p:strVal val="visible"/>
                                      </p:to>
                                    </p:set>
                                    <p:animEffect transition="in" filter="wipe(right)">
                                      <p:cBhvr>
                                        <p:cTn id="51"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7002CB-0CBF-474F-8180-EAFEB351F98A}"/>
              </a:ext>
            </a:extLst>
          </p:cNvPr>
          <p:cNvSpPr>
            <a:spLocks noGrp="1"/>
          </p:cNvSpPr>
          <p:nvPr>
            <p:ph type="title"/>
          </p:nvPr>
        </p:nvSpPr>
        <p:spPr/>
        <p:txBody>
          <a:bodyPr/>
          <a:lstStyle/>
          <a:p>
            <a:pPr algn="ctr"/>
            <a:r>
              <a:rPr lang="en-US" dirty="0"/>
              <a:t>Azure Machine Learning service</a:t>
            </a:r>
          </a:p>
        </p:txBody>
      </p:sp>
      <p:sp>
        <p:nvSpPr>
          <p:cNvPr id="14" name="TextBox 13">
            <a:extLst>
              <a:ext uri="{FF2B5EF4-FFF2-40B4-BE49-F238E27FC236}">
                <a16:creationId xmlns:a16="http://schemas.microsoft.com/office/drawing/2014/main" id="{2506B1C6-3B75-41F5-898D-8EF93163B5B5}"/>
              </a:ext>
            </a:extLst>
          </p:cNvPr>
          <p:cNvSpPr txBox="1"/>
          <p:nvPr/>
        </p:nvSpPr>
        <p:spPr>
          <a:xfrm>
            <a:off x="2595910" y="2249195"/>
            <a:ext cx="2460352" cy="73866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Light"/>
                <a:ea typeface="+mn-ea"/>
                <a:cs typeface="Segoe UI Semilight" panose="020B0402040204020203" pitchFamily="34" charset="0"/>
              </a:rPr>
              <a:t>Set of Azure Cloud Services</a:t>
            </a:r>
          </a:p>
        </p:txBody>
      </p:sp>
      <p:sp>
        <p:nvSpPr>
          <p:cNvPr id="15" name="TextBox 14">
            <a:extLst>
              <a:ext uri="{FF2B5EF4-FFF2-40B4-BE49-F238E27FC236}">
                <a16:creationId xmlns:a16="http://schemas.microsoft.com/office/drawing/2014/main" id="{E03340C8-4572-4242-8F0A-5D981F1288F4}"/>
              </a:ext>
            </a:extLst>
          </p:cNvPr>
          <p:cNvSpPr txBox="1"/>
          <p:nvPr/>
        </p:nvSpPr>
        <p:spPr>
          <a:xfrm>
            <a:off x="7106112" y="2273401"/>
            <a:ext cx="2105561" cy="73866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Light"/>
                <a:ea typeface="+mn-ea"/>
                <a:cs typeface="Segoe UI Semilight" panose="020B0402040204020203" pitchFamily="34" charset="0"/>
              </a:rPr>
              <a:t>Python </a:t>
            </a:r>
            <a:br>
              <a:rPr kumimoji="0" lang="en-US" sz="2400" b="0" i="0" u="none" strike="noStrike" kern="1200" cap="none" spc="0" normalizeH="0" baseline="0" noProof="0" dirty="0">
                <a:ln>
                  <a:noFill/>
                </a:ln>
                <a:solidFill>
                  <a:srgbClr val="0078D7"/>
                </a:solidFill>
                <a:effectLst/>
                <a:uLnTx/>
                <a:uFillTx/>
                <a:latin typeface="Segoe UI Light"/>
                <a:ea typeface="+mn-ea"/>
                <a:cs typeface="Segoe UI Semilight" panose="020B0402040204020203" pitchFamily="34" charset="0"/>
              </a:rPr>
            </a:br>
            <a:r>
              <a:rPr kumimoji="0" lang="en-US" sz="2400" b="0" i="0" u="none" strike="noStrike" kern="1200" cap="none" spc="0" normalizeH="0" baseline="0" noProof="0" dirty="0">
                <a:ln>
                  <a:noFill/>
                </a:ln>
                <a:solidFill>
                  <a:srgbClr val="0078D7"/>
                </a:solidFill>
                <a:effectLst/>
                <a:uLnTx/>
                <a:uFillTx/>
                <a:latin typeface="Segoe UI Light"/>
                <a:ea typeface="+mn-ea"/>
                <a:cs typeface="Segoe UI Semilight" panose="020B0402040204020203" pitchFamily="34" charset="0"/>
              </a:rPr>
              <a:t>SDK</a:t>
            </a:r>
          </a:p>
        </p:txBody>
      </p:sp>
      <p:sp>
        <p:nvSpPr>
          <p:cNvPr id="8" name="Plus Sign 7">
            <a:extLst>
              <a:ext uri="{FF2B5EF4-FFF2-40B4-BE49-F238E27FC236}">
                <a16:creationId xmlns:a16="http://schemas.microsoft.com/office/drawing/2014/main" id="{D2C09A9D-DD74-46D2-9B55-CF9457478808}"/>
              </a:ext>
            </a:extLst>
          </p:cNvPr>
          <p:cNvSpPr/>
          <p:nvPr/>
        </p:nvSpPr>
        <p:spPr bwMode="auto">
          <a:xfrm>
            <a:off x="5536375" y="2043259"/>
            <a:ext cx="1116137" cy="1150430"/>
          </a:xfrm>
          <a:prstGeom prst="mathPlus">
            <a:avLst>
              <a:gd name="adj1" fmla="val 6144"/>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p:txBody>
      </p:sp>
      <p:grpSp>
        <p:nvGrpSpPr>
          <p:cNvPr id="18" name="Group 17">
            <a:extLst>
              <a:ext uri="{FF2B5EF4-FFF2-40B4-BE49-F238E27FC236}">
                <a16:creationId xmlns:a16="http://schemas.microsoft.com/office/drawing/2014/main" id="{8438306B-38DB-4092-B616-C5D958CE069F}"/>
              </a:ext>
            </a:extLst>
          </p:cNvPr>
          <p:cNvGrpSpPr/>
          <p:nvPr/>
        </p:nvGrpSpPr>
        <p:grpSpPr>
          <a:xfrm>
            <a:off x="3044165" y="4867676"/>
            <a:ext cx="6531501" cy="1033790"/>
            <a:chOff x="4152559" y="4043525"/>
            <a:chExt cx="6532427" cy="1033937"/>
          </a:xfrm>
        </p:grpSpPr>
        <p:sp>
          <p:nvSpPr>
            <p:cNvPr id="10" name="TextBox 9">
              <a:extLst>
                <a:ext uri="{FF2B5EF4-FFF2-40B4-BE49-F238E27FC236}">
                  <a16:creationId xmlns:a16="http://schemas.microsoft.com/office/drawing/2014/main" id="{32DD1468-FECB-41FA-AC16-3408551EDADE}"/>
                </a:ext>
              </a:extLst>
            </p:cNvPr>
            <p:cNvSpPr txBox="1"/>
            <p:nvPr/>
          </p:nvSpPr>
          <p:spPr>
            <a:xfrm>
              <a:off x="4152559" y="4043525"/>
              <a:ext cx="2441570" cy="941604"/>
            </a:xfrm>
            <a:prstGeom prst="rect">
              <a:avLst/>
            </a:prstGeom>
            <a:noFill/>
          </p:spPr>
          <p:txBody>
            <a:bodyPr wrap="square" lIns="0" tIns="0" rIns="0" bIns="0" rtlCol="0">
              <a:spAutoFit/>
            </a:bodyPr>
            <a:lstStyle/>
            <a:p>
              <a:pPr marL="231730" marR="0" lvl="0" indent="-231730" algn="l" defTabSz="914367" rtl="0" eaLnBrk="1" fontAlgn="auto" latinLnBrk="0" hangingPunct="1">
                <a:lnSpc>
                  <a:spcPct val="100000"/>
                </a:lnSpc>
                <a:spcBef>
                  <a:spcPts val="0"/>
                </a:spcBef>
                <a:spcAft>
                  <a:spcPts val="300"/>
                </a:spcAft>
                <a:buClr>
                  <a:srgbClr val="0078D7"/>
                </a:buClr>
                <a:buSzTx/>
                <a:buFont typeface="Wingdings" panose="05000000000000000000" pitchFamily="2" charset="2"/>
                <a:buChar char="ü"/>
                <a:tabLst/>
                <a:defRPr/>
              </a:pPr>
              <a:r>
                <a:rPr kumimoji="0" lang="en-US" sz="1836" b="0" i="0" u="none" strike="noStrike" kern="0" cap="none" spc="0" normalizeH="0" baseline="0" noProof="0" dirty="0">
                  <a:ln>
                    <a:noFill/>
                  </a:ln>
                  <a:solidFill>
                    <a:srgbClr val="1A1A1A"/>
                  </a:solidFill>
                  <a:effectLst/>
                  <a:uLnTx/>
                  <a:uFillTx/>
                  <a:latin typeface="Segoe UI Semilight"/>
                  <a:ea typeface="+mn-ea"/>
                  <a:cs typeface="Segoe UI" pitchFamily="34" charset="0"/>
                </a:rPr>
                <a:t>Prepare Data</a:t>
              </a:r>
            </a:p>
            <a:p>
              <a:pPr marL="231730" marR="0" lvl="0" indent="-231730" algn="l" defTabSz="914367" rtl="0" eaLnBrk="1" fontAlgn="auto" latinLnBrk="0" hangingPunct="1">
                <a:lnSpc>
                  <a:spcPct val="100000"/>
                </a:lnSpc>
                <a:spcBef>
                  <a:spcPts val="0"/>
                </a:spcBef>
                <a:spcAft>
                  <a:spcPts val="300"/>
                </a:spcAft>
                <a:buClr>
                  <a:srgbClr val="0078D7"/>
                </a:buClr>
                <a:buSzTx/>
                <a:buFont typeface="Wingdings" panose="05000000000000000000" pitchFamily="2" charset="2"/>
                <a:buChar char="ü"/>
                <a:tabLst/>
                <a:defRPr/>
              </a:pPr>
              <a:r>
                <a:rPr kumimoji="0" lang="en-US" sz="1836" b="0" i="0" u="none" strike="noStrike" kern="0" cap="none" spc="0" normalizeH="0" baseline="0" noProof="0" dirty="0">
                  <a:ln>
                    <a:noFill/>
                  </a:ln>
                  <a:solidFill>
                    <a:srgbClr val="1A1A1A"/>
                  </a:solidFill>
                  <a:effectLst/>
                  <a:uLnTx/>
                  <a:uFillTx/>
                  <a:latin typeface="Segoe UI Semilight"/>
                  <a:ea typeface="+mn-ea"/>
                  <a:cs typeface="Segoe UI" pitchFamily="34" charset="0"/>
                </a:rPr>
                <a:t>Build Models</a:t>
              </a:r>
            </a:p>
            <a:p>
              <a:pPr marL="231730" marR="0" lvl="0" indent="-231730" algn="l" defTabSz="914367" rtl="0" eaLnBrk="1" fontAlgn="auto" latinLnBrk="0" hangingPunct="1">
                <a:lnSpc>
                  <a:spcPct val="100000"/>
                </a:lnSpc>
                <a:spcBef>
                  <a:spcPts val="0"/>
                </a:spcBef>
                <a:spcAft>
                  <a:spcPts val="300"/>
                </a:spcAft>
                <a:buClr>
                  <a:srgbClr val="0078D7"/>
                </a:buClr>
                <a:buSzTx/>
                <a:buFont typeface="Wingdings" panose="05000000000000000000" pitchFamily="2" charset="2"/>
                <a:buChar char="ü"/>
                <a:tabLst/>
                <a:defRPr/>
              </a:pPr>
              <a:r>
                <a:rPr kumimoji="0" lang="en-US" sz="1836" b="0" i="0" u="none" strike="noStrike" kern="0" cap="none" spc="0" normalizeH="0" baseline="0" noProof="0" dirty="0">
                  <a:ln>
                    <a:noFill/>
                  </a:ln>
                  <a:solidFill>
                    <a:srgbClr val="1A1A1A"/>
                  </a:solidFill>
                  <a:effectLst/>
                  <a:uLnTx/>
                  <a:uFillTx/>
                  <a:latin typeface="Segoe UI Semilight"/>
                  <a:ea typeface="+mn-ea"/>
                  <a:cs typeface="Segoe UI" pitchFamily="34" charset="0"/>
                </a:rPr>
                <a:t>Train Models</a:t>
              </a:r>
            </a:p>
          </p:txBody>
        </p:sp>
        <p:sp>
          <p:nvSpPr>
            <p:cNvPr id="16" name="Rectangle 15">
              <a:extLst>
                <a:ext uri="{FF2B5EF4-FFF2-40B4-BE49-F238E27FC236}">
                  <a16:creationId xmlns:a16="http://schemas.microsoft.com/office/drawing/2014/main" id="{616A81F2-AA71-44BD-B31A-D0C4E6C248C4}"/>
                </a:ext>
              </a:extLst>
            </p:cNvPr>
            <p:cNvSpPr/>
            <p:nvPr/>
          </p:nvSpPr>
          <p:spPr>
            <a:xfrm>
              <a:off x="8108079" y="4043525"/>
              <a:ext cx="2576907" cy="1033937"/>
            </a:xfrm>
            <a:prstGeom prst="rect">
              <a:avLst/>
            </a:prstGeom>
          </p:spPr>
          <p:txBody>
            <a:bodyPr wrap="square">
              <a:spAutoFit/>
            </a:bodyPr>
            <a:lstStyle/>
            <a:p>
              <a:pPr marL="231730" marR="0" lvl="0" indent="-231730" algn="l" defTabSz="914367" rtl="0" eaLnBrk="1" fontAlgn="auto" latinLnBrk="0" hangingPunct="1">
                <a:lnSpc>
                  <a:spcPct val="100000"/>
                </a:lnSpc>
                <a:spcBef>
                  <a:spcPts val="0"/>
                </a:spcBef>
                <a:spcAft>
                  <a:spcPts val="300"/>
                </a:spcAft>
                <a:buClr>
                  <a:srgbClr val="0078D7"/>
                </a:buClr>
                <a:buSzTx/>
                <a:buFont typeface="Wingdings" panose="05000000000000000000" pitchFamily="2" charset="2"/>
                <a:buChar char="ü"/>
                <a:tabLst/>
                <a:defRPr/>
              </a:pPr>
              <a:r>
                <a:rPr kumimoji="0" lang="en-US" sz="1836" b="0" i="0" u="none" strike="noStrike" kern="0" cap="none" spc="0" normalizeH="0" baseline="0" noProof="0" dirty="0">
                  <a:ln>
                    <a:noFill/>
                  </a:ln>
                  <a:solidFill>
                    <a:srgbClr val="1A1A1A"/>
                  </a:solidFill>
                  <a:effectLst/>
                  <a:uLnTx/>
                  <a:uFillTx/>
                  <a:latin typeface="Segoe UI Semilight"/>
                  <a:ea typeface="+mn-ea"/>
                  <a:cs typeface="Segoe UI" pitchFamily="34" charset="0"/>
                </a:rPr>
                <a:t>Manage Models</a:t>
              </a:r>
            </a:p>
            <a:p>
              <a:pPr marL="231730" marR="0" lvl="0" indent="-231730" algn="l" defTabSz="914367" rtl="0" eaLnBrk="1" fontAlgn="auto" latinLnBrk="0" hangingPunct="1">
                <a:lnSpc>
                  <a:spcPct val="100000"/>
                </a:lnSpc>
                <a:spcBef>
                  <a:spcPts val="0"/>
                </a:spcBef>
                <a:spcAft>
                  <a:spcPts val="300"/>
                </a:spcAft>
                <a:buClr>
                  <a:srgbClr val="0078D7"/>
                </a:buClr>
                <a:buSzTx/>
                <a:buFont typeface="Wingdings" panose="05000000000000000000" pitchFamily="2" charset="2"/>
                <a:buChar char="ü"/>
                <a:tabLst/>
                <a:defRPr/>
              </a:pPr>
              <a:r>
                <a:rPr kumimoji="0" lang="en-US" sz="1836" b="0" i="0" u="none" strike="noStrike" kern="0" cap="none" spc="0" normalizeH="0" baseline="0" noProof="0" dirty="0">
                  <a:ln>
                    <a:noFill/>
                  </a:ln>
                  <a:solidFill>
                    <a:srgbClr val="1A1A1A"/>
                  </a:solidFill>
                  <a:effectLst/>
                  <a:uLnTx/>
                  <a:uFillTx/>
                  <a:latin typeface="Segoe UI Semilight"/>
                  <a:ea typeface="+mn-ea"/>
                  <a:cs typeface="Segoe UI" pitchFamily="34" charset="0"/>
                </a:rPr>
                <a:t>Track Experiments</a:t>
              </a:r>
            </a:p>
            <a:p>
              <a:pPr marL="231730" marR="0" lvl="0" indent="-231730" algn="l" defTabSz="914367" rtl="0" eaLnBrk="1" fontAlgn="auto" latinLnBrk="0" hangingPunct="1">
                <a:lnSpc>
                  <a:spcPct val="100000"/>
                </a:lnSpc>
                <a:spcBef>
                  <a:spcPts val="0"/>
                </a:spcBef>
                <a:spcAft>
                  <a:spcPts val="300"/>
                </a:spcAft>
                <a:buClr>
                  <a:srgbClr val="0078D7"/>
                </a:buClr>
                <a:buSzTx/>
                <a:buFont typeface="Wingdings" panose="05000000000000000000" pitchFamily="2" charset="2"/>
                <a:buChar char="ü"/>
                <a:tabLst/>
                <a:defRPr/>
              </a:pPr>
              <a:r>
                <a:rPr kumimoji="0" lang="en-US" sz="1836" b="0" i="0" u="none" strike="noStrike" kern="0" cap="none" spc="0" normalizeH="0" baseline="0" noProof="0" dirty="0">
                  <a:ln>
                    <a:noFill/>
                  </a:ln>
                  <a:solidFill>
                    <a:srgbClr val="1A1A1A"/>
                  </a:solidFill>
                  <a:effectLst/>
                  <a:uLnTx/>
                  <a:uFillTx/>
                  <a:latin typeface="Segoe UI Semilight"/>
                  <a:ea typeface="+mn-ea"/>
                  <a:cs typeface="Segoe UI" pitchFamily="34" charset="0"/>
                </a:rPr>
                <a:t>Deploy Models</a:t>
              </a:r>
            </a:p>
          </p:txBody>
        </p:sp>
      </p:grpSp>
      <p:sp>
        <p:nvSpPr>
          <p:cNvPr id="17" name="TextBox 16">
            <a:extLst>
              <a:ext uri="{FF2B5EF4-FFF2-40B4-BE49-F238E27FC236}">
                <a16:creationId xmlns:a16="http://schemas.microsoft.com/office/drawing/2014/main" id="{A435112E-427D-457D-B471-D56A56E6D248}"/>
              </a:ext>
            </a:extLst>
          </p:cNvPr>
          <p:cNvSpPr txBox="1"/>
          <p:nvPr/>
        </p:nvSpPr>
        <p:spPr>
          <a:xfrm>
            <a:off x="4579409" y="4179271"/>
            <a:ext cx="3030069" cy="36930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Light"/>
                <a:ea typeface="+mn-ea"/>
                <a:cs typeface="Segoe UI Semilight" panose="020B0402040204020203" pitchFamily="34" charset="0"/>
              </a:rPr>
              <a:t>That enables you to:</a:t>
            </a:r>
          </a:p>
        </p:txBody>
      </p:sp>
      <p:cxnSp>
        <p:nvCxnSpPr>
          <p:cNvPr id="5" name="Straight Connector 4">
            <a:extLst>
              <a:ext uri="{FF2B5EF4-FFF2-40B4-BE49-F238E27FC236}">
                <a16:creationId xmlns:a16="http://schemas.microsoft.com/office/drawing/2014/main" id="{6B067330-F922-44F0-AE63-9489E74C395C}"/>
              </a:ext>
            </a:extLst>
          </p:cNvPr>
          <p:cNvCxnSpPr>
            <a:cxnSpLocks/>
          </p:cNvCxnSpPr>
          <p:nvPr/>
        </p:nvCxnSpPr>
        <p:spPr>
          <a:xfrm>
            <a:off x="1664059" y="3541249"/>
            <a:ext cx="8578578" cy="0"/>
          </a:xfrm>
          <a:prstGeom prst="line">
            <a:avLst/>
          </a:prstGeom>
          <a:solidFill>
            <a:schemeClr val="accent5"/>
          </a:solid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84851798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2E5FE9AC-3B45-469C-8C3A-04CEA21432AA}"/>
              </a:ext>
            </a:extLst>
          </p:cNvPr>
          <p:cNvSpPr>
            <a:spLocks noGrp="1"/>
          </p:cNvSpPr>
          <p:nvPr>
            <p:ph type="title"/>
          </p:nvPr>
        </p:nvSpPr>
        <p:spPr>
          <a:xfrm>
            <a:off x="588263" y="457200"/>
            <a:ext cx="11018520" cy="1292662"/>
          </a:xfrm>
        </p:spPr>
        <p:txBody>
          <a:bodyPr/>
          <a:lstStyle/>
          <a:p>
            <a:r>
              <a:rPr lang="en-US"/>
              <a:t>Unlocking the value of IoT</a:t>
            </a:r>
            <a:br>
              <a:rPr lang="en-US"/>
            </a:br>
            <a:r>
              <a:rPr lang="en-US" sz="2400">
                <a:gradFill>
                  <a:gsLst>
                    <a:gs pos="2917">
                      <a:schemeClr val="accent2"/>
                    </a:gs>
                    <a:gs pos="100000">
                      <a:schemeClr val="accent2"/>
                    </a:gs>
                  </a:gsLst>
                  <a:lin ang="5400000" scaled="0"/>
                </a:gradFill>
              </a:rPr>
              <a:t>The IoT opportunity across industries</a:t>
            </a:r>
            <a:br>
              <a:rPr lang="en-US" sz="2400">
                <a:gradFill>
                  <a:gsLst>
                    <a:gs pos="2917">
                      <a:schemeClr val="tx1"/>
                    </a:gs>
                    <a:gs pos="30000">
                      <a:schemeClr val="tx1"/>
                    </a:gs>
                  </a:gsLst>
                  <a:lin ang="5400000" scaled="0"/>
                </a:gradFill>
              </a:rPr>
            </a:br>
            <a:endParaRPr lang="en-US" sz="2400"/>
          </a:p>
        </p:txBody>
      </p:sp>
      <p:grpSp>
        <p:nvGrpSpPr>
          <p:cNvPr id="2" name="Group 1">
            <a:extLst>
              <a:ext uri="{FF2B5EF4-FFF2-40B4-BE49-F238E27FC236}">
                <a16:creationId xmlns:a16="http://schemas.microsoft.com/office/drawing/2014/main" id="{C542A86C-22C0-4197-A9DC-67736FCEEE17}"/>
              </a:ext>
            </a:extLst>
          </p:cNvPr>
          <p:cNvGrpSpPr/>
          <p:nvPr/>
        </p:nvGrpSpPr>
        <p:grpSpPr>
          <a:xfrm>
            <a:off x="588263" y="2120719"/>
            <a:ext cx="1559893" cy="4148317"/>
            <a:chOff x="588263" y="2120719"/>
            <a:chExt cx="1559893" cy="4148317"/>
          </a:xfrm>
        </p:grpSpPr>
        <p:pic>
          <p:nvPicPr>
            <p:cNvPr id="356" name="Picture 22">
              <a:extLst>
                <a:ext uri="{FF2B5EF4-FFF2-40B4-BE49-F238E27FC236}">
                  <a16:creationId xmlns:a16="http://schemas.microsoft.com/office/drawing/2014/main" id="{F76AD7DA-71D5-43DF-BB05-72CD32F20E03}"/>
                </a:ext>
              </a:extLst>
            </p:cNvPr>
            <p:cNvPicPr>
              <a:picLocks noChangeAspect="1" noChangeArrowheads="1"/>
            </p:cNvPicPr>
            <p:nvPr/>
          </p:nvPicPr>
          <p:blipFill rotWithShape="1">
            <a:blip r:embed="rId3" cstate="hqprint">
              <a:extLst>
                <a:ext uri="{28A0092B-C50C-407E-A947-70E740481C1C}">
                  <a14:useLocalDpi xmlns:a14="http://schemas.microsoft.com/office/drawing/2010/main"/>
                </a:ext>
              </a:extLst>
            </a:blip>
            <a:srcRect b="26653"/>
            <a:stretch/>
          </p:blipFill>
          <p:spPr bwMode="auto">
            <a:xfrm>
              <a:off x="588263" y="2120719"/>
              <a:ext cx="1559886" cy="2081769"/>
            </a:xfrm>
            <a:prstGeom prst="rect">
              <a:avLst/>
            </a:prstGeom>
            <a:extLst>
              <a:ext uri="{909E8E84-426E-40DD-AFC4-6F175D3DCCD1}">
                <a14:hiddenFill xmlns:a14="http://schemas.microsoft.com/office/drawing/2010/main">
                  <a:solidFill>
                    <a:srgbClr val="FFFFFF"/>
                  </a:solidFill>
                </a14:hiddenFill>
              </a:ext>
            </a:extLst>
          </p:spPr>
        </p:pic>
        <p:sp>
          <p:nvSpPr>
            <p:cNvPr id="434" name="Rectangle 433">
              <a:extLst>
                <a:ext uri="{FF2B5EF4-FFF2-40B4-BE49-F238E27FC236}">
                  <a16:creationId xmlns:a16="http://schemas.microsoft.com/office/drawing/2014/main" id="{FCB7B9F7-DCEE-493C-B38A-D640AB3A5F9E}"/>
                </a:ext>
              </a:extLst>
            </p:cNvPr>
            <p:cNvSpPr/>
            <p:nvPr/>
          </p:nvSpPr>
          <p:spPr bwMode="auto">
            <a:xfrm>
              <a:off x="588263" y="4204355"/>
              <a:ext cx="1559893" cy="2064681"/>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91440" tIns="365760" rIns="91440" bIns="91440" numCol="1" spcCol="0" rtlCol="0" fromWordArt="0" anchor="b" anchorCtr="0" forceAA="0" compatLnSpc="1">
              <a:prstTxWarp prst="textNoShape">
                <a:avLst/>
              </a:prstTxWarp>
              <a:noAutofit/>
            </a:bodyPr>
            <a:lstStyle/>
            <a:p>
              <a:pPr marL="0" marR="0" lvl="0" indent="0" algn="l" defTabSz="932195" rtl="0" eaLnBrk="1" fontAlgn="base" latinLnBrk="0" hangingPunct="1">
                <a:lnSpc>
                  <a:spcPct val="90000"/>
                </a:lnSpc>
                <a:spcBef>
                  <a:spcPct val="0"/>
                </a:spcBef>
                <a:spcAft>
                  <a:spcPct val="0"/>
                </a:spcAft>
                <a:buClrTx/>
                <a:buSzTx/>
                <a:buFontTx/>
                <a:buNone/>
                <a:tabLst/>
                <a:defRPr/>
              </a:pPr>
              <a:r>
                <a:rPr kumimoji="0" lang="en-IN" sz="1400" b="1"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Semibold" panose="020B0702040204020203" pitchFamily="34" charset="0"/>
                </a:rPr>
                <a:t>Retail</a:t>
              </a:r>
              <a:br>
                <a:rPr kumimoji="0" lang="en-IN" sz="12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Segoe UI" pitchFamily="34" charset="0"/>
                  <a:cs typeface="Segoe UI Semibold" panose="020B0702040204020203" pitchFamily="34" charset="0"/>
                </a:rPr>
              </a:br>
              <a:r>
                <a:rPr kumimoji="0" lang="en-IN" sz="12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Segoe UI" pitchFamily="34" charset="0"/>
                  <a:cs typeface="Segoe UI" pitchFamily="34" charset="0"/>
                </a:rPr>
                <a:t>Better customer experiences</a:t>
              </a:r>
            </a:p>
            <a:p>
              <a:pPr marL="0" marR="0" lvl="0" indent="0" algn="l" defTabSz="932195" rtl="0" eaLnBrk="1" fontAlgn="base" latinLnBrk="0" hangingPunct="1">
                <a:lnSpc>
                  <a:spcPct val="90000"/>
                </a:lnSpc>
                <a:spcBef>
                  <a:spcPct val="0"/>
                </a:spcBef>
                <a:spcAft>
                  <a:spcPct val="0"/>
                </a:spcAft>
                <a:buClrTx/>
                <a:buSzTx/>
                <a:buFontTx/>
                <a:buNone/>
                <a:tabLst/>
                <a:defRPr/>
              </a:pPr>
              <a:r>
                <a:rPr kumimoji="0" lang="en-IN" sz="12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Segoe UI" pitchFamily="34" charset="0"/>
                  <a:cs typeface="Segoe UI" pitchFamily="34" charset="0"/>
                </a:rPr>
                <a:t>Now market opportunity</a:t>
              </a:r>
            </a:p>
          </p:txBody>
        </p:sp>
      </p:grpSp>
      <p:grpSp>
        <p:nvGrpSpPr>
          <p:cNvPr id="4" name="Group 3">
            <a:extLst>
              <a:ext uri="{FF2B5EF4-FFF2-40B4-BE49-F238E27FC236}">
                <a16:creationId xmlns:a16="http://schemas.microsoft.com/office/drawing/2014/main" id="{D5324799-694C-4D45-B1D5-26898C129630}"/>
              </a:ext>
            </a:extLst>
          </p:cNvPr>
          <p:cNvGrpSpPr/>
          <p:nvPr/>
        </p:nvGrpSpPr>
        <p:grpSpPr>
          <a:xfrm>
            <a:off x="3774460" y="2120722"/>
            <a:ext cx="1459934" cy="4148315"/>
            <a:chOff x="3774460" y="2120722"/>
            <a:chExt cx="1459934" cy="4148315"/>
          </a:xfrm>
        </p:grpSpPr>
        <p:pic>
          <p:nvPicPr>
            <p:cNvPr id="357" name="Picture 64">
              <a:extLst>
                <a:ext uri="{FF2B5EF4-FFF2-40B4-BE49-F238E27FC236}">
                  <a16:creationId xmlns:a16="http://schemas.microsoft.com/office/drawing/2014/main" id="{24CC2DD7-0845-47F9-80AE-1DABA36C33AE}"/>
                </a:ext>
              </a:extLst>
            </p:cNvPr>
            <p:cNvPicPr>
              <a:picLocks noChangeAspect="1" noChangeArrowheads="1"/>
            </p:cNvPicPr>
            <p:nvPr/>
          </p:nvPicPr>
          <p:blipFill rotWithShape="1">
            <a:blip r:embed="rId4" cstate="hqprint">
              <a:extLst>
                <a:ext uri="{28A0092B-C50C-407E-A947-70E740481C1C}">
                  <a14:useLocalDpi xmlns:a14="http://schemas.microsoft.com/office/drawing/2010/main"/>
                </a:ext>
              </a:extLst>
            </a:blip>
            <a:srcRect t="1" b="26558"/>
            <a:stretch/>
          </p:blipFill>
          <p:spPr bwMode="auto">
            <a:xfrm>
              <a:off x="3774460" y="2120722"/>
              <a:ext cx="1459925" cy="2081771"/>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 name="Rectangle 418">
              <a:extLst>
                <a:ext uri="{FF2B5EF4-FFF2-40B4-BE49-F238E27FC236}">
                  <a16:creationId xmlns:a16="http://schemas.microsoft.com/office/drawing/2014/main" id="{68009935-2501-4D5D-8600-D02B1D1008DA}"/>
                </a:ext>
              </a:extLst>
            </p:cNvPr>
            <p:cNvSpPr/>
            <p:nvPr/>
          </p:nvSpPr>
          <p:spPr bwMode="auto">
            <a:xfrm>
              <a:off x="3774468" y="4202489"/>
              <a:ext cx="1459926" cy="2066548"/>
            </a:xfrm>
            <a:prstGeom prst="rect">
              <a:avLst/>
            </a:prstGeom>
            <a:solidFill>
              <a:schemeClr val="accent3">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365760" rIns="91440" bIns="91440" numCol="1" spcCol="0" rtlCol="0" fromWordArt="0" anchor="b" anchorCtr="0" forceAA="0" compatLnSpc="1">
              <a:prstTxWarp prst="textNoShape">
                <a:avLst/>
              </a:prstTxWarp>
              <a:noAutofit/>
            </a:bodyPr>
            <a:lstStyle/>
            <a:p>
              <a:pPr marL="0" marR="0" lvl="0" indent="0" algn="l" defTabSz="932195" rtl="0" eaLnBrk="1" fontAlgn="base" latinLnBrk="0" hangingPunct="1">
                <a:lnSpc>
                  <a:spcPct val="90000"/>
                </a:lnSpc>
                <a:spcBef>
                  <a:spcPct val="0"/>
                </a:spcBef>
                <a:spcAft>
                  <a:spcPct val="0"/>
                </a:spcAft>
                <a:buClrTx/>
                <a:buSzTx/>
                <a:buFontTx/>
                <a:buNone/>
                <a:tabLst/>
                <a:defRPr/>
              </a:pPr>
              <a:r>
                <a:rPr kumimoji="0" lang="en-IN" sz="1400" b="1"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Segoe UI Semibold" panose="020B0702040204020203" pitchFamily="34" charset="0"/>
                </a:rPr>
                <a:t>Transportation</a:t>
              </a:r>
            </a:p>
            <a:p>
              <a:pPr marL="0" marR="0" lvl="0" indent="0" algn="l" defTabSz="932195" rtl="0" eaLnBrk="1" fontAlgn="base" latinLnBrk="0" hangingPunct="1">
                <a:lnSpc>
                  <a:spcPct val="90000"/>
                </a:lnSpc>
                <a:spcBef>
                  <a:spcPct val="0"/>
                </a:spcBef>
                <a:spcAft>
                  <a:spcPct val="0"/>
                </a:spcAft>
                <a:buClrTx/>
                <a:buSzTx/>
                <a:buFontTx/>
                <a:buNone/>
                <a:tabLst/>
                <a:defRPr/>
              </a:pPr>
              <a:r>
                <a:rPr kumimoji="0" lang="en-IN" sz="120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a:ea typeface="Segoe UI" pitchFamily="34" charset="0"/>
                  <a:cs typeface="Segoe UI" pitchFamily="34" charset="0"/>
                </a:rPr>
                <a:t>People and goods moving reliably, more safely, and using less energy</a:t>
              </a:r>
            </a:p>
          </p:txBody>
        </p:sp>
      </p:grpSp>
      <p:grpSp>
        <p:nvGrpSpPr>
          <p:cNvPr id="6" name="Group 5">
            <a:extLst>
              <a:ext uri="{FF2B5EF4-FFF2-40B4-BE49-F238E27FC236}">
                <a16:creationId xmlns:a16="http://schemas.microsoft.com/office/drawing/2014/main" id="{BC9AC7C5-50EF-4640-A802-E0A9B51FC603}"/>
              </a:ext>
            </a:extLst>
          </p:cNvPr>
          <p:cNvGrpSpPr/>
          <p:nvPr/>
        </p:nvGrpSpPr>
        <p:grpSpPr>
          <a:xfrm>
            <a:off x="6860697" y="2120725"/>
            <a:ext cx="1559893" cy="4148311"/>
            <a:chOff x="6860697" y="2120725"/>
            <a:chExt cx="1559893" cy="4148311"/>
          </a:xfrm>
        </p:grpSpPr>
        <p:pic>
          <p:nvPicPr>
            <p:cNvPr id="355" name="Picture 41">
              <a:extLst>
                <a:ext uri="{FF2B5EF4-FFF2-40B4-BE49-F238E27FC236}">
                  <a16:creationId xmlns:a16="http://schemas.microsoft.com/office/drawing/2014/main" id="{5C75FFBA-F464-4295-B4D1-A543E393E63E}"/>
                </a:ext>
              </a:extLst>
            </p:cNvPr>
            <p:cNvPicPr>
              <a:picLocks noChangeAspect="1" noChangeArrowheads="1"/>
            </p:cNvPicPr>
            <p:nvPr/>
          </p:nvPicPr>
          <p:blipFill rotWithShape="1">
            <a:blip r:embed="rId5" cstate="hqprint">
              <a:extLst>
                <a:ext uri="{28A0092B-C50C-407E-A947-70E740481C1C}">
                  <a14:useLocalDpi xmlns:a14="http://schemas.microsoft.com/office/drawing/2010/main"/>
                </a:ext>
              </a:extLst>
            </a:blip>
            <a:srcRect t="24154" b="2270"/>
            <a:stretch/>
          </p:blipFill>
          <p:spPr bwMode="auto">
            <a:xfrm>
              <a:off x="6860699" y="2120725"/>
              <a:ext cx="1559889" cy="208363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2" name="Rectangle 371">
              <a:extLst>
                <a:ext uri="{FF2B5EF4-FFF2-40B4-BE49-F238E27FC236}">
                  <a16:creationId xmlns:a16="http://schemas.microsoft.com/office/drawing/2014/main" id="{29AC0624-6058-4DAD-9C30-BB65C39A7BB2}"/>
                </a:ext>
              </a:extLst>
            </p:cNvPr>
            <p:cNvSpPr/>
            <p:nvPr/>
          </p:nvSpPr>
          <p:spPr bwMode="auto">
            <a:xfrm rot="10800000" flipH="1" flipV="1">
              <a:off x="6860697" y="4204355"/>
              <a:ext cx="1559893" cy="2064681"/>
            </a:xfrm>
            <a:prstGeom prst="rect">
              <a:avLst/>
            </a:prstGeom>
            <a:solidFill>
              <a:schemeClr val="accent3">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365760" rIns="91440" bIns="91440" numCol="1" spcCol="0" rtlCol="0" fromWordArt="0" anchor="b" anchorCtr="0" forceAA="0" compatLnSpc="1">
              <a:prstTxWarp prst="textNoShape">
                <a:avLst/>
              </a:prstTxWarp>
              <a:noAutofit/>
            </a:bodyPr>
            <a:lstStyle/>
            <a:p>
              <a:pPr marL="0" marR="0" lvl="0" indent="0" algn="l" defTabSz="932195" rtl="0" eaLnBrk="1" fontAlgn="base" latinLnBrk="0" hangingPunct="1">
                <a:lnSpc>
                  <a:spcPct val="90000"/>
                </a:lnSpc>
                <a:spcBef>
                  <a:spcPct val="0"/>
                </a:spcBef>
                <a:spcAft>
                  <a:spcPct val="0"/>
                </a:spcAft>
                <a:buClrTx/>
                <a:buSzTx/>
                <a:buFontTx/>
                <a:buNone/>
                <a:tabLst/>
                <a:defRPr/>
              </a:pPr>
              <a:r>
                <a:rPr kumimoji="0" lang="en-IN" sz="1400" b="1"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Segoe UI Semibold" panose="020B0702040204020203" pitchFamily="34" charset="0"/>
                </a:rPr>
                <a:t>Agriculture</a:t>
              </a:r>
            </a:p>
            <a:p>
              <a:pPr marL="0" marR="0" lvl="0" indent="0" algn="l" defTabSz="932195" rtl="0" eaLnBrk="1" fontAlgn="base" latinLnBrk="0" hangingPunct="1">
                <a:lnSpc>
                  <a:spcPct val="90000"/>
                </a:lnSpc>
                <a:spcBef>
                  <a:spcPct val="0"/>
                </a:spcBef>
                <a:spcAft>
                  <a:spcPct val="0"/>
                </a:spcAft>
                <a:buClrTx/>
                <a:buSzTx/>
                <a:buFontTx/>
                <a:buNone/>
                <a:tabLst/>
                <a:defRPr/>
              </a:pPr>
              <a:r>
                <a:rPr kumimoji="0" lang="en-IN" sz="120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a:ea typeface="Segoe UI" pitchFamily="34" charset="0"/>
                  <a:cs typeface="Segoe UI Semibold" panose="020B0702040204020203" pitchFamily="34" charset="0"/>
                </a:rPr>
                <a:t>Better yields and higher quality with fewer resources and less waste</a:t>
              </a:r>
            </a:p>
          </p:txBody>
        </p:sp>
      </p:grpSp>
      <p:grpSp>
        <p:nvGrpSpPr>
          <p:cNvPr id="9" name="Group 8">
            <a:extLst>
              <a:ext uri="{FF2B5EF4-FFF2-40B4-BE49-F238E27FC236}">
                <a16:creationId xmlns:a16="http://schemas.microsoft.com/office/drawing/2014/main" id="{6CDB3DB0-35B4-4F2A-AF97-29E08546A1E5}"/>
              </a:ext>
            </a:extLst>
          </p:cNvPr>
          <p:cNvGrpSpPr/>
          <p:nvPr/>
        </p:nvGrpSpPr>
        <p:grpSpPr>
          <a:xfrm>
            <a:off x="10043845" y="2120723"/>
            <a:ext cx="1565542" cy="4148315"/>
            <a:chOff x="10043845" y="2120723"/>
            <a:chExt cx="1565542" cy="4148315"/>
          </a:xfrm>
        </p:grpSpPr>
        <p:pic>
          <p:nvPicPr>
            <p:cNvPr id="7" name="Picture 6">
              <a:extLst>
                <a:ext uri="{FF2B5EF4-FFF2-40B4-BE49-F238E27FC236}">
                  <a16:creationId xmlns:a16="http://schemas.microsoft.com/office/drawing/2014/main" id="{F5EA6A67-F08A-451B-B3E0-3AF1C66A79AD}"/>
                </a:ext>
              </a:extLst>
            </p:cNvPr>
            <p:cNvPicPr>
              <a:picLocks noChangeAspect="1"/>
            </p:cNvPicPr>
            <p:nvPr/>
          </p:nvPicPr>
          <p:blipFill rotWithShape="1">
            <a:blip r:embed="rId6"/>
            <a:srcRect l="38091" t="6524" r="17966" b="5803"/>
            <a:stretch/>
          </p:blipFill>
          <p:spPr>
            <a:xfrm>
              <a:off x="10043845" y="2120723"/>
              <a:ext cx="1565542" cy="2081770"/>
            </a:xfrm>
            <a:prstGeom prst="rect">
              <a:avLst/>
            </a:prstGeom>
          </p:spPr>
        </p:pic>
        <p:sp>
          <p:nvSpPr>
            <p:cNvPr id="97" name="Rectangle 96">
              <a:extLst>
                <a:ext uri="{FF2B5EF4-FFF2-40B4-BE49-F238E27FC236}">
                  <a16:creationId xmlns:a16="http://schemas.microsoft.com/office/drawing/2014/main" id="{1FC57C79-DC8C-4157-95A6-1965C0AB458B}"/>
                </a:ext>
              </a:extLst>
            </p:cNvPr>
            <p:cNvSpPr/>
            <p:nvPr/>
          </p:nvSpPr>
          <p:spPr bwMode="auto">
            <a:xfrm>
              <a:off x="10046890" y="4204357"/>
              <a:ext cx="1559893" cy="2064681"/>
            </a:xfrm>
            <a:prstGeom prst="rect">
              <a:avLst/>
            </a:prstGeom>
            <a:solidFill>
              <a:schemeClr val="accent2">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365760" rIns="91440" bIns="91440" numCol="1" spcCol="0" rtlCol="0" fromWordArt="0" anchor="b" anchorCtr="0" forceAA="0" compatLnSpc="1">
              <a:prstTxWarp prst="textNoShape">
                <a:avLst/>
              </a:prstTxWarp>
              <a:noAutofit/>
            </a:bodyPr>
            <a:lstStyle/>
            <a:p>
              <a:pPr marL="0" marR="0" lvl="0" indent="0" algn="l" defTabSz="932195" rtl="0" eaLnBrk="1" fontAlgn="base" latinLnBrk="0" hangingPunct="1">
                <a:lnSpc>
                  <a:spcPct val="90000"/>
                </a:lnSpc>
                <a:spcBef>
                  <a:spcPct val="0"/>
                </a:spcBef>
                <a:spcAft>
                  <a:spcPct val="0"/>
                </a:spcAft>
                <a:buClrTx/>
                <a:buSzTx/>
                <a:buFontTx/>
                <a:buNone/>
                <a:tabLst/>
                <a:defRPr/>
              </a:pPr>
              <a:r>
                <a:rPr kumimoji="0" lang="en-IN" sz="1400" b="1"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Segoe UI Semibold" panose="020B0702040204020203" pitchFamily="34" charset="0"/>
                </a:rPr>
                <a:t>Manufacturing</a:t>
              </a:r>
            </a:p>
            <a:p>
              <a:pPr marL="0" marR="0" lvl="0" indent="0" algn="l" defTabSz="932195" rtl="0" eaLnBrk="1" fontAlgn="base" latinLnBrk="0" hangingPunct="1">
                <a:lnSpc>
                  <a:spcPct val="90000"/>
                </a:lnSpc>
                <a:spcBef>
                  <a:spcPct val="0"/>
                </a:spcBef>
                <a:spcAft>
                  <a:spcPct val="0"/>
                </a:spcAft>
                <a:buClrTx/>
                <a:buSzTx/>
                <a:buFontTx/>
                <a:buNone/>
                <a:tabLst/>
                <a:defRPr/>
              </a:pPr>
              <a:r>
                <a:rPr kumimoji="0" lang="en-IN" sz="120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a:ea typeface="Segoe UI" pitchFamily="34" charset="0"/>
                  <a:cs typeface="Segoe UI" pitchFamily="34" charset="0"/>
                </a:rPr>
                <a:t>Realize efficiency, automation, customer centricity and tap into new revenue sources</a:t>
              </a:r>
            </a:p>
          </p:txBody>
        </p:sp>
      </p:grpSp>
      <p:grpSp>
        <p:nvGrpSpPr>
          <p:cNvPr id="5" name="Group 4">
            <a:extLst>
              <a:ext uri="{FF2B5EF4-FFF2-40B4-BE49-F238E27FC236}">
                <a16:creationId xmlns:a16="http://schemas.microsoft.com/office/drawing/2014/main" id="{23E12B36-FC60-4C8F-A7BE-D72E653B766F}"/>
              </a:ext>
            </a:extLst>
          </p:cNvPr>
          <p:cNvGrpSpPr/>
          <p:nvPr/>
        </p:nvGrpSpPr>
        <p:grpSpPr>
          <a:xfrm>
            <a:off x="5267602" y="2120720"/>
            <a:ext cx="1559889" cy="4148317"/>
            <a:chOff x="5267602" y="2120720"/>
            <a:chExt cx="1559889" cy="4148317"/>
          </a:xfrm>
        </p:grpSpPr>
        <p:pic>
          <p:nvPicPr>
            <p:cNvPr id="359" name="Picture 20">
              <a:extLst>
                <a:ext uri="{FF2B5EF4-FFF2-40B4-BE49-F238E27FC236}">
                  <a16:creationId xmlns:a16="http://schemas.microsoft.com/office/drawing/2014/main" id="{83AE5571-CBB2-407C-B022-3F2285D22D94}"/>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t="4403" b="21067"/>
            <a:stretch/>
          </p:blipFill>
          <p:spPr bwMode="auto">
            <a:xfrm>
              <a:off x="5267602" y="4185403"/>
              <a:ext cx="1559888" cy="2083634"/>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4" name="Rectangle 383">
              <a:extLst>
                <a:ext uri="{FF2B5EF4-FFF2-40B4-BE49-F238E27FC236}">
                  <a16:creationId xmlns:a16="http://schemas.microsoft.com/office/drawing/2014/main" id="{E2F18358-09DB-4D08-A888-C0101896639D}"/>
                </a:ext>
              </a:extLst>
            </p:cNvPr>
            <p:cNvSpPr/>
            <p:nvPr/>
          </p:nvSpPr>
          <p:spPr bwMode="auto">
            <a:xfrm>
              <a:off x="5267602" y="2120720"/>
              <a:ext cx="1559889" cy="2081768"/>
            </a:xfrm>
            <a:prstGeom prst="rect">
              <a:avLst/>
            </a:prstGeom>
            <a:solidFill>
              <a:srgbClr val="0359A0"/>
            </a:solidFill>
            <a:ln w="9525" cap="flat" cmpd="sng" algn="ctr">
              <a:noFill/>
              <a:prstDash val="solid"/>
              <a:headEnd type="none" w="med" len="med"/>
              <a:tailEnd type="none" w="med" len="med"/>
            </a:ln>
            <a:effectLst/>
          </p:spPr>
          <p:txBody>
            <a:bodyPr rot="0" spcFirstLastPara="0" vertOverflow="overflow" horzOverflow="overflow" vert="horz" wrap="square" lIns="91440" tIns="365760" rIns="91440" bIns="91440" numCol="1" spcCol="0" rtlCol="0" fromWordArt="0" anchor="b" anchorCtr="0" forceAA="0" compatLnSpc="1">
              <a:prstTxWarp prst="textNoShape">
                <a:avLst/>
              </a:prstTxWarp>
              <a:noAutofit/>
            </a:bodyPr>
            <a:lstStyle/>
            <a:p>
              <a:pPr marL="0" marR="0" lvl="0" indent="0" algn="l" defTabSz="932195" rtl="0" eaLnBrk="1" fontAlgn="base" latinLnBrk="0" hangingPunct="1">
                <a:lnSpc>
                  <a:spcPct val="90000"/>
                </a:lnSpc>
                <a:spcBef>
                  <a:spcPct val="0"/>
                </a:spcBef>
                <a:spcAft>
                  <a:spcPct val="0"/>
                </a:spcAft>
                <a:buClrTx/>
                <a:buSzTx/>
                <a:buFontTx/>
                <a:buNone/>
                <a:tabLst/>
                <a:defRPr/>
              </a:pPr>
              <a:r>
                <a:rPr kumimoji="0" lang="en-IN" sz="1400" b="1"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Segoe UI Semibold" panose="020B0702040204020203" pitchFamily="34" charset="0"/>
                </a:rPr>
                <a:t>Smart Cities</a:t>
              </a:r>
            </a:p>
            <a:p>
              <a:pPr marL="0" marR="0" lvl="0" indent="0" algn="l" defTabSz="932195" rtl="0" eaLnBrk="1" fontAlgn="base" latinLnBrk="0" hangingPunct="1">
                <a:lnSpc>
                  <a:spcPct val="90000"/>
                </a:lnSpc>
                <a:spcBef>
                  <a:spcPct val="0"/>
                </a:spcBef>
                <a:spcAft>
                  <a:spcPct val="0"/>
                </a:spcAft>
                <a:buClrTx/>
                <a:buSzTx/>
                <a:buFontTx/>
                <a:buNone/>
                <a:tabLst/>
                <a:defRPr/>
              </a:pPr>
              <a:r>
                <a:rPr kumimoji="0" lang="en-IN" sz="120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a:ea typeface="Segoe UI" pitchFamily="34" charset="0"/>
                  <a:cs typeface="Segoe UI" pitchFamily="34" charset="0"/>
                </a:rPr>
                <a:t>More sustainable, prosperous, and economically competitive cities</a:t>
              </a:r>
            </a:p>
          </p:txBody>
        </p:sp>
      </p:grpSp>
      <p:grpSp>
        <p:nvGrpSpPr>
          <p:cNvPr id="8" name="Group 7">
            <a:extLst>
              <a:ext uri="{FF2B5EF4-FFF2-40B4-BE49-F238E27FC236}">
                <a16:creationId xmlns:a16="http://schemas.microsoft.com/office/drawing/2014/main" id="{1359513A-36BD-4AE6-91A8-E0ED4B24BE8F}"/>
              </a:ext>
            </a:extLst>
          </p:cNvPr>
          <p:cNvGrpSpPr/>
          <p:nvPr/>
        </p:nvGrpSpPr>
        <p:grpSpPr>
          <a:xfrm>
            <a:off x="8453794" y="2120720"/>
            <a:ext cx="1559893" cy="4148316"/>
            <a:chOff x="8453794" y="2120720"/>
            <a:chExt cx="1559893" cy="4148316"/>
          </a:xfrm>
        </p:grpSpPr>
        <p:pic>
          <p:nvPicPr>
            <p:cNvPr id="358" name="Picture 62">
              <a:extLst>
                <a:ext uri="{FF2B5EF4-FFF2-40B4-BE49-F238E27FC236}">
                  <a16:creationId xmlns:a16="http://schemas.microsoft.com/office/drawing/2014/main" id="{16D12DF1-C6DB-4D28-B55D-8A1EC7B1B951}"/>
                </a:ext>
              </a:extLst>
            </p:cNvPr>
            <p:cNvPicPr>
              <a:picLocks noChangeAspect="1" noChangeArrowheads="1"/>
            </p:cNvPicPr>
            <p:nvPr/>
          </p:nvPicPr>
          <p:blipFill rotWithShape="1">
            <a:blip r:embed="rId8" cstate="hqprint">
              <a:extLst>
                <a:ext uri="{28A0092B-C50C-407E-A947-70E740481C1C}">
                  <a14:useLocalDpi xmlns:a14="http://schemas.microsoft.com/office/drawing/2010/main"/>
                </a:ext>
              </a:extLst>
            </a:blip>
            <a:srcRect t="2500" b="22474"/>
            <a:stretch/>
          </p:blipFill>
          <p:spPr bwMode="auto">
            <a:xfrm>
              <a:off x="8453797" y="4185403"/>
              <a:ext cx="1556843" cy="208363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 name="Rectangle 377">
              <a:extLst>
                <a:ext uri="{FF2B5EF4-FFF2-40B4-BE49-F238E27FC236}">
                  <a16:creationId xmlns:a16="http://schemas.microsoft.com/office/drawing/2014/main" id="{8FAF3F78-937E-4399-B807-64AFB197A946}"/>
                </a:ext>
              </a:extLst>
            </p:cNvPr>
            <p:cNvSpPr/>
            <p:nvPr/>
          </p:nvSpPr>
          <p:spPr bwMode="auto">
            <a:xfrm>
              <a:off x="8453794" y="2120720"/>
              <a:ext cx="1559893" cy="2081768"/>
            </a:xfrm>
            <a:prstGeom prst="rect">
              <a:avLst/>
            </a:prstGeom>
            <a:solidFill>
              <a:schemeClr val="accent1">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365760" rIns="91440" bIns="91440" numCol="1" spcCol="0" rtlCol="0" fromWordArt="0" anchor="b" anchorCtr="0" forceAA="0" compatLnSpc="1">
              <a:prstTxWarp prst="textNoShape">
                <a:avLst/>
              </a:prstTxWarp>
              <a:noAutofit/>
            </a:bodyPr>
            <a:lstStyle/>
            <a:p>
              <a:pPr marL="0" marR="0" lvl="0" indent="0" algn="l" defTabSz="932195" rtl="0" eaLnBrk="1" fontAlgn="base" latinLnBrk="0" hangingPunct="1">
                <a:lnSpc>
                  <a:spcPct val="90000"/>
                </a:lnSpc>
                <a:spcBef>
                  <a:spcPct val="0"/>
                </a:spcBef>
                <a:spcAft>
                  <a:spcPct val="0"/>
                </a:spcAft>
                <a:buClrTx/>
                <a:buSzTx/>
                <a:buFontTx/>
                <a:buNone/>
                <a:tabLst/>
                <a:defRPr/>
              </a:pPr>
              <a:r>
                <a:rPr kumimoji="0" lang="en-IN" sz="1400" b="1"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Segoe UI Semibold" panose="020B0702040204020203" pitchFamily="34" charset="0"/>
                </a:rPr>
                <a:t>Healthcare</a:t>
              </a:r>
            </a:p>
            <a:p>
              <a:pPr marL="0" marR="0" lvl="0" indent="0" algn="l" defTabSz="932195" rtl="0" eaLnBrk="1" fontAlgn="base" latinLnBrk="0" hangingPunct="1">
                <a:lnSpc>
                  <a:spcPct val="90000"/>
                </a:lnSpc>
                <a:spcBef>
                  <a:spcPct val="0"/>
                </a:spcBef>
                <a:spcAft>
                  <a:spcPct val="0"/>
                </a:spcAft>
                <a:buClrTx/>
                <a:buSzTx/>
                <a:buFontTx/>
                <a:buNone/>
                <a:tabLst/>
                <a:defRPr/>
              </a:pPr>
              <a:r>
                <a:rPr kumimoji="0" lang="en-IN" sz="120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a:ea typeface="Segoe UI" pitchFamily="34" charset="0"/>
                  <a:cs typeface="Segoe UI" pitchFamily="34" charset="0"/>
                </a:rPr>
                <a:t>Improved quality and better outcomes for patients, anywhere</a:t>
              </a:r>
            </a:p>
          </p:txBody>
        </p:sp>
      </p:grpSp>
      <p:grpSp>
        <p:nvGrpSpPr>
          <p:cNvPr id="3" name="Group 2">
            <a:extLst>
              <a:ext uri="{FF2B5EF4-FFF2-40B4-BE49-F238E27FC236}">
                <a16:creationId xmlns:a16="http://schemas.microsoft.com/office/drawing/2014/main" id="{2ADC7A5B-CB7D-47D2-8E51-B96EAD5DECDA}"/>
              </a:ext>
            </a:extLst>
          </p:cNvPr>
          <p:cNvGrpSpPr/>
          <p:nvPr/>
        </p:nvGrpSpPr>
        <p:grpSpPr>
          <a:xfrm>
            <a:off x="2178312" y="2120720"/>
            <a:ext cx="1562943" cy="4148317"/>
            <a:chOff x="2178312" y="2120720"/>
            <a:chExt cx="1562943" cy="4148317"/>
          </a:xfrm>
        </p:grpSpPr>
        <p:pic>
          <p:nvPicPr>
            <p:cNvPr id="360" name="Picture 19">
              <a:extLst>
                <a:ext uri="{FF2B5EF4-FFF2-40B4-BE49-F238E27FC236}">
                  <a16:creationId xmlns:a16="http://schemas.microsoft.com/office/drawing/2014/main" id="{177E382A-2218-426A-9DC9-8550B617424A}"/>
                </a:ext>
              </a:extLst>
            </p:cNvPr>
            <p:cNvPicPr>
              <a:picLocks noChangeAspect="1" noChangeArrowheads="1"/>
            </p:cNvPicPr>
            <p:nvPr/>
          </p:nvPicPr>
          <p:blipFill rotWithShape="1">
            <a:blip r:embed="rId9" cstate="hqprint">
              <a:extLst>
                <a:ext uri="{28A0092B-C50C-407E-A947-70E740481C1C}">
                  <a14:useLocalDpi xmlns:a14="http://schemas.microsoft.com/office/drawing/2010/main"/>
                </a:ext>
              </a:extLst>
            </a:blip>
            <a:srcRect t="14023" b="10672"/>
            <a:stretch/>
          </p:blipFill>
          <p:spPr bwMode="auto">
            <a:xfrm>
              <a:off x="2178312" y="4185404"/>
              <a:ext cx="1562941" cy="208363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 name="Rectangle 367">
              <a:extLst>
                <a:ext uri="{FF2B5EF4-FFF2-40B4-BE49-F238E27FC236}">
                  <a16:creationId xmlns:a16="http://schemas.microsoft.com/office/drawing/2014/main" id="{0E100219-D45D-4046-8465-41026BD1C812}"/>
                </a:ext>
              </a:extLst>
            </p:cNvPr>
            <p:cNvSpPr/>
            <p:nvPr/>
          </p:nvSpPr>
          <p:spPr bwMode="auto">
            <a:xfrm rot="10800000" flipH="1" flipV="1">
              <a:off x="2178313" y="2120720"/>
              <a:ext cx="1562942" cy="2081768"/>
            </a:xfrm>
            <a:prstGeom prst="rect">
              <a:avLst/>
            </a:prstGeom>
            <a:solidFill>
              <a:schemeClr val="accent2"/>
            </a:solidFill>
            <a:ln w="28575" cap="flat" cmpd="sng" algn="ctr">
              <a:noFill/>
              <a:prstDash val="solid"/>
              <a:headEnd type="none" w="med" len="med"/>
              <a:tailEnd type="none" w="med" len="med"/>
            </a:ln>
            <a:effectLst/>
          </p:spPr>
          <p:txBody>
            <a:bodyPr rot="0" spcFirstLastPara="0" vertOverflow="overflow" horzOverflow="overflow" vert="horz" wrap="square" lIns="91440" tIns="365760" rIns="91440" bIns="91440" numCol="1" spcCol="0" rtlCol="0" fromWordArt="0" anchor="b" anchorCtr="0" forceAA="0" compatLnSpc="1">
              <a:prstTxWarp prst="textNoShape">
                <a:avLst/>
              </a:prstTxWarp>
              <a:noAutofit/>
            </a:bodyPr>
            <a:lstStyle/>
            <a:p>
              <a:pPr marL="0" marR="0" lvl="0" indent="0" algn="l" defTabSz="932195" rtl="0" eaLnBrk="1" fontAlgn="base" latinLnBrk="0" hangingPunct="1">
                <a:lnSpc>
                  <a:spcPct val="90000"/>
                </a:lnSpc>
                <a:spcBef>
                  <a:spcPct val="0"/>
                </a:spcBef>
                <a:spcAft>
                  <a:spcPct val="0"/>
                </a:spcAft>
                <a:buClrTx/>
                <a:buSzTx/>
                <a:buFontTx/>
                <a:buNone/>
                <a:tabLst/>
                <a:defRPr/>
              </a:pPr>
              <a:r>
                <a:rPr kumimoji="0" lang="en-IN" sz="1400" b="1"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Segoe UI Semibold" panose="020B0702040204020203" pitchFamily="34" charset="0"/>
                </a:rPr>
                <a:t>Energy</a:t>
              </a:r>
            </a:p>
            <a:p>
              <a:pPr marL="0" marR="0" lvl="0" indent="0" algn="l" defTabSz="932195" rtl="0" eaLnBrk="1" fontAlgn="base" latinLnBrk="0" hangingPunct="1">
                <a:lnSpc>
                  <a:spcPct val="90000"/>
                </a:lnSpc>
                <a:spcBef>
                  <a:spcPct val="0"/>
                </a:spcBef>
                <a:spcAft>
                  <a:spcPct val="0"/>
                </a:spcAft>
                <a:buClrTx/>
                <a:buSzTx/>
                <a:buFontTx/>
                <a:buNone/>
                <a:tabLst/>
                <a:defRPr/>
              </a:pPr>
              <a:r>
                <a:rPr kumimoji="0" lang="en-IN" sz="120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a:ea typeface="Segoe UI" pitchFamily="34" charset="0"/>
                  <a:cs typeface="Segoe UI" pitchFamily="34" charset="0"/>
                </a:rPr>
                <a:t>More efficient, cleaner power, and using less of it across industries</a:t>
              </a:r>
            </a:p>
          </p:txBody>
        </p:sp>
      </p:grpSp>
      <p:sp>
        <p:nvSpPr>
          <p:cNvPr id="10" name="Rectangle 9">
            <a:extLst>
              <a:ext uri="{FF2B5EF4-FFF2-40B4-BE49-F238E27FC236}">
                <a16:creationId xmlns:a16="http://schemas.microsoft.com/office/drawing/2014/main" id="{CFAA5DA7-0316-46CD-AF88-F37BA81DCE78}"/>
              </a:ext>
            </a:extLst>
          </p:cNvPr>
          <p:cNvSpPr/>
          <p:nvPr/>
        </p:nvSpPr>
        <p:spPr bwMode="auto">
          <a:xfrm>
            <a:off x="11612432" y="1921397"/>
            <a:ext cx="579568" cy="45372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1582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1+#ppt_w/2"/>
                                          </p:val>
                                        </p:tav>
                                        <p:tav tm="100000">
                                          <p:val>
                                            <p:strVal val="#ppt_x"/>
                                          </p:val>
                                        </p:tav>
                                      </p:tavLst>
                                    </p:anim>
                                    <p:anim calcmode="lin" valueType="num">
                                      <p:cBhvr additive="base">
                                        <p:cTn id="8" dur="75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1+#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750" fill="hold"/>
                                        <p:tgtEl>
                                          <p:spTgt spid="4"/>
                                        </p:tgtEl>
                                        <p:attrNameLst>
                                          <p:attrName>ppt_x</p:attrName>
                                        </p:attrNameLst>
                                      </p:cBhvr>
                                      <p:tavLst>
                                        <p:tav tm="0">
                                          <p:val>
                                            <p:strVal val="1+#ppt_w/2"/>
                                          </p:val>
                                        </p:tav>
                                        <p:tav tm="100000">
                                          <p:val>
                                            <p:strVal val="#ppt_x"/>
                                          </p:val>
                                        </p:tav>
                                      </p:tavLst>
                                    </p:anim>
                                    <p:anim calcmode="lin" valueType="num">
                                      <p:cBhvr additive="base">
                                        <p:cTn id="16" dur="750" fill="hold"/>
                                        <p:tgtEl>
                                          <p:spTgt spid="4"/>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750" fill="hold"/>
                                        <p:tgtEl>
                                          <p:spTgt spid="5"/>
                                        </p:tgtEl>
                                        <p:attrNameLst>
                                          <p:attrName>ppt_x</p:attrName>
                                        </p:attrNameLst>
                                      </p:cBhvr>
                                      <p:tavLst>
                                        <p:tav tm="0">
                                          <p:val>
                                            <p:strVal val="1+#ppt_w/2"/>
                                          </p:val>
                                        </p:tav>
                                        <p:tav tm="100000">
                                          <p:val>
                                            <p:strVal val="#ppt_x"/>
                                          </p:val>
                                        </p:tav>
                                      </p:tavLst>
                                    </p:anim>
                                    <p:anim calcmode="lin" valueType="num">
                                      <p:cBhvr additive="base">
                                        <p:cTn id="20" dur="750" fill="hold"/>
                                        <p:tgtEl>
                                          <p:spTgt spid="5"/>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400"/>
                                  </p:stCondLst>
                                  <p:childTnLst>
                                    <p:set>
                                      <p:cBhvr>
                                        <p:cTn id="22" dur="1" fill="hold">
                                          <p:stCondLst>
                                            <p:cond delay="0"/>
                                          </p:stCondLst>
                                        </p:cTn>
                                        <p:tgtEl>
                                          <p:spTgt spid="6"/>
                                        </p:tgtEl>
                                        <p:attrNameLst>
                                          <p:attrName>style.visibility</p:attrName>
                                        </p:attrNameLst>
                                      </p:cBhvr>
                                      <p:to>
                                        <p:strVal val="visible"/>
                                      </p:to>
                                    </p:set>
                                    <p:anim calcmode="lin" valueType="num">
                                      <p:cBhvr additive="base">
                                        <p:cTn id="23" dur="750" fill="hold"/>
                                        <p:tgtEl>
                                          <p:spTgt spid="6"/>
                                        </p:tgtEl>
                                        <p:attrNameLst>
                                          <p:attrName>ppt_x</p:attrName>
                                        </p:attrNameLst>
                                      </p:cBhvr>
                                      <p:tavLst>
                                        <p:tav tm="0">
                                          <p:val>
                                            <p:strVal val="1+#ppt_w/2"/>
                                          </p:val>
                                        </p:tav>
                                        <p:tav tm="100000">
                                          <p:val>
                                            <p:strVal val="#ppt_x"/>
                                          </p:val>
                                        </p:tav>
                                      </p:tavLst>
                                    </p:anim>
                                    <p:anim calcmode="lin" valueType="num">
                                      <p:cBhvr additive="base">
                                        <p:cTn id="24" dur="750" fill="hold"/>
                                        <p:tgtEl>
                                          <p:spTgt spid="6"/>
                                        </p:tgtEl>
                                        <p:attrNameLst>
                                          <p:attrName>ppt_y</p:attrName>
                                        </p:attrNameLst>
                                      </p:cBhvr>
                                      <p:tavLst>
                                        <p:tav tm="0">
                                          <p:val>
                                            <p:strVal val="#ppt_y"/>
                                          </p:val>
                                        </p:tav>
                                        <p:tav tm="100000">
                                          <p:val>
                                            <p:strVal val="#ppt_y"/>
                                          </p:val>
                                        </p:tav>
                                      </p:tavLst>
                                    </p:anim>
                                  </p:childTnLst>
                                </p:cTn>
                              </p:par>
                              <p:par>
                                <p:cTn id="25" presetID="2" presetClass="entr" presetSubtype="2" decel="100000" fill="hold" nodeType="withEffect">
                                  <p:stCondLst>
                                    <p:cond delay="50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750" fill="hold"/>
                                        <p:tgtEl>
                                          <p:spTgt spid="8"/>
                                        </p:tgtEl>
                                        <p:attrNameLst>
                                          <p:attrName>ppt_x</p:attrName>
                                        </p:attrNameLst>
                                      </p:cBhvr>
                                      <p:tavLst>
                                        <p:tav tm="0">
                                          <p:val>
                                            <p:strVal val="1+#ppt_w/2"/>
                                          </p:val>
                                        </p:tav>
                                        <p:tav tm="100000">
                                          <p:val>
                                            <p:strVal val="#ppt_x"/>
                                          </p:val>
                                        </p:tav>
                                      </p:tavLst>
                                    </p:anim>
                                    <p:anim calcmode="lin" valueType="num">
                                      <p:cBhvr additive="base">
                                        <p:cTn id="28" dur="750" fill="hold"/>
                                        <p:tgtEl>
                                          <p:spTgt spid="8"/>
                                        </p:tgtEl>
                                        <p:attrNameLst>
                                          <p:attrName>ppt_y</p:attrName>
                                        </p:attrNameLst>
                                      </p:cBhvr>
                                      <p:tavLst>
                                        <p:tav tm="0">
                                          <p:val>
                                            <p:strVal val="#ppt_y"/>
                                          </p:val>
                                        </p:tav>
                                        <p:tav tm="100000">
                                          <p:val>
                                            <p:strVal val="#ppt_y"/>
                                          </p:val>
                                        </p:tav>
                                      </p:tavLst>
                                    </p:anim>
                                  </p:childTnLst>
                                </p:cTn>
                              </p:par>
                              <p:par>
                                <p:cTn id="29" presetID="2" presetClass="entr" presetSubtype="2" decel="100000" fill="hold" nodeType="withEffect">
                                  <p:stCondLst>
                                    <p:cond delay="60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750" fill="hold"/>
                                        <p:tgtEl>
                                          <p:spTgt spid="9"/>
                                        </p:tgtEl>
                                        <p:attrNameLst>
                                          <p:attrName>ppt_x</p:attrName>
                                        </p:attrNameLst>
                                      </p:cBhvr>
                                      <p:tavLst>
                                        <p:tav tm="0">
                                          <p:val>
                                            <p:strVal val="1+#ppt_w/2"/>
                                          </p:val>
                                        </p:tav>
                                        <p:tav tm="100000">
                                          <p:val>
                                            <p:strVal val="#ppt_x"/>
                                          </p:val>
                                        </p:tav>
                                      </p:tavLst>
                                    </p:anim>
                                    <p:anim calcmode="lin" valueType="num">
                                      <p:cBhvr additive="base">
                                        <p:cTn id="32" dur="7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DCA9FBC-B523-4A93-BB0D-5DD7C8AC44B9}"/>
              </a:ext>
            </a:extLst>
          </p:cNvPr>
          <p:cNvSpPr/>
          <p:nvPr/>
        </p:nvSpPr>
        <p:spPr>
          <a:xfrm>
            <a:off x="1135110" y="4705161"/>
            <a:ext cx="1777357"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Prepare data</a:t>
            </a:r>
          </a:p>
        </p:txBody>
      </p:sp>
      <p:sp>
        <p:nvSpPr>
          <p:cNvPr id="166" name="Rectangle 165">
            <a:extLst>
              <a:ext uri="{FF2B5EF4-FFF2-40B4-BE49-F238E27FC236}">
                <a16:creationId xmlns:a16="http://schemas.microsoft.com/office/drawing/2014/main" id="{9EFE15A1-E885-4535-BFBD-E19E41773C02}"/>
              </a:ext>
            </a:extLst>
          </p:cNvPr>
          <p:cNvSpPr/>
          <p:nvPr/>
        </p:nvSpPr>
        <p:spPr>
          <a:xfrm>
            <a:off x="4989205" y="4705161"/>
            <a:ext cx="2025966"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Build and train</a:t>
            </a:r>
          </a:p>
        </p:txBody>
      </p:sp>
      <p:sp>
        <p:nvSpPr>
          <p:cNvPr id="167" name="Rectangle 166">
            <a:extLst>
              <a:ext uri="{FF2B5EF4-FFF2-40B4-BE49-F238E27FC236}">
                <a16:creationId xmlns:a16="http://schemas.microsoft.com/office/drawing/2014/main" id="{E6DAEA1B-DC96-4B5D-BFC5-75B256D4D14F}"/>
              </a:ext>
            </a:extLst>
          </p:cNvPr>
          <p:cNvSpPr/>
          <p:nvPr/>
        </p:nvSpPr>
        <p:spPr>
          <a:xfrm>
            <a:off x="9468437" y="4705161"/>
            <a:ext cx="1070500"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Deploy</a:t>
            </a:r>
          </a:p>
        </p:txBody>
      </p:sp>
      <p:sp>
        <p:nvSpPr>
          <p:cNvPr id="3" name="Title 2">
            <a:extLst>
              <a:ext uri="{FF2B5EF4-FFF2-40B4-BE49-F238E27FC236}">
                <a16:creationId xmlns:a16="http://schemas.microsoft.com/office/drawing/2014/main" id="{A53E7BBA-9986-5F47-9056-ED32C5F563EC}"/>
              </a:ext>
            </a:extLst>
          </p:cNvPr>
          <p:cNvSpPr>
            <a:spLocks noGrp="1"/>
          </p:cNvSpPr>
          <p:nvPr>
            <p:ph type="title"/>
          </p:nvPr>
        </p:nvSpPr>
        <p:spPr/>
        <p:txBody>
          <a:bodyPr/>
          <a:lstStyle/>
          <a:p>
            <a:r>
              <a:rPr lang="en-US" dirty="0"/>
              <a:t>Building your own AI models</a:t>
            </a:r>
          </a:p>
        </p:txBody>
      </p:sp>
      <p:sp>
        <p:nvSpPr>
          <p:cNvPr id="4" name="Text Placeholder 3">
            <a:extLst>
              <a:ext uri="{FF2B5EF4-FFF2-40B4-BE49-F238E27FC236}">
                <a16:creationId xmlns:a16="http://schemas.microsoft.com/office/drawing/2014/main" id="{1F4684A0-6FA0-8B40-9754-1BB61EFFC6BB}"/>
              </a:ext>
            </a:extLst>
          </p:cNvPr>
          <p:cNvSpPr>
            <a:spLocks noGrp="1"/>
          </p:cNvSpPr>
          <p:nvPr>
            <p:ph type="body" sz="quarter" idx="12"/>
          </p:nvPr>
        </p:nvSpPr>
        <p:spPr/>
        <p:txBody>
          <a:bodyPr/>
          <a:lstStyle/>
          <a:p>
            <a:r>
              <a:rPr lang="en-US" dirty="0"/>
              <a:t>Transforming data into intelligence</a:t>
            </a:r>
          </a:p>
        </p:txBody>
      </p:sp>
      <p:grpSp>
        <p:nvGrpSpPr>
          <p:cNvPr id="9" name="Group 8">
            <a:extLst>
              <a:ext uri="{FF2B5EF4-FFF2-40B4-BE49-F238E27FC236}">
                <a16:creationId xmlns:a16="http://schemas.microsoft.com/office/drawing/2014/main" id="{99BF8526-DA0A-4647-B3D7-5991EF756188}"/>
              </a:ext>
            </a:extLst>
          </p:cNvPr>
          <p:cNvGrpSpPr/>
          <p:nvPr/>
        </p:nvGrpSpPr>
        <p:grpSpPr>
          <a:xfrm>
            <a:off x="9012965" y="2581371"/>
            <a:ext cx="1981445" cy="1637978"/>
            <a:chOff x="9524460" y="2632636"/>
            <a:chExt cx="2021177" cy="1670823"/>
          </a:xfrm>
        </p:grpSpPr>
        <p:sp>
          <p:nvSpPr>
            <p:cNvPr id="60" name="gear_3">
              <a:extLst>
                <a:ext uri="{FF2B5EF4-FFF2-40B4-BE49-F238E27FC236}">
                  <a16:creationId xmlns:a16="http://schemas.microsoft.com/office/drawing/2014/main" id="{67050993-F9B5-8240-AAD9-B11E05FAE48F}"/>
                </a:ext>
              </a:extLst>
            </p:cNvPr>
            <p:cNvSpPr>
              <a:spLocks noChangeAspect="1" noEditPoints="1"/>
            </p:cNvSpPr>
            <p:nvPr/>
          </p:nvSpPr>
          <p:spPr bwMode="auto">
            <a:xfrm>
              <a:off x="9524460" y="3183698"/>
              <a:ext cx="1110355" cy="111976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gear_3">
              <a:extLst>
                <a:ext uri="{FF2B5EF4-FFF2-40B4-BE49-F238E27FC236}">
                  <a16:creationId xmlns:a16="http://schemas.microsoft.com/office/drawing/2014/main" id="{DA6C2E52-D5EE-5C4C-AF7F-BB609E56C666}"/>
                </a:ext>
              </a:extLst>
            </p:cNvPr>
            <p:cNvSpPr>
              <a:spLocks noChangeAspect="1" noEditPoints="1"/>
            </p:cNvSpPr>
            <p:nvPr/>
          </p:nvSpPr>
          <p:spPr bwMode="auto">
            <a:xfrm>
              <a:off x="10421433" y="2632636"/>
              <a:ext cx="735342" cy="74157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gear_3">
              <a:extLst>
                <a:ext uri="{FF2B5EF4-FFF2-40B4-BE49-F238E27FC236}">
                  <a16:creationId xmlns:a16="http://schemas.microsoft.com/office/drawing/2014/main" id="{8D579812-8A97-0147-AE26-C5807904C54B}"/>
                </a:ext>
              </a:extLst>
            </p:cNvPr>
            <p:cNvSpPr>
              <a:spLocks noChangeAspect="1" noEditPoints="1"/>
            </p:cNvSpPr>
            <p:nvPr/>
          </p:nvSpPr>
          <p:spPr bwMode="auto">
            <a:xfrm>
              <a:off x="11022746" y="3309209"/>
              <a:ext cx="522891" cy="527320"/>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0" name="Group 9">
            <a:extLst>
              <a:ext uri="{FF2B5EF4-FFF2-40B4-BE49-F238E27FC236}">
                <a16:creationId xmlns:a16="http://schemas.microsoft.com/office/drawing/2014/main" id="{664F42B7-F9B2-494E-99B3-33C0B57C2BF1}"/>
              </a:ext>
            </a:extLst>
          </p:cNvPr>
          <p:cNvGrpSpPr/>
          <p:nvPr/>
        </p:nvGrpSpPr>
        <p:grpSpPr>
          <a:xfrm>
            <a:off x="1144934" y="2677641"/>
            <a:ext cx="1757706" cy="1650960"/>
            <a:chOff x="1239394" y="2531811"/>
            <a:chExt cx="1792952" cy="1684065"/>
          </a:xfrm>
        </p:grpSpPr>
        <p:grpSp>
          <p:nvGrpSpPr>
            <p:cNvPr id="64" name="Group 63">
              <a:extLst>
                <a:ext uri="{FF2B5EF4-FFF2-40B4-BE49-F238E27FC236}">
                  <a16:creationId xmlns:a16="http://schemas.microsoft.com/office/drawing/2014/main" id="{E26DEDDE-7218-6C4C-AFFF-418DBC6A84C7}"/>
                </a:ext>
              </a:extLst>
            </p:cNvPr>
            <p:cNvGrpSpPr/>
            <p:nvPr/>
          </p:nvGrpSpPr>
          <p:grpSpPr>
            <a:xfrm>
              <a:off x="1239394" y="2531811"/>
              <a:ext cx="523013" cy="1684065"/>
              <a:chOff x="1395310" y="3332039"/>
              <a:chExt cx="430961" cy="1387665"/>
            </a:xfrm>
            <a:solidFill>
              <a:schemeClr val="bg1"/>
            </a:solidFill>
          </p:grpSpPr>
          <p:sp>
            <p:nvSpPr>
              <p:cNvPr id="65" name="Isosceles Triangle 86">
                <a:extLst>
                  <a:ext uri="{FF2B5EF4-FFF2-40B4-BE49-F238E27FC236}">
                    <a16:creationId xmlns:a16="http://schemas.microsoft.com/office/drawing/2014/main" id="{9AA62143-B08F-FA4C-ACEE-7ACE1F59AD8F}"/>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6" name="Rectangle 65">
                <a:extLst>
                  <a:ext uri="{FF2B5EF4-FFF2-40B4-BE49-F238E27FC236}">
                    <a16:creationId xmlns:a16="http://schemas.microsoft.com/office/drawing/2014/main" id="{1057CEB9-3014-A547-99CB-50A539109E74}"/>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7" name="Oval 66">
                <a:extLst>
                  <a:ext uri="{FF2B5EF4-FFF2-40B4-BE49-F238E27FC236}">
                    <a16:creationId xmlns:a16="http://schemas.microsoft.com/office/drawing/2014/main" id="{16EA03E3-BB99-7F46-A3E1-F1C790C96CB9}"/>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68" name="Group 67">
              <a:extLst>
                <a:ext uri="{FF2B5EF4-FFF2-40B4-BE49-F238E27FC236}">
                  <a16:creationId xmlns:a16="http://schemas.microsoft.com/office/drawing/2014/main" id="{7BD98EB6-EFD9-0F48-B1A0-E1DCFB5C8FB1}"/>
                </a:ext>
              </a:extLst>
            </p:cNvPr>
            <p:cNvGrpSpPr/>
            <p:nvPr/>
          </p:nvGrpSpPr>
          <p:grpSpPr>
            <a:xfrm>
              <a:off x="1874363" y="2531811"/>
              <a:ext cx="523013" cy="1684065"/>
              <a:chOff x="1395310" y="3332039"/>
              <a:chExt cx="430961" cy="1387665"/>
            </a:xfrm>
            <a:solidFill>
              <a:schemeClr val="bg1"/>
            </a:solidFill>
          </p:grpSpPr>
          <p:sp>
            <p:nvSpPr>
              <p:cNvPr id="69" name="Isosceles Triangle 83">
                <a:extLst>
                  <a:ext uri="{FF2B5EF4-FFF2-40B4-BE49-F238E27FC236}">
                    <a16:creationId xmlns:a16="http://schemas.microsoft.com/office/drawing/2014/main" id="{488517EF-3727-6B4B-8290-0B6818D3EA00}"/>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Rectangle 69">
                <a:extLst>
                  <a:ext uri="{FF2B5EF4-FFF2-40B4-BE49-F238E27FC236}">
                    <a16:creationId xmlns:a16="http://schemas.microsoft.com/office/drawing/2014/main" id="{F17C0045-9597-C043-9B71-9D29199BB551}"/>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9" name="Oval 108">
                <a:extLst>
                  <a:ext uri="{FF2B5EF4-FFF2-40B4-BE49-F238E27FC236}">
                    <a16:creationId xmlns:a16="http://schemas.microsoft.com/office/drawing/2014/main" id="{D57C9C83-8576-0C48-BA0F-FBC007A8A2F7}"/>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110" name="Group 109">
              <a:extLst>
                <a:ext uri="{FF2B5EF4-FFF2-40B4-BE49-F238E27FC236}">
                  <a16:creationId xmlns:a16="http://schemas.microsoft.com/office/drawing/2014/main" id="{E5950AC5-7EC3-3845-A8B5-13CB51AEDF81}"/>
                </a:ext>
              </a:extLst>
            </p:cNvPr>
            <p:cNvGrpSpPr/>
            <p:nvPr/>
          </p:nvGrpSpPr>
          <p:grpSpPr>
            <a:xfrm>
              <a:off x="2509333" y="2531811"/>
              <a:ext cx="523013" cy="1684065"/>
              <a:chOff x="1395310" y="3332039"/>
              <a:chExt cx="430961" cy="1387665"/>
            </a:xfrm>
            <a:solidFill>
              <a:schemeClr val="bg1"/>
            </a:solidFill>
          </p:grpSpPr>
          <p:sp>
            <p:nvSpPr>
              <p:cNvPr id="111" name="Isosceles Triangle 80">
                <a:extLst>
                  <a:ext uri="{FF2B5EF4-FFF2-40B4-BE49-F238E27FC236}">
                    <a16:creationId xmlns:a16="http://schemas.microsoft.com/office/drawing/2014/main" id="{FA60E729-178D-AD40-B0B4-34D1CC2548A6}"/>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2" name="Rectangle 111">
                <a:extLst>
                  <a:ext uri="{FF2B5EF4-FFF2-40B4-BE49-F238E27FC236}">
                    <a16:creationId xmlns:a16="http://schemas.microsoft.com/office/drawing/2014/main" id="{58D1FB39-ED51-1A41-A0DB-66D26AD45583}"/>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3" name="Oval 112">
                <a:extLst>
                  <a:ext uri="{FF2B5EF4-FFF2-40B4-BE49-F238E27FC236}">
                    <a16:creationId xmlns:a16="http://schemas.microsoft.com/office/drawing/2014/main" id="{497F9986-29C2-F14A-BC1F-6A89BB2C9B54}"/>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sp>
        <p:nvSpPr>
          <p:cNvPr id="117" name="Line 19">
            <a:extLst>
              <a:ext uri="{FF2B5EF4-FFF2-40B4-BE49-F238E27FC236}">
                <a16:creationId xmlns:a16="http://schemas.microsoft.com/office/drawing/2014/main" id="{6400F715-456F-2940-8B9D-D8D0DE045D4C}"/>
              </a:ext>
            </a:extLst>
          </p:cNvPr>
          <p:cNvSpPr>
            <a:spLocks noChangeShapeType="1"/>
          </p:cNvSpPr>
          <p:nvPr/>
        </p:nvSpPr>
        <p:spPr bwMode="auto">
          <a:xfrm rot="16200000">
            <a:off x="5847723" y="3335351"/>
            <a:ext cx="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nvGrpSpPr>
          <p:cNvPr id="53" name="Group 11">
            <a:extLst>
              <a:ext uri="{FF2B5EF4-FFF2-40B4-BE49-F238E27FC236}">
                <a16:creationId xmlns:a16="http://schemas.microsoft.com/office/drawing/2014/main" id="{FD0EAA60-A639-2B4A-9832-4878CF2F5E0D}"/>
              </a:ext>
            </a:extLst>
          </p:cNvPr>
          <p:cNvGrpSpPr>
            <a:grpSpLocks noChangeAspect="1"/>
          </p:cNvGrpSpPr>
          <p:nvPr/>
        </p:nvGrpSpPr>
        <p:grpSpPr bwMode="auto">
          <a:xfrm>
            <a:off x="5560143" y="2995689"/>
            <a:ext cx="987562" cy="1075741"/>
            <a:chOff x="3861" y="4291602"/>
            <a:chExt cx="112" cy="244433"/>
          </a:xfrm>
        </p:grpSpPr>
        <p:sp>
          <p:nvSpPr>
            <p:cNvPr id="54" name="Freeform 12">
              <a:extLst>
                <a:ext uri="{FF2B5EF4-FFF2-40B4-BE49-F238E27FC236}">
                  <a16:creationId xmlns:a16="http://schemas.microsoft.com/office/drawing/2014/main" id="{8A40B6BB-DB28-6D43-BEEE-D4FECD53F60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5" name="Line 13">
              <a:extLst>
                <a:ext uri="{FF2B5EF4-FFF2-40B4-BE49-F238E27FC236}">
                  <a16:creationId xmlns:a16="http://schemas.microsoft.com/office/drawing/2014/main" id="{598370C0-A526-DD49-93F6-9E7B67113464}"/>
                </a:ext>
              </a:extLst>
            </p:cNvPr>
            <p:cNvSpPr>
              <a:spLocks noChangeShapeType="1"/>
            </p:cNvSpPr>
            <p:nvPr/>
          </p:nvSpPr>
          <p:spPr bwMode="auto">
            <a:xfrm>
              <a:off x="3874" y="4469918"/>
              <a:ext cx="8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6" name="Line 14">
              <a:extLst>
                <a:ext uri="{FF2B5EF4-FFF2-40B4-BE49-F238E27FC236}">
                  <a16:creationId xmlns:a16="http://schemas.microsoft.com/office/drawing/2014/main" id="{7EE7ADFE-504A-3840-8C1B-ACD1041F204D}"/>
                </a:ext>
              </a:extLst>
            </p:cNvPr>
            <p:cNvSpPr>
              <a:spLocks noChangeShapeType="1"/>
            </p:cNvSpPr>
            <p:nvPr/>
          </p:nvSpPr>
          <p:spPr bwMode="auto">
            <a:xfrm>
              <a:off x="3923" y="4335680"/>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7" name="Line 15">
              <a:extLst>
                <a:ext uri="{FF2B5EF4-FFF2-40B4-BE49-F238E27FC236}">
                  <a16:creationId xmlns:a16="http://schemas.microsoft.com/office/drawing/2014/main" id="{708451EC-0BF5-9247-A380-9F245A8DF0E5}"/>
                </a:ext>
              </a:extLst>
            </p:cNvPr>
            <p:cNvSpPr>
              <a:spLocks noChangeShapeType="1"/>
            </p:cNvSpPr>
            <p:nvPr/>
          </p:nvSpPr>
          <p:spPr bwMode="auto">
            <a:xfrm>
              <a:off x="3923" y="4379758"/>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8" name="Line 16">
              <a:extLst>
                <a:ext uri="{FF2B5EF4-FFF2-40B4-BE49-F238E27FC236}">
                  <a16:creationId xmlns:a16="http://schemas.microsoft.com/office/drawing/2014/main" id="{8A79B9F9-DBF6-854D-9F28-8467BF1DDD48}"/>
                </a:ext>
              </a:extLst>
            </p:cNvPr>
            <p:cNvSpPr>
              <a:spLocks noChangeShapeType="1"/>
            </p:cNvSpPr>
            <p:nvPr/>
          </p:nvSpPr>
          <p:spPr bwMode="auto">
            <a:xfrm>
              <a:off x="3923" y="4425840"/>
              <a:ext cx="2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9" name="Line 17">
              <a:extLst>
                <a:ext uri="{FF2B5EF4-FFF2-40B4-BE49-F238E27FC236}">
                  <a16:creationId xmlns:a16="http://schemas.microsoft.com/office/drawing/2014/main" id="{988AC340-451E-AD43-85A6-1412ED65468B}"/>
                </a:ext>
              </a:extLst>
            </p:cNvPr>
            <p:cNvSpPr>
              <a:spLocks noChangeShapeType="1"/>
            </p:cNvSpPr>
            <p:nvPr/>
          </p:nvSpPr>
          <p:spPr bwMode="auto">
            <a:xfrm>
              <a:off x="3883" y="4291602"/>
              <a:ext cx="68"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2" name="Group 11">
            <a:extLst>
              <a:ext uri="{FF2B5EF4-FFF2-40B4-BE49-F238E27FC236}">
                <a16:creationId xmlns:a16="http://schemas.microsoft.com/office/drawing/2014/main" id="{FE9AD725-38BF-8945-B223-81A36CF5EA84}"/>
              </a:ext>
            </a:extLst>
          </p:cNvPr>
          <p:cNvGrpSpPr/>
          <p:nvPr/>
        </p:nvGrpSpPr>
        <p:grpSpPr>
          <a:xfrm>
            <a:off x="5213853" y="2491812"/>
            <a:ext cx="1935825" cy="1764322"/>
            <a:chOff x="4723382" y="2415376"/>
            <a:chExt cx="2374103" cy="2163771"/>
          </a:xfrm>
        </p:grpSpPr>
        <p:sp>
          <p:nvSpPr>
            <p:cNvPr id="120" name="Freeform 22">
              <a:extLst>
                <a:ext uri="{FF2B5EF4-FFF2-40B4-BE49-F238E27FC236}">
                  <a16:creationId xmlns:a16="http://schemas.microsoft.com/office/drawing/2014/main" id="{23656A44-69AA-E946-955A-A9A16D787C5D}"/>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1" name="Arc 10">
              <a:extLst>
                <a:ext uri="{FF2B5EF4-FFF2-40B4-BE49-F238E27FC236}">
                  <a16:creationId xmlns:a16="http://schemas.microsoft.com/office/drawing/2014/main" id="{1988ECD6-E95D-3445-A3A8-A3EC490A81E7}"/>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grpSp>
        <p:nvGrpSpPr>
          <p:cNvPr id="122" name="Group 121">
            <a:extLst>
              <a:ext uri="{FF2B5EF4-FFF2-40B4-BE49-F238E27FC236}">
                <a16:creationId xmlns:a16="http://schemas.microsoft.com/office/drawing/2014/main" id="{CAA23768-31BA-644D-B37F-AB391D0A6488}"/>
              </a:ext>
            </a:extLst>
          </p:cNvPr>
          <p:cNvGrpSpPr/>
          <p:nvPr/>
        </p:nvGrpSpPr>
        <p:grpSpPr>
          <a:xfrm rot="10800000">
            <a:off x="4848626" y="2726465"/>
            <a:ext cx="1935825" cy="1764322"/>
            <a:chOff x="4723382" y="2415376"/>
            <a:chExt cx="2374103" cy="2163771"/>
          </a:xfrm>
        </p:grpSpPr>
        <p:sp>
          <p:nvSpPr>
            <p:cNvPr id="123" name="Freeform 22">
              <a:extLst>
                <a:ext uri="{FF2B5EF4-FFF2-40B4-BE49-F238E27FC236}">
                  <a16:creationId xmlns:a16="http://schemas.microsoft.com/office/drawing/2014/main" id="{B66DD1C0-1FCA-764C-9409-D1DF0886CCAA}"/>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24" name="Arc 123">
              <a:extLst>
                <a:ext uri="{FF2B5EF4-FFF2-40B4-BE49-F238E27FC236}">
                  <a16:creationId xmlns:a16="http://schemas.microsoft.com/office/drawing/2014/main" id="{F7C36541-133F-1945-9FF2-F5086BF88B37}"/>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sp>
        <p:nvSpPr>
          <p:cNvPr id="125" name="Freeform 124">
            <a:extLst>
              <a:ext uri="{FF2B5EF4-FFF2-40B4-BE49-F238E27FC236}">
                <a16:creationId xmlns:a16="http://schemas.microsoft.com/office/drawing/2014/main" id="{C1D4D852-CFB4-3A49-B0AF-EE2DE2580953}"/>
              </a:ext>
            </a:extLst>
          </p:cNvPr>
          <p:cNvSpPr/>
          <p:nvPr/>
        </p:nvSpPr>
        <p:spPr bwMode="auto">
          <a:xfrm flipH="1">
            <a:off x="7970370" y="3136710"/>
            <a:ext cx="401865" cy="89951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26" name="Freeform 125">
            <a:extLst>
              <a:ext uri="{FF2B5EF4-FFF2-40B4-BE49-F238E27FC236}">
                <a16:creationId xmlns:a16="http://schemas.microsoft.com/office/drawing/2014/main" id="{5E40651C-87D8-3643-A1F6-82D7AAAFE17A}"/>
              </a:ext>
            </a:extLst>
          </p:cNvPr>
          <p:cNvSpPr/>
          <p:nvPr/>
        </p:nvSpPr>
        <p:spPr bwMode="auto">
          <a:xfrm flipH="1">
            <a:off x="3591924" y="3136710"/>
            <a:ext cx="401865" cy="89951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954023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166"/>
                                        </p:tgtEl>
                                        <p:attrNameLst>
                                          <p:attrName>style.visibility</p:attrName>
                                        </p:attrNameLst>
                                      </p:cBhvr>
                                      <p:to>
                                        <p:strVal val="visible"/>
                                      </p:to>
                                    </p:set>
                                    <p:animEffect transition="in" filter="fade">
                                      <p:cBhvr>
                                        <p:cTn id="11" dur="250"/>
                                        <p:tgtEl>
                                          <p:spTgt spid="166"/>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67"/>
                                        </p:tgtEl>
                                        <p:attrNameLst>
                                          <p:attrName>style.visibility</p:attrName>
                                        </p:attrNameLst>
                                      </p:cBhvr>
                                      <p:to>
                                        <p:strVal val="visible"/>
                                      </p:to>
                                    </p:set>
                                    <p:animEffect transition="in" filter="fade">
                                      <p:cBhvr>
                                        <p:cTn id="15" dur="250"/>
                                        <p:tgtEl>
                                          <p:spTgt spid="1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66" grpId="0"/>
      <p:bldP spid="16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DCA9FBC-B523-4A93-BB0D-5DD7C8AC44B9}"/>
              </a:ext>
            </a:extLst>
          </p:cNvPr>
          <p:cNvSpPr/>
          <p:nvPr/>
        </p:nvSpPr>
        <p:spPr>
          <a:xfrm>
            <a:off x="1135110" y="4705161"/>
            <a:ext cx="1777357"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Prepare data</a:t>
            </a:r>
          </a:p>
        </p:txBody>
      </p:sp>
      <p:sp>
        <p:nvSpPr>
          <p:cNvPr id="166" name="Rectangle 165">
            <a:extLst>
              <a:ext uri="{FF2B5EF4-FFF2-40B4-BE49-F238E27FC236}">
                <a16:creationId xmlns:a16="http://schemas.microsoft.com/office/drawing/2014/main" id="{9EFE15A1-E885-4535-BFBD-E19E41773C02}"/>
              </a:ext>
            </a:extLst>
          </p:cNvPr>
          <p:cNvSpPr/>
          <p:nvPr/>
        </p:nvSpPr>
        <p:spPr>
          <a:xfrm>
            <a:off x="4989206" y="4705161"/>
            <a:ext cx="2025966"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Build and train</a:t>
            </a:r>
          </a:p>
        </p:txBody>
      </p:sp>
      <p:sp>
        <p:nvSpPr>
          <p:cNvPr id="167" name="Rectangle 166">
            <a:extLst>
              <a:ext uri="{FF2B5EF4-FFF2-40B4-BE49-F238E27FC236}">
                <a16:creationId xmlns:a16="http://schemas.microsoft.com/office/drawing/2014/main" id="{E6DAEA1B-DC96-4B5D-BFC5-75B256D4D14F}"/>
              </a:ext>
            </a:extLst>
          </p:cNvPr>
          <p:cNvSpPr/>
          <p:nvPr/>
        </p:nvSpPr>
        <p:spPr>
          <a:xfrm>
            <a:off x="9468437" y="4705161"/>
            <a:ext cx="1070500"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Deploy</a:t>
            </a:r>
          </a:p>
        </p:txBody>
      </p:sp>
      <p:sp>
        <p:nvSpPr>
          <p:cNvPr id="3" name="Title 2">
            <a:extLst>
              <a:ext uri="{FF2B5EF4-FFF2-40B4-BE49-F238E27FC236}">
                <a16:creationId xmlns:a16="http://schemas.microsoft.com/office/drawing/2014/main" id="{A53E7BBA-9986-5F47-9056-ED32C5F563EC}"/>
              </a:ext>
            </a:extLst>
          </p:cNvPr>
          <p:cNvSpPr>
            <a:spLocks noGrp="1"/>
          </p:cNvSpPr>
          <p:nvPr>
            <p:ph type="title"/>
          </p:nvPr>
        </p:nvSpPr>
        <p:spPr/>
        <p:txBody>
          <a:bodyPr/>
          <a:lstStyle/>
          <a:p>
            <a:r>
              <a:rPr lang="en-US" dirty="0"/>
              <a:t>Building your own AI models</a:t>
            </a:r>
          </a:p>
        </p:txBody>
      </p:sp>
      <p:sp>
        <p:nvSpPr>
          <p:cNvPr id="4" name="Text Placeholder 3">
            <a:extLst>
              <a:ext uri="{FF2B5EF4-FFF2-40B4-BE49-F238E27FC236}">
                <a16:creationId xmlns:a16="http://schemas.microsoft.com/office/drawing/2014/main" id="{1F4684A0-6FA0-8B40-9754-1BB61EFFC6BB}"/>
              </a:ext>
            </a:extLst>
          </p:cNvPr>
          <p:cNvSpPr>
            <a:spLocks noGrp="1"/>
          </p:cNvSpPr>
          <p:nvPr>
            <p:ph type="body" sz="quarter" idx="12"/>
          </p:nvPr>
        </p:nvSpPr>
        <p:spPr/>
        <p:txBody>
          <a:bodyPr/>
          <a:lstStyle/>
          <a:p>
            <a:r>
              <a:rPr lang="en-US" dirty="0"/>
              <a:t>Transforming data into intelligence</a:t>
            </a:r>
          </a:p>
        </p:txBody>
      </p:sp>
      <p:grpSp>
        <p:nvGrpSpPr>
          <p:cNvPr id="9" name="Group 8">
            <a:extLst>
              <a:ext uri="{FF2B5EF4-FFF2-40B4-BE49-F238E27FC236}">
                <a16:creationId xmlns:a16="http://schemas.microsoft.com/office/drawing/2014/main" id="{99BF8526-DA0A-4647-B3D7-5991EF756188}"/>
              </a:ext>
            </a:extLst>
          </p:cNvPr>
          <p:cNvGrpSpPr/>
          <p:nvPr/>
        </p:nvGrpSpPr>
        <p:grpSpPr>
          <a:xfrm>
            <a:off x="9012965" y="2581371"/>
            <a:ext cx="1981445" cy="1637978"/>
            <a:chOff x="9524460" y="2632636"/>
            <a:chExt cx="2021177" cy="1670823"/>
          </a:xfrm>
        </p:grpSpPr>
        <p:sp>
          <p:nvSpPr>
            <p:cNvPr id="60" name="gear_3">
              <a:extLst>
                <a:ext uri="{FF2B5EF4-FFF2-40B4-BE49-F238E27FC236}">
                  <a16:creationId xmlns:a16="http://schemas.microsoft.com/office/drawing/2014/main" id="{67050993-F9B5-8240-AAD9-B11E05FAE48F}"/>
                </a:ext>
              </a:extLst>
            </p:cNvPr>
            <p:cNvSpPr>
              <a:spLocks noChangeAspect="1" noEditPoints="1"/>
            </p:cNvSpPr>
            <p:nvPr/>
          </p:nvSpPr>
          <p:spPr bwMode="auto">
            <a:xfrm>
              <a:off x="9524460" y="3183698"/>
              <a:ext cx="1110355" cy="111976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gear_3">
              <a:extLst>
                <a:ext uri="{FF2B5EF4-FFF2-40B4-BE49-F238E27FC236}">
                  <a16:creationId xmlns:a16="http://schemas.microsoft.com/office/drawing/2014/main" id="{DA6C2E52-D5EE-5C4C-AF7F-BB609E56C666}"/>
                </a:ext>
              </a:extLst>
            </p:cNvPr>
            <p:cNvSpPr>
              <a:spLocks noChangeAspect="1" noEditPoints="1"/>
            </p:cNvSpPr>
            <p:nvPr/>
          </p:nvSpPr>
          <p:spPr bwMode="auto">
            <a:xfrm>
              <a:off x="10421433" y="2632636"/>
              <a:ext cx="735342" cy="74157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gear_3">
              <a:extLst>
                <a:ext uri="{FF2B5EF4-FFF2-40B4-BE49-F238E27FC236}">
                  <a16:creationId xmlns:a16="http://schemas.microsoft.com/office/drawing/2014/main" id="{8D579812-8A97-0147-AE26-C5807904C54B}"/>
                </a:ext>
              </a:extLst>
            </p:cNvPr>
            <p:cNvSpPr>
              <a:spLocks noChangeAspect="1" noEditPoints="1"/>
            </p:cNvSpPr>
            <p:nvPr/>
          </p:nvSpPr>
          <p:spPr bwMode="auto">
            <a:xfrm>
              <a:off x="11022746" y="3309209"/>
              <a:ext cx="522891" cy="527320"/>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0" name="Group 9">
            <a:extLst>
              <a:ext uri="{FF2B5EF4-FFF2-40B4-BE49-F238E27FC236}">
                <a16:creationId xmlns:a16="http://schemas.microsoft.com/office/drawing/2014/main" id="{664F42B7-F9B2-494E-99B3-33C0B57C2BF1}"/>
              </a:ext>
            </a:extLst>
          </p:cNvPr>
          <p:cNvGrpSpPr/>
          <p:nvPr/>
        </p:nvGrpSpPr>
        <p:grpSpPr>
          <a:xfrm>
            <a:off x="1144934" y="2677641"/>
            <a:ext cx="1757706" cy="1650960"/>
            <a:chOff x="1239394" y="2531811"/>
            <a:chExt cx="1792952" cy="1684065"/>
          </a:xfrm>
        </p:grpSpPr>
        <p:grpSp>
          <p:nvGrpSpPr>
            <p:cNvPr id="64" name="Group 63">
              <a:extLst>
                <a:ext uri="{FF2B5EF4-FFF2-40B4-BE49-F238E27FC236}">
                  <a16:creationId xmlns:a16="http://schemas.microsoft.com/office/drawing/2014/main" id="{E26DEDDE-7218-6C4C-AFFF-418DBC6A84C7}"/>
                </a:ext>
              </a:extLst>
            </p:cNvPr>
            <p:cNvGrpSpPr/>
            <p:nvPr/>
          </p:nvGrpSpPr>
          <p:grpSpPr>
            <a:xfrm>
              <a:off x="1239394" y="2531811"/>
              <a:ext cx="523013" cy="1684065"/>
              <a:chOff x="1395310" y="3332039"/>
              <a:chExt cx="430961" cy="1387665"/>
            </a:xfrm>
            <a:solidFill>
              <a:schemeClr val="bg1"/>
            </a:solidFill>
          </p:grpSpPr>
          <p:sp>
            <p:nvSpPr>
              <p:cNvPr id="65" name="Isosceles Triangle 86">
                <a:extLst>
                  <a:ext uri="{FF2B5EF4-FFF2-40B4-BE49-F238E27FC236}">
                    <a16:creationId xmlns:a16="http://schemas.microsoft.com/office/drawing/2014/main" id="{9AA62143-B08F-FA4C-ACEE-7ACE1F59AD8F}"/>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6" name="Rectangle 65">
                <a:extLst>
                  <a:ext uri="{FF2B5EF4-FFF2-40B4-BE49-F238E27FC236}">
                    <a16:creationId xmlns:a16="http://schemas.microsoft.com/office/drawing/2014/main" id="{1057CEB9-3014-A547-99CB-50A539109E74}"/>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7" name="Oval 66">
                <a:extLst>
                  <a:ext uri="{FF2B5EF4-FFF2-40B4-BE49-F238E27FC236}">
                    <a16:creationId xmlns:a16="http://schemas.microsoft.com/office/drawing/2014/main" id="{16EA03E3-BB99-7F46-A3E1-F1C790C96CB9}"/>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68" name="Group 67">
              <a:extLst>
                <a:ext uri="{FF2B5EF4-FFF2-40B4-BE49-F238E27FC236}">
                  <a16:creationId xmlns:a16="http://schemas.microsoft.com/office/drawing/2014/main" id="{7BD98EB6-EFD9-0F48-B1A0-E1DCFB5C8FB1}"/>
                </a:ext>
              </a:extLst>
            </p:cNvPr>
            <p:cNvGrpSpPr/>
            <p:nvPr/>
          </p:nvGrpSpPr>
          <p:grpSpPr>
            <a:xfrm>
              <a:off x="1874363" y="2531811"/>
              <a:ext cx="523013" cy="1684065"/>
              <a:chOff x="1395310" y="3332039"/>
              <a:chExt cx="430961" cy="1387665"/>
            </a:xfrm>
            <a:solidFill>
              <a:schemeClr val="bg1"/>
            </a:solidFill>
          </p:grpSpPr>
          <p:sp>
            <p:nvSpPr>
              <p:cNvPr id="69" name="Isosceles Triangle 83">
                <a:extLst>
                  <a:ext uri="{FF2B5EF4-FFF2-40B4-BE49-F238E27FC236}">
                    <a16:creationId xmlns:a16="http://schemas.microsoft.com/office/drawing/2014/main" id="{488517EF-3727-6B4B-8290-0B6818D3EA00}"/>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Rectangle 69">
                <a:extLst>
                  <a:ext uri="{FF2B5EF4-FFF2-40B4-BE49-F238E27FC236}">
                    <a16:creationId xmlns:a16="http://schemas.microsoft.com/office/drawing/2014/main" id="{F17C0045-9597-C043-9B71-9D29199BB551}"/>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9" name="Oval 108">
                <a:extLst>
                  <a:ext uri="{FF2B5EF4-FFF2-40B4-BE49-F238E27FC236}">
                    <a16:creationId xmlns:a16="http://schemas.microsoft.com/office/drawing/2014/main" id="{D57C9C83-8576-0C48-BA0F-FBC007A8A2F7}"/>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110" name="Group 109">
              <a:extLst>
                <a:ext uri="{FF2B5EF4-FFF2-40B4-BE49-F238E27FC236}">
                  <a16:creationId xmlns:a16="http://schemas.microsoft.com/office/drawing/2014/main" id="{E5950AC5-7EC3-3845-A8B5-13CB51AEDF81}"/>
                </a:ext>
              </a:extLst>
            </p:cNvPr>
            <p:cNvGrpSpPr/>
            <p:nvPr/>
          </p:nvGrpSpPr>
          <p:grpSpPr>
            <a:xfrm>
              <a:off x="2509333" y="2531811"/>
              <a:ext cx="523013" cy="1684065"/>
              <a:chOff x="1395310" y="3332039"/>
              <a:chExt cx="430961" cy="1387665"/>
            </a:xfrm>
            <a:solidFill>
              <a:schemeClr val="bg1"/>
            </a:solidFill>
          </p:grpSpPr>
          <p:sp>
            <p:nvSpPr>
              <p:cNvPr id="111" name="Isosceles Triangle 80">
                <a:extLst>
                  <a:ext uri="{FF2B5EF4-FFF2-40B4-BE49-F238E27FC236}">
                    <a16:creationId xmlns:a16="http://schemas.microsoft.com/office/drawing/2014/main" id="{FA60E729-178D-AD40-B0B4-34D1CC2548A6}"/>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2" name="Rectangle 111">
                <a:extLst>
                  <a:ext uri="{FF2B5EF4-FFF2-40B4-BE49-F238E27FC236}">
                    <a16:creationId xmlns:a16="http://schemas.microsoft.com/office/drawing/2014/main" id="{58D1FB39-ED51-1A41-A0DB-66D26AD45583}"/>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3" name="Oval 112">
                <a:extLst>
                  <a:ext uri="{FF2B5EF4-FFF2-40B4-BE49-F238E27FC236}">
                    <a16:creationId xmlns:a16="http://schemas.microsoft.com/office/drawing/2014/main" id="{497F9986-29C2-F14A-BC1F-6A89BB2C9B54}"/>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grpSp>
        <p:nvGrpSpPr>
          <p:cNvPr id="14" name="Group 13">
            <a:extLst>
              <a:ext uri="{FF2B5EF4-FFF2-40B4-BE49-F238E27FC236}">
                <a16:creationId xmlns:a16="http://schemas.microsoft.com/office/drawing/2014/main" id="{CA8F26BB-BC3C-404A-97C9-18420A5EA55F}"/>
              </a:ext>
            </a:extLst>
          </p:cNvPr>
          <p:cNvGrpSpPr/>
          <p:nvPr/>
        </p:nvGrpSpPr>
        <p:grpSpPr>
          <a:xfrm>
            <a:off x="4848627" y="2491813"/>
            <a:ext cx="2301051" cy="1998974"/>
            <a:chOff x="4986639" y="2541282"/>
            <a:chExt cx="2347192" cy="2039058"/>
          </a:xfrm>
        </p:grpSpPr>
        <p:sp>
          <p:nvSpPr>
            <p:cNvPr id="117" name="Line 19">
              <a:extLst>
                <a:ext uri="{FF2B5EF4-FFF2-40B4-BE49-F238E27FC236}">
                  <a16:creationId xmlns:a16="http://schemas.microsoft.com/office/drawing/2014/main" id="{6400F715-456F-2940-8B9D-D8D0DE045D4C}"/>
                </a:ext>
              </a:extLst>
            </p:cNvPr>
            <p:cNvSpPr>
              <a:spLocks noChangeShapeType="1"/>
            </p:cNvSpPr>
            <p:nvPr/>
          </p:nvSpPr>
          <p:spPr bwMode="auto">
            <a:xfrm rot="16200000">
              <a:off x="6005770" y="3401735"/>
              <a:ext cx="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nvGrpSpPr>
            <p:cNvPr id="53" name="Group 11">
              <a:extLst>
                <a:ext uri="{FF2B5EF4-FFF2-40B4-BE49-F238E27FC236}">
                  <a16:creationId xmlns:a16="http://schemas.microsoft.com/office/drawing/2014/main" id="{FD0EAA60-A639-2B4A-9832-4878CF2F5E0D}"/>
                </a:ext>
              </a:extLst>
            </p:cNvPr>
            <p:cNvGrpSpPr>
              <a:grpSpLocks noChangeAspect="1"/>
            </p:cNvGrpSpPr>
            <p:nvPr/>
          </p:nvGrpSpPr>
          <p:grpSpPr bwMode="auto">
            <a:xfrm>
              <a:off x="5712422" y="3055262"/>
              <a:ext cx="1007365" cy="1097312"/>
              <a:chOff x="3861" y="4291602"/>
              <a:chExt cx="112" cy="244433"/>
            </a:xfrm>
          </p:grpSpPr>
          <p:sp>
            <p:nvSpPr>
              <p:cNvPr id="54" name="Freeform 12">
                <a:extLst>
                  <a:ext uri="{FF2B5EF4-FFF2-40B4-BE49-F238E27FC236}">
                    <a16:creationId xmlns:a16="http://schemas.microsoft.com/office/drawing/2014/main" id="{8A40B6BB-DB28-6D43-BEEE-D4FECD53F60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5" name="Line 13">
                <a:extLst>
                  <a:ext uri="{FF2B5EF4-FFF2-40B4-BE49-F238E27FC236}">
                    <a16:creationId xmlns:a16="http://schemas.microsoft.com/office/drawing/2014/main" id="{598370C0-A526-DD49-93F6-9E7B67113464}"/>
                  </a:ext>
                </a:extLst>
              </p:cNvPr>
              <p:cNvSpPr>
                <a:spLocks noChangeShapeType="1"/>
              </p:cNvSpPr>
              <p:nvPr/>
            </p:nvSpPr>
            <p:spPr bwMode="auto">
              <a:xfrm>
                <a:off x="3874" y="4469918"/>
                <a:ext cx="8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6" name="Line 14">
                <a:extLst>
                  <a:ext uri="{FF2B5EF4-FFF2-40B4-BE49-F238E27FC236}">
                    <a16:creationId xmlns:a16="http://schemas.microsoft.com/office/drawing/2014/main" id="{7EE7ADFE-504A-3840-8C1B-ACD1041F204D}"/>
                  </a:ext>
                </a:extLst>
              </p:cNvPr>
              <p:cNvSpPr>
                <a:spLocks noChangeShapeType="1"/>
              </p:cNvSpPr>
              <p:nvPr/>
            </p:nvSpPr>
            <p:spPr bwMode="auto">
              <a:xfrm>
                <a:off x="3923" y="4335680"/>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7" name="Line 15">
                <a:extLst>
                  <a:ext uri="{FF2B5EF4-FFF2-40B4-BE49-F238E27FC236}">
                    <a16:creationId xmlns:a16="http://schemas.microsoft.com/office/drawing/2014/main" id="{708451EC-0BF5-9247-A380-9F245A8DF0E5}"/>
                  </a:ext>
                </a:extLst>
              </p:cNvPr>
              <p:cNvSpPr>
                <a:spLocks noChangeShapeType="1"/>
              </p:cNvSpPr>
              <p:nvPr/>
            </p:nvSpPr>
            <p:spPr bwMode="auto">
              <a:xfrm>
                <a:off x="3923" y="4379758"/>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8" name="Line 16">
                <a:extLst>
                  <a:ext uri="{FF2B5EF4-FFF2-40B4-BE49-F238E27FC236}">
                    <a16:creationId xmlns:a16="http://schemas.microsoft.com/office/drawing/2014/main" id="{8A79B9F9-DBF6-854D-9F28-8467BF1DDD48}"/>
                  </a:ext>
                </a:extLst>
              </p:cNvPr>
              <p:cNvSpPr>
                <a:spLocks noChangeShapeType="1"/>
              </p:cNvSpPr>
              <p:nvPr/>
            </p:nvSpPr>
            <p:spPr bwMode="auto">
              <a:xfrm>
                <a:off x="3923" y="4425840"/>
                <a:ext cx="2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9" name="Line 17">
                <a:extLst>
                  <a:ext uri="{FF2B5EF4-FFF2-40B4-BE49-F238E27FC236}">
                    <a16:creationId xmlns:a16="http://schemas.microsoft.com/office/drawing/2014/main" id="{988AC340-451E-AD43-85A6-1412ED65468B}"/>
                  </a:ext>
                </a:extLst>
              </p:cNvPr>
              <p:cNvSpPr>
                <a:spLocks noChangeShapeType="1"/>
              </p:cNvSpPr>
              <p:nvPr/>
            </p:nvSpPr>
            <p:spPr bwMode="auto">
              <a:xfrm>
                <a:off x="3883" y="4291602"/>
                <a:ext cx="68"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2" name="Group 11">
              <a:extLst>
                <a:ext uri="{FF2B5EF4-FFF2-40B4-BE49-F238E27FC236}">
                  <a16:creationId xmlns:a16="http://schemas.microsoft.com/office/drawing/2014/main" id="{FE9AD725-38BF-8945-B223-81A36CF5EA84}"/>
                </a:ext>
              </a:extLst>
            </p:cNvPr>
            <p:cNvGrpSpPr/>
            <p:nvPr/>
          </p:nvGrpSpPr>
          <p:grpSpPr>
            <a:xfrm>
              <a:off x="5359189" y="2541282"/>
              <a:ext cx="1974642" cy="1799700"/>
              <a:chOff x="4723382" y="2415376"/>
              <a:chExt cx="2374103" cy="2163771"/>
            </a:xfrm>
          </p:grpSpPr>
          <p:sp>
            <p:nvSpPr>
              <p:cNvPr id="120" name="Freeform 22">
                <a:extLst>
                  <a:ext uri="{FF2B5EF4-FFF2-40B4-BE49-F238E27FC236}">
                    <a16:creationId xmlns:a16="http://schemas.microsoft.com/office/drawing/2014/main" id="{23656A44-69AA-E946-955A-A9A16D787C5D}"/>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1" name="Arc 10">
                <a:extLst>
                  <a:ext uri="{FF2B5EF4-FFF2-40B4-BE49-F238E27FC236}">
                    <a16:creationId xmlns:a16="http://schemas.microsoft.com/office/drawing/2014/main" id="{1988ECD6-E95D-3445-A3A8-A3EC490A81E7}"/>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grpSp>
          <p:nvGrpSpPr>
            <p:cNvPr id="122" name="Group 121">
              <a:extLst>
                <a:ext uri="{FF2B5EF4-FFF2-40B4-BE49-F238E27FC236}">
                  <a16:creationId xmlns:a16="http://schemas.microsoft.com/office/drawing/2014/main" id="{CAA23768-31BA-644D-B37F-AB391D0A6488}"/>
                </a:ext>
              </a:extLst>
            </p:cNvPr>
            <p:cNvGrpSpPr/>
            <p:nvPr/>
          </p:nvGrpSpPr>
          <p:grpSpPr>
            <a:xfrm rot="10800000">
              <a:off x="4986639" y="2780640"/>
              <a:ext cx="1974642" cy="1799700"/>
              <a:chOff x="4723382" y="2415376"/>
              <a:chExt cx="2374103" cy="2163771"/>
            </a:xfrm>
          </p:grpSpPr>
          <p:sp>
            <p:nvSpPr>
              <p:cNvPr id="123" name="Freeform 22">
                <a:extLst>
                  <a:ext uri="{FF2B5EF4-FFF2-40B4-BE49-F238E27FC236}">
                    <a16:creationId xmlns:a16="http://schemas.microsoft.com/office/drawing/2014/main" id="{B66DD1C0-1FCA-764C-9409-D1DF0886CCAA}"/>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24" name="Arc 123">
                <a:extLst>
                  <a:ext uri="{FF2B5EF4-FFF2-40B4-BE49-F238E27FC236}">
                    <a16:creationId xmlns:a16="http://schemas.microsoft.com/office/drawing/2014/main" id="{F7C36541-133F-1945-9FF2-F5086BF88B37}"/>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grpSp>
      <p:sp>
        <p:nvSpPr>
          <p:cNvPr id="125" name="Freeform 124">
            <a:extLst>
              <a:ext uri="{FF2B5EF4-FFF2-40B4-BE49-F238E27FC236}">
                <a16:creationId xmlns:a16="http://schemas.microsoft.com/office/drawing/2014/main" id="{C1D4D852-CFB4-3A49-B0AF-EE2DE2580953}"/>
              </a:ext>
            </a:extLst>
          </p:cNvPr>
          <p:cNvSpPr/>
          <p:nvPr/>
        </p:nvSpPr>
        <p:spPr bwMode="auto">
          <a:xfrm flipH="1">
            <a:off x="7970370" y="3136710"/>
            <a:ext cx="401865" cy="89951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26" name="Freeform 125">
            <a:extLst>
              <a:ext uri="{FF2B5EF4-FFF2-40B4-BE49-F238E27FC236}">
                <a16:creationId xmlns:a16="http://schemas.microsoft.com/office/drawing/2014/main" id="{5E40651C-87D8-3643-A1F6-82D7AAAFE17A}"/>
              </a:ext>
            </a:extLst>
          </p:cNvPr>
          <p:cNvSpPr/>
          <p:nvPr/>
        </p:nvSpPr>
        <p:spPr bwMode="auto">
          <a:xfrm flipH="1">
            <a:off x="3591924" y="3136710"/>
            <a:ext cx="401865" cy="89951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9ACE4237-BF5D-7043-9860-D7B58A7F3199}"/>
              </a:ext>
            </a:extLst>
          </p:cNvPr>
          <p:cNvSpPr/>
          <p:nvPr/>
        </p:nvSpPr>
        <p:spPr bwMode="auto">
          <a:xfrm>
            <a:off x="3418923" y="2272820"/>
            <a:ext cx="8067823" cy="3315382"/>
          </a:xfrm>
          <a:prstGeom prst="rect">
            <a:avLst/>
          </a:prstGeom>
          <a:solidFill>
            <a:schemeClr val="bg1">
              <a:alpha val="7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04189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4" name="Group 243">
            <a:extLst>
              <a:ext uri="{FF2B5EF4-FFF2-40B4-BE49-F238E27FC236}">
                <a16:creationId xmlns:a16="http://schemas.microsoft.com/office/drawing/2014/main" id="{7B84CBFD-AF4B-4B60-BE6F-B79C84C55D0F}"/>
              </a:ext>
            </a:extLst>
          </p:cNvPr>
          <p:cNvGrpSpPr/>
          <p:nvPr/>
        </p:nvGrpSpPr>
        <p:grpSpPr>
          <a:xfrm>
            <a:off x="5596045" y="3520089"/>
            <a:ext cx="1189380" cy="843020"/>
            <a:chOff x="6078612" y="3211594"/>
            <a:chExt cx="279253" cy="197932"/>
          </a:xfrm>
        </p:grpSpPr>
        <p:cxnSp>
          <p:nvCxnSpPr>
            <p:cNvPr id="247" name="Straight Connector 246">
              <a:extLst>
                <a:ext uri="{FF2B5EF4-FFF2-40B4-BE49-F238E27FC236}">
                  <a16:creationId xmlns:a16="http://schemas.microsoft.com/office/drawing/2014/main" id="{610D3E8A-9A26-4655-B6F3-4C135965B221}"/>
                </a:ext>
              </a:extLst>
            </p:cNvPr>
            <p:cNvCxnSpPr>
              <a:cxnSpLocks/>
            </p:cNvCxnSpPr>
            <p:nvPr/>
          </p:nvCxnSpPr>
          <p:spPr>
            <a:xfrm>
              <a:off x="6078612" y="3310743"/>
              <a:ext cx="279253" cy="0"/>
            </a:xfrm>
            <a:prstGeom prst="line">
              <a:avLst/>
            </a:prstGeom>
            <a:solidFill>
              <a:schemeClr val="tx2"/>
            </a:solidFill>
            <a:ln w="38100">
              <a:solidFill>
                <a:schemeClr val="accent4">
                  <a:lumMod val="9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48" name="Rectangle 5">
              <a:extLst>
                <a:ext uri="{FF2B5EF4-FFF2-40B4-BE49-F238E27FC236}">
                  <a16:creationId xmlns:a16="http://schemas.microsoft.com/office/drawing/2014/main" id="{5AAE50F0-0A42-4A39-8FFD-9972F32E0D17}"/>
                </a:ext>
              </a:extLst>
            </p:cNvPr>
            <p:cNvSpPr/>
            <p:nvPr/>
          </p:nvSpPr>
          <p:spPr bwMode="auto">
            <a:xfrm rot="8100000">
              <a:off x="6121000" y="3211594"/>
              <a:ext cx="197933" cy="197932"/>
            </a:xfrm>
            <a:custGeom>
              <a:avLst/>
              <a:gdLst>
                <a:gd name="connsiteX0" fmla="*/ 0 w 880533"/>
                <a:gd name="connsiteY0" fmla="*/ 0 h 880533"/>
                <a:gd name="connsiteX1" fmla="*/ 880533 w 880533"/>
                <a:gd name="connsiteY1" fmla="*/ 0 h 880533"/>
                <a:gd name="connsiteX2" fmla="*/ 880533 w 880533"/>
                <a:gd name="connsiteY2" fmla="*/ 880533 h 880533"/>
                <a:gd name="connsiteX3" fmla="*/ 0 w 880533"/>
                <a:gd name="connsiteY3" fmla="*/ 880533 h 880533"/>
                <a:gd name="connsiteX4" fmla="*/ 0 w 880533"/>
                <a:gd name="connsiteY4" fmla="*/ 0 h 880533"/>
                <a:gd name="connsiteX0" fmla="*/ 880533 w 971973"/>
                <a:gd name="connsiteY0" fmla="*/ 880533 h 971973"/>
                <a:gd name="connsiteX1" fmla="*/ 0 w 971973"/>
                <a:gd name="connsiteY1" fmla="*/ 880533 h 971973"/>
                <a:gd name="connsiteX2" fmla="*/ 0 w 971973"/>
                <a:gd name="connsiteY2" fmla="*/ 0 h 971973"/>
                <a:gd name="connsiteX3" fmla="*/ 880533 w 971973"/>
                <a:gd name="connsiteY3" fmla="*/ 0 h 971973"/>
                <a:gd name="connsiteX4" fmla="*/ 971973 w 971973"/>
                <a:gd name="connsiteY4" fmla="*/ 971973 h 971973"/>
                <a:gd name="connsiteX0" fmla="*/ 880533 w 880533"/>
                <a:gd name="connsiteY0" fmla="*/ 880533 h 880533"/>
                <a:gd name="connsiteX1" fmla="*/ 0 w 880533"/>
                <a:gd name="connsiteY1" fmla="*/ 880533 h 880533"/>
                <a:gd name="connsiteX2" fmla="*/ 0 w 880533"/>
                <a:gd name="connsiteY2" fmla="*/ 0 h 880533"/>
                <a:gd name="connsiteX3" fmla="*/ 880533 w 880533"/>
                <a:gd name="connsiteY3" fmla="*/ 0 h 880533"/>
                <a:gd name="connsiteX0" fmla="*/ 0 w 880533"/>
                <a:gd name="connsiteY0" fmla="*/ 880533 h 880533"/>
                <a:gd name="connsiteX1" fmla="*/ 0 w 880533"/>
                <a:gd name="connsiteY1" fmla="*/ 0 h 880533"/>
                <a:gd name="connsiteX2" fmla="*/ 880533 w 880533"/>
                <a:gd name="connsiteY2" fmla="*/ 0 h 880533"/>
              </a:gdLst>
              <a:ahLst/>
              <a:cxnLst>
                <a:cxn ang="0">
                  <a:pos x="connsiteX0" y="connsiteY0"/>
                </a:cxn>
                <a:cxn ang="0">
                  <a:pos x="connsiteX1" y="connsiteY1"/>
                </a:cxn>
                <a:cxn ang="0">
                  <a:pos x="connsiteX2" y="connsiteY2"/>
                </a:cxn>
              </a:cxnLst>
              <a:rect l="l" t="t" r="r" b="b"/>
              <a:pathLst>
                <a:path w="880533" h="880533">
                  <a:moveTo>
                    <a:pt x="0" y="880533"/>
                  </a:moveTo>
                  <a:lnTo>
                    <a:pt x="0" y="0"/>
                  </a:lnTo>
                  <a:lnTo>
                    <a:pt x="880533" y="0"/>
                  </a:lnTo>
                </a:path>
              </a:pathLst>
            </a:custGeom>
            <a:noFill/>
            <a:ln w="38100">
              <a:solidFill>
                <a:schemeClr val="accent4">
                  <a:lumMod val="9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2060"/>
                </a:solidFill>
                <a:effectLst/>
                <a:uLnTx/>
                <a:uFillTx/>
                <a:latin typeface="Segoe UI Semilight"/>
                <a:ea typeface="Segoe UI" pitchFamily="34" charset="0"/>
                <a:cs typeface="Segoe UI" pitchFamily="34" charset="0"/>
              </a:endParaRPr>
            </a:p>
          </p:txBody>
        </p:sp>
      </p:grpSp>
      <p:grpSp>
        <p:nvGrpSpPr>
          <p:cNvPr id="10" name="Group 9">
            <a:extLst>
              <a:ext uri="{FF2B5EF4-FFF2-40B4-BE49-F238E27FC236}">
                <a16:creationId xmlns:a16="http://schemas.microsoft.com/office/drawing/2014/main" id="{B6CB2748-11D5-8E48-AC01-BE8C648EC19A}"/>
              </a:ext>
            </a:extLst>
          </p:cNvPr>
          <p:cNvGrpSpPr/>
          <p:nvPr/>
        </p:nvGrpSpPr>
        <p:grpSpPr>
          <a:xfrm>
            <a:off x="-309642" y="1746196"/>
            <a:ext cx="6091945" cy="5583022"/>
            <a:chOff x="-310244" y="1758135"/>
            <a:chExt cx="6214101" cy="5694973"/>
          </a:xfrm>
        </p:grpSpPr>
        <p:sp>
          <p:nvSpPr>
            <p:cNvPr id="309" name="Isosceles Triangle 308">
              <a:extLst>
                <a:ext uri="{FF2B5EF4-FFF2-40B4-BE49-F238E27FC236}">
                  <a16:creationId xmlns:a16="http://schemas.microsoft.com/office/drawing/2014/main" id="{D4D4976F-BC72-4F92-AEDD-4074F051651A}"/>
                </a:ext>
              </a:extLst>
            </p:cNvPr>
            <p:cNvSpPr/>
            <p:nvPr/>
          </p:nvSpPr>
          <p:spPr bwMode="auto">
            <a:xfrm>
              <a:off x="1426775" y="3031706"/>
              <a:ext cx="665592" cy="573786"/>
            </a:xfrm>
            <a:prstGeom prst="triangl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0" name="Rectangle 309">
              <a:extLst>
                <a:ext uri="{FF2B5EF4-FFF2-40B4-BE49-F238E27FC236}">
                  <a16:creationId xmlns:a16="http://schemas.microsoft.com/office/drawing/2014/main" id="{1B36EB82-37EC-4EDB-8CC3-5B88E4B24A74}"/>
                </a:ext>
              </a:extLst>
            </p:cNvPr>
            <p:cNvSpPr/>
            <p:nvPr/>
          </p:nvSpPr>
          <p:spPr bwMode="auto">
            <a:xfrm>
              <a:off x="517108" y="1758135"/>
              <a:ext cx="532253" cy="532252"/>
            </a:xfrm>
            <a:prstGeom prst="rect">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1" name="Oval 310">
              <a:extLst>
                <a:ext uri="{FF2B5EF4-FFF2-40B4-BE49-F238E27FC236}">
                  <a16:creationId xmlns:a16="http://schemas.microsoft.com/office/drawing/2014/main" id="{87EFF531-C3BA-4348-A7AD-68514648FCEB}"/>
                </a:ext>
              </a:extLst>
            </p:cNvPr>
            <p:cNvSpPr/>
            <p:nvPr/>
          </p:nvSpPr>
          <p:spPr bwMode="auto">
            <a:xfrm>
              <a:off x="643230" y="3251913"/>
              <a:ext cx="608969" cy="608967"/>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13" name="Isosceles Triangle 312">
              <a:extLst>
                <a:ext uri="{FF2B5EF4-FFF2-40B4-BE49-F238E27FC236}">
                  <a16:creationId xmlns:a16="http://schemas.microsoft.com/office/drawing/2014/main" id="{64D89E73-D5DC-40A6-A924-E0D600B7991E}"/>
                </a:ext>
              </a:extLst>
            </p:cNvPr>
            <p:cNvSpPr/>
            <p:nvPr/>
          </p:nvSpPr>
          <p:spPr bwMode="auto">
            <a:xfrm>
              <a:off x="3693398" y="3726513"/>
              <a:ext cx="665592" cy="573786"/>
            </a:xfrm>
            <a:prstGeom prst="triangl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4" name="Rectangle 313">
              <a:extLst>
                <a:ext uri="{FF2B5EF4-FFF2-40B4-BE49-F238E27FC236}">
                  <a16:creationId xmlns:a16="http://schemas.microsoft.com/office/drawing/2014/main" id="{10FFBA5A-D439-4B2A-9CB2-AE8F98B61530}"/>
                </a:ext>
              </a:extLst>
            </p:cNvPr>
            <p:cNvSpPr/>
            <p:nvPr/>
          </p:nvSpPr>
          <p:spPr bwMode="auto">
            <a:xfrm>
              <a:off x="4572329" y="4908150"/>
              <a:ext cx="532253" cy="532252"/>
            </a:xfrm>
            <a:prstGeom prst="rect">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5" name="Oval 314">
              <a:extLst>
                <a:ext uri="{FF2B5EF4-FFF2-40B4-BE49-F238E27FC236}">
                  <a16:creationId xmlns:a16="http://schemas.microsoft.com/office/drawing/2014/main" id="{0AEA8A94-D40E-4BFA-8ECC-2D84B69788CF}"/>
                </a:ext>
              </a:extLst>
            </p:cNvPr>
            <p:cNvSpPr/>
            <p:nvPr/>
          </p:nvSpPr>
          <p:spPr bwMode="auto">
            <a:xfrm>
              <a:off x="2459763" y="2615787"/>
              <a:ext cx="608969" cy="608967"/>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17" name="Isosceles Triangle 316">
              <a:extLst>
                <a:ext uri="{FF2B5EF4-FFF2-40B4-BE49-F238E27FC236}">
                  <a16:creationId xmlns:a16="http://schemas.microsoft.com/office/drawing/2014/main" id="{C89D38C2-E802-4918-A23F-F8104A66AD69}"/>
                </a:ext>
              </a:extLst>
            </p:cNvPr>
            <p:cNvSpPr/>
            <p:nvPr/>
          </p:nvSpPr>
          <p:spPr bwMode="auto">
            <a:xfrm>
              <a:off x="4652115" y="3076169"/>
              <a:ext cx="665592" cy="573786"/>
            </a:xfrm>
            <a:prstGeom prst="triangl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9" name="Oval 318">
              <a:extLst>
                <a:ext uri="{FF2B5EF4-FFF2-40B4-BE49-F238E27FC236}">
                  <a16:creationId xmlns:a16="http://schemas.microsoft.com/office/drawing/2014/main" id="{C18E345A-F506-40C7-BF48-5E4078FCA7D9}"/>
                </a:ext>
              </a:extLst>
            </p:cNvPr>
            <p:cNvSpPr/>
            <p:nvPr/>
          </p:nvSpPr>
          <p:spPr bwMode="auto">
            <a:xfrm>
              <a:off x="2038894" y="5790140"/>
              <a:ext cx="608969" cy="608967"/>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21" name="Isosceles Triangle 320">
              <a:extLst>
                <a:ext uri="{FF2B5EF4-FFF2-40B4-BE49-F238E27FC236}">
                  <a16:creationId xmlns:a16="http://schemas.microsoft.com/office/drawing/2014/main" id="{C7FBDAC0-BFC1-4C7D-AAC4-3D07473CEB8E}"/>
                </a:ext>
              </a:extLst>
            </p:cNvPr>
            <p:cNvSpPr/>
            <p:nvPr/>
          </p:nvSpPr>
          <p:spPr bwMode="auto">
            <a:xfrm>
              <a:off x="3874856" y="5342414"/>
              <a:ext cx="815542" cy="703054"/>
            </a:xfrm>
            <a:prstGeom prst="triangl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2" name="Rectangle 321">
              <a:extLst>
                <a:ext uri="{FF2B5EF4-FFF2-40B4-BE49-F238E27FC236}">
                  <a16:creationId xmlns:a16="http://schemas.microsoft.com/office/drawing/2014/main" id="{A20FC32D-430C-4928-AC52-E0C5DAA558BA}"/>
                </a:ext>
              </a:extLst>
            </p:cNvPr>
            <p:cNvSpPr/>
            <p:nvPr/>
          </p:nvSpPr>
          <p:spPr bwMode="auto">
            <a:xfrm>
              <a:off x="4137845" y="4548592"/>
              <a:ext cx="652164" cy="652164"/>
            </a:xfrm>
            <a:prstGeom prst="rect">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3" name="Oval 322">
              <a:extLst>
                <a:ext uri="{FF2B5EF4-FFF2-40B4-BE49-F238E27FC236}">
                  <a16:creationId xmlns:a16="http://schemas.microsoft.com/office/drawing/2014/main" id="{533F54B0-995C-40B8-990E-4A614F4D6432}"/>
                </a:ext>
              </a:extLst>
            </p:cNvPr>
            <p:cNvSpPr/>
            <p:nvPr/>
          </p:nvSpPr>
          <p:spPr bwMode="auto">
            <a:xfrm>
              <a:off x="2844265" y="2456976"/>
              <a:ext cx="746164" cy="746162"/>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25" name="Isosceles Triangle 324">
              <a:extLst>
                <a:ext uri="{FF2B5EF4-FFF2-40B4-BE49-F238E27FC236}">
                  <a16:creationId xmlns:a16="http://schemas.microsoft.com/office/drawing/2014/main" id="{5F73D84D-B4CA-4366-9D89-A1D5E3708691}"/>
                </a:ext>
              </a:extLst>
            </p:cNvPr>
            <p:cNvSpPr/>
            <p:nvPr/>
          </p:nvSpPr>
          <p:spPr bwMode="auto">
            <a:xfrm>
              <a:off x="1614779" y="3226953"/>
              <a:ext cx="815542" cy="703054"/>
            </a:xfrm>
            <a:prstGeom prst="triangl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6" name="Rectangle 325">
              <a:extLst>
                <a:ext uri="{FF2B5EF4-FFF2-40B4-BE49-F238E27FC236}">
                  <a16:creationId xmlns:a16="http://schemas.microsoft.com/office/drawing/2014/main" id="{4BDB3394-A051-4F76-A3D7-84E180FECDEC}"/>
                </a:ext>
              </a:extLst>
            </p:cNvPr>
            <p:cNvSpPr/>
            <p:nvPr/>
          </p:nvSpPr>
          <p:spPr bwMode="auto">
            <a:xfrm>
              <a:off x="1668975" y="5393303"/>
              <a:ext cx="652164" cy="652164"/>
            </a:xfrm>
            <a:prstGeom prst="rect">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7" name="Oval 326">
              <a:extLst>
                <a:ext uri="{FF2B5EF4-FFF2-40B4-BE49-F238E27FC236}">
                  <a16:creationId xmlns:a16="http://schemas.microsoft.com/office/drawing/2014/main" id="{7F5EB805-E5BB-4887-A68E-EC853C696E34}"/>
                </a:ext>
              </a:extLst>
            </p:cNvPr>
            <p:cNvSpPr/>
            <p:nvPr/>
          </p:nvSpPr>
          <p:spPr bwMode="auto">
            <a:xfrm>
              <a:off x="3008684" y="4494683"/>
              <a:ext cx="746164" cy="746162"/>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29" name="Isosceles Triangle 328">
              <a:extLst>
                <a:ext uri="{FF2B5EF4-FFF2-40B4-BE49-F238E27FC236}">
                  <a16:creationId xmlns:a16="http://schemas.microsoft.com/office/drawing/2014/main" id="{521B3549-43AF-4F27-A86E-4BCA3AD298D9}"/>
                </a:ext>
              </a:extLst>
            </p:cNvPr>
            <p:cNvSpPr/>
            <p:nvPr/>
          </p:nvSpPr>
          <p:spPr bwMode="auto">
            <a:xfrm>
              <a:off x="2544356" y="3322679"/>
              <a:ext cx="815542" cy="703054"/>
            </a:xfrm>
            <a:prstGeom prst="triangl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0" name="Rectangle 329">
              <a:extLst>
                <a:ext uri="{FF2B5EF4-FFF2-40B4-BE49-F238E27FC236}">
                  <a16:creationId xmlns:a16="http://schemas.microsoft.com/office/drawing/2014/main" id="{572CE65D-6C90-4C60-862A-D98F92F5562F}"/>
                </a:ext>
              </a:extLst>
            </p:cNvPr>
            <p:cNvSpPr/>
            <p:nvPr/>
          </p:nvSpPr>
          <p:spPr bwMode="auto">
            <a:xfrm>
              <a:off x="5251693" y="5790140"/>
              <a:ext cx="652164" cy="652164"/>
            </a:xfrm>
            <a:prstGeom prst="rect">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3" name="Isosceles Triangle 332">
              <a:extLst>
                <a:ext uri="{FF2B5EF4-FFF2-40B4-BE49-F238E27FC236}">
                  <a16:creationId xmlns:a16="http://schemas.microsoft.com/office/drawing/2014/main" id="{F0DEA0D4-5EE5-479B-93A7-3D05047E2633}"/>
                </a:ext>
              </a:extLst>
            </p:cNvPr>
            <p:cNvSpPr/>
            <p:nvPr/>
          </p:nvSpPr>
          <p:spPr bwMode="auto">
            <a:xfrm>
              <a:off x="3515220" y="3079066"/>
              <a:ext cx="1044102" cy="900087"/>
            </a:xfrm>
            <a:prstGeom prst="triangl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4" name="Rectangle 333">
              <a:extLst>
                <a:ext uri="{FF2B5EF4-FFF2-40B4-BE49-F238E27FC236}">
                  <a16:creationId xmlns:a16="http://schemas.microsoft.com/office/drawing/2014/main" id="{6ABBE6E7-EF42-4C05-97BE-66FCC7DBDA1E}"/>
                </a:ext>
              </a:extLst>
            </p:cNvPr>
            <p:cNvSpPr/>
            <p:nvPr/>
          </p:nvSpPr>
          <p:spPr bwMode="auto">
            <a:xfrm>
              <a:off x="316391" y="5889063"/>
              <a:ext cx="834935" cy="834935"/>
            </a:xfrm>
            <a:prstGeom prst="rect">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5" name="Oval 334">
              <a:extLst>
                <a:ext uri="{FF2B5EF4-FFF2-40B4-BE49-F238E27FC236}">
                  <a16:creationId xmlns:a16="http://schemas.microsoft.com/office/drawing/2014/main" id="{BD57E93B-4DC5-41A6-B6AB-628FE70EB955}"/>
                </a:ext>
              </a:extLst>
            </p:cNvPr>
            <p:cNvSpPr/>
            <p:nvPr/>
          </p:nvSpPr>
          <p:spPr bwMode="auto">
            <a:xfrm>
              <a:off x="2321140" y="6497831"/>
              <a:ext cx="955279" cy="955277"/>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37" name="Isosceles Triangle 336">
              <a:extLst>
                <a:ext uri="{FF2B5EF4-FFF2-40B4-BE49-F238E27FC236}">
                  <a16:creationId xmlns:a16="http://schemas.microsoft.com/office/drawing/2014/main" id="{14F78473-5240-4CD5-A72D-8EDC5C01B19E}"/>
                </a:ext>
              </a:extLst>
            </p:cNvPr>
            <p:cNvSpPr/>
            <p:nvPr/>
          </p:nvSpPr>
          <p:spPr bwMode="auto">
            <a:xfrm>
              <a:off x="904724" y="1910645"/>
              <a:ext cx="1044102" cy="900087"/>
            </a:xfrm>
            <a:prstGeom prst="triangl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8" name="Rectangle 337">
              <a:extLst>
                <a:ext uri="{FF2B5EF4-FFF2-40B4-BE49-F238E27FC236}">
                  <a16:creationId xmlns:a16="http://schemas.microsoft.com/office/drawing/2014/main" id="{985DF86E-FA16-428D-B5B3-5DE57B527221}"/>
                </a:ext>
              </a:extLst>
            </p:cNvPr>
            <p:cNvSpPr/>
            <p:nvPr/>
          </p:nvSpPr>
          <p:spPr bwMode="auto">
            <a:xfrm>
              <a:off x="1941016" y="4332068"/>
              <a:ext cx="834935" cy="834935"/>
            </a:xfrm>
            <a:prstGeom prst="rect">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9" name="Oval 338">
              <a:extLst>
                <a:ext uri="{FF2B5EF4-FFF2-40B4-BE49-F238E27FC236}">
                  <a16:creationId xmlns:a16="http://schemas.microsoft.com/office/drawing/2014/main" id="{FB00834E-3DA0-4283-956F-1181A4311DF0}"/>
                </a:ext>
              </a:extLst>
            </p:cNvPr>
            <p:cNvSpPr/>
            <p:nvPr/>
          </p:nvSpPr>
          <p:spPr bwMode="auto">
            <a:xfrm>
              <a:off x="3153262" y="5663559"/>
              <a:ext cx="955279" cy="955277"/>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41" name="Isosceles Triangle 340">
              <a:extLst>
                <a:ext uri="{FF2B5EF4-FFF2-40B4-BE49-F238E27FC236}">
                  <a16:creationId xmlns:a16="http://schemas.microsoft.com/office/drawing/2014/main" id="{9D039AE8-9402-4097-A445-A56E961A4389}"/>
                </a:ext>
              </a:extLst>
            </p:cNvPr>
            <p:cNvSpPr/>
            <p:nvPr/>
          </p:nvSpPr>
          <p:spPr bwMode="auto">
            <a:xfrm>
              <a:off x="-310244" y="2239532"/>
              <a:ext cx="1044102" cy="900087"/>
            </a:xfrm>
            <a:prstGeom prst="triangl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2" name="Rectangle 341">
              <a:extLst>
                <a:ext uri="{FF2B5EF4-FFF2-40B4-BE49-F238E27FC236}">
                  <a16:creationId xmlns:a16="http://schemas.microsoft.com/office/drawing/2014/main" id="{2C9A137C-1783-4B47-ABE6-48EFD780F432}"/>
                </a:ext>
              </a:extLst>
            </p:cNvPr>
            <p:cNvSpPr/>
            <p:nvPr/>
          </p:nvSpPr>
          <p:spPr bwMode="auto">
            <a:xfrm>
              <a:off x="4137844" y="6526855"/>
              <a:ext cx="834935" cy="834935"/>
            </a:xfrm>
            <a:prstGeom prst="rect">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3" name="Oval 342">
              <a:extLst>
                <a:ext uri="{FF2B5EF4-FFF2-40B4-BE49-F238E27FC236}">
                  <a16:creationId xmlns:a16="http://schemas.microsoft.com/office/drawing/2014/main" id="{67D3524D-50BA-470A-8FF5-A7031C798AE2}"/>
                </a:ext>
              </a:extLst>
            </p:cNvPr>
            <p:cNvSpPr/>
            <p:nvPr/>
          </p:nvSpPr>
          <p:spPr bwMode="auto">
            <a:xfrm>
              <a:off x="507599" y="4267170"/>
              <a:ext cx="955279" cy="955277"/>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sp>
        <p:nvSpPr>
          <p:cNvPr id="4" name="Title 3">
            <a:extLst>
              <a:ext uri="{FF2B5EF4-FFF2-40B4-BE49-F238E27FC236}">
                <a16:creationId xmlns:a16="http://schemas.microsoft.com/office/drawing/2014/main" id="{15163981-7D1D-B341-96AD-E763B05B90BE}"/>
              </a:ext>
            </a:extLst>
          </p:cNvPr>
          <p:cNvSpPr>
            <a:spLocks noGrp="1"/>
          </p:cNvSpPr>
          <p:nvPr>
            <p:ph type="title"/>
          </p:nvPr>
        </p:nvSpPr>
        <p:spPr/>
        <p:txBody>
          <a:bodyPr/>
          <a:lstStyle/>
          <a:p>
            <a:r>
              <a:rPr lang="en-US" dirty="0"/>
              <a:t>Building your own AI models</a:t>
            </a:r>
          </a:p>
        </p:txBody>
      </p:sp>
      <p:sp>
        <p:nvSpPr>
          <p:cNvPr id="5" name="Text Placeholder 4">
            <a:extLst>
              <a:ext uri="{FF2B5EF4-FFF2-40B4-BE49-F238E27FC236}">
                <a16:creationId xmlns:a16="http://schemas.microsoft.com/office/drawing/2014/main" id="{D3EC6FB1-EB2F-8241-B586-2F7166EBC630}"/>
              </a:ext>
            </a:extLst>
          </p:cNvPr>
          <p:cNvSpPr>
            <a:spLocks noGrp="1"/>
          </p:cNvSpPr>
          <p:nvPr>
            <p:ph type="body" sz="quarter" idx="12"/>
          </p:nvPr>
        </p:nvSpPr>
        <p:spPr/>
        <p:txBody>
          <a:bodyPr/>
          <a:lstStyle/>
          <a:p>
            <a:r>
              <a:rPr lang="en-US" dirty="0">
                <a:latin typeface="+mj-lt"/>
              </a:rPr>
              <a:t>Step 1: </a:t>
            </a:r>
            <a:r>
              <a:rPr lang="en-US" dirty="0"/>
              <a:t>Prepare data</a:t>
            </a:r>
          </a:p>
        </p:txBody>
      </p:sp>
      <p:grpSp>
        <p:nvGrpSpPr>
          <p:cNvPr id="91" name="Group 90">
            <a:extLst>
              <a:ext uri="{FF2B5EF4-FFF2-40B4-BE49-F238E27FC236}">
                <a16:creationId xmlns:a16="http://schemas.microsoft.com/office/drawing/2014/main" id="{1BA93A30-D6C0-CB4B-BD3D-9050CDB25AAA}"/>
              </a:ext>
            </a:extLst>
          </p:cNvPr>
          <p:cNvGrpSpPr/>
          <p:nvPr/>
        </p:nvGrpSpPr>
        <p:grpSpPr>
          <a:xfrm>
            <a:off x="7512367" y="2245882"/>
            <a:ext cx="3422566" cy="3214712"/>
            <a:chOff x="1239394" y="2531811"/>
            <a:chExt cx="1792952" cy="1684065"/>
          </a:xfrm>
        </p:grpSpPr>
        <p:grpSp>
          <p:nvGrpSpPr>
            <p:cNvPr id="92" name="Group 91">
              <a:extLst>
                <a:ext uri="{FF2B5EF4-FFF2-40B4-BE49-F238E27FC236}">
                  <a16:creationId xmlns:a16="http://schemas.microsoft.com/office/drawing/2014/main" id="{FD6847F0-2D31-5E4F-B1AE-5397BB33BD05}"/>
                </a:ext>
              </a:extLst>
            </p:cNvPr>
            <p:cNvGrpSpPr/>
            <p:nvPr/>
          </p:nvGrpSpPr>
          <p:grpSpPr>
            <a:xfrm>
              <a:off x="1239394" y="2531811"/>
              <a:ext cx="523013" cy="1684065"/>
              <a:chOff x="1395310" y="3332039"/>
              <a:chExt cx="430961" cy="1387665"/>
            </a:xfrm>
            <a:solidFill>
              <a:schemeClr val="bg1"/>
            </a:solidFill>
          </p:grpSpPr>
          <p:sp>
            <p:nvSpPr>
              <p:cNvPr id="101" name="Isosceles Triangle 86">
                <a:extLst>
                  <a:ext uri="{FF2B5EF4-FFF2-40B4-BE49-F238E27FC236}">
                    <a16:creationId xmlns:a16="http://schemas.microsoft.com/office/drawing/2014/main" id="{A1299052-0AA8-DD4B-9FBF-2317B4A7A1DE}"/>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2" name="Rectangle 101">
                <a:extLst>
                  <a:ext uri="{FF2B5EF4-FFF2-40B4-BE49-F238E27FC236}">
                    <a16:creationId xmlns:a16="http://schemas.microsoft.com/office/drawing/2014/main" id="{F435F918-CA64-6646-A4DA-B0622DBB679D}"/>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3" name="Oval 102">
                <a:extLst>
                  <a:ext uri="{FF2B5EF4-FFF2-40B4-BE49-F238E27FC236}">
                    <a16:creationId xmlns:a16="http://schemas.microsoft.com/office/drawing/2014/main" id="{B73D76D2-3A1C-7446-B7A8-D84721D97CCC}"/>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93" name="Group 92">
              <a:extLst>
                <a:ext uri="{FF2B5EF4-FFF2-40B4-BE49-F238E27FC236}">
                  <a16:creationId xmlns:a16="http://schemas.microsoft.com/office/drawing/2014/main" id="{D3CFF055-9F94-7E41-9E03-2EE27377E749}"/>
                </a:ext>
              </a:extLst>
            </p:cNvPr>
            <p:cNvGrpSpPr/>
            <p:nvPr/>
          </p:nvGrpSpPr>
          <p:grpSpPr>
            <a:xfrm>
              <a:off x="1874363" y="2531811"/>
              <a:ext cx="523013" cy="1684065"/>
              <a:chOff x="1395310" y="3332039"/>
              <a:chExt cx="430961" cy="1387665"/>
            </a:xfrm>
            <a:solidFill>
              <a:schemeClr val="bg1"/>
            </a:solidFill>
          </p:grpSpPr>
          <p:sp>
            <p:nvSpPr>
              <p:cNvPr id="98" name="Isosceles Triangle 83">
                <a:extLst>
                  <a:ext uri="{FF2B5EF4-FFF2-40B4-BE49-F238E27FC236}">
                    <a16:creationId xmlns:a16="http://schemas.microsoft.com/office/drawing/2014/main" id="{C9D3DF8C-6F84-C749-8EE0-379D8ED79A19}"/>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9" name="Rectangle 98">
                <a:extLst>
                  <a:ext uri="{FF2B5EF4-FFF2-40B4-BE49-F238E27FC236}">
                    <a16:creationId xmlns:a16="http://schemas.microsoft.com/office/drawing/2014/main" id="{575EB150-C0FC-CF4B-B5AB-DF6D9D95C058}"/>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Oval 99">
                <a:extLst>
                  <a:ext uri="{FF2B5EF4-FFF2-40B4-BE49-F238E27FC236}">
                    <a16:creationId xmlns:a16="http://schemas.microsoft.com/office/drawing/2014/main" id="{D1D800C2-2D9B-8F49-B1A6-FC7253897D80}"/>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94" name="Group 93">
              <a:extLst>
                <a:ext uri="{FF2B5EF4-FFF2-40B4-BE49-F238E27FC236}">
                  <a16:creationId xmlns:a16="http://schemas.microsoft.com/office/drawing/2014/main" id="{8F37BF0A-4E7F-7042-89A3-D1B6A56AF9E3}"/>
                </a:ext>
              </a:extLst>
            </p:cNvPr>
            <p:cNvGrpSpPr/>
            <p:nvPr/>
          </p:nvGrpSpPr>
          <p:grpSpPr>
            <a:xfrm>
              <a:off x="2509333" y="2531811"/>
              <a:ext cx="523013" cy="1684065"/>
              <a:chOff x="1395310" y="3332039"/>
              <a:chExt cx="430961" cy="1387665"/>
            </a:xfrm>
            <a:solidFill>
              <a:schemeClr val="bg1"/>
            </a:solidFill>
          </p:grpSpPr>
          <p:sp>
            <p:nvSpPr>
              <p:cNvPr id="95" name="Isosceles Triangle 80">
                <a:extLst>
                  <a:ext uri="{FF2B5EF4-FFF2-40B4-BE49-F238E27FC236}">
                    <a16:creationId xmlns:a16="http://schemas.microsoft.com/office/drawing/2014/main" id="{57368EB8-26DF-9F4A-9E06-4084E6DB177F}"/>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 name="Rectangle 95">
                <a:extLst>
                  <a:ext uri="{FF2B5EF4-FFF2-40B4-BE49-F238E27FC236}">
                    <a16:creationId xmlns:a16="http://schemas.microsoft.com/office/drawing/2014/main" id="{4C194685-F2FC-9147-83CD-34D301E4AA06}"/>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7" name="Oval 96">
                <a:extLst>
                  <a:ext uri="{FF2B5EF4-FFF2-40B4-BE49-F238E27FC236}">
                    <a16:creationId xmlns:a16="http://schemas.microsoft.com/office/drawing/2014/main" id="{A26F8D63-08F3-E345-AA0C-A8FE9A8563C7}"/>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spTree>
    <p:extLst>
      <p:ext uri="{BB962C8B-B14F-4D97-AF65-F5344CB8AC3E}">
        <p14:creationId xmlns:p14="http://schemas.microsoft.com/office/powerpoint/2010/main" val="31693594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244"/>
                                        </p:tgtEl>
                                        <p:attrNameLst>
                                          <p:attrName>style.visibility</p:attrName>
                                        </p:attrNameLst>
                                      </p:cBhvr>
                                      <p:to>
                                        <p:strVal val="visible"/>
                                      </p:to>
                                    </p:set>
                                    <p:animEffect transition="in" filter="wipe(left)">
                                      <p:cBhvr>
                                        <p:cTn id="11" dur="500"/>
                                        <p:tgtEl>
                                          <p:spTgt spid="24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91"/>
                                        </p:tgtEl>
                                        <p:attrNameLst>
                                          <p:attrName>style.visibility</p:attrName>
                                        </p:attrNameLst>
                                      </p:cBhvr>
                                      <p:to>
                                        <p:strVal val="visible"/>
                                      </p:to>
                                    </p:set>
                                    <p:animEffect transition="in" filter="fade">
                                      <p:cBhvr>
                                        <p:cTn id="15" dur="5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08347E53-860F-4E37-A4DC-80B7AE48F338}"/>
              </a:ext>
            </a:extLst>
          </p:cNvPr>
          <p:cNvSpPr txBox="1"/>
          <p:nvPr/>
        </p:nvSpPr>
        <p:spPr>
          <a:xfrm>
            <a:off x="469829" y="2104782"/>
            <a:ext cx="2001840" cy="3761266"/>
          </a:xfrm>
          <a:prstGeom prst="rect">
            <a:avLst/>
          </a:prstGeom>
          <a:noFill/>
        </p:spPr>
        <p:txBody>
          <a:bodyPr wrap="square" rtlCol="0">
            <a:spAutoFit/>
          </a:bodyPr>
          <a:lstStyle/>
          <a:p>
            <a:pPr marL="0" marR="0" lvl="0" indent="0" algn="l" defTabSz="914192" rtl="0" eaLnBrk="1" fontAlgn="auto" latinLnBrk="0" hangingPunct="1">
              <a:lnSpc>
                <a:spcPct val="2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SQL DB</a:t>
            </a:r>
          </a:p>
          <a:p>
            <a:pPr marL="0" marR="0" lvl="0" indent="0" algn="l" defTabSz="914192" rtl="0" eaLnBrk="1" fontAlgn="auto" latinLnBrk="0" hangingPunct="1">
              <a:lnSpc>
                <a:spcPct val="2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Cosmos DB</a:t>
            </a:r>
          </a:p>
          <a:p>
            <a:pPr marL="0" marR="0" lvl="0" indent="0" algn="l" defTabSz="914192" rtl="0" eaLnBrk="1" fontAlgn="auto" latinLnBrk="0" hangingPunct="1">
              <a:lnSpc>
                <a:spcPct val="2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Datawarehouse</a:t>
            </a:r>
          </a:p>
          <a:p>
            <a:pPr marL="0" marR="0" lvl="0" indent="0" algn="l" defTabSz="914192" rtl="0" eaLnBrk="1" fontAlgn="auto" latinLnBrk="0" hangingPunct="1">
              <a:lnSpc>
                <a:spcPct val="2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Data lake</a:t>
            </a:r>
          </a:p>
          <a:p>
            <a:pPr marL="0" marR="0" lvl="0" indent="0" algn="l" defTabSz="914192" rtl="0" eaLnBrk="1" fontAlgn="auto" latinLnBrk="0" hangingPunct="1">
              <a:lnSpc>
                <a:spcPct val="2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Blob storage</a:t>
            </a:r>
          </a:p>
          <a:p>
            <a:pPr marL="0" marR="0" lvl="0" indent="0" algn="l" defTabSz="914192" rtl="0" eaLnBrk="1" fontAlgn="auto" latinLnBrk="0" hangingPunct="1">
              <a:lnSpc>
                <a:spcPct val="2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a:t>
            </a:r>
          </a:p>
        </p:txBody>
      </p:sp>
      <p:sp>
        <p:nvSpPr>
          <p:cNvPr id="18" name="Right Brace 17">
            <a:extLst>
              <a:ext uri="{FF2B5EF4-FFF2-40B4-BE49-F238E27FC236}">
                <a16:creationId xmlns:a16="http://schemas.microsoft.com/office/drawing/2014/main" id="{38F0BD91-4FBD-4959-AB74-E0BDC7AC1060}"/>
              </a:ext>
            </a:extLst>
          </p:cNvPr>
          <p:cNvSpPr/>
          <p:nvPr/>
        </p:nvSpPr>
        <p:spPr>
          <a:xfrm>
            <a:off x="2367156" y="2186326"/>
            <a:ext cx="637461" cy="3538627"/>
          </a:xfrm>
          <a:prstGeom prst="rightBrace">
            <a:avLst>
              <a:gd name="adj1" fmla="val 54386"/>
              <a:gd name="adj2" fmla="val 50000"/>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 name="Title 1">
            <a:extLst>
              <a:ext uri="{FF2B5EF4-FFF2-40B4-BE49-F238E27FC236}">
                <a16:creationId xmlns:a16="http://schemas.microsoft.com/office/drawing/2014/main" id="{CF7E7A2D-204A-5547-88FD-85A433758156}"/>
              </a:ext>
            </a:extLst>
          </p:cNvPr>
          <p:cNvSpPr>
            <a:spLocks noGrp="1"/>
          </p:cNvSpPr>
          <p:nvPr>
            <p:ph type="title"/>
          </p:nvPr>
        </p:nvSpPr>
        <p:spPr/>
        <p:txBody>
          <a:bodyPr/>
          <a:lstStyle/>
          <a:p>
            <a:r>
              <a:rPr lang="en-US" dirty="0"/>
              <a:t>Building your own AI models</a:t>
            </a:r>
          </a:p>
        </p:txBody>
      </p:sp>
      <p:sp>
        <p:nvSpPr>
          <p:cNvPr id="3" name="Text Placeholder 2">
            <a:extLst>
              <a:ext uri="{FF2B5EF4-FFF2-40B4-BE49-F238E27FC236}">
                <a16:creationId xmlns:a16="http://schemas.microsoft.com/office/drawing/2014/main" id="{8C2E59B7-366D-0E43-93D1-2DA1E8A702F9}"/>
              </a:ext>
            </a:extLst>
          </p:cNvPr>
          <p:cNvSpPr>
            <a:spLocks noGrp="1"/>
          </p:cNvSpPr>
          <p:nvPr>
            <p:ph type="body" sz="quarter" idx="12"/>
          </p:nvPr>
        </p:nvSpPr>
        <p:spPr/>
        <p:txBody>
          <a:bodyPr/>
          <a:lstStyle/>
          <a:p>
            <a:r>
              <a:rPr lang="en-US" dirty="0"/>
              <a:t>Transforming data into intelligence</a:t>
            </a:r>
          </a:p>
        </p:txBody>
      </p:sp>
      <p:grpSp>
        <p:nvGrpSpPr>
          <p:cNvPr id="6" name="Group 5">
            <a:extLst>
              <a:ext uri="{FF2B5EF4-FFF2-40B4-BE49-F238E27FC236}">
                <a16:creationId xmlns:a16="http://schemas.microsoft.com/office/drawing/2014/main" id="{26FB8E91-682A-E04B-9708-A553D91A67CA}"/>
              </a:ext>
            </a:extLst>
          </p:cNvPr>
          <p:cNvGrpSpPr/>
          <p:nvPr/>
        </p:nvGrpSpPr>
        <p:grpSpPr>
          <a:xfrm>
            <a:off x="3582599" y="2975782"/>
            <a:ext cx="7411810" cy="2033755"/>
            <a:chOff x="817750" y="2541282"/>
            <a:chExt cx="10397120" cy="2852905"/>
          </a:xfrm>
        </p:grpSpPr>
        <p:sp>
          <p:nvSpPr>
            <p:cNvPr id="92" name="Rectangle 91">
              <a:extLst>
                <a:ext uri="{FF2B5EF4-FFF2-40B4-BE49-F238E27FC236}">
                  <a16:creationId xmlns:a16="http://schemas.microsoft.com/office/drawing/2014/main" id="{A4B215C2-725C-2645-B3D5-AD872F7FAB61}"/>
                </a:ext>
              </a:extLst>
            </p:cNvPr>
            <p:cNvSpPr/>
            <p:nvPr/>
          </p:nvSpPr>
          <p:spPr>
            <a:xfrm>
              <a:off x="817750" y="4799014"/>
              <a:ext cx="2493237" cy="592556"/>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Prepare data</a:t>
              </a:r>
            </a:p>
          </p:txBody>
        </p:sp>
        <p:sp>
          <p:nvSpPr>
            <p:cNvPr id="93" name="Rectangle 92">
              <a:extLst>
                <a:ext uri="{FF2B5EF4-FFF2-40B4-BE49-F238E27FC236}">
                  <a16:creationId xmlns:a16="http://schemas.microsoft.com/office/drawing/2014/main" id="{1383E1CE-C0B8-4C47-9E05-7E04BDC819B5}"/>
                </a:ext>
              </a:extLst>
            </p:cNvPr>
            <p:cNvSpPr/>
            <p:nvPr/>
          </p:nvSpPr>
          <p:spPr>
            <a:xfrm>
              <a:off x="4701555" y="4799012"/>
              <a:ext cx="2841981" cy="592556"/>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Build and train</a:t>
              </a:r>
            </a:p>
          </p:txBody>
        </p:sp>
        <p:sp>
          <p:nvSpPr>
            <p:cNvPr id="94" name="Rectangle 93">
              <a:extLst>
                <a:ext uri="{FF2B5EF4-FFF2-40B4-BE49-F238E27FC236}">
                  <a16:creationId xmlns:a16="http://schemas.microsoft.com/office/drawing/2014/main" id="{0D2FBFF2-F561-2447-8071-FCEE5B9A16F2}"/>
                </a:ext>
              </a:extLst>
            </p:cNvPr>
            <p:cNvSpPr/>
            <p:nvPr/>
          </p:nvSpPr>
          <p:spPr>
            <a:xfrm>
              <a:off x="9449632" y="4799012"/>
              <a:ext cx="1509300" cy="595175"/>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Deploy</a:t>
              </a:r>
            </a:p>
          </p:txBody>
        </p:sp>
        <p:grpSp>
          <p:nvGrpSpPr>
            <p:cNvPr id="95" name="Group 94">
              <a:extLst>
                <a:ext uri="{FF2B5EF4-FFF2-40B4-BE49-F238E27FC236}">
                  <a16:creationId xmlns:a16="http://schemas.microsoft.com/office/drawing/2014/main" id="{E81A1464-36CB-3146-B2B7-CA259124829D}"/>
                </a:ext>
              </a:extLst>
            </p:cNvPr>
            <p:cNvGrpSpPr/>
            <p:nvPr/>
          </p:nvGrpSpPr>
          <p:grpSpPr>
            <a:xfrm>
              <a:off x="9193693" y="2632636"/>
              <a:ext cx="2021177" cy="1670823"/>
              <a:chOff x="9524460" y="2632636"/>
              <a:chExt cx="2021177" cy="1670823"/>
            </a:xfrm>
          </p:grpSpPr>
          <p:sp>
            <p:nvSpPr>
              <p:cNvPr id="96" name="gear_3">
                <a:extLst>
                  <a:ext uri="{FF2B5EF4-FFF2-40B4-BE49-F238E27FC236}">
                    <a16:creationId xmlns:a16="http://schemas.microsoft.com/office/drawing/2014/main" id="{A82C3C39-F88D-634C-A43A-E31B7C7003EF}"/>
                  </a:ext>
                </a:extLst>
              </p:cNvPr>
              <p:cNvSpPr>
                <a:spLocks noChangeAspect="1" noEditPoints="1"/>
              </p:cNvSpPr>
              <p:nvPr/>
            </p:nvSpPr>
            <p:spPr bwMode="auto">
              <a:xfrm>
                <a:off x="9524460" y="3183698"/>
                <a:ext cx="1110355" cy="111976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 name="gear_3">
                <a:extLst>
                  <a:ext uri="{FF2B5EF4-FFF2-40B4-BE49-F238E27FC236}">
                    <a16:creationId xmlns:a16="http://schemas.microsoft.com/office/drawing/2014/main" id="{F381D6AE-77A9-A24D-8F55-D0A220934854}"/>
                  </a:ext>
                </a:extLst>
              </p:cNvPr>
              <p:cNvSpPr>
                <a:spLocks noChangeAspect="1" noEditPoints="1"/>
              </p:cNvSpPr>
              <p:nvPr/>
            </p:nvSpPr>
            <p:spPr bwMode="auto">
              <a:xfrm>
                <a:off x="10421433" y="2632636"/>
                <a:ext cx="735342" cy="74157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 name="gear_3">
                <a:extLst>
                  <a:ext uri="{FF2B5EF4-FFF2-40B4-BE49-F238E27FC236}">
                    <a16:creationId xmlns:a16="http://schemas.microsoft.com/office/drawing/2014/main" id="{D27B7D0A-6289-0E47-89F5-E3DED1455A9F}"/>
                  </a:ext>
                </a:extLst>
              </p:cNvPr>
              <p:cNvSpPr>
                <a:spLocks noChangeAspect="1" noEditPoints="1"/>
              </p:cNvSpPr>
              <p:nvPr/>
            </p:nvSpPr>
            <p:spPr bwMode="auto">
              <a:xfrm>
                <a:off x="11022746" y="3309209"/>
                <a:ext cx="522891" cy="527320"/>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99" name="Group 98">
              <a:extLst>
                <a:ext uri="{FF2B5EF4-FFF2-40B4-BE49-F238E27FC236}">
                  <a16:creationId xmlns:a16="http://schemas.microsoft.com/office/drawing/2014/main" id="{DEB3DA22-2C9B-BF49-8ADC-EA707D511980}"/>
                </a:ext>
              </a:extLst>
            </p:cNvPr>
            <p:cNvGrpSpPr/>
            <p:nvPr/>
          </p:nvGrpSpPr>
          <p:grpSpPr>
            <a:xfrm>
              <a:off x="1167892" y="2730836"/>
              <a:ext cx="1792952" cy="1684065"/>
              <a:chOff x="1239394" y="2531811"/>
              <a:chExt cx="1792952" cy="1684065"/>
            </a:xfrm>
          </p:grpSpPr>
          <p:grpSp>
            <p:nvGrpSpPr>
              <p:cNvPr id="100" name="Group 99">
                <a:extLst>
                  <a:ext uri="{FF2B5EF4-FFF2-40B4-BE49-F238E27FC236}">
                    <a16:creationId xmlns:a16="http://schemas.microsoft.com/office/drawing/2014/main" id="{61B2D0B3-15D5-2646-8A0A-54B5A864F84D}"/>
                  </a:ext>
                </a:extLst>
              </p:cNvPr>
              <p:cNvGrpSpPr/>
              <p:nvPr/>
            </p:nvGrpSpPr>
            <p:grpSpPr>
              <a:xfrm>
                <a:off x="1239394" y="2531811"/>
                <a:ext cx="523013" cy="1684065"/>
                <a:chOff x="1395310" y="3332039"/>
                <a:chExt cx="430961" cy="1387665"/>
              </a:xfrm>
              <a:solidFill>
                <a:schemeClr val="bg1"/>
              </a:solidFill>
            </p:grpSpPr>
            <p:sp>
              <p:nvSpPr>
                <p:cNvPr id="109" name="Isosceles Triangle 86">
                  <a:extLst>
                    <a:ext uri="{FF2B5EF4-FFF2-40B4-BE49-F238E27FC236}">
                      <a16:creationId xmlns:a16="http://schemas.microsoft.com/office/drawing/2014/main" id="{D7535FFA-2626-7F4A-8FBD-A869A5FF53AC}"/>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0" name="Rectangle 109">
                  <a:extLst>
                    <a:ext uri="{FF2B5EF4-FFF2-40B4-BE49-F238E27FC236}">
                      <a16:creationId xmlns:a16="http://schemas.microsoft.com/office/drawing/2014/main" id="{858527BF-6E1B-0943-8982-1A39ADF2D11A}"/>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1" name="Oval 110">
                  <a:extLst>
                    <a:ext uri="{FF2B5EF4-FFF2-40B4-BE49-F238E27FC236}">
                      <a16:creationId xmlns:a16="http://schemas.microsoft.com/office/drawing/2014/main" id="{39BB6DD3-6357-5549-8B18-723C55370BF4}"/>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101" name="Group 100">
                <a:extLst>
                  <a:ext uri="{FF2B5EF4-FFF2-40B4-BE49-F238E27FC236}">
                    <a16:creationId xmlns:a16="http://schemas.microsoft.com/office/drawing/2014/main" id="{1C13059E-1BB5-7A4E-9DE1-23E95E44B16D}"/>
                  </a:ext>
                </a:extLst>
              </p:cNvPr>
              <p:cNvGrpSpPr/>
              <p:nvPr/>
            </p:nvGrpSpPr>
            <p:grpSpPr>
              <a:xfrm>
                <a:off x="1874363" y="2531811"/>
                <a:ext cx="523013" cy="1684065"/>
                <a:chOff x="1395310" y="3332039"/>
                <a:chExt cx="430961" cy="1387665"/>
              </a:xfrm>
              <a:solidFill>
                <a:schemeClr val="bg1"/>
              </a:solidFill>
            </p:grpSpPr>
            <p:sp>
              <p:nvSpPr>
                <p:cNvPr id="106" name="Isosceles Triangle 83">
                  <a:extLst>
                    <a:ext uri="{FF2B5EF4-FFF2-40B4-BE49-F238E27FC236}">
                      <a16:creationId xmlns:a16="http://schemas.microsoft.com/office/drawing/2014/main" id="{92DF2687-9FFF-E046-AE75-87DCFA8BF0C9}"/>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7" name="Rectangle 106">
                  <a:extLst>
                    <a:ext uri="{FF2B5EF4-FFF2-40B4-BE49-F238E27FC236}">
                      <a16:creationId xmlns:a16="http://schemas.microsoft.com/office/drawing/2014/main" id="{99680654-6039-B34F-A9CC-58BC1073A65B}"/>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8" name="Oval 107">
                  <a:extLst>
                    <a:ext uri="{FF2B5EF4-FFF2-40B4-BE49-F238E27FC236}">
                      <a16:creationId xmlns:a16="http://schemas.microsoft.com/office/drawing/2014/main" id="{0FEA6DD3-D329-B84F-A2EE-810286E72798}"/>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102" name="Group 101">
                <a:extLst>
                  <a:ext uri="{FF2B5EF4-FFF2-40B4-BE49-F238E27FC236}">
                    <a16:creationId xmlns:a16="http://schemas.microsoft.com/office/drawing/2014/main" id="{C23A51A6-4B2B-CC41-BA3C-FE1DE0A9C652}"/>
                  </a:ext>
                </a:extLst>
              </p:cNvPr>
              <p:cNvGrpSpPr/>
              <p:nvPr/>
            </p:nvGrpSpPr>
            <p:grpSpPr>
              <a:xfrm>
                <a:off x="2509333" y="2531811"/>
                <a:ext cx="523013" cy="1684065"/>
                <a:chOff x="1395310" y="3332039"/>
                <a:chExt cx="430961" cy="1387665"/>
              </a:xfrm>
              <a:solidFill>
                <a:schemeClr val="bg1"/>
              </a:solidFill>
            </p:grpSpPr>
            <p:sp>
              <p:nvSpPr>
                <p:cNvPr id="103" name="Isosceles Triangle 80">
                  <a:extLst>
                    <a:ext uri="{FF2B5EF4-FFF2-40B4-BE49-F238E27FC236}">
                      <a16:creationId xmlns:a16="http://schemas.microsoft.com/office/drawing/2014/main" id="{55FBBE93-EB22-8B4B-8156-59B99C5B4499}"/>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4" name="Rectangle 103">
                  <a:extLst>
                    <a:ext uri="{FF2B5EF4-FFF2-40B4-BE49-F238E27FC236}">
                      <a16:creationId xmlns:a16="http://schemas.microsoft.com/office/drawing/2014/main" id="{EDEB4399-8001-0941-8A8B-A3F8548262BD}"/>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 name="Oval 104">
                  <a:extLst>
                    <a:ext uri="{FF2B5EF4-FFF2-40B4-BE49-F238E27FC236}">
                      <a16:creationId xmlns:a16="http://schemas.microsoft.com/office/drawing/2014/main" id="{823E4C7B-FCA1-A640-9383-E51AFC9E0B43}"/>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grpSp>
          <p:nvGrpSpPr>
            <p:cNvPr id="112" name="Group 111">
              <a:extLst>
                <a:ext uri="{FF2B5EF4-FFF2-40B4-BE49-F238E27FC236}">
                  <a16:creationId xmlns:a16="http://schemas.microsoft.com/office/drawing/2014/main" id="{1F9BFC8E-5C08-3148-BF3C-DDFC52882BA5}"/>
                </a:ext>
              </a:extLst>
            </p:cNvPr>
            <p:cNvGrpSpPr/>
            <p:nvPr/>
          </p:nvGrpSpPr>
          <p:grpSpPr>
            <a:xfrm>
              <a:off x="4945851" y="2541282"/>
              <a:ext cx="2347192" cy="2039058"/>
              <a:chOff x="4986639" y="2541282"/>
              <a:chExt cx="2347192" cy="2039058"/>
            </a:xfrm>
          </p:grpSpPr>
          <p:sp>
            <p:nvSpPr>
              <p:cNvPr id="113" name="Line 19">
                <a:extLst>
                  <a:ext uri="{FF2B5EF4-FFF2-40B4-BE49-F238E27FC236}">
                    <a16:creationId xmlns:a16="http://schemas.microsoft.com/office/drawing/2014/main" id="{C9C728F8-3678-6047-82FF-D1E42F91D478}"/>
                  </a:ext>
                </a:extLst>
              </p:cNvPr>
              <p:cNvSpPr>
                <a:spLocks noChangeShapeType="1"/>
              </p:cNvSpPr>
              <p:nvPr/>
            </p:nvSpPr>
            <p:spPr bwMode="auto">
              <a:xfrm rot="16200000">
                <a:off x="6005770" y="3401735"/>
                <a:ext cx="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nvGrpSpPr>
              <p:cNvPr id="114" name="Group 11">
                <a:extLst>
                  <a:ext uri="{FF2B5EF4-FFF2-40B4-BE49-F238E27FC236}">
                    <a16:creationId xmlns:a16="http://schemas.microsoft.com/office/drawing/2014/main" id="{E8E6D660-3CAF-224D-A905-0F2229699017}"/>
                  </a:ext>
                </a:extLst>
              </p:cNvPr>
              <p:cNvGrpSpPr>
                <a:grpSpLocks noChangeAspect="1"/>
              </p:cNvGrpSpPr>
              <p:nvPr/>
            </p:nvGrpSpPr>
            <p:grpSpPr bwMode="auto">
              <a:xfrm>
                <a:off x="5712422" y="3055262"/>
                <a:ext cx="1007365" cy="1097312"/>
                <a:chOff x="3861" y="4291602"/>
                <a:chExt cx="112" cy="244433"/>
              </a:xfrm>
            </p:grpSpPr>
            <p:sp>
              <p:nvSpPr>
                <p:cNvPr id="121" name="Freeform 12">
                  <a:extLst>
                    <a:ext uri="{FF2B5EF4-FFF2-40B4-BE49-F238E27FC236}">
                      <a16:creationId xmlns:a16="http://schemas.microsoft.com/office/drawing/2014/main" id="{B6038F85-2C4E-0946-A086-AE4C5C3A6638}"/>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22" name="Line 13">
                  <a:extLst>
                    <a:ext uri="{FF2B5EF4-FFF2-40B4-BE49-F238E27FC236}">
                      <a16:creationId xmlns:a16="http://schemas.microsoft.com/office/drawing/2014/main" id="{487C4706-1E7E-674D-B441-35BB39D7B0D2}"/>
                    </a:ext>
                  </a:extLst>
                </p:cNvPr>
                <p:cNvSpPr>
                  <a:spLocks noChangeShapeType="1"/>
                </p:cNvSpPr>
                <p:nvPr/>
              </p:nvSpPr>
              <p:spPr bwMode="auto">
                <a:xfrm>
                  <a:off x="3874" y="4469918"/>
                  <a:ext cx="8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Line 14">
                  <a:extLst>
                    <a:ext uri="{FF2B5EF4-FFF2-40B4-BE49-F238E27FC236}">
                      <a16:creationId xmlns:a16="http://schemas.microsoft.com/office/drawing/2014/main" id="{0128D749-5F95-104B-BF6F-77FFF15FD764}"/>
                    </a:ext>
                  </a:extLst>
                </p:cNvPr>
                <p:cNvSpPr>
                  <a:spLocks noChangeShapeType="1"/>
                </p:cNvSpPr>
                <p:nvPr/>
              </p:nvSpPr>
              <p:spPr bwMode="auto">
                <a:xfrm>
                  <a:off x="3923" y="4335680"/>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Line 15">
                  <a:extLst>
                    <a:ext uri="{FF2B5EF4-FFF2-40B4-BE49-F238E27FC236}">
                      <a16:creationId xmlns:a16="http://schemas.microsoft.com/office/drawing/2014/main" id="{47C464ED-B1A7-D847-9777-608D67180F66}"/>
                    </a:ext>
                  </a:extLst>
                </p:cNvPr>
                <p:cNvSpPr>
                  <a:spLocks noChangeShapeType="1"/>
                </p:cNvSpPr>
                <p:nvPr/>
              </p:nvSpPr>
              <p:spPr bwMode="auto">
                <a:xfrm>
                  <a:off x="3923" y="4379758"/>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Line 16">
                  <a:extLst>
                    <a:ext uri="{FF2B5EF4-FFF2-40B4-BE49-F238E27FC236}">
                      <a16:creationId xmlns:a16="http://schemas.microsoft.com/office/drawing/2014/main" id="{C0B84E2E-DA73-8948-BE15-42A6B336A5FB}"/>
                    </a:ext>
                  </a:extLst>
                </p:cNvPr>
                <p:cNvSpPr>
                  <a:spLocks noChangeShapeType="1"/>
                </p:cNvSpPr>
                <p:nvPr/>
              </p:nvSpPr>
              <p:spPr bwMode="auto">
                <a:xfrm>
                  <a:off x="3923" y="4425840"/>
                  <a:ext cx="2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1" name="Line 17">
                  <a:extLst>
                    <a:ext uri="{FF2B5EF4-FFF2-40B4-BE49-F238E27FC236}">
                      <a16:creationId xmlns:a16="http://schemas.microsoft.com/office/drawing/2014/main" id="{BED25CC9-0761-0C4E-B231-886E37DF70A2}"/>
                    </a:ext>
                  </a:extLst>
                </p:cNvPr>
                <p:cNvSpPr>
                  <a:spLocks noChangeShapeType="1"/>
                </p:cNvSpPr>
                <p:nvPr/>
              </p:nvSpPr>
              <p:spPr bwMode="auto">
                <a:xfrm>
                  <a:off x="3883" y="4291602"/>
                  <a:ext cx="68"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15" name="Group 114">
                <a:extLst>
                  <a:ext uri="{FF2B5EF4-FFF2-40B4-BE49-F238E27FC236}">
                    <a16:creationId xmlns:a16="http://schemas.microsoft.com/office/drawing/2014/main" id="{C16E7D55-C0D1-C24A-8AF9-828E6686927F}"/>
                  </a:ext>
                </a:extLst>
              </p:cNvPr>
              <p:cNvGrpSpPr/>
              <p:nvPr/>
            </p:nvGrpSpPr>
            <p:grpSpPr>
              <a:xfrm>
                <a:off x="5359189" y="2541282"/>
                <a:ext cx="1974642" cy="1799700"/>
                <a:chOff x="4723382" y="2415376"/>
                <a:chExt cx="2374103" cy="2163771"/>
              </a:xfrm>
            </p:grpSpPr>
            <p:sp>
              <p:nvSpPr>
                <p:cNvPr id="119" name="Freeform 22">
                  <a:extLst>
                    <a:ext uri="{FF2B5EF4-FFF2-40B4-BE49-F238E27FC236}">
                      <a16:creationId xmlns:a16="http://schemas.microsoft.com/office/drawing/2014/main" id="{84527370-80F2-5942-B577-37AC159AA3DE}"/>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20" name="Arc 119">
                  <a:extLst>
                    <a:ext uri="{FF2B5EF4-FFF2-40B4-BE49-F238E27FC236}">
                      <a16:creationId xmlns:a16="http://schemas.microsoft.com/office/drawing/2014/main" id="{8B130DDB-65F8-B848-9318-96998415CF15}"/>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grpSp>
            <p:nvGrpSpPr>
              <p:cNvPr id="116" name="Group 115">
                <a:extLst>
                  <a:ext uri="{FF2B5EF4-FFF2-40B4-BE49-F238E27FC236}">
                    <a16:creationId xmlns:a16="http://schemas.microsoft.com/office/drawing/2014/main" id="{7BD1CE3F-42D6-FA44-A8DD-6307E1DE0F54}"/>
                  </a:ext>
                </a:extLst>
              </p:cNvPr>
              <p:cNvGrpSpPr/>
              <p:nvPr/>
            </p:nvGrpSpPr>
            <p:grpSpPr>
              <a:xfrm rot="10800000">
                <a:off x="4986639" y="2780640"/>
                <a:ext cx="1974642" cy="1799700"/>
                <a:chOff x="4723382" y="2415376"/>
                <a:chExt cx="2374103" cy="2163771"/>
              </a:xfrm>
            </p:grpSpPr>
            <p:sp>
              <p:nvSpPr>
                <p:cNvPr id="117" name="Freeform 22">
                  <a:extLst>
                    <a:ext uri="{FF2B5EF4-FFF2-40B4-BE49-F238E27FC236}">
                      <a16:creationId xmlns:a16="http://schemas.microsoft.com/office/drawing/2014/main" id="{5A446F35-F98D-224E-8A8B-538563CFF804}"/>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18" name="Arc 117">
                  <a:extLst>
                    <a:ext uri="{FF2B5EF4-FFF2-40B4-BE49-F238E27FC236}">
                      <a16:creationId xmlns:a16="http://schemas.microsoft.com/office/drawing/2014/main" id="{2C0BE3CC-C1B5-AD4C-BA1D-4DF0545BE7E3}"/>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grpSp>
        <p:sp>
          <p:nvSpPr>
            <p:cNvPr id="172" name="Freeform 171">
              <a:extLst>
                <a:ext uri="{FF2B5EF4-FFF2-40B4-BE49-F238E27FC236}">
                  <a16:creationId xmlns:a16="http://schemas.microsoft.com/office/drawing/2014/main" id="{3D253DA2-F383-C742-8BBC-D6AD33935B6E}"/>
                </a:ext>
              </a:extLst>
            </p:cNvPr>
            <p:cNvSpPr/>
            <p:nvPr/>
          </p:nvSpPr>
          <p:spPr bwMode="auto">
            <a:xfrm flipH="1">
              <a:off x="8130192" y="3199111"/>
              <a:ext cx="409923" cy="917547"/>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73" name="Freeform 172">
              <a:extLst>
                <a:ext uri="{FF2B5EF4-FFF2-40B4-BE49-F238E27FC236}">
                  <a16:creationId xmlns:a16="http://schemas.microsoft.com/office/drawing/2014/main" id="{55CFCE41-00B0-5247-8708-C76D1D3E8630}"/>
                </a:ext>
              </a:extLst>
            </p:cNvPr>
            <p:cNvSpPr/>
            <p:nvPr/>
          </p:nvSpPr>
          <p:spPr bwMode="auto">
            <a:xfrm flipH="1">
              <a:off x="3663949" y="3199111"/>
              <a:ext cx="409923" cy="917547"/>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3973464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700">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right)">
                                      <p:cBhvr>
                                        <p:cTn id="7" dur="500"/>
                                        <p:tgtEl>
                                          <p:spTgt spid="18"/>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52A67E-4419-2843-BC07-157F99FC4C5D}"/>
              </a:ext>
            </a:extLst>
          </p:cNvPr>
          <p:cNvSpPr>
            <a:spLocks noGrp="1"/>
          </p:cNvSpPr>
          <p:nvPr>
            <p:ph type="title"/>
          </p:nvPr>
        </p:nvSpPr>
        <p:spPr/>
        <p:txBody>
          <a:bodyPr/>
          <a:lstStyle/>
          <a:p>
            <a:r>
              <a:rPr lang="en-US" dirty="0"/>
              <a:t>Building your own AI models</a:t>
            </a:r>
          </a:p>
        </p:txBody>
      </p:sp>
      <p:sp>
        <p:nvSpPr>
          <p:cNvPr id="4" name="Text Placeholder 3">
            <a:extLst>
              <a:ext uri="{FF2B5EF4-FFF2-40B4-BE49-F238E27FC236}">
                <a16:creationId xmlns:a16="http://schemas.microsoft.com/office/drawing/2014/main" id="{EA5608BD-4C8D-F548-8F23-6D736182978A}"/>
              </a:ext>
            </a:extLst>
          </p:cNvPr>
          <p:cNvSpPr>
            <a:spLocks noGrp="1"/>
          </p:cNvSpPr>
          <p:nvPr>
            <p:ph type="body" sz="quarter" idx="12"/>
          </p:nvPr>
        </p:nvSpPr>
        <p:spPr/>
        <p:txBody>
          <a:bodyPr/>
          <a:lstStyle/>
          <a:p>
            <a:r>
              <a:rPr lang="en-US" dirty="0"/>
              <a:t>Transforming data into intelligence</a:t>
            </a:r>
          </a:p>
        </p:txBody>
      </p:sp>
      <p:sp>
        <p:nvSpPr>
          <p:cNvPr id="118" name="Rectangle 117">
            <a:extLst>
              <a:ext uri="{FF2B5EF4-FFF2-40B4-BE49-F238E27FC236}">
                <a16:creationId xmlns:a16="http://schemas.microsoft.com/office/drawing/2014/main" id="{5A3C1B2C-B3B4-C74C-99AC-6A3FFA6B3940}"/>
              </a:ext>
            </a:extLst>
          </p:cNvPr>
          <p:cNvSpPr/>
          <p:nvPr/>
        </p:nvSpPr>
        <p:spPr>
          <a:xfrm>
            <a:off x="1135110" y="4705161"/>
            <a:ext cx="1777357"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Prepare data</a:t>
            </a:r>
          </a:p>
        </p:txBody>
      </p:sp>
      <p:sp>
        <p:nvSpPr>
          <p:cNvPr id="119" name="Rectangle 118">
            <a:extLst>
              <a:ext uri="{FF2B5EF4-FFF2-40B4-BE49-F238E27FC236}">
                <a16:creationId xmlns:a16="http://schemas.microsoft.com/office/drawing/2014/main" id="{0A1DA62F-5932-2C48-8F3B-5F6E0BF5F288}"/>
              </a:ext>
            </a:extLst>
          </p:cNvPr>
          <p:cNvSpPr/>
          <p:nvPr/>
        </p:nvSpPr>
        <p:spPr>
          <a:xfrm>
            <a:off x="4989206" y="4705161"/>
            <a:ext cx="2025966"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Build and train</a:t>
            </a:r>
          </a:p>
        </p:txBody>
      </p:sp>
      <p:sp>
        <p:nvSpPr>
          <p:cNvPr id="120" name="Rectangle 119">
            <a:extLst>
              <a:ext uri="{FF2B5EF4-FFF2-40B4-BE49-F238E27FC236}">
                <a16:creationId xmlns:a16="http://schemas.microsoft.com/office/drawing/2014/main" id="{36210D1F-F05D-684D-8201-85333A9C517F}"/>
              </a:ext>
            </a:extLst>
          </p:cNvPr>
          <p:cNvSpPr/>
          <p:nvPr/>
        </p:nvSpPr>
        <p:spPr>
          <a:xfrm>
            <a:off x="9468437" y="4705161"/>
            <a:ext cx="1070500"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Deploy</a:t>
            </a:r>
          </a:p>
        </p:txBody>
      </p:sp>
      <p:grpSp>
        <p:nvGrpSpPr>
          <p:cNvPr id="121" name="Group 120">
            <a:extLst>
              <a:ext uri="{FF2B5EF4-FFF2-40B4-BE49-F238E27FC236}">
                <a16:creationId xmlns:a16="http://schemas.microsoft.com/office/drawing/2014/main" id="{F791AC36-7353-4544-8311-0DD19E818157}"/>
              </a:ext>
            </a:extLst>
          </p:cNvPr>
          <p:cNvGrpSpPr/>
          <p:nvPr/>
        </p:nvGrpSpPr>
        <p:grpSpPr>
          <a:xfrm>
            <a:off x="9012965" y="2581371"/>
            <a:ext cx="1981445" cy="1637978"/>
            <a:chOff x="9524460" y="2632636"/>
            <a:chExt cx="2021177" cy="1670823"/>
          </a:xfrm>
        </p:grpSpPr>
        <p:sp>
          <p:nvSpPr>
            <p:cNvPr id="122" name="gear_3">
              <a:extLst>
                <a:ext uri="{FF2B5EF4-FFF2-40B4-BE49-F238E27FC236}">
                  <a16:creationId xmlns:a16="http://schemas.microsoft.com/office/drawing/2014/main" id="{C48D4DC8-AACC-3B40-BFF2-B49521E0352E}"/>
                </a:ext>
              </a:extLst>
            </p:cNvPr>
            <p:cNvSpPr>
              <a:spLocks noChangeAspect="1" noEditPoints="1"/>
            </p:cNvSpPr>
            <p:nvPr/>
          </p:nvSpPr>
          <p:spPr bwMode="auto">
            <a:xfrm>
              <a:off x="9524460" y="3183698"/>
              <a:ext cx="1110355" cy="111976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 name="gear_3">
              <a:extLst>
                <a:ext uri="{FF2B5EF4-FFF2-40B4-BE49-F238E27FC236}">
                  <a16:creationId xmlns:a16="http://schemas.microsoft.com/office/drawing/2014/main" id="{EEA65478-AF57-8D44-8F7B-EBE6DFE683E1}"/>
                </a:ext>
              </a:extLst>
            </p:cNvPr>
            <p:cNvSpPr>
              <a:spLocks noChangeAspect="1" noEditPoints="1"/>
            </p:cNvSpPr>
            <p:nvPr/>
          </p:nvSpPr>
          <p:spPr bwMode="auto">
            <a:xfrm>
              <a:off x="10421433" y="2632636"/>
              <a:ext cx="735342" cy="74157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gear_3">
              <a:extLst>
                <a:ext uri="{FF2B5EF4-FFF2-40B4-BE49-F238E27FC236}">
                  <a16:creationId xmlns:a16="http://schemas.microsoft.com/office/drawing/2014/main" id="{B3092EFB-61B1-B248-837E-2D577570D41F}"/>
                </a:ext>
              </a:extLst>
            </p:cNvPr>
            <p:cNvSpPr>
              <a:spLocks noChangeAspect="1" noEditPoints="1"/>
            </p:cNvSpPr>
            <p:nvPr/>
          </p:nvSpPr>
          <p:spPr bwMode="auto">
            <a:xfrm>
              <a:off x="11022746" y="3309209"/>
              <a:ext cx="522891" cy="527320"/>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16E5E83C-A781-604B-B13C-DC8458680525}"/>
              </a:ext>
            </a:extLst>
          </p:cNvPr>
          <p:cNvGrpSpPr/>
          <p:nvPr/>
        </p:nvGrpSpPr>
        <p:grpSpPr>
          <a:xfrm>
            <a:off x="1144934" y="2677641"/>
            <a:ext cx="1757706" cy="1650960"/>
            <a:chOff x="1239394" y="2531811"/>
            <a:chExt cx="1792952" cy="1684065"/>
          </a:xfrm>
        </p:grpSpPr>
        <p:grpSp>
          <p:nvGrpSpPr>
            <p:cNvPr id="126" name="Group 125">
              <a:extLst>
                <a:ext uri="{FF2B5EF4-FFF2-40B4-BE49-F238E27FC236}">
                  <a16:creationId xmlns:a16="http://schemas.microsoft.com/office/drawing/2014/main" id="{3D9A6F9F-4C12-2F48-A890-09A7BD1237D1}"/>
                </a:ext>
              </a:extLst>
            </p:cNvPr>
            <p:cNvGrpSpPr/>
            <p:nvPr/>
          </p:nvGrpSpPr>
          <p:grpSpPr>
            <a:xfrm>
              <a:off x="1239394" y="2531811"/>
              <a:ext cx="523013" cy="1684065"/>
              <a:chOff x="1395310" y="3332039"/>
              <a:chExt cx="430961" cy="1387665"/>
            </a:xfrm>
            <a:solidFill>
              <a:schemeClr val="bg1"/>
            </a:solidFill>
          </p:grpSpPr>
          <p:sp>
            <p:nvSpPr>
              <p:cNvPr id="135" name="Isosceles Triangle 86">
                <a:extLst>
                  <a:ext uri="{FF2B5EF4-FFF2-40B4-BE49-F238E27FC236}">
                    <a16:creationId xmlns:a16="http://schemas.microsoft.com/office/drawing/2014/main" id="{946C8413-795E-2649-A6A9-9D1BB0969AEB}"/>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6" name="Rectangle 135">
                <a:extLst>
                  <a:ext uri="{FF2B5EF4-FFF2-40B4-BE49-F238E27FC236}">
                    <a16:creationId xmlns:a16="http://schemas.microsoft.com/office/drawing/2014/main" id="{8146B92A-F2B5-B041-8224-AEC81229AD9C}"/>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7" name="Oval 136">
                <a:extLst>
                  <a:ext uri="{FF2B5EF4-FFF2-40B4-BE49-F238E27FC236}">
                    <a16:creationId xmlns:a16="http://schemas.microsoft.com/office/drawing/2014/main" id="{1EAD2D7A-6736-0844-9375-5F50BAF12411}"/>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127" name="Group 126">
              <a:extLst>
                <a:ext uri="{FF2B5EF4-FFF2-40B4-BE49-F238E27FC236}">
                  <a16:creationId xmlns:a16="http://schemas.microsoft.com/office/drawing/2014/main" id="{09FC1093-5098-0F44-BE72-B003A3AD1919}"/>
                </a:ext>
              </a:extLst>
            </p:cNvPr>
            <p:cNvGrpSpPr/>
            <p:nvPr/>
          </p:nvGrpSpPr>
          <p:grpSpPr>
            <a:xfrm>
              <a:off x="1874363" y="2531811"/>
              <a:ext cx="523013" cy="1684065"/>
              <a:chOff x="1395310" y="3332039"/>
              <a:chExt cx="430961" cy="1387665"/>
            </a:xfrm>
            <a:solidFill>
              <a:schemeClr val="bg1"/>
            </a:solidFill>
          </p:grpSpPr>
          <p:sp>
            <p:nvSpPr>
              <p:cNvPr id="132" name="Isosceles Triangle 83">
                <a:extLst>
                  <a:ext uri="{FF2B5EF4-FFF2-40B4-BE49-F238E27FC236}">
                    <a16:creationId xmlns:a16="http://schemas.microsoft.com/office/drawing/2014/main" id="{AFFD7FFA-7C5D-0349-A613-8C40492963C3}"/>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3" name="Rectangle 132">
                <a:extLst>
                  <a:ext uri="{FF2B5EF4-FFF2-40B4-BE49-F238E27FC236}">
                    <a16:creationId xmlns:a16="http://schemas.microsoft.com/office/drawing/2014/main" id="{EF360715-12EB-9347-939A-E2FDABE8F42C}"/>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4" name="Oval 133">
                <a:extLst>
                  <a:ext uri="{FF2B5EF4-FFF2-40B4-BE49-F238E27FC236}">
                    <a16:creationId xmlns:a16="http://schemas.microsoft.com/office/drawing/2014/main" id="{947FEA15-F9E1-864C-90D3-AF81FBC25751}"/>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128" name="Group 127">
              <a:extLst>
                <a:ext uri="{FF2B5EF4-FFF2-40B4-BE49-F238E27FC236}">
                  <a16:creationId xmlns:a16="http://schemas.microsoft.com/office/drawing/2014/main" id="{1C6A4630-8DD8-104A-A753-7C73F39F5857}"/>
                </a:ext>
              </a:extLst>
            </p:cNvPr>
            <p:cNvGrpSpPr/>
            <p:nvPr/>
          </p:nvGrpSpPr>
          <p:grpSpPr>
            <a:xfrm>
              <a:off x="2509333" y="2531811"/>
              <a:ext cx="523013" cy="1684065"/>
              <a:chOff x="1395310" y="3332039"/>
              <a:chExt cx="430961" cy="1387665"/>
            </a:xfrm>
            <a:solidFill>
              <a:schemeClr val="bg1"/>
            </a:solidFill>
          </p:grpSpPr>
          <p:sp>
            <p:nvSpPr>
              <p:cNvPr id="129" name="Isosceles Triangle 80">
                <a:extLst>
                  <a:ext uri="{FF2B5EF4-FFF2-40B4-BE49-F238E27FC236}">
                    <a16:creationId xmlns:a16="http://schemas.microsoft.com/office/drawing/2014/main" id="{1A33E083-F57D-104B-B7F3-71688FC43B70}"/>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0" name="Rectangle 129">
                <a:extLst>
                  <a:ext uri="{FF2B5EF4-FFF2-40B4-BE49-F238E27FC236}">
                    <a16:creationId xmlns:a16="http://schemas.microsoft.com/office/drawing/2014/main" id="{21ED9B57-70FE-8642-A32E-CDB851721033}"/>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1" name="Oval 130">
                <a:extLst>
                  <a:ext uri="{FF2B5EF4-FFF2-40B4-BE49-F238E27FC236}">
                    <a16:creationId xmlns:a16="http://schemas.microsoft.com/office/drawing/2014/main" id="{4C2CEF76-4B9B-F048-BFA6-8CA596552A23}"/>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grpSp>
        <p:nvGrpSpPr>
          <p:cNvPr id="138" name="Group 137">
            <a:extLst>
              <a:ext uri="{FF2B5EF4-FFF2-40B4-BE49-F238E27FC236}">
                <a16:creationId xmlns:a16="http://schemas.microsoft.com/office/drawing/2014/main" id="{2FA9F120-A106-A84A-B10A-9C165F5D2C54}"/>
              </a:ext>
            </a:extLst>
          </p:cNvPr>
          <p:cNvGrpSpPr/>
          <p:nvPr/>
        </p:nvGrpSpPr>
        <p:grpSpPr>
          <a:xfrm>
            <a:off x="4848627" y="2491813"/>
            <a:ext cx="2301051" cy="1998974"/>
            <a:chOff x="4986639" y="2541282"/>
            <a:chExt cx="2347192" cy="2039058"/>
          </a:xfrm>
        </p:grpSpPr>
        <p:sp>
          <p:nvSpPr>
            <p:cNvPr id="139" name="Line 19">
              <a:extLst>
                <a:ext uri="{FF2B5EF4-FFF2-40B4-BE49-F238E27FC236}">
                  <a16:creationId xmlns:a16="http://schemas.microsoft.com/office/drawing/2014/main" id="{AB87D879-E78C-254D-812C-85020B9837AF}"/>
                </a:ext>
              </a:extLst>
            </p:cNvPr>
            <p:cNvSpPr>
              <a:spLocks noChangeShapeType="1"/>
            </p:cNvSpPr>
            <p:nvPr/>
          </p:nvSpPr>
          <p:spPr bwMode="auto">
            <a:xfrm rot="16200000">
              <a:off x="6005770" y="3401735"/>
              <a:ext cx="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nvGrpSpPr>
            <p:cNvPr id="140" name="Group 11">
              <a:extLst>
                <a:ext uri="{FF2B5EF4-FFF2-40B4-BE49-F238E27FC236}">
                  <a16:creationId xmlns:a16="http://schemas.microsoft.com/office/drawing/2014/main" id="{FCFC211C-BB05-5A43-B883-72A0CE389053}"/>
                </a:ext>
              </a:extLst>
            </p:cNvPr>
            <p:cNvGrpSpPr>
              <a:grpSpLocks noChangeAspect="1"/>
            </p:cNvGrpSpPr>
            <p:nvPr/>
          </p:nvGrpSpPr>
          <p:grpSpPr bwMode="auto">
            <a:xfrm>
              <a:off x="5712422" y="3055262"/>
              <a:ext cx="1007365" cy="1097312"/>
              <a:chOff x="3861" y="4291602"/>
              <a:chExt cx="112" cy="244433"/>
            </a:xfrm>
          </p:grpSpPr>
          <p:sp>
            <p:nvSpPr>
              <p:cNvPr id="147" name="Freeform 12">
                <a:extLst>
                  <a:ext uri="{FF2B5EF4-FFF2-40B4-BE49-F238E27FC236}">
                    <a16:creationId xmlns:a16="http://schemas.microsoft.com/office/drawing/2014/main" id="{7D16A6C1-F47A-1344-BD0D-6C4EBE561BAE}"/>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8" name="Line 13">
                <a:extLst>
                  <a:ext uri="{FF2B5EF4-FFF2-40B4-BE49-F238E27FC236}">
                    <a16:creationId xmlns:a16="http://schemas.microsoft.com/office/drawing/2014/main" id="{D185B70E-566B-B646-9056-400CCFA0562B}"/>
                  </a:ext>
                </a:extLst>
              </p:cNvPr>
              <p:cNvSpPr>
                <a:spLocks noChangeShapeType="1"/>
              </p:cNvSpPr>
              <p:nvPr/>
            </p:nvSpPr>
            <p:spPr bwMode="auto">
              <a:xfrm>
                <a:off x="3874" y="4469918"/>
                <a:ext cx="8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9" name="Line 14">
                <a:extLst>
                  <a:ext uri="{FF2B5EF4-FFF2-40B4-BE49-F238E27FC236}">
                    <a16:creationId xmlns:a16="http://schemas.microsoft.com/office/drawing/2014/main" id="{7A3C2288-5880-3048-9852-44974CF8597D}"/>
                  </a:ext>
                </a:extLst>
              </p:cNvPr>
              <p:cNvSpPr>
                <a:spLocks noChangeShapeType="1"/>
              </p:cNvSpPr>
              <p:nvPr/>
            </p:nvSpPr>
            <p:spPr bwMode="auto">
              <a:xfrm>
                <a:off x="3923" y="4335680"/>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0" name="Line 15">
                <a:extLst>
                  <a:ext uri="{FF2B5EF4-FFF2-40B4-BE49-F238E27FC236}">
                    <a16:creationId xmlns:a16="http://schemas.microsoft.com/office/drawing/2014/main" id="{56A50B7D-7BD0-0F4B-91AC-134843D720F6}"/>
                  </a:ext>
                </a:extLst>
              </p:cNvPr>
              <p:cNvSpPr>
                <a:spLocks noChangeShapeType="1"/>
              </p:cNvSpPr>
              <p:nvPr/>
            </p:nvSpPr>
            <p:spPr bwMode="auto">
              <a:xfrm>
                <a:off x="3923" y="4379758"/>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1" name="Line 16">
                <a:extLst>
                  <a:ext uri="{FF2B5EF4-FFF2-40B4-BE49-F238E27FC236}">
                    <a16:creationId xmlns:a16="http://schemas.microsoft.com/office/drawing/2014/main" id="{C188A97B-B7F4-F84B-8AF6-8955BD2DD50F}"/>
                  </a:ext>
                </a:extLst>
              </p:cNvPr>
              <p:cNvSpPr>
                <a:spLocks noChangeShapeType="1"/>
              </p:cNvSpPr>
              <p:nvPr/>
            </p:nvSpPr>
            <p:spPr bwMode="auto">
              <a:xfrm>
                <a:off x="3923" y="4425840"/>
                <a:ext cx="2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2" name="Line 17">
                <a:extLst>
                  <a:ext uri="{FF2B5EF4-FFF2-40B4-BE49-F238E27FC236}">
                    <a16:creationId xmlns:a16="http://schemas.microsoft.com/office/drawing/2014/main" id="{3BD5A299-8CC3-2A4B-A9B9-D7105F7B7AF7}"/>
                  </a:ext>
                </a:extLst>
              </p:cNvPr>
              <p:cNvSpPr>
                <a:spLocks noChangeShapeType="1"/>
              </p:cNvSpPr>
              <p:nvPr/>
            </p:nvSpPr>
            <p:spPr bwMode="auto">
              <a:xfrm>
                <a:off x="3883" y="4291602"/>
                <a:ext cx="68"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41" name="Group 140">
              <a:extLst>
                <a:ext uri="{FF2B5EF4-FFF2-40B4-BE49-F238E27FC236}">
                  <a16:creationId xmlns:a16="http://schemas.microsoft.com/office/drawing/2014/main" id="{79417432-0734-BE47-828A-AB2E88294C99}"/>
                </a:ext>
              </a:extLst>
            </p:cNvPr>
            <p:cNvGrpSpPr/>
            <p:nvPr/>
          </p:nvGrpSpPr>
          <p:grpSpPr>
            <a:xfrm>
              <a:off x="5359189" y="2541282"/>
              <a:ext cx="1974642" cy="1799700"/>
              <a:chOff x="4723382" y="2415376"/>
              <a:chExt cx="2374103" cy="2163771"/>
            </a:xfrm>
          </p:grpSpPr>
          <p:sp>
            <p:nvSpPr>
              <p:cNvPr id="145" name="Freeform 22">
                <a:extLst>
                  <a:ext uri="{FF2B5EF4-FFF2-40B4-BE49-F238E27FC236}">
                    <a16:creationId xmlns:a16="http://schemas.microsoft.com/office/drawing/2014/main" id="{37344596-742D-B748-88C7-D29D50CD0CE7}"/>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46" name="Arc 145">
                <a:extLst>
                  <a:ext uri="{FF2B5EF4-FFF2-40B4-BE49-F238E27FC236}">
                    <a16:creationId xmlns:a16="http://schemas.microsoft.com/office/drawing/2014/main" id="{A8452E54-ABC5-054C-9C34-9036C092088A}"/>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grpSp>
          <p:nvGrpSpPr>
            <p:cNvPr id="142" name="Group 141">
              <a:extLst>
                <a:ext uri="{FF2B5EF4-FFF2-40B4-BE49-F238E27FC236}">
                  <a16:creationId xmlns:a16="http://schemas.microsoft.com/office/drawing/2014/main" id="{A36409B5-2575-3A45-8D75-04F006D335C9}"/>
                </a:ext>
              </a:extLst>
            </p:cNvPr>
            <p:cNvGrpSpPr/>
            <p:nvPr/>
          </p:nvGrpSpPr>
          <p:grpSpPr>
            <a:xfrm rot="10800000">
              <a:off x="4986639" y="2780640"/>
              <a:ext cx="1974642" cy="1799700"/>
              <a:chOff x="4723382" y="2415376"/>
              <a:chExt cx="2374103" cy="2163771"/>
            </a:xfrm>
          </p:grpSpPr>
          <p:sp>
            <p:nvSpPr>
              <p:cNvPr id="143" name="Freeform 22">
                <a:extLst>
                  <a:ext uri="{FF2B5EF4-FFF2-40B4-BE49-F238E27FC236}">
                    <a16:creationId xmlns:a16="http://schemas.microsoft.com/office/drawing/2014/main" id="{112F0F44-3B6E-BD4E-A9CA-A7EA2535CA80}"/>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44" name="Arc 143">
                <a:extLst>
                  <a:ext uri="{FF2B5EF4-FFF2-40B4-BE49-F238E27FC236}">
                    <a16:creationId xmlns:a16="http://schemas.microsoft.com/office/drawing/2014/main" id="{13441DF4-BEC1-B04E-93A8-98D5BDB12AB0}"/>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grpSp>
      <p:sp>
        <p:nvSpPr>
          <p:cNvPr id="153" name="Freeform 152">
            <a:extLst>
              <a:ext uri="{FF2B5EF4-FFF2-40B4-BE49-F238E27FC236}">
                <a16:creationId xmlns:a16="http://schemas.microsoft.com/office/drawing/2014/main" id="{BDBAAA28-1FCE-2F47-8A1A-371F249DB942}"/>
              </a:ext>
            </a:extLst>
          </p:cNvPr>
          <p:cNvSpPr/>
          <p:nvPr/>
        </p:nvSpPr>
        <p:spPr bwMode="auto">
          <a:xfrm flipH="1">
            <a:off x="7970370" y="3136710"/>
            <a:ext cx="401865" cy="89951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54" name="Freeform 153">
            <a:extLst>
              <a:ext uri="{FF2B5EF4-FFF2-40B4-BE49-F238E27FC236}">
                <a16:creationId xmlns:a16="http://schemas.microsoft.com/office/drawing/2014/main" id="{24B17B1B-4296-5A47-8655-9B822AA47680}"/>
              </a:ext>
            </a:extLst>
          </p:cNvPr>
          <p:cNvSpPr/>
          <p:nvPr/>
        </p:nvSpPr>
        <p:spPr bwMode="auto">
          <a:xfrm flipH="1">
            <a:off x="3591924" y="3136710"/>
            <a:ext cx="401865" cy="89951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55" name="Rectangle 154">
            <a:extLst>
              <a:ext uri="{FF2B5EF4-FFF2-40B4-BE49-F238E27FC236}">
                <a16:creationId xmlns:a16="http://schemas.microsoft.com/office/drawing/2014/main" id="{DC58B128-7217-7B4C-96E4-E8FC2055AB5F}"/>
              </a:ext>
            </a:extLst>
          </p:cNvPr>
          <p:cNvSpPr/>
          <p:nvPr/>
        </p:nvSpPr>
        <p:spPr bwMode="auto">
          <a:xfrm>
            <a:off x="713461" y="2272819"/>
            <a:ext cx="3365528" cy="2854757"/>
          </a:xfrm>
          <a:prstGeom prst="rect">
            <a:avLst/>
          </a:prstGeom>
          <a:solidFill>
            <a:schemeClr val="bg1">
              <a:alpha val="7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156" name="Rectangle 155">
            <a:extLst>
              <a:ext uri="{FF2B5EF4-FFF2-40B4-BE49-F238E27FC236}">
                <a16:creationId xmlns:a16="http://schemas.microsoft.com/office/drawing/2014/main" id="{1700D9EB-8AC1-FB41-B4F1-7A11FB99A99C}"/>
              </a:ext>
            </a:extLst>
          </p:cNvPr>
          <p:cNvSpPr/>
          <p:nvPr/>
        </p:nvSpPr>
        <p:spPr bwMode="auto">
          <a:xfrm>
            <a:off x="7854196" y="2272820"/>
            <a:ext cx="3365528" cy="3210452"/>
          </a:xfrm>
          <a:prstGeom prst="rect">
            <a:avLst/>
          </a:prstGeom>
          <a:solidFill>
            <a:schemeClr val="bg1">
              <a:alpha val="7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245773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55E150A-A63F-471C-9709-B61674C7B52D}"/>
              </a:ext>
            </a:extLst>
          </p:cNvPr>
          <p:cNvSpPr/>
          <p:nvPr/>
        </p:nvSpPr>
        <p:spPr bwMode="auto">
          <a:xfrm>
            <a:off x="559343" y="2231643"/>
            <a:ext cx="3187365" cy="3491370"/>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X</a:t>
            </a:r>
          </a:p>
        </p:txBody>
      </p:sp>
      <p:sp>
        <p:nvSpPr>
          <p:cNvPr id="47" name="Rectangle 46">
            <a:extLst>
              <a:ext uri="{FF2B5EF4-FFF2-40B4-BE49-F238E27FC236}">
                <a16:creationId xmlns:a16="http://schemas.microsoft.com/office/drawing/2014/main" id="{C5F3CACC-079D-D848-AE92-E8C2B56DA557}"/>
              </a:ext>
            </a:extLst>
          </p:cNvPr>
          <p:cNvSpPr/>
          <p:nvPr/>
        </p:nvSpPr>
        <p:spPr bwMode="auto">
          <a:xfrm>
            <a:off x="3669087" y="2957934"/>
            <a:ext cx="192249" cy="240890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3" name="Straight Connector 52">
            <a:extLst>
              <a:ext uri="{FF2B5EF4-FFF2-40B4-BE49-F238E27FC236}">
                <a16:creationId xmlns:a16="http://schemas.microsoft.com/office/drawing/2014/main" id="{D534E4B0-48AB-4F4B-BD7E-E88D1899B427}"/>
              </a:ext>
            </a:extLst>
          </p:cNvPr>
          <p:cNvCxnSpPr>
            <a:cxnSpLocks/>
          </p:cNvCxnSpPr>
          <p:nvPr/>
        </p:nvCxnSpPr>
        <p:spPr>
          <a:xfrm flipH="1" flipV="1">
            <a:off x="7024584" y="4213763"/>
            <a:ext cx="1322337" cy="5985"/>
          </a:xfrm>
          <a:prstGeom prst="line">
            <a:avLst/>
          </a:prstGeom>
          <a:ln w="19050">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69513E0E-8D11-47A7-AF39-45828A6911FE}"/>
              </a:ext>
            </a:extLst>
          </p:cNvPr>
          <p:cNvSpPr/>
          <p:nvPr/>
        </p:nvSpPr>
        <p:spPr bwMode="auto">
          <a:xfrm>
            <a:off x="8346726" y="3400380"/>
            <a:ext cx="3187365" cy="1617888"/>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Y</a:t>
            </a:r>
          </a:p>
        </p:txBody>
      </p:sp>
      <p:sp>
        <p:nvSpPr>
          <p:cNvPr id="5" name="Rectangle 4">
            <a:extLst>
              <a:ext uri="{FF2B5EF4-FFF2-40B4-BE49-F238E27FC236}">
                <a16:creationId xmlns:a16="http://schemas.microsoft.com/office/drawing/2014/main" id="{51A8CFDC-123D-4849-8132-4B9FDA22157B}"/>
              </a:ext>
            </a:extLst>
          </p:cNvPr>
          <p:cNvSpPr/>
          <p:nvPr/>
        </p:nvSpPr>
        <p:spPr bwMode="auto">
          <a:xfrm>
            <a:off x="794202" y="2861826"/>
            <a:ext cx="2717648" cy="7261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ar brand</a:t>
            </a:r>
          </a:p>
        </p:txBody>
      </p:sp>
      <p:sp>
        <p:nvSpPr>
          <p:cNvPr id="170" name="Rectangle 169">
            <a:extLst>
              <a:ext uri="{FF2B5EF4-FFF2-40B4-BE49-F238E27FC236}">
                <a16:creationId xmlns:a16="http://schemas.microsoft.com/office/drawing/2014/main" id="{693E43BD-C6B2-4D91-8F47-2871F38894DC}"/>
              </a:ext>
            </a:extLst>
          </p:cNvPr>
          <p:cNvSpPr/>
          <p:nvPr/>
        </p:nvSpPr>
        <p:spPr bwMode="auto">
          <a:xfrm>
            <a:off x="794202" y="3795507"/>
            <a:ext cx="2717648" cy="7240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Year of make</a:t>
            </a:r>
          </a:p>
        </p:txBody>
      </p:sp>
      <p:sp>
        <p:nvSpPr>
          <p:cNvPr id="171" name="Rectangle 170">
            <a:extLst>
              <a:ext uri="{FF2B5EF4-FFF2-40B4-BE49-F238E27FC236}">
                <a16:creationId xmlns:a16="http://schemas.microsoft.com/office/drawing/2014/main" id="{8CE89132-B9CF-4A12-8007-6121C496A030}"/>
              </a:ext>
            </a:extLst>
          </p:cNvPr>
          <p:cNvSpPr/>
          <p:nvPr/>
        </p:nvSpPr>
        <p:spPr bwMode="auto">
          <a:xfrm>
            <a:off x="794202" y="4729189"/>
            <a:ext cx="2717648" cy="7240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ileage</a:t>
            </a:r>
          </a:p>
        </p:txBody>
      </p:sp>
      <p:sp>
        <p:nvSpPr>
          <p:cNvPr id="173" name="Rectangle 172">
            <a:extLst>
              <a:ext uri="{FF2B5EF4-FFF2-40B4-BE49-F238E27FC236}">
                <a16:creationId xmlns:a16="http://schemas.microsoft.com/office/drawing/2014/main" id="{1BB153EB-0D40-4658-B018-C4BA5E1B45A3}"/>
              </a:ext>
            </a:extLst>
          </p:cNvPr>
          <p:cNvSpPr/>
          <p:nvPr/>
        </p:nvSpPr>
        <p:spPr bwMode="auto">
          <a:xfrm>
            <a:off x="8573198" y="4013787"/>
            <a:ext cx="2716167" cy="7261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ar value</a:t>
            </a:r>
          </a:p>
        </p:txBody>
      </p:sp>
      <p:sp>
        <p:nvSpPr>
          <p:cNvPr id="7" name="Oval 6">
            <a:extLst>
              <a:ext uri="{FF2B5EF4-FFF2-40B4-BE49-F238E27FC236}">
                <a16:creationId xmlns:a16="http://schemas.microsoft.com/office/drawing/2014/main" id="{899ABF68-592C-40E1-802E-F3C81693107E}"/>
              </a:ext>
            </a:extLst>
          </p:cNvPr>
          <p:cNvSpPr/>
          <p:nvPr/>
        </p:nvSpPr>
        <p:spPr bwMode="auto">
          <a:xfrm>
            <a:off x="4834186" y="2957933"/>
            <a:ext cx="2523629" cy="2523629"/>
          </a:xfrm>
          <a:prstGeom prst="ellipse">
            <a:avLst/>
          </a:prstGeom>
          <a:solidFill>
            <a:schemeClr val="accent5"/>
          </a:solid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9" name="Rectangle 18">
            <a:extLst>
              <a:ext uri="{FF2B5EF4-FFF2-40B4-BE49-F238E27FC236}">
                <a16:creationId xmlns:a16="http://schemas.microsoft.com/office/drawing/2014/main" id="{9EB225CA-84BB-4C0B-A1E4-948EA0E03F35}"/>
              </a:ext>
            </a:extLst>
          </p:cNvPr>
          <p:cNvSpPr/>
          <p:nvPr/>
        </p:nvSpPr>
        <p:spPr bwMode="auto">
          <a:xfrm>
            <a:off x="4735619" y="4537545"/>
            <a:ext cx="2717648" cy="8292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Model</a:t>
            </a:r>
          </a:p>
        </p:txBody>
      </p:sp>
      <p:sp>
        <p:nvSpPr>
          <p:cNvPr id="12" name="Title 11">
            <a:extLst>
              <a:ext uri="{FF2B5EF4-FFF2-40B4-BE49-F238E27FC236}">
                <a16:creationId xmlns:a16="http://schemas.microsoft.com/office/drawing/2014/main" id="{7E13C980-E81F-EB4A-81DA-0996AC983B57}"/>
              </a:ext>
            </a:extLst>
          </p:cNvPr>
          <p:cNvSpPr>
            <a:spLocks noGrp="1"/>
          </p:cNvSpPr>
          <p:nvPr>
            <p:ph type="title"/>
          </p:nvPr>
        </p:nvSpPr>
        <p:spPr/>
        <p:txBody>
          <a:bodyPr/>
          <a:lstStyle/>
          <a:p>
            <a:r>
              <a:rPr lang="en-US" dirty="0"/>
              <a:t>Building your own AI models</a:t>
            </a:r>
          </a:p>
        </p:txBody>
      </p:sp>
      <p:sp>
        <p:nvSpPr>
          <p:cNvPr id="14" name="Text Placeholder 13">
            <a:extLst>
              <a:ext uri="{FF2B5EF4-FFF2-40B4-BE49-F238E27FC236}">
                <a16:creationId xmlns:a16="http://schemas.microsoft.com/office/drawing/2014/main" id="{C94EF732-65A6-D649-AC1B-28798640115D}"/>
              </a:ext>
            </a:extLst>
          </p:cNvPr>
          <p:cNvSpPr>
            <a:spLocks noGrp="1"/>
          </p:cNvSpPr>
          <p:nvPr>
            <p:ph type="body" sz="quarter" idx="12"/>
          </p:nvPr>
        </p:nvSpPr>
        <p:spPr/>
        <p:txBody>
          <a:bodyPr/>
          <a:lstStyle/>
          <a:p>
            <a:r>
              <a:rPr lang="en-US" b="1" dirty="0">
                <a:latin typeface="Segoe UI Semibold" panose="020B0502040204020203" pitchFamily="34" charset="0"/>
                <a:cs typeface="Segoe UI Semibold" panose="020B0502040204020203" pitchFamily="34" charset="0"/>
              </a:rPr>
              <a:t>Step 2</a:t>
            </a:r>
            <a:r>
              <a:rPr lang="en-US" dirty="0"/>
              <a:t>: Build and Train</a:t>
            </a:r>
          </a:p>
        </p:txBody>
      </p:sp>
      <p:grpSp>
        <p:nvGrpSpPr>
          <p:cNvPr id="40" name="Group 11">
            <a:extLst>
              <a:ext uri="{FF2B5EF4-FFF2-40B4-BE49-F238E27FC236}">
                <a16:creationId xmlns:a16="http://schemas.microsoft.com/office/drawing/2014/main" id="{E32D2C72-8C41-D244-B8B8-310B2900E801}"/>
              </a:ext>
            </a:extLst>
          </p:cNvPr>
          <p:cNvGrpSpPr>
            <a:grpSpLocks noChangeAspect="1"/>
          </p:cNvGrpSpPr>
          <p:nvPr/>
        </p:nvGrpSpPr>
        <p:grpSpPr bwMode="auto">
          <a:xfrm>
            <a:off x="5600663" y="3429000"/>
            <a:ext cx="987562" cy="1075741"/>
            <a:chOff x="3861" y="4291602"/>
            <a:chExt cx="112" cy="244433"/>
          </a:xfrm>
        </p:grpSpPr>
        <p:sp>
          <p:nvSpPr>
            <p:cNvPr id="41" name="Freeform 12">
              <a:extLst>
                <a:ext uri="{FF2B5EF4-FFF2-40B4-BE49-F238E27FC236}">
                  <a16:creationId xmlns:a16="http://schemas.microsoft.com/office/drawing/2014/main" id="{3F8B3F14-F539-E547-89D2-5F6A75254893}"/>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42" name="Line 13">
              <a:extLst>
                <a:ext uri="{FF2B5EF4-FFF2-40B4-BE49-F238E27FC236}">
                  <a16:creationId xmlns:a16="http://schemas.microsoft.com/office/drawing/2014/main" id="{242E0B58-E01B-8249-A9EF-FB29FDDF6B98}"/>
                </a:ext>
              </a:extLst>
            </p:cNvPr>
            <p:cNvSpPr>
              <a:spLocks noChangeShapeType="1"/>
            </p:cNvSpPr>
            <p:nvPr/>
          </p:nvSpPr>
          <p:spPr bwMode="auto">
            <a:xfrm>
              <a:off x="3874" y="4469918"/>
              <a:ext cx="8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43" name="Line 14">
              <a:extLst>
                <a:ext uri="{FF2B5EF4-FFF2-40B4-BE49-F238E27FC236}">
                  <a16:creationId xmlns:a16="http://schemas.microsoft.com/office/drawing/2014/main" id="{450BF87F-AB00-3840-A272-CEDE16B6B671}"/>
                </a:ext>
              </a:extLst>
            </p:cNvPr>
            <p:cNvSpPr>
              <a:spLocks noChangeShapeType="1"/>
            </p:cNvSpPr>
            <p:nvPr/>
          </p:nvSpPr>
          <p:spPr bwMode="auto">
            <a:xfrm>
              <a:off x="3923" y="4335680"/>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44" name="Line 15">
              <a:extLst>
                <a:ext uri="{FF2B5EF4-FFF2-40B4-BE49-F238E27FC236}">
                  <a16:creationId xmlns:a16="http://schemas.microsoft.com/office/drawing/2014/main" id="{864497AC-2698-124C-B259-E1E328B04FA6}"/>
                </a:ext>
              </a:extLst>
            </p:cNvPr>
            <p:cNvSpPr>
              <a:spLocks noChangeShapeType="1"/>
            </p:cNvSpPr>
            <p:nvPr/>
          </p:nvSpPr>
          <p:spPr bwMode="auto">
            <a:xfrm>
              <a:off x="3923" y="4379758"/>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45" name="Line 16">
              <a:extLst>
                <a:ext uri="{FF2B5EF4-FFF2-40B4-BE49-F238E27FC236}">
                  <a16:creationId xmlns:a16="http://schemas.microsoft.com/office/drawing/2014/main" id="{70EA48C4-25C6-B044-B9A2-A76AD4311647}"/>
                </a:ext>
              </a:extLst>
            </p:cNvPr>
            <p:cNvSpPr>
              <a:spLocks noChangeShapeType="1"/>
            </p:cNvSpPr>
            <p:nvPr/>
          </p:nvSpPr>
          <p:spPr bwMode="auto">
            <a:xfrm>
              <a:off x="3923" y="4425840"/>
              <a:ext cx="2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46" name="Line 17">
              <a:extLst>
                <a:ext uri="{FF2B5EF4-FFF2-40B4-BE49-F238E27FC236}">
                  <a16:creationId xmlns:a16="http://schemas.microsoft.com/office/drawing/2014/main" id="{4DAD2D03-9806-194B-A325-A04E492D4B56}"/>
                </a:ext>
              </a:extLst>
            </p:cNvPr>
            <p:cNvSpPr>
              <a:spLocks noChangeShapeType="1"/>
            </p:cNvSpPr>
            <p:nvPr/>
          </p:nvSpPr>
          <p:spPr bwMode="auto">
            <a:xfrm>
              <a:off x="3883" y="4291602"/>
              <a:ext cx="68"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grpSp>
      <p:cxnSp>
        <p:nvCxnSpPr>
          <p:cNvPr id="29" name="Straight Connector 28">
            <a:extLst>
              <a:ext uri="{FF2B5EF4-FFF2-40B4-BE49-F238E27FC236}">
                <a16:creationId xmlns:a16="http://schemas.microsoft.com/office/drawing/2014/main" id="{08520BCF-4966-E044-898C-5D305D837379}"/>
              </a:ext>
            </a:extLst>
          </p:cNvPr>
          <p:cNvCxnSpPr>
            <a:stCxn id="7" idx="2"/>
          </p:cNvCxnSpPr>
          <p:nvPr/>
        </p:nvCxnSpPr>
        <p:spPr>
          <a:xfrm flipH="1" flipV="1">
            <a:off x="3511849" y="4213763"/>
            <a:ext cx="1322337" cy="5985"/>
          </a:xfrm>
          <a:prstGeom prst="line">
            <a:avLst/>
          </a:prstGeom>
          <a:ln w="19050">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8" name="Right Bracket 57">
            <a:extLst>
              <a:ext uri="{FF2B5EF4-FFF2-40B4-BE49-F238E27FC236}">
                <a16:creationId xmlns:a16="http://schemas.microsoft.com/office/drawing/2014/main" id="{612C9922-8CC2-AB4B-A780-A98274E473FD}"/>
              </a:ext>
            </a:extLst>
          </p:cNvPr>
          <p:cNvSpPr/>
          <p:nvPr/>
        </p:nvSpPr>
        <p:spPr>
          <a:xfrm>
            <a:off x="3508647" y="3219467"/>
            <a:ext cx="670109" cy="1861345"/>
          </a:xfrm>
          <a:prstGeom prst="rightBracket">
            <a:avLst>
              <a:gd name="adj" fmla="val 0"/>
            </a:avLst>
          </a:prstGeom>
          <a:ln w="19050">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856120209"/>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750"/>
                            </p:stCondLst>
                            <p:childTnLst>
                              <p:par>
                                <p:cTn id="13" presetID="10" presetClass="entr" presetSubtype="0" fill="hold" grpId="0" nodeType="afterEffect">
                                  <p:stCondLst>
                                    <p:cond delay="0"/>
                                  </p:stCondLst>
                                  <p:childTnLst>
                                    <p:set>
                                      <p:cBhvr>
                                        <p:cTn id="14" dur="1" fill="hold">
                                          <p:stCondLst>
                                            <p:cond delay="0"/>
                                          </p:stCondLst>
                                        </p:cTn>
                                        <p:tgtEl>
                                          <p:spTgt spid="170"/>
                                        </p:tgtEl>
                                        <p:attrNameLst>
                                          <p:attrName>style.visibility</p:attrName>
                                        </p:attrNameLst>
                                      </p:cBhvr>
                                      <p:to>
                                        <p:strVal val="visible"/>
                                      </p:to>
                                    </p:set>
                                    <p:animEffect transition="in" filter="fade">
                                      <p:cBhvr>
                                        <p:cTn id="15" dur="250"/>
                                        <p:tgtEl>
                                          <p:spTgt spid="170"/>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171"/>
                                        </p:tgtEl>
                                        <p:attrNameLst>
                                          <p:attrName>style.visibility</p:attrName>
                                        </p:attrNameLst>
                                      </p:cBhvr>
                                      <p:to>
                                        <p:strVal val="visible"/>
                                      </p:to>
                                    </p:set>
                                    <p:animEffect transition="in" filter="fade">
                                      <p:cBhvr>
                                        <p:cTn id="19" dur="250"/>
                                        <p:tgtEl>
                                          <p:spTgt spid="171"/>
                                        </p:tgtEl>
                                      </p:cBhvr>
                                    </p:animEffect>
                                  </p:childTnLst>
                                </p:cTn>
                              </p:par>
                            </p:childTnLst>
                          </p:cTn>
                        </p:par>
                        <p:par>
                          <p:cTn id="20" fill="hold">
                            <p:stCondLst>
                              <p:cond delay="1250"/>
                            </p:stCondLst>
                            <p:childTnLst>
                              <p:par>
                                <p:cTn id="21" presetID="10" presetClass="entr" presetSubtype="0" fill="hold" grpId="0" nodeType="afterEffect">
                                  <p:stCondLst>
                                    <p:cond delay="0"/>
                                  </p:stCondLst>
                                  <p:childTnLst>
                                    <p:set>
                                      <p:cBhvr>
                                        <p:cTn id="22" dur="1" fill="hold">
                                          <p:stCondLst>
                                            <p:cond delay="0"/>
                                          </p:stCondLst>
                                        </p:cTn>
                                        <p:tgtEl>
                                          <p:spTgt spid="174"/>
                                        </p:tgtEl>
                                        <p:attrNameLst>
                                          <p:attrName>style.visibility</p:attrName>
                                        </p:attrNameLst>
                                      </p:cBhvr>
                                      <p:to>
                                        <p:strVal val="visible"/>
                                      </p:to>
                                    </p:set>
                                    <p:animEffect transition="in" filter="fade">
                                      <p:cBhvr>
                                        <p:cTn id="23" dur="500"/>
                                        <p:tgtEl>
                                          <p:spTgt spid="174"/>
                                        </p:tgtEl>
                                      </p:cBhvr>
                                    </p:animEffect>
                                  </p:childTnLst>
                                </p:cTn>
                              </p:par>
                            </p:childTnLst>
                          </p:cTn>
                        </p:par>
                        <p:par>
                          <p:cTn id="24" fill="hold">
                            <p:stCondLst>
                              <p:cond delay="1750"/>
                            </p:stCondLst>
                            <p:childTnLst>
                              <p:par>
                                <p:cTn id="25" presetID="10" presetClass="entr" presetSubtype="0" fill="hold" grpId="0" nodeType="afterEffect">
                                  <p:stCondLst>
                                    <p:cond delay="0"/>
                                  </p:stCondLst>
                                  <p:childTnLst>
                                    <p:set>
                                      <p:cBhvr>
                                        <p:cTn id="26" dur="1" fill="hold">
                                          <p:stCondLst>
                                            <p:cond delay="0"/>
                                          </p:stCondLst>
                                        </p:cTn>
                                        <p:tgtEl>
                                          <p:spTgt spid="173"/>
                                        </p:tgtEl>
                                        <p:attrNameLst>
                                          <p:attrName>style.visibility</p:attrName>
                                        </p:attrNameLst>
                                      </p:cBhvr>
                                      <p:to>
                                        <p:strVal val="visible"/>
                                      </p:to>
                                    </p:set>
                                    <p:animEffect transition="in" filter="fade">
                                      <p:cBhvr>
                                        <p:cTn id="27" dur="500"/>
                                        <p:tgtEl>
                                          <p:spTgt spid="1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74" grpId="0" animBg="1"/>
      <p:bldP spid="5" grpId="0" animBg="1"/>
      <p:bldP spid="170" grpId="0" animBg="1"/>
      <p:bldP spid="171" grpId="0" animBg="1"/>
      <p:bldP spid="17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1" name="Straight Connector 100">
            <a:extLst>
              <a:ext uri="{FF2B5EF4-FFF2-40B4-BE49-F238E27FC236}">
                <a16:creationId xmlns:a16="http://schemas.microsoft.com/office/drawing/2014/main" id="{B3BBDDC6-5FEE-4FCC-9A8B-8F576045E732}"/>
              </a:ext>
            </a:extLst>
          </p:cNvPr>
          <p:cNvCxnSpPr>
            <a:cxnSpLocks/>
          </p:cNvCxnSpPr>
          <p:nvPr/>
        </p:nvCxnSpPr>
        <p:spPr>
          <a:xfrm>
            <a:off x="6853749" y="3919127"/>
            <a:ext cx="1657343" cy="0"/>
          </a:xfrm>
          <a:prstGeom prst="line">
            <a:avLst/>
          </a:prstGeom>
          <a:ln w="1905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4865955D-FDFF-43C3-A44A-7D699C54F65F}"/>
              </a:ext>
            </a:extLst>
          </p:cNvPr>
          <p:cNvCxnSpPr>
            <a:cxnSpLocks/>
          </p:cNvCxnSpPr>
          <p:nvPr/>
        </p:nvCxnSpPr>
        <p:spPr>
          <a:xfrm>
            <a:off x="3835865" y="3919127"/>
            <a:ext cx="1375908" cy="0"/>
          </a:xfrm>
          <a:prstGeom prst="line">
            <a:avLst/>
          </a:prstGeom>
          <a:ln w="1905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67DC3B26-3D91-4987-8C18-EAF47B71F060}"/>
              </a:ext>
            </a:extLst>
          </p:cNvPr>
          <p:cNvSpPr/>
          <p:nvPr/>
        </p:nvSpPr>
        <p:spPr>
          <a:xfrm>
            <a:off x="4809351" y="4769848"/>
            <a:ext cx="2427369" cy="693970"/>
          </a:xfrm>
          <a:prstGeom prst="rect">
            <a:avLst/>
          </a:prstGeom>
        </p:spPr>
        <p:txBody>
          <a:bodyPr wrap="square">
            <a:spAutoFit/>
          </a:bodyPr>
          <a:lstStyle/>
          <a:p>
            <a:pPr marL="0" marR="0" lvl="0" indent="0" algn="ctr" defTabSz="931399" rtl="0" eaLnBrk="1" fontAlgn="auto" latinLnBrk="0" hangingPunct="1">
              <a:lnSpc>
                <a:spcPct val="100000"/>
              </a:lnSpc>
              <a:spcBef>
                <a:spcPts val="1000"/>
              </a:spcBef>
              <a:spcAft>
                <a:spcPts val="0"/>
              </a:spcAft>
              <a:buClrTx/>
              <a:buSzTx/>
              <a:buFontTx/>
              <a:buNone/>
              <a:tabLst/>
              <a:defRPr/>
            </a:pPr>
            <a:r>
              <a:rPr kumimoji="0" lang="en-US" sz="1961" b="0" i="0" u="none" strike="noStrike" kern="1200" cap="none" spc="0" normalizeH="0" baseline="0" noProof="0" dirty="0">
                <a:ln>
                  <a:noFill/>
                </a:ln>
                <a:solidFill>
                  <a:srgbClr val="0078D4"/>
                </a:solidFill>
                <a:effectLst/>
                <a:uLnTx/>
                <a:uFillTx/>
                <a:latin typeface="Segoe UI Semibold"/>
                <a:ea typeface="+mn-ea"/>
                <a:cs typeface="+mn-cs"/>
              </a:rPr>
              <a:t>Azure Machine Learning service</a:t>
            </a:r>
          </a:p>
        </p:txBody>
      </p:sp>
      <p:sp>
        <p:nvSpPr>
          <p:cNvPr id="2" name="Title 1">
            <a:extLst>
              <a:ext uri="{FF2B5EF4-FFF2-40B4-BE49-F238E27FC236}">
                <a16:creationId xmlns:a16="http://schemas.microsoft.com/office/drawing/2014/main" id="{B6FEE0EE-24D2-B945-B7D7-EC142204954D}"/>
              </a:ext>
            </a:extLst>
          </p:cNvPr>
          <p:cNvSpPr>
            <a:spLocks noGrp="1"/>
          </p:cNvSpPr>
          <p:nvPr>
            <p:ph type="title"/>
          </p:nvPr>
        </p:nvSpPr>
        <p:spPr/>
        <p:txBody>
          <a:bodyPr/>
          <a:lstStyle/>
          <a:p>
            <a:r>
              <a:rPr lang="en-US" dirty="0"/>
              <a:t>Azure Machine Learning service</a:t>
            </a:r>
          </a:p>
        </p:txBody>
      </p:sp>
      <p:sp>
        <p:nvSpPr>
          <p:cNvPr id="3" name="Text Placeholder 2">
            <a:extLst>
              <a:ext uri="{FF2B5EF4-FFF2-40B4-BE49-F238E27FC236}">
                <a16:creationId xmlns:a16="http://schemas.microsoft.com/office/drawing/2014/main" id="{DC43B8D9-0D1B-9C40-A287-A552FEE235E0}"/>
              </a:ext>
            </a:extLst>
          </p:cNvPr>
          <p:cNvSpPr>
            <a:spLocks noGrp="1"/>
          </p:cNvSpPr>
          <p:nvPr>
            <p:ph type="body" sz="quarter" idx="12"/>
          </p:nvPr>
        </p:nvSpPr>
        <p:spPr/>
        <p:txBody>
          <a:bodyPr/>
          <a:lstStyle/>
          <a:p>
            <a:r>
              <a:rPr lang="en-US" dirty="0"/>
              <a:t>Build and train models anywhere</a:t>
            </a:r>
          </a:p>
        </p:txBody>
      </p:sp>
      <p:grpSp>
        <p:nvGrpSpPr>
          <p:cNvPr id="20" name="Group 19">
            <a:extLst>
              <a:ext uri="{FF2B5EF4-FFF2-40B4-BE49-F238E27FC236}">
                <a16:creationId xmlns:a16="http://schemas.microsoft.com/office/drawing/2014/main" id="{89FEF42A-84A9-1B4F-AEA6-54991D115CA0}"/>
              </a:ext>
            </a:extLst>
          </p:cNvPr>
          <p:cNvGrpSpPr/>
          <p:nvPr/>
        </p:nvGrpSpPr>
        <p:grpSpPr>
          <a:xfrm>
            <a:off x="5313570" y="3160506"/>
            <a:ext cx="1418932" cy="1517242"/>
            <a:chOff x="8882196" y="3721867"/>
            <a:chExt cx="285941" cy="305752"/>
          </a:xfrm>
          <a:solidFill>
            <a:schemeClr val="bg1"/>
          </a:solidFill>
        </p:grpSpPr>
        <p:sp>
          <p:nvSpPr>
            <p:cNvPr id="21" name="Rectangle 20">
              <a:extLst>
                <a:ext uri="{FF2B5EF4-FFF2-40B4-BE49-F238E27FC236}">
                  <a16:creationId xmlns:a16="http://schemas.microsoft.com/office/drawing/2014/main" id="{3A4D787F-5665-314A-99B5-498CBF0A7DAC}"/>
                </a:ext>
              </a:extLst>
            </p:cNvPr>
            <p:cNvSpPr/>
            <p:nvPr/>
          </p:nvSpPr>
          <p:spPr bwMode="auto">
            <a:xfrm>
              <a:off x="8901347" y="3950022"/>
              <a:ext cx="247639" cy="77597"/>
            </a:xfrm>
            <a:prstGeom prst="rect">
              <a:avLst/>
            </a:prstGeom>
            <a:grp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Freeform 123">
              <a:extLst>
                <a:ext uri="{FF2B5EF4-FFF2-40B4-BE49-F238E27FC236}">
                  <a16:creationId xmlns:a16="http://schemas.microsoft.com/office/drawing/2014/main" id="{2AE2204A-03D6-584A-8A11-9615B4E75C66}"/>
                </a:ext>
              </a:extLst>
            </p:cNvPr>
            <p:cNvSpPr/>
            <p:nvPr/>
          </p:nvSpPr>
          <p:spPr bwMode="auto">
            <a:xfrm>
              <a:off x="8882196" y="3721867"/>
              <a:ext cx="180942" cy="305752"/>
            </a:xfrm>
            <a:custGeom>
              <a:avLst/>
              <a:gdLst>
                <a:gd name="connsiteX0" fmla="*/ 1641764 w 2847109"/>
                <a:gd name="connsiteY0" fmla="*/ 0 h 4810991"/>
                <a:gd name="connsiteX1" fmla="*/ 2847109 w 2847109"/>
                <a:gd name="connsiteY1" fmla="*/ 0 h 4810991"/>
                <a:gd name="connsiteX2" fmla="*/ 2847109 w 2847109"/>
                <a:gd name="connsiteY2" fmla="*/ 1797627 h 4810991"/>
                <a:gd name="connsiteX3" fmla="*/ 290946 w 2847109"/>
                <a:gd name="connsiteY3" fmla="*/ 4810991 h 4810991"/>
                <a:gd name="connsiteX4" fmla="*/ 0 w 2847109"/>
                <a:gd name="connsiteY4" fmla="*/ 3647209 h 4810991"/>
                <a:gd name="connsiteX5" fmla="*/ 1662546 w 2847109"/>
                <a:gd name="connsiteY5" fmla="*/ 1787236 h 4810991"/>
                <a:gd name="connsiteX6" fmla="*/ 1641764 w 2847109"/>
                <a:gd name="connsiteY6" fmla="*/ 0 h 481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7109" h="4810991">
                  <a:moveTo>
                    <a:pt x="1641764" y="0"/>
                  </a:moveTo>
                  <a:lnTo>
                    <a:pt x="2847109" y="0"/>
                  </a:lnTo>
                  <a:lnTo>
                    <a:pt x="2847109" y="1797627"/>
                  </a:lnTo>
                  <a:lnTo>
                    <a:pt x="290946" y="4810991"/>
                  </a:lnTo>
                  <a:lnTo>
                    <a:pt x="0" y="3647209"/>
                  </a:lnTo>
                  <a:lnTo>
                    <a:pt x="1662546" y="1787236"/>
                  </a:lnTo>
                  <a:lnTo>
                    <a:pt x="1641764" y="0"/>
                  </a:lnTo>
                  <a:close/>
                </a:path>
              </a:pathLst>
            </a:custGeom>
            <a:grp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Freeform 124">
              <a:extLst>
                <a:ext uri="{FF2B5EF4-FFF2-40B4-BE49-F238E27FC236}">
                  <a16:creationId xmlns:a16="http://schemas.microsoft.com/office/drawing/2014/main" id="{96BCAD42-AA72-C84E-9DB4-B11EC47D6E99}"/>
                </a:ext>
              </a:extLst>
            </p:cNvPr>
            <p:cNvSpPr/>
            <p:nvPr/>
          </p:nvSpPr>
          <p:spPr bwMode="auto">
            <a:xfrm>
              <a:off x="9035402" y="3857904"/>
              <a:ext cx="132735" cy="169715"/>
            </a:xfrm>
            <a:custGeom>
              <a:avLst/>
              <a:gdLst>
                <a:gd name="connsiteX0" fmla="*/ 0 w 2088573"/>
                <a:gd name="connsiteY0" fmla="*/ 883227 h 2670464"/>
                <a:gd name="connsiteX1" fmla="*/ 737755 w 2088573"/>
                <a:gd name="connsiteY1" fmla="*/ 0 h 2670464"/>
                <a:gd name="connsiteX2" fmla="*/ 2088573 w 2088573"/>
                <a:gd name="connsiteY2" fmla="*/ 1517073 h 2670464"/>
                <a:gd name="connsiteX3" fmla="*/ 1797627 w 2088573"/>
                <a:gd name="connsiteY3" fmla="*/ 2670464 h 2670464"/>
                <a:gd name="connsiteX4" fmla="*/ 0 w 2088573"/>
                <a:gd name="connsiteY4" fmla="*/ 883227 h 2670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573" h="2670464">
                  <a:moveTo>
                    <a:pt x="0" y="883227"/>
                  </a:moveTo>
                  <a:lnTo>
                    <a:pt x="737755" y="0"/>
                  </a:lnTo>
                  <a:lnTo>
                    <a:pt x="2088573" y="1517073"/>
                  </a:lnTo>
                  <a:lnTo>
                    <a:pt x="1797627" y="2670464"/>
                  </a:lnTo>
                  <a:lnTo>
                    <a:pt x="0" y="883227"/>
                  </a:lnTo>
                  <a:close/>
                </a:path>
              </a:pathLst>
            </a:custGeom>
            <a:grp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 name="Group 9">
            <a:extLst>
              <a:ext uri="{FF2B5EF4-FFF2-40B4-BE49-F238E27FC236}">
                <a16:creationId xmlns:a16="http://schemas.microsoft.com/office/drawing/2014/main" id="{5C56304D-ECFF-7849-9073-F34B0E9DF6C5}"/>
              </a:ext>
            </a:extLst>
          </p:cNvPr>
          <p:cNvGrpSpPr/>
          <p:nvPr/>
        </p:nvGrpSpPr>
        <p:grpSpPr>
          <a:xfrm>
            <a:off x="1063275" y="2793919"/>
            <a:ext cx="2513528" cy="2241216"/>
            <a:chOff x="765544" y="2860000"/>
            <a:chExt cx="2563929" cy="2286157"/>
          </a:xfrm>
        </p:grpSpPr>
        <p:sp>
          <p:nvSpPr>
            <p:cNvPr id="7" name="Rectangle 6">
              <a:extLst>
                <a:ext uri="{FF2B5EF4-FFF2-40B4-BE49-F238E27FC236}">
                  <a16:creationId xmlns:a16="http://schemas.microsoft.com/office/drawing/2014/main" id="{8524270F-6BFF-0443-B69C-3F0250F8ACE6}"/>
                </a:ext>
              </a:extLst>
            </p:cNvPr>
            <p:cNvSpPr/>
            <p:nvPr/>
          </p:nvSpPr>
          <p:spPr bwMode="auto">
            <a:xfrm>
              <a:off x="765544" y="2860000"/>
              <a:ext cx="2563929" cy="4470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auto" latinLnBrk="0" hangingPunct="1">
                <a:lnSpc>
                  <a:spcPct val="100000"/>
                </a:lnSpc>
                <a:spcBef>
                  <a:spcPts val="1000"/>
                </a:spcBef>
                <a:spcAft>
                  <a:spcPts val="0"/>
                </a:spcAft>
                <a:buClrTx/>
                <a:buSzTx/>
                <a:buFontTx/>
                <a:buNone/>
                <a:tabLst/>
                <a:defRPr/>
              </a:pPr>
              <a:r>
                <a:rPr kumimoji="0" lang="en-US" sz="1372" b="0" i="0" u="none" strike="noStrike" kern="1200" cap="none" spc="0" normalizeH="0" baseline="0" noProof="0" dirty="0">
                  <a:ln>
                    <a:noFill/>
                  </a:ln>
                  <a:solidFill>
                    <a:prstClr val="white"/>
                  </a:solidFill>
                  <a:effectLst/>
                  <a:uLnTx/>
                  <a:uFillTx/>
                  <a:latin typeface="Segoe UI"/>
                  <a:ea typeface="+mn-ea"/>
                  <a:cs typeface="+mn-cs"/>
                </a:rPr>
                <a:t>Machine Learning CLI</a:t>
              </a:r>
            </a:p>
          </p:txBody>
        </p:sp>
        <p:sp>
          <p:nvSpPr>
            <p:cNvPr id="25" name="Rectangle 24">
              <a:extLst>
                <a:ext uri="{FF2B5EF4-FFF2-40B4-BE49-F238E27FC236}">
                  <a16:creationId xmlns:a16="http://schemas.microsoft.com/office/drawing/2014/main" id="{BACC4C14-3FA5-044D-90EA-F7A290835652}"/>
                </a:ext>
              </a:extLst>
            </p:cNvPr>
            <p:cNvSpPr/>
            <p:nvPr/>
          </p:nvSpPr>
          <p:spPr bwMode="auto">
            <a:xfrm>
              <a:off x="765544" y="3473035"/>
              <a:ext cx="2563929" cy="4470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auto" latinLnBrk="0" hangingPunct="1">
                <a:lnSpc>
                  <a:spcPct val="100000"/>
                </a:lnSpc>
                <a:spcBef>
                  <a:spcPts val="1000"/>
                </a:spcBef>
                <a:spcAft>
                  <a:spcPts val="0"/>
                </a:spcAft>
                <a:buClrTx/>
                <a:buSzTx/>
                <a:buFontTx/>
                <a:buNone/>
                <a:tabLst/>
                <a:defRPr/>
              </a:pPr>
              <a:r>
                <a:rPr kumimoji="0" lang="en-US" sz="1372" b="0" i="0" u="none" strike="noStrike" kern="1200" cap="none" spc="0" normalizeH="0" baseline="0" noProof="0" dirty="0">
                  <a:ln>
                    <a:noFill/>
                  </a:ln>
                  <a:solidFill>
                    <a:prstClr val="white"/>
                  </a:solidFill>
                  <a:effectLst/>
                  <a:uLnTx/>
                  <a:uFillTx/>
                  <a:latin typeface="Segoe UI"/>
                  <a:ea typeface="+mn-ea"/>
                  <a:cs typeface="+mn-cs"/>
                </a:rPr>
                <a:t>VS Code ML extension</a:t>
              </a:r>
            </a:p>
          </p:txBody>
        </p:sp>
        <p:sp>
          <p:nvSpPr>
            <p:cNvPr id="26" name="Rectangle 25">
              <a:extLst>
                <a:ext uri="{FF2B5EF4-FFF2-40B4-BE49-F238E27FC236}">
                  <a16:creationId xmlns:a16="http://schemas.microsoft.com/office/drawing/2014/main" id="{835B4E52-A317-394C-B0E9-B494C2311911}"/>
                </a:ext>
              </a:extLst>
            </p:cNvPr>
            <p:cNvSpPr/>
            <p:nvPr/>
          </p:nvSpPr>
          <p:spPr bwMode="auto">
            <a:xfrm>
              <a:off x="765544" y="4086069"/>
              <a:ext cx="2563929" cy="4470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auto" latinLnBrk="0" hangingPunct="1">
                <a:lnSpc>
                  <a:spcPct val="100000"/>
                </a:lnSpc>
                <a:spcBef>
                  <a:spcPts val="1000"/>
                </a:spcBef>
                <a:spcAft>
                  <a:spcPts val="0"/>
                </a:spcAft>
                <a:buClrTx/>
                <a:buSzTx/>
                <a:buFontTx/>
                <a:buNone/>
                <a:tabLst/>
                <a:defRPr/>
              </a:pPr>
              <a:r>
                <a:rPr kumimoji="0" lang="en-US" sz="1372" b="0" i="0" u="none" strike="noStrike" kern="1200" cap="none" spc="0" normalizeH="0" baseline="0" noProof="0" dirty="0">
                  <a:ln>
                    <a:noFill/>
                  </a:ln>
                  <a:solidFill>
                    <a:prstClr val="white"/>
                  </a:solidFill>
                  <a:effectLst/>
                  <a:uLnTx/>
                  <a:uFillTx/>
                  <a:latin typeface="Segoe UI"/>
                  <a:ea typeface="+mn-ea"/>
                  <a:cs typeface="+mn-cs"/>
                </a:rPr>
                <a:t>Notebooks</a:t>
              </a:r>
            </a:p>
          </p:txBody>
        </p:sp>
        <p:sp>
          <p:nvSpPr>
            <p:cNvPr id="27" name="Rectangle 26">
              <a:extLst>
                <a:ext uri="{FF2B5EF4-FFF2-40B4-BE49-F238E27FC236}">
                  <a16:creationId xmlns:a16="http://schemas.microsoft.com/office/drawing/2014/main" id="{1FC45532-64AC-BD44-814A-4DBDDB555B87}"/>
                </a:ext>
              </a:extLst>
            </p:cNvPr>
            <p:cNvSpPr/>
            <p:nvPr/>
          </p:nvSpPr>
          <p:spPr bwMode="auto">
            <a:xfrm>
              <a:off x="765544" y="4699103"/>
              <a:ext cx="2563929" cy="4470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auto" latinLnBrk="0" hangingPunct="1">
                <a:lnSpc>
                  <a:spcPct val="100000"/>
                </a:lnSpc>
                <a:spcBef>
                  <a:spcPts val="1000"/>
                </a:spcBef>
                <a:spcAft>
                  <a:spcPts val="0"/>
                </a:spcAft>
                <a:buClrTx/>
                <a:buSzTx/>
                <a:buFontTx/>
                <a:buNone/>
                <a:tabLst/>
                <a:defRPr/>
              </a:pPr>
              <a:r>
                <a:rPr kumimoji="0" lang="en-US" sz="1372" b="0" i="0" u="none" strike="noStrike" kern="1200" cap="none" spc="0" normalizeH="0" baseline="0" noProof="0" dirty="0">
                  <a:ln>
                    <a:noFill/>
                  </a:ln>
                  <a:solidFill>
                    <a:prstClr val="white"/>
                  </a:solidFill>
                  <a:effectLst/>
                  <a:uLnTx/>
                  <a:uFillTx/>
                  <a:latin typeface="Segoe UI"/>
                  <a:ea typeface="+mn-ea"/>
                  <a:cs typeface="+mn-cs"/>
                </a:rPr>
                <a:t>Open source Python IDEs</a:t>
              </a:r>
            </a:p>
          </p:txBody>
        </p:sp>
      </p:grpSp>
      <p:grpSp>
        <p:nvGrpSpPr>
          <p:cNvPr id="9" name="Group 8">
            <a:extLst>
              <a:ext uri="{FF2B5EF4-FFF2-40B4-BE49-F238E27FC236}">
                <a16:creationId xmlns:a16="http://schemas.microsoft.com/office/drawing/2014/main" id="{C8B9B841-790A-DD4C-A548-E10F833DC5C3}"/>
              </a:ext>
            </a:extLst>
          </p:cNvPr>
          <p:cNvGrpSpPr/>
          <p:nvPr/>
        </p:nvGrpSpPr>
        <p:grpSpPr>
          <a:xfrm>
            <a:off x="8595465" y="3099011"/>
            <a:ext cx="2513528" cy="1640233"/>
            <a:chOff x="9219431" y="2761796"/>
            <a:chExt cx="2563929" cy="1673123"/>
          </a:xfrm>
        </p:grpSpPr>
        <p:sp>
          <p:nvSpPr>
            <p:cNvPr id="28" name="Rectangle 27">
              <a:extLst>
                <a:ext uri="{FF2B5EF4-FFF2-40B4-BE49-F238E27FC236}">
                  <a16:creationId xmlns:a16="http://schemas.microsoft.com/office/drawing/2014/main" id="{C5D86D2E-FC5A-7346-A23F-C40B7E5310A8}"/>
                </a:ext>
              </a:extLst>
            </p:cNvPr>
            <p:cNvSpPr/>
            <p:nvPr/>
          </p:nvSpPr>
          <p:spPr bwMode="auto">
            <a:xfrm>
              <a:off x="9219431" y="2761796"/>
              <a:ext cx="2563929" cy="4470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auto" latinLnBrk="0" hangingPunct="1">
                <a:lnSpc>
                  <a:spcPct val="90000"/>
                </a:lnSpc>
                <a:spcBef>
                  <a:spcPts val="1000"/>
                </a:spcBef>
                <a:spcAft>
                  <a:spcPts val="0"/>
                </a:spcAft>
                <a:buClrTx/>
                <a:buSzTx/>
                <a:buFontTx/>
                <a:buNone/>
                <a:tabLst/>
                <a:defRPr/>
              </a:pPr>
              <a:r>
                <a:rPr kumimoji="0" lang="en-US" sz="1372" b="0" i="0" u="none" strike="noStrike" kern="1200" cap="none" spc="0" normalizeH="0" baseline="0" noProof="0" dirty="0">
                  <a:ln>
                    <a:noFill/>
                  </a:ln>
                  <a:solidFill>
                    <a:prstClr val="white"/>
                  </a:solidFill>
                  <a:effectLst/>
                  <a:uLnTx/>
                  <a:uFillTx/>
                  <a:latin typeface="Segoe UI"/>
                  <a:ea typeface="+mn-ea"/>
                  <a:cs typeface="+mn-cs"/>
                </a:rPr>
                <a:t>Local machine</a:t>
              </a:r>
            </a:p>
          </p:txBody>
        </p:sp>
        <p:sp>
          <p:nvSpPr>
            <p:cNvPr id="29" name="Rectangle 28">
              <a:extLst>
                <a:ext uri="{FF2B5EF4-FFF2-40B4-BE49-F238E27FC236}">
                  <a16:creationId xmlns:a16="http://schemas.microsoft.com/office/drawing/2014/main" id="{83A8FB96-E008-B844-B580-93FD4A20380A}"/>
                </a:ext>
              </a:extLst>
            </p:cNvPr>
            <p:cNvSpPr/>
            <p:nvPr/>
          </p:nvSpPr>
          <p:spPr bwMode="auto">
            <a:xfrm>
              <a:off x="9219431" y="3374831"/>
              <a:ext cx="2563929" cy="4470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marL="0" marR="0" lvl="0" indent="0" algn="ctr" defTabSz="913523" rtl="0" eaLnBrk="1" fontAlgn="auto" latinLnBrk="0" hangingPunct="1">
                <a:lnSpc>
                  <a:spcPct val="80000"/>
                </a:lnSpc>
                <a:spcBef>
                  <a:spcPts val="0"/>
                </a:spcBef>
                <a:spcAft>
                  <a:spcPts val="0"/>
                </a:spcAft>
                <a:buClrTx/>
                <a:buSzTx/>
                <a:buFontTx/>
                <a:buNone/>
                <a:tabLst/>
                <a:defRPr/>
              </a:pPr>
              <a:r>
                <a:rPr kumimoji="0" lang="en-US" sz="1372" b="0" i="0" u="none" strike="noStrike" kern="1200" cap="none" spc="0" normalizeH="0" baseline="0" noProof="0" dirty="0">
                  <a:ln>
                    <a:noFill/>
                  </a:ln>
                  <a:solidFill>
                    <a:prstClr val="white"/>
                  </a:solidFill>
                  <a:effectLst/>
                  <a:uLnTx/>
                  <a:uFillTx/>
                  <a:latin typeface="Segoe UI"/>
                  <a:ea typeface="+mn-ea"/>
                  <a:cs typeface="+mn-cs"/>
                </a:rPr>
                <a:t>Scale out with </a:t>
              </a:r>
              <a:br>
                <a:rPr kumimoji="0" lang="en-US" sz="1372" b="0" i="0" u="none" strike="noStrike" kern="1200" cap="none" spc="0" normalizeH="0" baseline="0" noProof="0" dirty="0">
                  <a:ln>
                    <a:noFill/>
                  </a:ln>
                  <a:solidFill>
                    <a:prstClr val="white"/>
                  </a:solidFill>
                  <a:effectLst/>
                  <a:uLnTx/>
                  <a:uFillTx/>
                  <a:latin typeface="Segoe UI"/>
                  <a:ea typeface="+mn-ea"/>
                  <a:cs typeface="+mn-cs"/>
                </a:rPr>
              </a:br>
              <a:r>
                <a:rPr kumimoji="0" lang="en-US" sz="1372" b="0" i="0" u="none" strike="noStrike" kern="1200" cap="none" spc="0" normalizeH="0" baseline="0" noProof="0" dirty="0">
                  <a:ln>
                    <a:noFill/>
                  </a:ln>
                  <a:solidFill>
                    <a:prstClr val="white"/>
                  </a:solidFill>
                  <a:effectLst/>
                  <a:uLnTx/>
                  <a:uFillTx/>
                  <a:latin typeface="Segoe UI"/>
                  <a:ea typeface="+mn-ea"/>
                  <a:cs typeface="+mn-cs"/>
                </a:rPr>
                <a:t>Azure ML compute</a:t>
              </a:r>
            </a:p>
          </p:txBody>
        </p:sp>
        <p:sp>
          <p:nvSpPr>
            <p:cNvPr id="30" name="Rectangle 29">
              <a:extLst>
                <a:ext uri="{FF2B5EF4-FFF2-40B4-BE49-F238E27FC236}">
                  <a16:creationId xmlns:a16="http://schemas.microsoft.com/office/drawing/2014/main" id="{787BDF66-9226-FC41-87EC-0AEBC33D641B}"/>
                </a:ext>
              </a:extLst>
            </p:cNvPr>
            <p:cNvSpPr/>
            <p:nvPr/>
          </p:nvSpPr>
          <p:spPr bwMode="auto">
            <a:xfrm>
              <a:off x="9219431" y="3987865"/>
              <a:ext cx="2563929" cy="4470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auto" latinLnBrk="0" hangingPunct="1">
                <a:lnSpc>
                  <a:spcPct val="90000"/>
                </a:lnSpc>
                <a:spcBef>
                  <a:spcPts val="1000"/>
                </a:spcBef>
                <a:spcAft>
                  <a:spcPts val="0"/>
                </a:spcAft>
                <a:buClrTx/>
                <a:buSzTx/>
                <a:buFontTx/>
                <a:buNone/>
                <a:tabLst/>
                <a:defRPr/>
              </a:pPr>
              <a:r>
                <a:rPr kumimoji="0" lang="en-US" sz="1372" b="0" i="0" u="none" strike="noStrike" kern="1200" cap="none" spc="0" normalizeH="0" baseline="0" noProof="0" dirty="0">
                  <a:ln>
                    <a:noFill/>
                  </a:ln>
                  <a:solidFill>
                    <a:prstClr val="white"/>
                  </a:solidFill>
                  <a:effectLst/>
                  <a:uLnTx/>
                  <a:uFillTx/>
                  <a:latin typeface="Segoe UI"/>
                  <a:ea typeface="+mn-ea"/>
                  <a:cs typeface="+mn-cs"/>
                </a:rPr>
                <a:t>Scale out with Apache Spark</a:t>
              </a:r>
            </a:p>
          </p:txBody>
        </p:sp>
      </p:grpSp>
      <p:sp>
        <p:nvSpPr>
          <p:cNvPr id="11" name="Right Bracket 10">
            <a:extLst>
              <a:ext uri="{FF2B5EF4-FFF2-40B4-BE49-F238E27FC236}">
                <a16:creationId xmlns:a16="http://schemas.microsoft.com/office/drawing/2014/main" id="{80B145D7-A67E-FF4C-BAE6-6DA423730670}"/>
              </a:ext>
            </a:extLst>
          </p:cNvPr>
          <p:cNvSpPr/>
          <p:nvPr/>
        </p:nvSpPr>
        <p:spPr>
          <a:xfrm>
            <a:off x="3722866" y="2616796"/>
            <a:ext cx="113691" cy="2595463"/>
          </a:xfrm>
          <a:prstGeom prst="rightBracket">
            <a:avLst>
              <a:gd name="adj" fmla="val 0"/>
            </a:avLst>
          </a:prstGeom>
          <a:ln w="19050">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7" name="Right Bracket 36">
            <a:extLst>
              <a:ext uri="{FF2B5EF4-FFF2-40B4-BE49-F238E27FC236}">
                <a16:creationId xmlns:a16="http://schemas.microsoft.com/office/drawing/2014/main" id="{DE89A5CE-1127-6340-8D05-B0C3F1ABC907}"/>
              </a:ext>
            </a:extLst>
          </p:cNvPr>
          <p:cNvSpPr/>
          <p:nvPr/>
        </p:nvSpPr>
        <p:spPr>
          <a:xfrm rot="10800000">
            <a:off x="8209515" y="3319780"/>
            <a:ext cx="290915" cy="1198695"/>
          </a:xfrm>
          <a:prstGeom prst="rightBracket">
            <a:avLst>
              <a:gd name="adj" fmla="val 0"/>
            </a:avLst>
          </a:prstGeom>
          <a:ln w="19050">
            <a:solidFill>
              <a:schemeClr val="tx2"/>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151998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6DA8C529-DA21-48E3-B6BD-E1C2049ADD9B}"/>
              </a:ext>
            </a:extLst>
          </p:cNvPr>
          <p:cNvCxnSpPr>
            <a:cxnSpLocks/>
          </p:cNvCxnSpPr>
          <p:nvPr/>
        </p:nvCxnSpPr>
        <p:spPr>
          <a:xfrm flipV="1">
            <a:off x="3152872" y="4010420"/>
            <a:ext cx="1868331" cy="1216"/>
          </a:xfrm>
          <a:prstGeom prst="line">
            <a:avLst/>
          </a:prstGeom>
          <a:ln w="1905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ABC3E16B-3AB4-A14D-8CD4-673545AB6149}"/>
              </a:ext>
            </a:extLst>
          </p:cNvPr>
          <p:cNvSpPr>
            <a:spLocks noGrp="1"/>
          </p:cNvSpPr>
          <p:nvPr>
            <p:ph type="title"/>
          </p:nvPr>
        </p:nvSpPr>
        <p:spPr/>
        <p:txBody>
          <a:bodyPr/>
          <a:lstStyle/>
          <a:p>
            <a:r>
              <a:rPr lang="en-US" dirty="0"/>
              <a:t>Building your own AI models</a:t>
            </a:r>
          </a:p>
        </p:txBody>
      </p:sp>
      <p:sp>
        <p:nvSpPr>
          <p:cNvPr id="8" name="Text Placeholder 7">
            <a:extLst>
              <a:ext uri="{FF2B5EF4-FFF2-40B4-BE49-F238E27FC236}">
                <a16:creationId xmlns:a16="http://schemas.microsoft.com/office/drawing/2014/main" id="{A6A0D912-DD6C-9344-AC2D-F27B17E5A749}"/>
              </a:ext>
            </a:extLst>
          </p:cNvPr>
          <p:cNvSpPr>
            <a:spLocks noGrp="1"/>
          </p:cNvSpPr>
          <p:nvPr>
            <p:ph type="body" sz="quarter" idx="12"/>
          </p:nvPr>
        </p:nvSpPr>
        <p:spPr/>
        <p:txBody>
          <a:bodyPr/>
          <a:lstStyle/>
          <a:p>
            <a:r>
              <a:rPr lang="en-US" b="1" dirty="0">
                <a:latin typeface="Segoe UI Semibold" panose="020B0502040204020203" pitchFamily="34" charset="0"/>
                <a:cs typeface="Segoe UI Semibold" panose="020B0502040204020203" pitchFamily="34" charset="0"/>
              </a:rPr>
              <a:t>Step 2: </a:t>
            </a:r>
            <a:r>
              <a:rPr lang="en-US" dirty="0"/>
              <a:t>Build and train</a:t>
            </a:r>
          </a:p>
        </p:txBody>
      </p:sp>
      <p:sp>
        <p:nvSpPr>
          <p:cNvPr id="29" name="Oval 28">
            <a:extLst>
              <a:ext uri="{FF2B5EF4-FFF2-40B4-BE49-F238E27FC236}">
                <a16:creationId xmlns:a16="http://schemas.microsoft.com/office/drawing/2014/main" id="{C9058876-5599-6446-A754-019BEF5F775B}"/>
              </a:ext>
            </a:extLst>
          </p:cNvPr>
          <p:cNvSpPr/>
          <p:nvPr/>
        </p:nvSpPr>
        <p:spPr bwMode="auto">
          <a:xfrm>
            <a:off x="659437" y="2749821"/>
            <a:ext cx="2523629" cy="2523629"/>
          </a:xfrm>
          <a:prstGeom prst="ellipse">
            <a:avLst/>
          </a:prstGeom>
          <a:solidFill>
            <a:schemeClr val="accent5"/>
          </a:solid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0" name="Rectangle 29">
            <a:extLst>
              <a:ext uri="{FF2B5EF4-FFF2-40B4-BE49-F238E27FC236}">
                <a16:creationId xmlns:a16="http://schemas.microsoft.com/office/drawing/2014/main" id="{17103F03-82E8-0344-B9D2-DD070B647C1F}"/>
              </a:ext>
            </a:extLst>
          </p:cNvPr>
          <p:cNvSpPr/>
          <p:nvPr/>
        </p:nvSpPr>
        <p:spPr bwMode="auto">
          <a:xfrm>
            <a:off x="560870" y="4329433"/>
            <a:ext cx="2717648" cy="8292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Model</a:t>
            </a:r>
          </a:p>
        </p:txBody>
      </p:sp>
      <p:grpSp>
        <p:nvGrpSpPr>
          <p:cNvPr id="31" name="Group 11">
            <a:extLst>
              <a:ext uri="{FF2B5EF4-FFF2-40B4-BE49-F238E27FC236}">
                <a16:creationId xmlns:a16="http://schemas.microsoft.com/office/drawing/2014/main" id="{5DD05E5F-5DA4-FB45-81B2-6F3C3A4AEDE9}"/>
              </a:ext>
            </a:extLst>
          </p:cNvPr>
          <p:cNvGrpSpPr>
            <a:grpSpLocks noChangeAspect="1"/>
          </p:cNvGrpSpPr>
          <p:nvPr/>
        </p:nvGrpSpPr>
        <p:grpSpPr bwMode="auto">
          <a:xfrm>
            <a:off x="1425914" y="3220888"/>
            <a:ext cx="987562" cy="1075741"/>
            <a:chOff x="3861" y="4291602"/>
            <a:chExt cx="112" cy="244433"/>
          </a:xfrm>
        </p:grpSpPr>
        <p:sp>
          <p:nvSpPr>
            <p:cNvPr id="32" name="Freeform 12">
              <a:extLst>
                <a:ext uri="{FF2B5EF4-FFF2-40B4-BE49-F238E27FC236}">
                  <a16:creationId xmlns:a16="http://schemas.microsoft.com/office/drawing/2014/main" id="{BAD9B2B5-DD1D-394D-A53B-A78CB603A74D}"/>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33" name="Line 13">
              <a:extLst>
                <a:ext uri="{FF2B5EF4-FFF2-40B4-BE49-F238E27FC236}">
                  <a16:creationId xmlns:a16="http://schemas.microsoft.com/office/drawing/2014/main" id="{472201AF-0D59-D443-8F7E-1D5CE4F1BA6F}"/>
                </a:ext>
              </a:extLst>
            </p:cNvPr>
            <p:cNvSpPr>
              <a:spLocks noChangeShapeType="1"/>
            </p:cNvSpPr>
            <p:nvPr/>
          </p:nvSpPr>
          <p:spPr bwMode="auto">
            <a:xfrm>
              <a:off x="3874" y="4469918"/>
              <a:ext cx="8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34" name="Line 14">
              <a:extLst>
                <a:ext uri="{FF2B5EF4-FFF2-40B4-BE49-F238E27FC236}">
                  <a16:creationId xmlns:a16="http://schemas.microsoft.com/office/drawing/2014/main" id="{AC5F0F42-CF6B-5645-B764-BFBD79136A8F}"/>
                </a:ext>
              </a:extLst>
            </p:cNvPr>
            <p:cNvSpPr>
              <a:spLocks noChangeShapeType="1"/>
            </p:cNvSpPr>
            <p:nvPr/>
          </p:nvSpPr>
          <p:spPr bwMode="auto">
            <a:xfrm>
              <a:off x="3923" y="4335680"/>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35" name="Line 15">
              <a:extLst>
                <a:ext uri="{FF2B5EF4-FFF2-40B4-BE49-F238E27FC236}">
                  <a16:creationId xmlns:a16="http://schemas.microsoft.com/office/drawing/2014/main" id="{04294FEF-B5D3-EF4C-9977-D87DE61677A6}"/>
                </a:ext>
              </a:extLst>
            </p:cNvPr>
            <p:cNvSpPr>
              <a:spLocks noChangeShapeType="1"/>
            </p:cNvSpPr>
            <p:nvPr/>
          </p:nvSpPr>
          <p:spPr bwMode="auto">
            <a:xfrm>
              <a:off x="3923" y="4379758"/>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36" name="Line 16">
              <a:extLst>
                <a:ext uri="{FF2B5EF4-FFF2-40B4-BE49-F238E27FC236}">
                  <a16:creationId xmlns:a16="http://schemas.microsoft.com/office/drawing/2014/main" id="{CCBB0163-4F60-2C42-AF54-B28DF4F5C5D3}"/>
                </a:ext>
              </a:extLst>
            </p:cNvPr>
            <p:cNvSpPr>
              <a:spLocks noChangeShapeType="1"/>
            </p:cNvSpPr>
            <p:nvPr/>
          </p:nvSpPr>
          <p:spPr bwMode="auto">
            <a:xfrm>
              <a:off x="3923" y="4425840"/>
              <a:ext cx="2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37" name="Line 17">
              <a:extLst>
                <a:ext uri="{FF2B5EF4-FFF2-40B4-BE49-F238E27FC236}">
                  <a16:creationId xmlns:a16="http://schemas.microsoft.com/office/drawing/2014/main" id="{D6AA55D1-377B-C84A-84F4-E4FC69775C90}"/>
                </a:ext>
              </a:extLst>
            </p:cNvPr>
            <p:cNvSpPr>
              <a:spLocks noChangeShapeType="1"/>
            </p:cNvSpPr>
            <p:nvPr/>
          </p:nvSpPr>
          <p:spPr bwMode="auto">
            <a:xfrm>
              <a:off x="3883" y="4291602"/>
              <a:ext cx="68"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20" name="Freeform 19">
            <a:extLst>
              <a:ext uri="{FF2B5EF4-FFF2-40B4-BE49-F238E27FC236}">
                <a16:creationId xmlns:a16="http://schemas.microsoft.com/office/drawing/2014/main" id="{0B34FA62-271A-2043-9149-9BE1AABD3948}"/>
              </a:ext>
            </a:extLst>
          </p:cNvPr>
          <p:cNvSpPr/>
          <p:nvPr/>
        </p:nvSpPr>
        <p:spPr bwMode="auto">
          <a:xfrm>
            <a:off x="6518670" y="3235860"/>
            <a:ext cx="3987544" cy="1864976"/>
          </a:xfrm>
          <a:custGeom>
            <a:avLst/>
            <a:gdLst>
              <a:gd name="connsiteX0" fmla="*/ 0 w 4067503"/>
              <a:gd name="connsiteY0" fmla="*/ 1902373 h 1902373"/>
              <a:gd name="connsiteX1" fmla="*/ 325820 w 4067503"/>
              <a:gd name="connsiteY1" fmla="*/ 1513490 h 1902373"/>
              <a:gd name="connsiteX2" fmla="*/ 683172 w 4067503"/>
              <a:gd name="connsiteY2" fmla="*/ 840828 h 1902373"/>
              <a:gd name="connsiteX3" fmla="*/ 998482 w 4067503"/>
              <a:gd name="connsiteY3" fmla="*/ 672662 h 1902373"/>
              <a:gd name="connsiteX4" fmla="*/ 1355834 w 4067503"/>
              <a:gd name="connsiteY4" fmla="*/ 515007 h 1902373"/>
              <a:gd name="connsiteX5" fmla="*/ 1681655 w 4067503"/>
              <a:gd name="connsiteY5" fmla="*/ 231228 h 1902373"/>
              <a:gd name="connsiteX6" fmla="*/ 2049517 w 4067503"/>
              <a:gd name="connsiteY6" fmla="*/ 241738 h 1902373"/>
              <a:gd name="connsiteX7" fmla="*/ 2364827 w 4067503"/>
              <a:gd name="connsiteY7" fmla="*/ 115614 h 1902373"/>
              <a:gd name="connsiteX8" fmla="*/ 2711669 w 4067503"/>
              <a:gd name="connsiteY8" fmla="*/ 115614 h 1902373"/>
              <a:gd name="connsiteX9" fmla="*/ 3037489 w 4067503"/>
              <a:gd name="connsiteY9" fmla="*/ 0 h 1902373"/>
              <a:gd name="connsiteX10" fmla="*/ 3394841 w 4067503"/>
              <a:gd name="connsiteY10" fmla="*/ 21021 h 1902373"/>
              <a:gd name="connsiteX11" fmla="*/ 3720662 w 4067503"/>
              <a:gd name="connsiteY11" fmla="*/ 10511 h 1902373"/>
              <a:gd name="connsiteX12" fmla="*/ 4067503 w 4067503"/>
              <a:gd name="connsiteY12" fmla="*/ 10511 h 1902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67503" h="1902373">
                <a:moveTo>
                  <a:pt x="0" y="1902373"/>
                </a:moveTo>
                <a:lnTo>
                  <a:pt x="325820" y="1513490"/>
                </a:lnTo>
                <a:lnTo>
                  <a:pt x="683172" y="840828"/>
                </a:lnTo>
                <a:lnTo>
                  <a:pt x="998482" y="672662"/>
                </a:lnTo>
                <a:lnTo>
                  <a:pt x="1355834" y="515007"/>
                </a:lnTo>
                <a:lnTo>
                  <a:pt x="1681655" y="231228"/>
                </a:lnTo>
                <a:lnTo>
                  <a:pt x="2049517" y="241738"/>
                </a:lnTo>
                <a:lnTo>
                  <a:pt x="2364827" y="115614"/>
                </a:lnTo>
                <a:lnTo>
                  <a:pt x="2711669" y="115614"/>
                </a:lnTo>
                <a:lnTo>
                  <a:pt x="3037489" y="0"/>
                </a:lnTo>
                <a:lnTo>
                  <a:pt x="3394841" y="21021"/>
                </a:lnTo>
                <a:lnTo>
                  <a:pt x="3720662" y="10511"/>
                </a:lnTo>
                <a:lnTo>
                  <a:pt x="4067503" y="10511"/>
                </a:lnTo>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21" name="Oval 20">
            <a:extLst>
              <a:ext uri="{FF2B5EF4-FFF2-40B4-BE49-F238E27FC236}">
                <a16:creationId xmlns:a16="http://schemas.microsoft.com/office/drawing/2014/main" id="{D1D3DD7B-3108-F645-8A0F-9D73B4D0C038}"/>
              </a:ext>
            </a:extLst>
          </p:cNvPr>
          <p:cNvSpPr>
            <a:spLocks noChangeAspect="1"/>
          </p:cNvSpPr>
          <p:nvPr/>
        </p:nvSpPr>
        <p:spPr bwMode="auto">
          <a:xfrm>
            <a:off x="6441092" y="5033797"/>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585E99C8-B615-8A44-B57D-E9283E2E446D}"/>
              </a:ext>
            </a:extLst>
          </p:cNvPr>
          <p:cNvSpPr>
            <a:spLocks noChangeAspect="1"/>
          </p:cNvSpPr>
          <p:nvPr/>
        </p:nvSpPr>
        <p:spPr bwMode="auto">
          <a:xfrm>
            <a:off x="6777900" y="4671082"/>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8E902CDF-25BD-DD43-AAD5-79C007B4BD5A}"/>
              </a:ext>
            </a:extLst>
          </p:cNvPr>
          <p:cNvSpPr>
            <a:spLocks noChangeAspect="1"/>
          </p:cNvSpPr>
          <p:nvPr/>
        </p:nvSpPr>
        <p:spPr bwMode="auto">
          <a:xfrm>
            <a:off x="7109525" y="4002649"/>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C42340C3-004B-A54C-A7CF-CD394B9C9619}"/>
              </a:ext>
            </a:extLst>
          </p:cNvPr>
          <p:cNvSpPr>
            <a:spLocks noChangeAspect="1"/>
          </p:cNvSpPr>
          <p:nvPr/>
        </p:nvSpPr>
        <p:spPr bwMode="auto">
          <a:xfrm>
            <a:off x="7435968" y="3821110"/>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9D03C3A1-A0C1-3B4A-A1D3-F1EE56F2EC26}"/>
              </a:ext>
            </a:extLst>
          </p:cNvPr>
          <p:cNvSpPr>
            <a:spLocks noChangeAspect="1"/>
          </p:cNvSpPr>
          <p:nvPr/>
        </p:nvSpPr>
        <p:spPr bwMode="auto">
          <a:xfrm>
            <a:off x="7772775" y="3676205"/>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EA5E1DE0-EF5B-024F-A7CB-C0EBB1EE675E}"/>
              </a:ext>
            </a:extLst>
          </p:cNvPr>
          <p:cNvSpPr>
            <a:spLocks noChangeAspect="1"/>
          </p:cNvSpPr>
          <p:nvPr/>
        </p:nvSpPr>
        <p:spPr bwMode="auto">
          <a:xfrm>
            <a:off x="8109583" y="3406760"/>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75CA865A-CEC3-FB4D-AC4A-A61DCF9500C7}"/>
              </a:ext>
            </a:extLst>
          </p:cNvPr>
          <p:cNvSpPr>
            <a:spLocks noChangeAspect="1"/>
          </p:cNvSpPr>
          <p:nvPr/>
        </p:nvSpPr>
        <p:spPr bwMode="auto">
          <a:xfrm>
            <a:off x="8441209" y="3411942"/>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2FBE8B91-FA9E-8B43-8C4D-97349B609D62}"/>
              </a:ext>
            </a:extLst>
          </p:cNvPr>
          <p:cNvSpPr>
            <a:spLocks noChangeAspect="1"/>
          </p:cNvSpPr>
          <p:nvPr/>
        </p:nvSpPr>
        <p:spPr bwMode="auto">
          <a:xfrm>
            <a:off x="8778015" y="3282401"/>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31ECDA91-26BD-D449-A81C-9D0647D0A870}"/>
              </a:ext>
            </a:extLst>
          </p:cNvPr>
          <p:cNvSpPr>
            <a:spLocks noChangeAspect="1"/>
          </p:cNvSpPr>
          <p:nvPr/>
        </p:nvSpPr>
        <p:spPr bwMode="auto">
          <a:xfrm>
            <a:off x="9114823" y="3282401"/>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687651D9-8FFE-BE43-AEC6-CB7EFE7D5974}"/>
              </a:ext>
            </a:extLst>
          </p:cNvPr>
          <p:cNvSpPr>
            <a:spLocks noChangeAspect="1"/>
          </p:cNvSpPr>
          <p:nvPr/>
        </p:nvSpPr>
        <p:spPr bwMode="auto">
          <a:xfrm>
            <a:off x="9446448" y="3183949"/>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46FF14C0-5831-4E4D-B7EA-90F4C6207C83}"/>
              </a:ext>
            </a:extLst>
          </p:cNvPr>
          <p:cNvSpPr>
            <a:spLocks noChangeAspect="1"/>
          </p:cNvSpPr>
          <p:nvPr/>
        </p:nvSpPr>
        <p:spPr bwMode="auto">
          <a:xfrm>
            <a:off x="10114880" y="3183949"/>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FC17F8CF-B1BB-B94D-8A5C-D1FD059BD723}"/>
              </a:ext>
            </a:extLst>
          </p:cNvPr>
          <p:cNvSpPr>
            <a:spLocks noChangeAspect="1"/>
          </p:cNvSpPr>
          <p:nvPr/>
        </p:nvSpPr>
        <p:spPr bwMode="auto">
          <a:xfrm>
            <a:off x="10446506" y="3183949"/>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TextBox 49">
            <a:extLst>
              <a:ext uri="{FF2B5EF4-FFF2-40B4-BE49-F238E27FC236}">
                <a16:creationId xmlns:a16="http://schemas.microsoft.com/office/drawing/2014/main" id="{85404B22-FBD5-804E-9B13-94A8D3A8E287}"/>
              </a:ext>
            </a:extLst>
          </p:cNvPr>
          <p:cNvSpPr txBox="1"/>
          <p:nvPr/>
        </p:nvSpPr>
        <p:spPr>
          <a:xfrm>
            <a:off x="5573013" y="3069627"/>
            <a:ext cx="622280" cy="2231343"/>
          </a:xfrm>
          <a:prstGeom prst="rect">
            <a:avLst/>
          </a:prstGeom>
          <a:noFill/>
        </p:spPr>
        <p:txBody>
          <a:bodyPr wrap="square" lIns="179285" tIns="143428" rIns="179285" bIns="143428" rtlCol="0">
            <a:spAutoFit/>
          </a:bodyPr>
          <a:lstStyle/>
          <a:p>
            <a:pPr marL="0" marR="0" lvl="0" indent="0" algn="r" defTabSz="914367" rtl="0" eaLnBrk="1" fontAlgn="auto" latinLnBrk="0" hangingPunct="1">
              <a:lnSpc>
                <a:spcPts val="1706"/>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0.95</a:t>
            </a:r>
          </a:p>
          <a:p>
            <a:pPr marL="0" marR="0" lvl="0" indent="0" algn="r" defTabSz="914367" rtl="0" eaLnBrk="1" fontAlgn="auto" latinLnBrk="0" hangingPunct="1">
              <a:lnSpc>
                <a:spcPts val="1706"/>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0.9</a:t>
            </a:r>
          </a:p>
          <a:p>
            <a:pPr marL="0" marR="0" lvl="0" indent="0" algn="r" defTabSz="914367" rtl="0" eaLnBrk="1" fontAlgn="auto" latinLnBrk="0" hangingPunct="1">
              <a:lnSpc>
                <a:spcPts val="1706"/>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0.85</a:t>
            </a:r>
          </a:p>
          <a:p>
            <a:pPr marL="0" marR="0" lvl="0" indent="0" algn="r" defTabSz="914367" rtl="0" eaLnBrk="1" fontAlgn="auto" latinLnBrk="0" hangingPunct="1">
              <a:lnSpc>
                <a:spcPts val="1706"/>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0.8</a:t>
            </a:r>
          </a:p>
          <a:p>
            <a:pPr marL="0" marR="0" lvl="0" indent="0" algn="r" defTabSz="914367" rtl="0" eaLnBrk="1" fontAlgn="auto" latinLnBrk="0" hangingPunct="1">
              <a:lnSpc>
                <a:spcPts val="1706"/>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0.75</a:t>
            </a:r>
          </a:p>
          <a:p>
            <a:pPr marL="0" marR="0" lvl="0" indent="0" algn="r" defTabSz="914367" rtl="0" eaLnBrk="1" fontAlgn="auto" latinLnBrk="0" hangingPunct="1">
              <a:lnSpc>
                <a:spcPts val="1706"/>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0.7</a:t>
            </a:r>
          </a:p>
        </p:txBody>
      </p:sp>
      <p:sp>
        <p:nvSpPr>
          <p:cNvPr id="54" name="Freeform 53">
            <a:extLst>
              <a:ext uri="{FF2B5EF4-FFF2-40B4-BE49-F238E27FC236}">
                <a16:creationId xmlns:a16="http://schemas.microsoft.com/office/drawing/2014/main" id="{E8C25A5C-E7D0-5A47-B53D-B907EA9BA2B4}"/>
              </a:ext>
            </a:extLst>
          </p:cNvPr>
          <p:cNvSpPr/>
          <p:nvPr/>
        </p:nvSpPr>
        <p:spPr bwMode="auto">
          <a:xfrm>
            <a:off x="6219383" y="3030263"/>
            <a:ext cx="4621104" cy="2279282"/>
          </a:xfrm>
          <a:custGeom>
            <a:avLst/>
            <a:gdLst>
              <a:gd name="connsiteX0" fmla="*/ 0 w 4713767"/>
              <a:gd name="connsiteY0" fmla="*/ 0 h 2324986"/>
              <a:gd name="connsiteX1" fmla="*/ 0 w 4713767"/>
              <a:gd name="connsiteY1" fmla="*/ 2324986 h 2324986"/>
              <a:gd name="connsiteX2" fmla="*/ 77972 w 4713767"/>
              <a:gd name="connsiteY2" fmla="*/ 2324986 h 2324986"/>
              <a:gd name="connsiteX3" fmla="*/ 4713767 w 4713767"/>
              <a:gd name="connsiteY3" fmla="*/ 2324986 h 2324986"/>
            </a:gdLst>
            <a:ahLst/>
            <a:cxnLst>
              <a:cxn ang="0">
                <a:pos x="connsiteX0" y="connsiteY0"/>
              </a:cxn>
              <a:cxn ang="0">
                <a:pos x="connsiteX1" y="connsiteY1"/>
              </a:cxn>
              <a:cxn ang="0">
                <a:pos x="connsiteX2" y="connsiteY2"/>
              </a:cxn>
              <a:cxn ang="0">
                <a:pos x="connsiteX3" y="connsiteY3"/>
              </a:cxn>
            </a:cxnLst>
            <a:rect l="l" t="t" r="r" b="b"/>
            <a:pathLst>
              <a:path w="4713767" h="2324986">
                <a:moveTo>
                  <a:pt x="0" y="0"/>
                </a:moveTo>
                <a:lnTo>
                  <a:pt x="0" y="2324986"/>
                </a:lnTo>
                <a:lnTo>
                  <a:pt x="77972" y="2324986"/>
                </a:lnTo>
                <a:lnTo>
                  <a:pt x="4713767" y="2324986"/>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nvGrpSpPr>
          <p:cNvPr id="67" name="Group 66">
            <a:extLst>
              <a:ext uri="{FF2B5EF4-FFF2-40B4-BE49-F238E27FC236}">
                <a16:creationId xmlns:a16="http://schemas.microsoft.com/office/drawing/2014/main" id="{D35F82FC-6A1D-2A4C-AFCC-EFC86E2F0792}"/>
              </a:ext>
            </a:extLst>
          </p:cNvPr>
          <p:cNvGrpSpPr/>
          <p:nvPr/>
        </p:nvGrpSpPr>
        <p:grpSpPr>
          <a:xfrm>
            <a:off x="6143629" y="3030263"/>
            <a:ext cx="80678" cy="2280466"/>
            <a:chOff x="6585798" y="3090530"/>
            <a:chExt cx="82296" cy="2326194"/>
          </a:xfrm>
        </p:grpSpPr>
        <p:cxnSp>
          <p:nvCxnSpPr>
            <p:cNvPr id="56" name="Straight Connector 55">
              <a:extLst>
                <a:ext uri="{FF2B5EF4-FFF2-40B4-BE49-F238E27FC236}">
                  <a16:creationId xmlns:a16="http://schemas.microsoft.com/office/drawing/2014/main" id="{89F4944A-E37D-2A43-863E-39487A41412E}"/>
                </a:ext>
              </a:extLst>
            </p:cNvPr>
            <p:cNvCxnSpPr>
              <a:cxnSpLocks/>
            </p:cNvCxnSpPr>
            <p:nvPr/>
          </p:nvCxnSpPr>
          <p:spPr>
            <a:xfrm flipH="1">
              <a:off x="6585798" y="3090530"/>
              <a:ext cx="82296"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DEDEEF0-DF50-2A4A-BB92-CCD16FF78BAE}"/>
                </a:ext>
              </a:extLst>
            </p:cNvPr>
            <p:cNvCxnSpPr>
              <a:cxnSpLocks/>
            </p:cNvCxnSpPr>
            <p:nvPr/>
          </p:nvCxnSpPr>
          <p:spPr>
            <a:xfrm flipH="1">
              <a:off x="6585798" y="3423801"/>
              <a:ext cx="82296"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F0863E6F-DA6A-1A45-BC3E-7B2656F17ED7}"/>
                </a:ext>
              </a:extLst>
            </p:cNvPr>
            <p:cNvCxnSpPr>
              <a:cxnSpLocks/>
            </p:cNvCxnSpPr>
            <p:nvPr/>
          </p:nvCxnSpPr>
          <p:spPr>
            <a:xfrm flipH="1">
              <a:off x="6585798" y="3757071"/>
              <a:ext cx="82296"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F0D1B96-0466-134F-B4E0-1F530C5D9C57}"/>
                </a:ext>
              </a:extLst>
            </p:cNvPr>
            <p:cNvCxnSpPr>
              <a:cxnSpLocks/>
            </p:cNvCxnSpPr>
            <p:nvPr/>
          </p:nvCxnSpPr>
          <p:spPr>
            <a:xfrm flipH="1">
              <a:off x="6585798" y="4090341"/>
              <a:ext cx="82296"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DCDB9BD-D565-EA4F-B3A9-FBC5C84D80CD}"/>
                </a:ext>
              </a:extLst>
            </p:cNvPr>
            <p:cNvCxnSpPr>
              <a:cxnSpLocks/>
            </p:cNvCxnSpPr>
            <p:nvPr/>
          </p:nvCxnSpPr>
          <p:spPr>
            <a:xfrm flipH="1">
              <a:off x="6585798" y="4423611"/>
              <a:ext cx="82296"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1D7E186-6837-1849-A91F-CDF3C25F99F8}"/>
                </a:ext>
              </a:extLst>
            </p:cNvPr>
            <p:cNvCxnSpPr>
              <a:cxnSpLocks/>
            </p:cNvCxnSpPr>
            <p:nvPr/>
          </p:nvCxnSpPr>
          <p:spPr>
            <a:xfrm flipH="1">
              <a:off x="6585798" y="4756881"/>
              <a:ext cx="82296"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94A25CD-CDC6-BC43-948D-6D5C1726F2AA}"/>
                </a:ext>
              </a:extLst>
            </p:cNvPr>
            <p:cNvCxnSpPr>
              <a:cxnSpLocks/>
            </p:cNvCxnSpPr>
            <p:nvPr/>
          </p:nvCxnSpPr>
          <p:spPr>
            <a:xfrm flipH="1">
              <a:off x="6585798" y="5090153"/>
              <a:ext cx="82296"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EC9E7EAA-687D-CF45-AE35-77975AFA4FCD}"/>
                </a:ext>
              </a:extLst>
            </p:cNvPr>
            <p:cNvCxnSpPr>
              <a:cxnSpLocks/>
            </p:cNvCxnSpPr>
            <p:nvPr/>
          </p:nvCxnSpPr>
          <p:spPr>
            <a:xfrm flipH="1">
              <a:off x="6585798" y="5416724"/>
              <a:ext cx="82296"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1CD9830C-CE87-0144-B9C4-DF4F2E4DBDCD}"/>
              </a:ext>
            </a:extLst>
          </p:cNvPr>
          <p:cNvGrpSpPr/>
          <p:nvPr/>
        </p:nvGrpSpPr>
        <p:grpSpPr>
          <a:xfrm>
            <a:off x="6509265" y="5298436"/>
            <a:ext cx="4031668" cy="96326"/>
            <a:chOff x="6958765" y="5404184"/>
            <a:chExt cx="4112511" cy="98258"/>
          </a:xfrm>
        </p:grpSpPr>
        <p:cxnSp>
          <p:nvCxnSpPr>
            <p:cNvPr id="70" name="Straight Connector 69">
              <a:extLst>
                <a:ext uri="{FF2B5EF4-FFF2-40B4-BE49-F238E27FC236}">
                  <a16:creationId xmlns:a16="http://schemas.microsoft.com/office/drawing/2014/main" id="{6A3CFC12-B55D-B743-A225-A6992D1C5026}"/>
                </a:ext>
              </a:extLst>
            </p:cNvPr>
            <p:cNvCxnSpPr>
              <a:cxnSpLocks/>
            </p:cNvCxnSpPr>
            <p:nvPr/>
          </p:nvCxnSpPr>
          <p:spPr>
            <a:xfrm rot="16200000" flipH="1">
              <a:off x="6909636" y="5453313"/>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0EEF80F-8166-5F41-A90E-22B5762E3BCC}"/>
                </a:ext>
              </a:extLst>
            </p:cNvPr>
            <p:cNvCxnSpPr>
              <a:cxnSpLocks/>
            </p:cNvCxnSpPr>
            <p:nvPr/>
          </p:nvCxnSpPr>
          <p:spPr>
            <a:xfrm rot="16200000" flipH="1">
              <a:off x="7252345" y="5453313"/>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5107B15-00FB-D043-A2D2-6B68C0C27CA3}"/>
                </a:ext>
              </a:extLst>
            </p:cNvPr>
            <p:cNvCxnSpPr>
              <a:cxnSpLocks/>
            </p:cNvCxnSpPr>
            <p:nvPr/>
          </p:nvCxnSpPr>
          <p:spPr>
            <a:xfrm rot="16200000" flipH="1">
              <a:off x="7595054" y="5453313"/>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CC105E87-4C86-6E4E-BB57-B96B13CF092E}"/>
                </a:ext>
              </a:extLst>
            </p:cNvPr>
            <p:cNvCxnSpPr>
              <a:cxnSpLocks/>
            </p:cNvCxnSpPr>
            <p:nvPr/>
          </p:nvCxnSpPr>
          <p:spPr>
            <a:xfrm rot="16200000" flipH="1">
              <a:off x="7937763" y="5453313"/>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284AA89-0EF2-974A-ADB3-0395874F87D3}"/>
                </a:ext>
              </a:extLst>
            </p:cNvPr>
            <p:cNvCxnSpPr>
              <a:cxnSpLocks/>
            </p:cNvCxnSpPr>
            <p:nvPr/>
          </p:nvCxnSpPr>
          <p:spPr>
            <a:xfrm rot="16200000" flipH="1">
              <a:off x="8280472" y="5453313"/>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2C74A6FE-CF09-C94C-BAC0-193577555BC9}"/>
                </a:ext>
              </a:extLst>
            </p:cNvPr>
            <p:cNvCxnSpPr>
              <a:cxnSpLocks/>
            </p:cNvCxnSpPr>
            <p:nvPr/>
          </p:nvCxnSpPr>
          <p:spPr>
            <a:xfrm rot="16200000" flipH="1">
              <a:off x="8623181" y="5453313"/>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82CE1062-5BA2-5649-A8CF-0535C2559819}"/>
                </a:ext>
              </a:extLst>
            </p:cNvPr>
            <p:cNvCxnSpPr>
              <a:cxnSpLocks/>
            </p:cNvCxnSpPr>
            <p:nvPr/>
          </p:nvCxnSpPr>
          <p:spPr>
            <a:xfrm rot="16200000" flipH="1">
              <a:off x="8965890" y="5453313"/>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677DA88E-040E-D942-8A29-2F2937371AB1}"/>
                </a:ext>
              </a:extLst>
            </p:cNvPr>
            <p:cNvCxnSpPr>
              <a:cxnSpLocks/>
            </p:cNvCxnSpPr>
            <p:nvPr/>
          </p:nvCxnSpPr>
          <p:spPr>
            <a:xfrm rot="16200000" flipH="1">
              <a:off x="9308599" y="5453313"/>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D9E9BE8-772D-C44B-8A4D-6CA184DACDE9}"/>
                </a:ext>
              </a:extLst>
            </p:cNvPr>
            <p:cNvCxnSpPr>
              <a:cxnSpLocks/>
            </p:cNvCxnSpPr>
            <p:nvPr/>
          </p:nvCxnSpPr>
          <p:spPr>
            <a:xfrm rot="16200000" flipH="1">
              <a:off x="9651308" y="5453314"/>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2003904D-43CA-994B-9FE8-2131F62644EE}"/>
                </a:ext>
              </a:extLst>
            </p:cNvPr>
            <p:cNvCxnSpPr>
              <a:cxnSpLocks/>
            </p:cNvCxnSpPr>
            <p:nvPr/>
          </p:nvCxnSpPr>
          <p:spPr>
            <a:xfrm rot="16200000" flipH="1">
              <a:off x="9994017" y="5453314"/>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7743CFB-96BE-5441-B3D7-EF965D405955}"/>
                </a:ext>
              </a:extLst>
            </p:cNvPr>
            <p:cNvCxnSpPr>
              <a:cxnSpLocks/>
            </p:cNvCxnSpPr>
            <p:nvPr/>
          </p:nvCxnSpPr>
          <p:spPr>
            <a:xfrm rot="16200000" flipH="1">
              <a:off x="10336726" y="5453314"/>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905FA17-8C6D-5448-85E1-50ED7D144661}"/>
                </a:ext>
              </a:extLst>
            </p:cNvPr>
            <p:cNvCxnSpPr>
              <a:cxnSpLocks/>
            </p:cNvCxnSpPr>
            <p:nvPr/>
          </p:nvCxnSpPr>
          <p:spPr>
            <a:xfrm rot="16200000" flipH="1">
              <a:off x="10679435" y="5453314"/>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446D9BBB-BB61-B74D-ADF6-56B3FF70111F}"/>
                </a:ext>
              </a:extLst>
            </p:cNvPr>
            <p:cNvCxnSpPr>
              <a:cxnSpLocks/>
            </p:cNvCxnSpPr>
            <p:nvPr/>
          </p:nvCxnSpPr>
          <p:spPr>
            <a:xfrm rot="16200000" flipH="1">
              <a:off x="11022147" y="5453314"/>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0" name="TextBox 89">
            <a:extLst>
              <a:ext uri="{FF2B5EF4-FFF2-40B4-BE49-F238E27FC236}">
                <a16:creationId xmlns:a16="http://schemas.microsoft.com/office/drawing/2014/main" id="{563BAF7D-BB8E-7949-9D4D-47636083B703}"/>
              </a:ext>
            </a:extLst>
          </p:cNvPr>
          <p:cNvSpPr txBox="1"/>
          <p:nvPr/>
        </p:nvSpPr>
        <p:spPr>
          <a:xfrm>
            <a:off x="6408970"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9</a:t>
            </a:r>
          </a:p>
        </p:txBody>
      </p:sp>
      <p:sp>
        <p:nvSpPr>
          <p:cNvPr id="91" name="TextBox 90">
            <a:extLst>
              <a:ext uri="{FF2B5EF4-FFF2-40B4-BE49-F238E27FC236}">
                <a16:creationId xmlns:a16="http://schemas.microsoft.com/office/drawing/2014/main" id="{31EDA913-68B8-C847-AED5-E16460817A2F}"/>
              </a:ext>
            </a:extLst>
          </p:cNvPr>
          <p:cNvSpPr txBox="1"/>
          <p:nvPr/>
        </p:nvSpPr>
        <p:spPr>
          <a:xfrm>
            <a:off x="6745045"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1</a:t>
            </a:r>
          </a:p>
        </p:txBody>
      </p:sp>
      <p:sp>
        <p:nvSpPr>
          <p:cNvPr id="92" name="TextBox 91">
            <a:extLst>
              <a:ext uri="{FF2B5EF4-FFF2-40B4-BE49-F238E27FC236}">
                <a16:creationId xmlns:a16="http://schemas.microsoft.com/office/drawing/2014/main" id="{83B1FACB-DC71-DB45-B237-566DFFF29524}"/>
              </a:ext>
            </a:extLst>
          </p:cNvPr>
          <p:cNvSpPr txBox="1"/>
          <p:nvPr/>
        </p:nvSpPr>
        <p:spPr>
          <a:xfrm>
            <a:off x="7081120"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3</a:t>
            </a:r>
          </a:p>
        </p:txBody>
      </p:sp>
      <p:sp>
        <p:nvSpPr>
          <p:cNvPr id="93" name="TextBox 92">
            <a:extLst>
              <a:ext uri="{FF2B5EF4-FFF2-40B4-BE49-F238E27FC236}">
                <a16:creationId xmlns:a16="http://schemas.microsoft.com/office/drawing/2014/main" id="{93E4579D-3540-2247-8D54-691B142204F7}"/>
              </a:ext>
            </a:extLst>
          </p:cNvPr>
          <p:cNvSpPr txBox="1"/>
          <p:nvPr/>
        </p:nvSpPr>
        <p:spPr>
          <a:xfrm>
            <a:off x="7417195"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4</a:t>
            </a:r>
          </a:p>
        </p:txBody>
      </p:sp>
      <p:sp>
        <p:nvSpPr>
          <p:cNvPr id="94" name="TextBox 93">
            <a:extLst>
              <a:ext uri="{FF2B5EF4-FFF2-40B4-BE49-F238E27FC236}">
                <a16:creationId xmlns:a16="http://schemas.microsoft.com/office/drawing/2014/main" id="{84DC752A-406F-0140-9B68-F60CA9F0FED8}"/>
              </a:ext>
            </a:extLst>
          </p:cNvPr>
          <p:cNvSpPr txBox="1"/>
          <p:nvPr/>
        </p:nvSpPr>
        <p:spPr>
          <a:xfrm>
            <a:off x="7753270"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5</a:t>
            </a:r>
          </a:p>
        </p:txBody>
      </p:sp>
      <p:sp>
        <p:nvSpPr>
          <p:cNvPr id="95" name="TextBox 94">
            <a:extLst>
              <a:ext uri="{FF2B5EF4-FFF2-40B4-BE49-F238E27FC236}">
                <a16:creationId xmlns:a16="http://schemas.microsoft.com/office/drawing/2014/main" id="{993E2325-E038-2D43-BD20-BFD3F5B2A9B3}"/>
              </a:ext>
            </a:extLst>
          </p:cNvPr>
          <p:cNvSpPr txBox="1"/>
          <p:nvPr/>
        </p:nvSpPr>
        <p:spPr>
          <a:xfrm>
            <a:off x="8089345"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6</a:t>
            </a:r>
          </a:p>
        </p:txBody>
      </p:sp>
      <p:sp>
        <p:nvSpPr>
          <p:cNvPr id="96" name="TextBox 95">
            <a:extLst>
              <a:ext uri="{FF2B5EF4-FFF2-40B4-BE49-F238E27FC236}">
                <a16:creationId xmlns:a16="http://schemas.microsoft.com/office/drawing/2014/main" id="{58A17167-E239-E045-9B8B-913012052875}"/>
              </a:ext>
            </a:extLst>
          </p:cNvPr>
          <p:cNvSpPr txBox="1"/>
          <p:nvPr/>
        </p:nvSpPr>
        <p:spPr>
          <a:xfrm>
            <a:off x="8425420"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7</a:t>
            </a:r>
          </a:p>
        </p:txBody>
      </p:sp>
      <p:sp>
        <p:nvSpPr>
          <p:cNvPr id="97" name="TextBox 96">
            <a:extLst>
              <a:ext uri="{FF2B5EF4-FFF2-40B4-BE49-F238E27FC236}">
                <a16:creationId xmlns:a16="http://schemas.microsoft.com/office/drawing/2014/main" id="{9CE5BEA8-856C-F942-87D4-42221C50A0CB}"/>
              </a:ext>
            </a:extLst>
          </p:cNvPr>
          <p:cNvSpPr txBox="1"/>
          <p:nvPr/>
        </p:nvSpPr>
        <p:spPr>
          <a:xfrm>
            <a:off x="8761495"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8</a:t>
            </a:r>
          </a:p>
        </p:txBody>
      </p:sp>
      <p:sp>
        <p:nvSpPr>
          <p:cNvPr id="98" name="TextBox 97">
            <a:extLst>
              <a:ext uri="{FF2B5EF4-FFF2-40B4-BE49-F238E27FC236}">
                <a16:creationId xmlns:a16="http://schemas.microsoft.com/office/drawing/2014/main" id="{CE5EC248-DE8F-2140-933D-C88F43478CF3}"/>
              </a:ext>
            </a:extLst>
          </p:cNvPr>
          <p:cNvSpPr txBox="1"/>
          <p:nvPr/>
        </p:nvSpPr>
        <p:spPr>
          <a:xfrm>
            <a:off x="9097570"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9</a:t>
            </a:r>
          </a:p>
        </p:txBody>
      </p:sp>
      <p:sp>
        <p:nvSpPr>
          <p:cNvPr id="99" name="TextBox 98">
            <a:extLst>
              <a:ext uri="{FF2B5EF4-FFF2-40B4-BE49-F238E27FC236}">
                <a16:creationId xmlns:a16="http://schemas.microsoft.com/office/drawing/2014/main" id="{ED5EA271-A4C6-C44D-8430-4569126FE5DC}"/>
              </a:ext>
            </a:extLst>
          </p:cNvPr>
          <p:cNvSpPr txBox="1"/>
          <p:nvPr/>
        </p:nvSpPr>
        <p:spPr>
          <a:xfrm>
            <a:off x="9433645"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20</a:t>
            </a:r>
          </a:p>
        </p:txBody>
      </p:sp>
      <p:sp>
        <p:nvSpPr>
          <p:cNvPr id="100" name="TextBox 99">
            <a:extLst>
              <a:ext uri="{FF2B5EF4-FFF2-40B4-BE49-F238E27FC236}">
                <a16:creationId xmlns:a16="http://schemas.microsoft.com/office/drawing/2014/main" id="{B3E34348-C34B-6842-A274-8A47C2437A4F}"/>
              </a:ext>
            </a:extLst>
          </p:cNvPr>
          <p:cNvSpPr txBox="1"/>
          <p:nvPr/>
        </p:nvSpPr>
        <p:spPr>
          <a:xfrm>
            <a:off x="9769720"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21</a:t>
            </a:r>
          </a:p>
        </p:txBody>
      </p:sp>
      <p:sp>
        <p:nvSpPr>
          <p:cNvPr id="101" name="TextBox 100">
            <a:extLst>
              <a:ext uri="{FF2B5EF4-FFF2-40B4-BE49-F238E27FC236}">
                <a16:creationId xmlns:a16="http://schemas.microsoft.com/office/drawing/2014/main" id="{F19E10A3-B7BE-5646-A6D1-8BF73E20C609}"/>
              </a:ext>
            </a:extLst>
          </p:cNvPr>
          <p:cNvSpPr txBox="1"/>
          <p:nvPr/>
        </p:nvSpPr>
        <p:spPr>
          <a:xfrm>
            <a:off x="10105795"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22</a:t>
            </a:r>
          </a:p>
        </p:txBody>
      </p:sp>
      <p:sp>
        <p:nvSpPr>
          <p:cNvPr id="102" name="TextBox 101">
            <a:extLst>
              <a:ext uri="{FF2B5EF4-FFF2-40B4-BE49-F238E27FC236}">
                <a16:creationId xmlns:a16="http://schemas.microsoft.com/office/drawing/2014/main" id="{7F02BE3F-FE37-614D-BDB8-79F575C32561}"/>
              </a:ext>
            </a:extLst>
          </p:cNvPr>
          <p:cNvSpPr txBox="1"/>
          <p:nvPr/>
        </p:nvSpPr>
        <p:spPr>
          <a:xfrm>
            <a:off x="10441875"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23</a:t>
            </a:r>
          </a:p>
        </p:txBody>
      </p:sp>
      <p:grpSp>
        <p:nvGrpSpPr>
          <p:cNvPr id="105" name="Group 104">
            <a:extLst>
              <a:ext uri="{FF2B5EF4-FFF2-40B4-BE49-F238E27FC236}">
                <a16:creationId xmlns:a16="http://schemas.microsoft.com/office/drawing/2014/main" id="{D120FB68-33A7-FC43-BB0C-395606C0747D}"/>
              </a:ext>
            </a:extLst>
          </p:cNvPr>
          <p:cNvGrpSpPr/>
          <p:nvPr/>
        </p:nvGrpSpPr>
        <p:grpSpPr>
          <a:xfrm>
            <a:off x="9728651" y="2479330"/>
            <a:ext cx="621069" cy="388315"/>
            <a:chOff x="9776063" y="1963199"/>
            <a:chExt cx="1267045" cy="792203"/>
          </a:xfrm>
        </p:grpSpPr>
        <p:sp>
          <p:nvSpPr>
            <p:cNvPr id="3" name="Speech Bubble: Rectangle 2">
              <a:extLst>
                <a:ext uri="{FF2B5EF4-FFF2-40B4-BE49-F238E27FC236}">
                  <a16:creationId xmlns:a16="http://schemas.microsoft.com/office/drawing/2014/main" id="{DFF93EC6-5564-4339-B504-445D3EA1B17C}"/>
                </a:ext>
              </a:extLst>
            </p:cNvPr>
            <p:cNvSpPr/>
            <p:nvPr/>
          </p:nvSpPr>
          <p:spPr bwMode="auto">
            <a:xfrm>
              <a:off x="9776063" y="1963199"/>
              <a:ext cx="1267045" cy="792203"/>
            </a:xfrm>
            <a:prstGeom prst="wedgeRectCallout">
              <a:avLst>
                <a:gd name="adj1" fmla="val -31507"/>
                <a:gd name="adj2" fmla="val 8764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3" name="Freeform 5">
              <a:extLst>
                <a:ext uri="{FF2B5EF4-FFF2-40B4-BE49-F238E27FC236}">
                  <a16:creationId xmlns:a16="http://schemas.microsoft.com/office/drawing/2014/main" id="{65670CF4-BAA5-7348-AB48-9BE6F4AE1FC5}"/>
                </a:ext>
              </a:extLst>
            </p:cNvPr>
            <p:cNvSpPr>
              <a:spLocks noEditPoints="1"/>
            </p:cNvSpPr>
            <p:nvPr/>
          </p:nvSpPr>
          <p:spPr bwMode="auto">
            <a:xfrm>
              <a:off x="10008615" y="2119628"/>
              <a:ext cx="775380" cy="466487"/>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905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sp>
        <p:nvSpPr>
          <p:cNvPr id="104" name="Rectangle 103">
            <a:extLst>
              <a:ext uri="{FF2B5EF4-FFF2-40B4-BE49-F238E27FC236}">
                <a16:creationId xmlns:a16="http://schemas.microsoft.com/office/drawing/2014/main" id="{F58073F1-52F0-0E4C-8A62-5E896DD640A8}"/>
              </a:ext>
            </a:extLst>
          </p:cNvPr>
          <p:cNvSpPr/>
          <p:nvPr/>
        </p:nvSpPr>
        <p:spPr bwMode="auto">
          <a:xfrm>
            <a:off x="7066596" y="1898917"/>
            <a:ext cx="2717648" cy="8292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Accuracy</a:t>
            </a:r>
          </a:p>
        </p:txBody>
      </p:sp>
      <p:sp>
        <p:nvSpPr>
          <p:cNvPr id="106" name="Oval 105">
            <a:extLst>
              <a:ext uri="{FF2B5EF4-FFF2-40B4-BE49-F238E27FC236}">
                <a16:creationId xmlns:a16="http://schemas.microsoft.com/office/drawing/2014/main" id="{6B260759-BF82-4A4F-870C-43C7EB2AA676}"/>
              </a:ext>
            </a:extLst>
          </p:cNvPr>
          <p:cNvSpPr/>
          <p:nvPr/>
        </p:nvSpPr>
        <p:spPr bwMode="auto">
          <a:xfrm>
            <a:off x="9728651" y="3141963"/>
            <a:ext cx="225382" cy="22538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D222D3F0-CD70-324B-9E44-C3EF1A674D29}"/>
              </a:ext>
            </a:extLst>
          </p:cNvPr>
          <p:cNvSpPr/>
          <p:nvPr/>
        </p:nvSpPr>
        <p:spPr bwMode="auto">
          <a:xfrm>
            <a:off x="5174817" y="2112928"/>
            <a:ext cx="6357748" cy="3747041"/>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4664565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2C047E9-12C1-B54D-A831-3510A78FDB32}"/>
              </a:ext>
            </a:extLst>
          </p:cNvPr>
          <p:cNvSpPr>
            <a:spLocks noGrp="1"/>
          </p:cNvSpPr>
          <p:nvPr>
            <p:ph type="title"/>
          </p:nvPr>
        </p:nvSpPr>
        <p:spPr/>
        <p:txBody>
          <a:bodyPr/>
          <a:lstStyle/>
          <a:p>
            <a:r>
              <a:rPr lang="en-US" dirty="0"/>
              <a:t>Building your own AI models</a:t>
            </a:r>
          </a:p>
        </p:txBody>
      </p:sp>
      <p:sp>
        <p:nvSpPr>
          <p:cNvPr id="4" name="Text Placeholder 3">
            <a:extLst>
              <a:ext uri="{FF2B5EF4-FFF2-40B4-BE49-F238E27FC236}">
                <a16:creationId xmlns:a16="http://schemas.microsoft.com/office/drawing/2014/main" id="{CF0CD7D1-8A86-2F49-AE71-43A5B4C995FA}"/>
              </a:ext>
            </a:extLst>
          </p:cNvPr>
          <p:cNvSpPr>
            <a:spLocks noGrp="1"/>
          </p:cNvSpPr>
          <p:nvPr>
            <p:ph type="body" sz="quarter" idx="12"/>
          </p:nvPr>
        </p:nvSpPr>
        <p:spPr/>
        <p:txBody>
          <a:bodyPr/>
          <a:lstStyle/>
          <a:p>
            <a:r>
              <a:rPr lang="en-US" dirty="0"/>
              <a:t>Transforming data into intelligence</a:t>
            </a:r>
          </a:p>
        </p:txBody>
      </p:sp>
      <p:sp>
        <p:nvSpPr>
          <p:cNvPr id="76" name="Rectangle 75">
            <a:extLst>
              <a:ext uri="{FF2B5EF4-FFF2-40B4-BE49-F238E27FC236}">
                <a16:creationId xmlns:a16="http://schemas.microsoft.com/office/drawing/2014/main" id="{EA9FA490-CBF3-494E-8220-FE673C4F6B6F}"/>
              </a:ext>
            </a:extLst>
          </p:cNvPr>
          <p:cNvSpPr/>
          <p:nvPr/>
        </p:nvSpPr>
        <p:spPr>
          <a:xfrm>
            <a:off x="1135110" y="4705161"/>
            <a:ext cx="1777357"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Prepare data</a:t>
            </a:r>
          </a:p>
        </p:txBody>
      </p:sp>
      <p:sp>
        <p:nvSpPr>
          <p:cNvPr id="77" name="Rectangle 76">
            <a:extLst>
              <a:ext uri="{FF2B5EF4-FFF2-40B4-BE49-F238E27FC236}">
                <a16:creationId xmlns:a16="http://schemas.microsoft.com/office/drawing/2014/main" id="{0DA2EC07-53F5-3B4F-AF9E-A3A294FBACC4}"/>
              </a:ext>
            </a:extLst>
          </p:cNvPr>
          <p:cNvSpPr/>
          <p:nvPr/>
        </p:nvSpPr>
        <p:spPr>
          <a:xfrm>
            <a:off x="4989206" y="4705161"/>
            <a:ext cx="2025966"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Build and train</a:t>
            </a:r>
          </a:p>
        </p:txBody>
      </p:sp>
      <p:sp>
        <p:nvSpPr>
          <p:cNvPr id="78" name="Rectangle 77">
            <a:extLst>
              <a:ext uri="{FF2B5EF4-FFF2-40B4-BE49-F238E27FC236}">
                <a16:creationId xmlns:a16="http://schemas.microsoft.com/office/drawing/2014/main" id="{1B9C28C2-8A4B-9942-BD1A-1DC55EB6175D}"/>
              </a:ext>
            </a:extLst>
          </p:cNvPr>
          <p:cNvSpPr/>
          <p:nvPr/>
        </p:nvSpPr>
        <p:spPr>
          <a:xfrm>
            <a:off x="9468437" y="4705161"/>
            <a:ext cx="1070500"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Deploy</a:t>
            </a:r>
          </a:p>
        </p:txBody>
      </p:sp>
      <p:grpSp>
        <p:nvGrpSpPr>
          <p:cNvPr id="79" name="Group 78">
            <a:extLst>
              <a:ext uri="{FF2B5EF4-FFF2-40B4-BE49-F238E27FC236}">
                <a16:creationId xmlns:a16="http://schemas.microsoft.com/office/drawing/2014/main" id="{F9240BDF-6B05-AD49-8D24-763228C8FF6C}"/>
              </a:ext>
            </a:extLst>
          </p:cNvPr>
          <p:cNvGrpSpPr/>
          <p:nvPr/>
        </p:nvGrpSpPr>
        <p:grpSpPr>
          <a:xfrm>
            <a:off x="9012965" y="2581371"/>
            <a:ext cx="1981445" cy="1637978"/>
            <a:chOff x="9524460" y="2632636"/>
            <a:chExt cx="2021177" cy="1670823"/>
          </a:xfrm>
        </p:grpSpPr>
        <p:sp>
          <p:nvSpPr>
            <p:cNvPr id="80" name="gear_3">
              <a:extLst>
                <a:ext uri="{FF2B5EF4-FFF2-40B4-BE49-F238E27FC236}">
                  <a16:creationId xmlns:a16="http://schemas.microsoft.com/office/drawing/2014/main" id="{010DA379-9386-1647-A54E-923BEBBC3F55}"/>
                </a:ext>
              </a:extLst>
            </p:cNvPr>
            <p:cNvSpPr>
              <a:spLocks noChangeAspect="1" noEditPoints="1"/>
            </p:cNvSpPr>
            <p:nvPr/>
          </p:nvSpPr>
          <p:spPr bwMode="auto">
            <a:xfrm>
              <a:off x="9524460" y="3183698"/>
              <a:ext cx="1110355" cy="111976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gear_3">
              <a:extLst>
                <a:ext uri="{FF2B5EF4-FFF2-40B4-BE49-F238E27FC236}">
                  <a16:creationId xmlns:a16="http://schemas.microsoft.com/office/drawing/2014/main" id="{F4428B06-4335-1042-B130-E8D3869BF19A}"/>
                </a:ext>
              </a:extLst>
            </p:cNvPr>
            <p:cNvSpPr>
              <a:spLocks noChangeAspect="1" noEditPoints="1"/>
            </p:cNvSpPr>
            <p:nvPr/>
          </p:nvSpPr>
          <p:spPr bwMode="auto">
            <a:xfrm>
              <a:off x="10421433" y="2632636"/>
              <a:ext cx="735342" cy="74157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 name="gear_3">
              <a:extLst>
                <a:ext uri="{FF2B5EF4-FFF2-40B4-BE49-F238E27FC236}">
                  <a16:creationId xmlns:a16="http://schemas.microsoft.com/office/drawing/2014/main" id="{13D0DF77-B720-714C-B017-F74D6CEDAD63}"/>
                </a:ext>
              </a:extLst>
            </p:cNvPr>
            <p:cNvSpPr>
              <a:spLocks noChangeAspect="1" noEditPoints="1"/>
            </p:cNvSpPr>
            <p:nvPr/>
          </p:nvSpPr>
          <p:spPr bwMode="auto">
            <a:xfrm>
              <a:off x="11022746" y="3309209"/>
              <a:ext cx="522891" cy="527320"/>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83" name="Group 82">
            <a:extLst>
              <a:ext uri="{FF2B5EF4-FFF2-40B4-BE49-F238E27FC236}">
                <a16:creationId xmlns:a16="http://schemas.microsoft.com/office/drawing/2014/main" id="{D9F1B450-B203-9E40-A2F9-B3457E98D384}"/>
              </a:ext>
            </a:extLst>
          </p:cNvPr>
          <p:cNvGrpSpPr/>
          <p:nvPr/>
        </p:nvGrpSpPr>
        <p:grpSpPr>
          <a:xfrm>
            <a:off x="1144934" y="2677641"/>
            <a:ext cx="1757706" cy="1650960"/>
            <a:chOff x="1239394" y="2531811"/>
            <a:chExt cx="1792952" cy="1684065"/>
          </a:xfrm>
        </p:grpSpPr>
        <p:grpSp>
          <p:nvGrpSpPr>
            <p:cNvPr id="84" name="Group 83">
              <a:extLst>
                <a:ext uri="{FF2B5EF4-FFF2-40B4-BE49-F238E27FC236}">
                  <a16:creationId xmlns:a16="http://schemas.microsoft.com/office/drawing/2014/main" id="{086886B6-F080-E546-9656-F879EA17439A}"/>
                </a:ext>
              </a:extLst>
            </p:cNvPr>
            <p:cNvGrpSpPr/>
            <p:nvPr/>
          </p:nvGrpSpPr>
          <p:grpSpPr>
            <a:xfrm>
              <a:off x="1239394" y="2531811"/>
              <a:ext cx="523013" cy="1684065"/>
              <a:chOff x="1395310" y="3332039"/>
              <a:chExt cx="430961" cy="1387665"/>
            </a:xfrm>
            <a:solidFill>
              <a:schemeClr val="bg1"/>
            </a:solidFill>
          </p:grpSpPr>
          <p:sp>
            <p:nvSpPr>
              <p:cNvPr id="93" name="Isosceles Triangle 86">
                <a:extLst>
                  <a:ext uri="{FF2B5EF4-FFF2-40B4-BE49-F238E27FC236}">
                    <a16:creationId xmlns:a16="http://schemas.microsoft.com/office/drawing/2014/main" id="{F4D46995-B37D-394C-B67F-11FB0F4E80EB}"/>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 name="Rectangle 93">
                <a:extLst>
                  <a:ext uri="{FF2B5EF4-FFF2-40B4-BE49-F238E27FC236}">
                    <a16:creationId xmlns:a16="http://schemas.microsoft.com/office/drawing/2014/main" id="{DB6D5717-5A77-C546-9AAB-A72440A6B44A}"/>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 name="Oval 94">
                <a:extLst>
                  <a:ext uri="{FF2B5EF4-FFF2-40B4-BE49-F238E27FC236}">
                    <a16:creationId xmlns:a16="http://schemas.microsoft.com/office/drawing/2014/main" id="{54B3B62E-BA96-A648-A27E-2D7A7807C8CC}"/>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85" name="Group 84">
              <a:extLst>
                <a:ext uri="{FF2B5EF4-FFF2-40B4-BE49-F238E27FC236}">
                  <a16:creationId xmlns:a16="http://schemas.microsoft.com/office/drawing/2014/main" id="{089F6C72-582E-984A-8587-C9D56450A12F}"/>
                </a:ext>
              </a:extLst>
            </p:cNvPr>
            <p:cNvGrpSpPr/>
            <p:nvPr/>
          </p:nvGrpSpPr>
          <p:grpSpPr>
            <a:xfrm>
              <a:off x="1874363" y="2531811"/>
              <a:ext cx="523013" cy="1684065"/>
              <a:chOff x="1395310" y="3332039"/>
              <a:chExt cx="430961" cy="1387665"/>
            </a:xfrm>
            <a:solidFill>
              <a:schemeClr val="bg1"/>
            </a:solidFill>
          </p:grpSpPr>
          <p:sp>
            <p:nvSpPr>
              <p:cNvPr id="90" name="Isosceles Triangle 83">
                <a:extLst>
                  <a:ext uri="{FF2B5EF4-FFF2-40B4-BE49-F238E27FC236}">
                    <a16:creationId xmlns:a16="http://schemas.microsoft.com/office/drawing/2014/main" id="{40F0F70B-B914-DF43-8E9F-010351A3630C}"/>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 name="Rectangle 90">
                <a:extLst>
                  <a:ext uri="{FF2B5EF4-FFF2-40B4-BE49-F238E27FC236}">
                    <a16:creationId xmlns:a16="http://schemas.microsoft.com/office/drawing/2014/main" id="{09C4FA8D-B314-8F46-87AF-616EE1DCC44A}"/>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 name="Oval 91">
                <a:extLst>
                  <a:ext uri="{FF2B5EF4-FFF2-40B4-BE49-F238E27FC236}">
                    <a16:creationId xmlns:a16="http://schemas.microsoft.com/office/drawing/2014/main" id="{1D5FFC60-3118-E741-9DD6-1C3DEE75D1DB}"/>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86" name="Group 85">
              <a:extLst>
                <a:ext uri="{FF2B5EF4-FFF2-40B4-BE49-F238E27FC236}">
                  <a16:creationId xmlns:a16="http://schemas.microsoft.com/office/drawing/2014/main" id="{BED2F9DF-7079-014C-A275-9E8DCD704DFF}"/>
                </a:ext>
              </a:extLst>
            </p:cNvPr>
            <p:cNvGrpSpPr/>
            <p:nvPr/>
          </p:nvGrpSpPr>
          <p:grpSpPr>
            <a:xfrm>
              <a:off x="2509333" y="2531811"/>
              <a:ext cx="523013" cy="1684065"/>
              <a:chOff x="1395310" y="3332039"/>
              <a:chExt cx="430961" cy="1387665"/>
            </a:xfrm>
            <a:solidFill>
              <a:schemeClr val="bg1"/>
            </a:solidFill>
          </p:grpSpPr>
          <p:sp>
            <p:nvSpPr>
              <p:cNvPr id="87" name="Isosceles Triangle 80">
                <a:extLst>
                  <a:ext uri="{FF2B5EF4-FFF2-40B4-BE49-F238E27FC236}">
                    <a16:creationId xmlns:a16="http://schemas.microsoft.com/office/drawing/2014/main" id="{FAC7CB9A-86FF-DD4F-9AA7-AAC69139A9A3}"/>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 name="Rectangle 87">
                <a:extLst>
                  <a:ext uri="{FF2B5EF4-FFF2-40B4-BE49-F238E27FC236}">
                    <a16:creationId xmlns:a16="http://schemas.microsoft.com/office/drawing/2014/main" id="{189C852B-B2FE-B94A-A439-1652E781ACF2}"/>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 name="Oval 88">
                <a:extLst>
                  <a:ext uri="{FF2B5EF4-FFF2-40B4-BE49-F238E27FC236}">
                    <a16:creationId xmlns:a16="http://schemas.microsoft.com/office/drawing/2014/main" id="{2D0520C8-8C59-5A44-B4D9-900EEE4E237D}"/>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grpSp>
        <p:nvGrpSpPr>
          <p:cNvPr id="96" name="Group 95">
            <a:extLst>
              <a:ext uri="{FF2B5EF4-FFF2-40B4-BE49-F238E27FC236}">
                <a16:creationId xmlns:a16="http://schemas.microsoft.com/office/drawing/2014/main" id="{B1E5F12C-0B3B-4F44-A3A9-34D491940DCE}"/>
              </a:ext>
            </a:extLst>
          </p:cNvPr>
          <p:cNvGrpSpPr/>
          <p:nvPr/>
        </p:nvGrpSpPr>
        <p:grpSpPr>
          <a:xfrm>
            <a:off x="4848627" y="2491813"/>
            <a:ext cx="2301051" cy="1998974"/>
            <a:chOff x="4986639" y="2541282"/>
            <a:chExt cx="2347192" cy="2039058"/>
          </a:xfrm>
        </p:grpSpPr>
        <p:sp>
          <p:nvSpPr>
            <p:cNvPr id="97" name="Line 19">
              <a:extLst>
                <a:ext uri="{FF2B5EF4-FFF2-40B4-BE49-F238E27FC236}">
                  <a16:creationId xmlns:a16="http://schemas.microsoft.com/office/drawing/2014/main" id="{403063CA-9A8A-8B43-BBEF-D97E85FAC477}"/>
                </a:ext>
              </a:extLst>
            </p:cNvPr>
            <p:cNvSpPr>
              <a:spLocks noChangeShapeType="1"/>
            </p:cNvSpPr>
            <p:nvPr/>
          </p:nvSpPr>
          <p:spPr bwMode="auto">
            <a:xfrm rot="16200000">
              <a:off x="6005770" y="3401735"/>
              <a:ext cx="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nvGrpSpPr>
            <p:cNvPr id="98" name="Group 11">
              <a:extLst>
                <a:ext uri="{FF2B5EF4-FFF2-40B4-BE49-F238E27FC236}">
                  <a16:creationId xmlns:a16="http://schemas.microsoft.com/office/drawing/2014/main" id="{920898A3-3BB9-374D-BA5D-AA77FDB36747}"/>
                </a:ext>
              </a:extLst>
            </p:cNvPr>
            <p:cNvGrpSpPr>
              <a:grpSpLocks noChangeAspect="1"/>
            </p:cNvGrpSpPr>
            <p:nvPr/>
          </p:nvGrpSpPr>
          <p:grpSpPr bwMode="auto">
            <a:xfrm>
              <a:off x="5712422" y="3055262"/>
              <a:ext cx="1007365" cy="1097312"/>
              <a:chOff x="3861" y="4291602"/>
              <a:chExt cx="112" cy="244433"/>
            </a:xfrm>
          </p:grpSpPr>
          <p:sp>
            <p:nvSpPr>
              <p:cNvPr id="105" name="Freeform 12">
                <a:extLst>
                  <a:ext uri="{FF2B5EF4-FFF2-40B4-BE49-F238E27FC236}">
                    <a16:creationId xmlns:a16="http://schemas.microsoft.com/office/drawing/2014/main" id="{89828247-5BC5-8F4C-8CF4-5C10EE739F5A}"/>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6" name="Line 13">
                <a:extLst>
                  <a:ext uri="{FF2B5EF4-FFF2-40B4-BE49-F238E27FC236}">
                    <a16:creationId xmlns:a16="http://schemas.microsoft.com/office/drawing/2014/main" id="{F4A4A98C-32F1-4F4E-9EF1-191D6CF38E5A}"/>
                  </a:ext>
                </a:extLst>
              </p:cNvPr>
              <p:cNvSpPr>
                <a:spLocks noChangeShapeType="1"/>
              </p:cNvSpPr>
              <p:nvPr/>
            </p:nvSpPr>
            <p:spPr bwMode="auto">
              <a:xfrm>
                <a:off x="3874" y="4469918"/>
                <a:ext cx="8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7" name="Line 14">
                <a:extLst>
                  <a:ext uri="{FF2B5EF4-FFF2-40B4-BE49-F238E27FC236}">
                    <a16:creationId xmlns:a16="http://schemas.microsoft.com/office/drawing/2014/main" id="{252E7C43-C52A-4249-BBDA-8C1804407BE1}"/>
                  </a:ext>
                </a:extLst>
              </p:cNvPr>
              <p:cNvSpPr>
                <a:spLocks noChangeShapeType="1"/>
              </p:cNvSpPr>
              <p:nvPr/>
            </p:nvSpPr>
            <p:spPr bwMode="auto">
              <a:xfrm>
                <a:off x="3923" y="4335680"/>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8" name="Line 15">
                <a:extLst>
                  <a:ext uri="{FF2B5EF4-FFF2-40B4-BE49-F238E27FC236}">
                    <a16:creationId xmlns:a16="http://schemas.microsoft.com/office/drawing/2014/main" id="{63F88EB8-0EC0-AA44-8BC4-4BDEEAB1388E}"/>
                  </a:ext>
                </a:extLst>
              </p:cNvPr>
              <p:cNvSpPr>
                <a:spLocks noChangeShapeType="1"/>
              </p:cNvSpPr>
              <p:nvPr/>
            </p:nvSpPr>
            <p:spPr bwMode="auto">
              <a:xfrm>
                <a:off x="3923" y="4379758"/>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9" name="Line 16">
                <a:extLst>
                  <a:ext uri="{FF2B5EF4-FFF2-40B4-BE49-F238E27FC236}">
                    <a16:creationId xmlns:a16="http://schemas.microsoft.com/office/drawing/2014/main" id="{0460214C-CE7A-4E4F-A542-AF47F452DDD6}"/>
                  </a:ext>
                </a:extLst>
              </p:cNvPr>
              <p:cNvSpPr>
                <a:spLocks noChangeShapeType="1"/>
              </p:cNvSpPr>
              <p:nvPr/>
            </p:nvSpPr>
            <p:spPr bwMode="auto">
              <a:xfrm>
                <a:off x="3923" y="4425840"/>
                <a:ext cx="2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0" name="Line 17">
                <a:extLst>
                  <a:ext uri="{FF2B5EF4-FFF2-40B4-BE49-F238E27FC236}">
                    <a16:creationId xmlns:a16="http://schemas.microsoft.com/office/drawing/2014/main" id="{2C434F0B-B024-F941-96DD-28E2D8E5DD1E}"/>
                  </a:ext>
                </a:extLst>
              </p:cNvPr>
              <p:cNvSpPr>
                <a:spLocks noChangeShapeType="1"/>
              </p:cNvSpPr>
              <p:nvPr/>
            </p:nvSpPr>
            <p:spPr bwMode="auto">
              <a:xfrm>
                <a:off x="3883" y="4291602"/>
                <a:ext cx="68"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99" name="Group 98">
              <a:extLst>
                <a:ext uri="{FF2B5EF4-FFF2-40B4-BE49-F238E27FC236}">
                  <a16:creationId xmlns:a16="http://schemas.microsoft.com/office/drawing/2014/main" id="{91C31877-853F-B34C-BEAA-79EE924FB6B9}"/>
                </a:ext>
              </a:extLst>
            </p:cNvPr>
            <p:cNvGrpSpPr/>
            <p:nvPr/>
          </p:nvGrpSpPr>
          <p:grpSpPr>
            <a:xfrm>
              <a:off x="5359189" y="2541282"/>
              <a:ext cx="1974642" cy="1799700"/>
              <a:chOff x="4723382" y="2415376"/>
              <a:chExt cx="2374103" cy="2163771"/>
            </a:xfrm>
          </p:grpSpPr>
          <p:sp>
            <p:nvSpPr>
              <p:cNvPr id="103" name="Freeform 22">
                <a:extLst>
                  <a:ext uri="{FF2B5EF4-FFF2-40B4-BE49-F238E27FC236}">
                    <a16:creationId xmlns:a16="http://schemas.microsoft.com/office/drawing/2014/main" id="{EA702CFD-5514-CE49-9DD4-33210DCAFE4E}"/>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04" name="Arc 103">
                <a:extLst>
                  <a:ext uri="{FF2B5EF4-FFF2-40B4-BE49-F238E27FC236}">
                    <a16:creationId xmlns:a16="http://schemas.microsoft.com/office/drawing/2014/main" id="{715D6AE3-18C7-0C4F-8E72-07E69EEED28F}"/>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grpSp>
          <p:nvGrpSpPr>
            <p:cNvPr id="100" name="Group 99">
              <a:extLst>
                <a:ext uri="{FF2B5EF4-FFF2-40B4-BE49-F238E27FC236}">
                  <a16:creationId xmlns:a16="http://schemas.microsoft.com/office/drawing/2014/main" id="{1AB33EB3-5CF9-4D45-8772-7C380D0598BC}"/>
                </a:ext>
              </a:extLst>
            </p:cNvPr>
            <p:cNvGrpSpPr/>
            <p:nvPr/>
          </p:nvGrpSpPr>
          <p:grpSpPr>
            <a:xfrm rot="10800000">
              <a:off x="4986639" y="2780640"/>
              <a:ext cx="1974642" cy="1799700"/>
              <a:chOff x="4723382" y="2415376"/>
              <a:chExt cx="2374103" cy="2163771"/>
            </a:xfrm>
          </p:grpSpPr>
          <p:sp>
            <p:nvSpPr>
              <p:cNvPr id="101" name="Freeform 22">
                <a:extLst>
                  <a:ext uri="{FF2B5EF4-FFF2-40B4-BE49-F238E27FC236}">
                    <a16:creationId xmlns:a16="http://schemas.microsoft.com/office/drawing/2014/main" id="{E562E5DB-1BF6-5B4A-9C99-7E895B48D136}"/>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02" name="Arc 101">
                <a:extLst>
                  <a:ext uri="{FF2B5EF4-FFF2-40B4-BE49-F238E27FC236}">
                    <a16:creationId xmlns:a16="http://schemas.microsoft.com/office/drawing/2014/main" id="{DEB4BA75-EE96-794E-B20E-925FA31A3517}"/>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grpSp>
      <p:sp>
        <p:nvSpPr>
          <p:cNvPr id="111" name="Freeform 110">
            <a:extLst>
              <a:ext uri="{FF2B5EF4-FFF2-40B4-BE49-F238E27FC236}">
                <a16:creationId xmlns:a16="http://schemas.microsoft.com/office/drawing/2014/main" id="{5520309F-6321-5A41-A101-EC044091382B}"/>
              </a:ext>
            </a:extLst>
          </p:cNvPr>
          <p:cNvSpPr/>
          <p:nvPr/>
        </p:nvSpPr>
        <p:spPr bwMode="auto">
          <a:xfrm flipH="1">
            <a:off x="7970370" y="3136710"/>
            <a:ext cx="401865" cy="89951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12" name="Freeform 111">
            <a:extLst>
              <a:ext uri="{FF2B5EF4-FFF2-40B4-BE49-F238E27FC236}">
                <a16:creationId xmlns:a16="http://schemas.microsoft.com/office/drawing/2014/main" id="{F39B4A7C-28D5-804B-A17A-6A0066A02C2D}"/>
              </a:ext>
            </a:extLst>
          </p:cNvPr>
          <p:cNvSpPr/>
          <p:nvPr/>
        </p:nvSpPr>
        <p:spPr bwMode="auto">
          <a:xfrm flipH="1">
            <a:off x="3591924" y="3136710"/>
            <a:ext cx="401865" cy="89951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13" name="Rectangle 112">
            <a:extLst>
              <a:ext uri="{FF2B5EF4-FFF2-40B4-BE49-F238E27FC236}">
                <a16:creationId xmlns:a16="http://schemas.microsoft.com/office/drawing/2014/main" id="{EF45380B-5EE2-FC43-9426-C5B3A219D3E4}"/>
              </a:ext>
            </a:extLst>
          </p:cNvPr>
          <p:cNvSpPr/>
          <p:nvPr/>
        </p:nvSpPr>
        <p:spPr bwMode="auto">
          <a:xfrm>
            <a:off x="505472" y="2272820"/>
            <a:ext cx="8067823" cy="3593227"/>
          </a:xfrm>
          <a:prstGeom prst="rect">
            <a:avLst/>
          </a:prstGeom>
          <a:solidFill>
            <a:schemeClr val="bg1">
              <a:alpha val="7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6219743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5929C79D-CEC6-4510-ADDE-FBD37A0D7E7C}"/>
              </a:ext>
            </a:extLst>
          </p:cNvPr>
          <p:cNvSpPr/>
          <p:nvPr/>
        </p:nvSpPr>
        <p:spPr>
          <a:xfrm>
            <a:off x="4957590" y="4732694"/>
            <a:ext cx="1418935" cy="343443"/>
          </a:xfrm>
          <a:prstGeom prst="rect">
            <a:avLst/>
          </a:prstGeom>
        </p:spPr>
        <p:txBody>
          <a:bodyPr wrap="square">
            <a:spAutoFit/>
          </a:bodyPr>
          <a:lstStyle/>
          <a:p>
            <a:pPr marL="0" marR="0" lvl="0" indent="0" algn="ctr" defTabSz="931399" rtl="0" eaLnBrk="1" fontAlgn="auto" latinLnBrk="0" hangingPunct="1">
              <a:lnSpc>
                <a:spcPct val="100000"/>
              </a:lnSpc>
              <a:spcBef>
                <a:spcPts val="100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Docker</a:t>
            </a:r>
          </a:p>
        </p:txBody>
      </p:sp>
      <p:sp>
        <p:nvSpPr>
          <p:cNvPr id="112" name="Rectangle 111">
            <a:extLst>
              <a:ext uri="{FF2B5EF4-FFF2-40B4-BE49-F238E27FC236}">
                <a16:creationId xmlns:a16="http://schemas.microsoft.com/office/drawing/2014/main" id="{1A40313A-C93B-403B-BBC7-A3F00E30F9C3}"/>
              </a:ext>
            </a:extLst>
          </p:cNvPr>
          <p:cNvSpPr/>
          <p:nvPr/>
        </p:nvSpPr>
        <p:spPr>
          <a:xfrm>
            <a:off x="9044683" y="2057008"/>
            <a:ext cx="2742811" cy="261830"/>
          </a:xfrm>
          <a:prstGeom prst="rect">
            <a:avLst/>
          </a:prstGeom>
        </p:spPr>
        <p:txBody>
          <a:bodyPr wrap="square">
            <a:spAutoFit/>
          </a:bodyPr>
          <a:lstStyle/>
          <a:p>
            <a:pPr marL="0" marR="0" lvl="0" indent="0" algn="l" defTabSz="913523" rtl="0" eaLnBrk="1" fontAlgn="auto" latinLnBrk="0" hangingPunct="1">
              <a:lnSpc>
                <a:spcPct val="90000"/>
              </a:lnSpc>
              <a:spcBef>
                <a:spcPts val="100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On-prem deployment</a:t>
            </a:r>
          </a:p>
        </p:txBody>
      </p:sp>
      <p:sp>
        <p:nvSpPr>
          <p:cNvPr id="113" name="Rectangle 112">
            <a:extLst>
              <a:ext uri="{FF2B5EF4-FFF2-40B4-BE49-F238E27FC236}">
                <a16:creationId xmlns:a16="http://schemas.microsoft.com/office/drawing/2014/main" id="{485D191E-75C6-4E89-A68D-E8AB7AD728A9}"/>
              </a:ext>
            </a:extLst>
          </p:cNvPr>
          <p:cNvSpPr/>
          <p:nvPr/>
        </p:nvSpPr>
        <p:spPr>
          <a:xfrm>
            <a:off x="9044683" y="3467721"/>
            <a:ext cx="2742811" cy="261830"/>
          </a:xfrm>
          <a:prstGeom prst="rect">
            <a:avLst/>
          </a:prstGeom>
        </p:spPr>
        <p:txBody>
          <a:bodyPr wrap="square">
            <a:spAutoFit/>
          </a:bodyPr>
          <a:lstStyle/>
          <a:p>
            <a:pPr marL="0" marR="0" lvl="0" indent="0" algn="l" defTabSz="913523" rtl="0" eaLnBrk="1" fontAlgn="auto" latinLnBrk="0" hangingPunct="1">
              <a:lnSpc>
                <a:spcPct val="90000"/>
              </a:lnSpc>
              <a:spcBef>
                <a:spcPts val="100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Azure Container Instance</a:t>
            </a:r>
          </a:p>
        </p:txBody>
      </p:sp>
      <p:sp>
        <p:nvSpPr>
          <p:cNvPr id="114" name="Rectangle 113">
            <a:extLst>
              <a:ext uri="{FF2B5EF4-FFF2-40B4-BE49-F238E27FC236}">
                <a16:creationId xmlns:a16="http://schemas.microsoft.com/office/drawing/2014/main" id="{01E389C3-1871-42FE-A052-F664A220D1E4}"/>
              </a:ext>
            </a:extLst>
          </p:cNvPr>
          <p:cNvSpPr/>
          <p:nvPr/>
        </p:nvSpPr>
        <p:spPr>
          <a:xfrm>
            <a:off x="9044683" y="2713915"/>
            <a:ext cx="2742811" cy="261830"/>
          </a:xfrm>
          <a:prstGeom prst="rect">
            <a:avLst/>
          </a:prstGeom>
        </p:spPr>
        <p:txBody>
          <a:bodyPr wrap="square">
            <a:spAutoFit/>
          </a:bodyPr>
          <a:lstStyle/>
          <a:p>
            <a:pPr marL="0" marR="0" lvl="0" indent="0" algn="l" defTabSz="913523" rtl="0" eaLnBrk="1" fontAlgn="auto" latinLnBrk="0" hangingPunct="1">
              <a:lnSpc>
                <a:spcPct val="90000"/>
              </a:lnSpc>
              <a:spcBef>
                <a:spcPts val="100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Azure IoT edge</a:t>
            </a:r>
          </a:p>
        </p:txBody>
      </p:sp>
      <p:sp>
        <p:nvSpPr>
          <p:cNvPr id="115" name="Rectangle 114">
            <a:extLst>
              <a:ext uri="{FF2B5EF4-FFF2-40B4-BE49-F238E27FC236}">
                <a16:creationId xmlns:a16="http://schemas.microsoft.com/office/drawing/2014/main" id="{0CC502B3-2262-4596-AD25-ECC8A35D32F8}"/>
              </a:ext>
            </a:extLst>
          </p:cNvPr>
          <p:cNvSpPr/>
          <p:nvPr/>
        </p:nvSpPr>
        <p:spPr>
          <a:xfrm>
            <a:off x="9044683" y="4898382"/>
            <a:ext cx="2843183" cy="261830"/>
          </a:xfrm>
          <a:prstGeom prst="rect">
            <a:avLst/>
          </a:prstGeom>
        </p:spPr>
        <p:txBody>
          <a:bodyPr wrap="square">
            <a:spAutoFit/>
          </a:bodyPr>
          <a:lstStyle/>
          <a:p>
            <a:pPr marL="0" marR="0" lvl="0" indent="0" algn="l" defTabSz="913523" rtl="0" eaLnBrk="1" fontAlgn="auto" latinLnBrk="0" hangingPunct="1">
              <a:lnSpc>
                <a:spcPct val="90000"/>
              </a:lnSpc>
              <a:spcBef>
                <a:spcPts val="1000"/>
              </a:spcBef>
              <a:spcAft>
                <a:spcPts val="0"/>
              </a:spcAft>
              <a:buClrTx/>
              <a:buSzTx/>
              <a:buFontTx/>
              <a:buNone/>
              <a:tabLst/>
              <a:defRPr/>
            </a:pPr>
            <a:r>
              <a:rPr kumimoji="0" lang="en-US" sz="1200" b="0" i="0" u="none" strike="noStrike" kern="1200" cap="none" spc="0" normalizeH="0" baseline="0" noProof="0" dirty="0" err="1">
                <a:ln>
                  <a:noFill/>
                </a:ln>
                <a:solidFill>
                  <a:srgbClr val="1A1A1A"/>
                </a:solidFill>
                <a:effectLst/>
                <a:uLnTx/>
                <a:uFillTx/>
                <a:latin typeface="Segoe UI"/>
                <a:ea typeface="+mn-ea"/>
                <a:cs typeface="+mn-cs"/>
              </a:rPr>
              <a:t>IoT</a:t>
            </a:r>
            <a:r>
              <a:rPr kumimoji="0" lang="en-US" sz="1200" b="0" i="0" u="none" strike="noStrike" kern="1200" cap="none" spc="0" normalizeH="0" baseline="0" noProof="0" dirty="0">
                <a:ln>
                  <a:noFill/>
                </a:ln>
                <a:solidFill>
                  <a:srgbClr val="1A1A1A"/>
                </a:solidFill>
                <a:effectLst/>
                <a:uLnTx/>
                <a:uFillTx/>
                <a:latin typeface="Segoe UI"/>
                <a:ea typeface="+mn-ea"/>
                <a:cs typeface="+mn-cs"/>
              </a:rPr>
              <a:t> accelerated targets</a:t>
            </a:r>
          </a:p>
        </p:txBody>
      </p:sp>
      <p:sp>
        <p:nvSpPr>
          <p:cNvPr id="116" name="Rectangle 115">
            <a:extLst>
              <a:ext uri="{FF2B5EF4-FFF2-40B4-BE49-F238E27FC236}">
                <a16:creationId xmlns:a16="http://schemas.microsoft.com/office/drawing/2014/main" id="{1B88131D-D0D0-434C-A5DB-D5A2C1FFA83A}"/>
              </a:ext>
            </a:extLst>
          </p:cNvPr>
          <p:cNvSpPr/>
          <p:nvPr/>
        </p:nvSpPr>
        <p:spPr>
          <a:xfrm>
            <a:off x="9044683" y="5604217"/>
            <a:ext cx="2742811" cy="261830"/>
          </a:xfrm>
          <a:prstGeom prst="rect">
            <a:avLst/>
          </a:prstGeom>
        </p:spPr>
        <p:txBody>
          <a:bodyPr wrap="square">
            <a:spAutoFit/>
          </a:bodyPr>
          <a:lstStyle/>
          <a:p>
            <a:pPr marL="0" marR="0" lvl="0" indent="0" algn="l" defTabSz="913523" rtl="0" eaLnBrk="1" fontAlgn="auto" latinLnBrk="0" hangingPunct="1">
              <a:lnSpc>
                <a:spcPct val="90000"/>
              </a:lnSpc>
              <a:spcBef>
                <a:spcPts val="100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Project Brainwave (FPGAs)</a:t>
            </a:r>
          </a:p>
        </p:txBody>
      </p:sp>
      <p:cxnSp>
        <p:nvCxnSpPr>
          <p:cNvPr id="117" name="Straight Connector 116">
            <a:extLst>
              <a:ext uri="{FF2B5EF4-FFF2-40B4-BE49-F238E27FC236}">
                <a16:creationId xmlns:a16="http://schemas.microsoft.com/office/drawing/2014/main" id="{0FF4AE60-A8E5-46BD-A150-051D4B229268}"/>
              </a:ext>
            </a:extLst>
          </p:cNvPr>
          <p:cNvCxnSpPr>
            <a:cxnSpLocks/>
          </p:cNvCxnSpPr>
          <p:nvPr/>
        </p:nvCxnSpPr>
        <p:spPr>
          <a:xfrm>
            <a:off x="8401532" y="2183510"/>
            <a:ext cx="0" cy="3558824"/>
          </a:xfrm>
          <a:prstGeom prst="line">
            <a:avLst/>
          </a:prstGeom>
          <a:ln w="12700">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527A7F45-F155-4C0C-99B5-FE8DDC714335}"/>
              </a:ext>
            </a:extLst>
          </p:cNvPr>
          <p:cNvCxnSpPr>
            <a:cxnSpLocks/>
          </p:cNvCxnSpPr>
          <p:nvPr/>
        </p:nvCxnSpPr>
        <p:spPr>
          <a:xfrm>
            <a:off x="8392909" y="2193773"/>
            <a:ext cx="581930" cy="4474"/>
          </a:xfrm>
          <a:prstGeom prst="straightConnector1">
            <a:avLst/>
          </a:prstGeom>
          <a:ln w="12700">
            <a:solidFill>
              <a:schemeClr val="tx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2DE720B9-005D-4375-BF1A-899BB58FB3ED}"/>
              </a:ext>
            </a:extLst>
          </p:cNvPr>
          <p:cNvCxnSpPr>
            <a:cxnSpLocks/>
          </p:cNvCxnSpPr>
          <p:nvPr/>
        </p:nvCxnSpPr>
        <p:spPr>
          <a:xfrm>
            <a:off x="8392909" y="2904370"/>
            <a:ext cx="581930" cy="4474"/>
          </a:xfrm>
          <a:prstGeom prst="straightConnector1">
            <a:avLst/>
          </a:prstGeom>
          <a:ln w="12700">
            <a:solidFill>
              <a:schemeClr val="tx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F9C39CE6-3D04-47AA-86DA-49F62D8D8E33}"/>
              </a:ext>
            </a:extLst>
          </p:cNvPr>
          <p:cNvCxnSpPr>
            <a:cxnSpLocks/>
          </p:cNvCxnSpPr>
          <p:nvPr/>
        </p:nvCxnSpPr>
        <p:spPr>
          <a:xfrm>
            <a:off x="8392909" y="3614967"/>
            <a:ext cx="581930" cy="4474"/>
          </a:xfrm>
          <a:prstGeom prst="straightConnector1">
            <a:avLst/>
          </a:prstGeom>
          <a:ln w="12700">
            <a:solidFill>
              <a:schemeClr val="tx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71D359A4-D71A-4779-A404-A3E75205E156}"/>
              </a:ext>
            </a:extLst>
          </p:cNvPr>
          <p:cNvCxnSpPr>
            <a:cxnSpLocks/>
          </p:cNvCxnSpPr>
          <p:nvPr/>
        </p:nvCxnSpPr>
        <p:spPr>
          <a:xfrm>
            <a:off x="8392909" y="4325564"/>
            <a:ext cx="581930" cy="4474"/>
          </a:xfrm>
          <a:prstGeom prst="straightConnector1">
            <a:avLst/>
          </a:prstGeom>
          <a:ln w="12700">
            <a:solidFill>
              <a:schemeClr val="tx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54239AE3-DA91-449F-93BB-27744D748BDB}"/>
              </a:ext>
            </a:extLst>
          </p:cNvPr>
          <p:cNvCxnSpPr>
            <a:cxnSpLocks/>
          </p:cNvCxnSpPr>
          <p:nvPr/>
        </p:nvCxnSpPr>
        <p:spPr>
          <a:xfrm>
            <a:off x="8392909" y="5036161"/>
            <a:ext cx="581930" cy="4474"/>
          </a:xfrm>
          <a:prstGeom prst="straightConnector1">
            <a:avLst/>
          </a:prstGeom>
          <a:ln w="12700">
            <a:solidFill>
              <a:schemeClr val="tx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6F316B2A-2D93-4F08-9608-5E4005B1B211}"/>
              </a:ext>
            </a:extLst>
          </p:cNvPr>
          <p:cNvCxnSpPr>
            <a:cxnSpLocks/>
          </p:cNvCxnSpPr>
          <p:nvPr/>
        </p:nvCxnSpPr>
        <p:spPr>
          <a:xfrm>
            <a:off x="8392909" y="5746757"/>
            <a:ext cx="581930" cy="4474"/>
          </a:xfrm>
          <a:prstGeom prst="straightConnector1">
            <a:avLst/>
          </a:prstGeom>
          <a:ln w="12700">
            <a:solidFill>
              <a:schemeClr val="tx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A0C13835-44C9-4658-A909-DDAA260C5110}"/>
              </a:ext>
            </a:extLst>
          </p:cNvPr>
          <p:cNvCxnSpPr>
            <a:cxnSpLocks/>
          </p:cNvCxnSpPr>
          <p:nvPr/>
        </p:nvCxnSpPr>
        <p:spPr>
          <a:xfrm>
            <a:off x="6366102" y="4330038"/>
            <a:ext cx="2016384" cy="0"/>
          </a:xfrm>
          <a:prstGeom prst="line">
            <a:avLst/>
          </a:prstGeom>
          <a:ln w="12700">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28E9FF05-B223-4D73-85FB-558A45F06945}"/>
              </a:ext>
            </a:extLst>
          </p:cNvPr>
          <p:cNvCxnSpPr>
            <a:cxnSpLocks/>
          </p:cNvCxnSpPr>
          <p:nvPr/>
        </p:nvCxnSpPr>
        <p:spPr>
          <a:xfrm>
            <a:off x="2515128" y="4330038"/>
            <a:ext cx="2016384" cy="0"/>
          </a:xfrm>
          <a:prstGeom prst="line">
            <a:avLst/>
          </a:prstGeom>
          <a:ln w="12700">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954DC156-F26D-4B3F-BBA4-D538DAE30F5A}"/>
              </a:ext>
            </a:extLst>
          </p:cNvPr>
          <p:cNvSpPr/>
          <p:nvPr/>
        </p:nvSpPr>
        <p:spPr>
          <a:xfrm>
            <a:off x="509736" y="4680323"/>
            <a:ext cx="2688511" cy="582960"/>
          </a:xfrm>
          <a:prstGeom prst="rect">
            <a:avLst/>
          </a:prstGeom>
        </p:spPr>
        <p:txBody>
          <a:bodyPr wrap="square">
            <a:spAutoFit/>
          </a:bodyPr>
          <a:lstStyle/>
          <a:p>
            <a:pPr marL="0" marR="0" lvl="0" indent="0" algn="ctr" defTabSz="931399" rtl="0" eaLnBrk="1" fontAlgn="auto" latinLnBrk="0" hangingPunct="1">
              <a:lnSpc>
                <a:spcPct val="100000"/>
              </a:lnSpc>
              <a:spcBef>
                <a:spcPts val="100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Azure Machine Learning Service</a:t>
            </a:r>
          </a:p>
        </p:txBody>
      </p:sp>
      <p:sp>
        <p:nvSpPr>
          <p:cNvPr id="128" name="Rectangle 127">
            <a:extLst>
              <a:ext uri="{FF2B5EF4-FFF2-40B4-BE49-F238E27FC236}">
                <a16:creationId xmlns:a16="http://schemas.microsoft.com/office/drawing/2014/main" id="{B2596F82-C2A8-4347-A846-082D4A1F0FBF}"/>
              </a:ext>
            </a:extLst>
          </p:cNvPr>
          <p:cNvSpPr/>
          <p:nvPr/>
        </p:nvSpPr>
        <p:spPr>
          <a:xfrm>
            <a:off x="9044683" y="4202925"/>
            <a:ext cx="2742811" cy="261830"/>
          </a:xfrm>
          <a:prstGeom prst="rect">
            <a:avLst/>
          </a:prstGeom>
        </p:spPr>
        <p:txBody>
          <a:bodyPr wrap="square">
            <a:spAutoFit/>
          </a:bodyPr>
          <a:lstStyle/>
          <a:p>
            <a:pPr marL="0" marR="0" lvl="0" indent="0" algn="l" defTabSz="913523" rtl="0" eaLnBrk="1" fontAlgn="auto" latinLnBrk="0" hangingPunct="1">
              <a:lnSpc>
                <a:spcPct val="90000"/>
              </a:lnSpc>
              <a:spcBef>
                <a:spcPts val="100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Azure Managed Kubernetes Service</a:t>
            </a:r>
          </a:p>
        </p:txBody>
      </p:sp>
      <p:grpSp>
        <p:nvGrpSpPr>
          <p:cNvPr id="129" name="Group 128">
            <a:extLst>
              <a:ext uri="{FF2B5EF4-FFF2-40B4-BE49-F238E27FC236}">
                <a16:creationId xmlns:a16="http://schemas.microsoft.com/office/drawing/2014/main" id="{B037562A-18F5-4CFE-AF14-287E1B85DF16}"/>
              </a:ext>
            </a:extLst>
          </p:cNvPr>
          <p:cNvGrpSpPr/>
          <p:nvPr/>
        </p:nvGrpSpPr>
        <p:grpSpPr>
          <a:xfrm>
            <a:off x="4895953" y="3667525"/>
            <a:ext cx="1268393" cy="838532"/>
            <a:chOff x="5429066" y="4114799"/>
            <a:chExt cx="689178" cy="455613"/>
          </a:xfrm>
        </p:grpSpPr>
        <p:sp>
          <p:nvSpPr>
            <p:cNvPr id="130" name="Freeform 67">
              <a:extLst>
                <a:ext uri="{FF2B5EF4-FFF2-40B4-BE49-F238E27FC236}">
                  <a16:creationId xmlns:a16="http://schemas.microsoft.com/office/drawing/2014/main" id="{48A2FDE3-FA17-4241-B5FE-1B477065F02C}"/>
                </a:ext>
              </a:extLst>
            </p:cNvPr>
            <p:cNvSpPr>
              <a:spLocks/>
            </p:cNvSpPr>
            <p:nvPr/>
          </p:nvSpPr>
          <p:spPr bwMode="auto">
            <a:xfrm>
              <a:off x="5429066" y="4114799"/>
              <a:ext cx="689178" cy="455613"/>
            </a:xfrm>
            <a:custGeom>
              <a:avLst/>
              <a:gdLst>
                <a:gd name="T0" fmla="*/ 524 w 1006"/>
                <a:gd name="T1" fmla="*/ 203 h 643"/>
                <a:gd name="T2" fmla="*/ 627 w 1006"/>
                <a:gd name="T3" fmla="*/ 203 h 643"/>
                <a:gd name="T4" fmla="*/ 627 w 1006"/>
                <a:gd name="T5" fmla="*/ 307 h 643"/>
                <a:gd name="T6" fmla="*/ 678 w 1006"/>
                <a:gd name="T7" fmla="*/ 307 h 643"/>
                <a:gd name="T8" fmla="*/ 750 w 1006"/>
                <a:gd name="T9" fmla="*/ 295 h 643"/>
                <a:gd name="T10" fmla="*/ 784 w 1006"/>
                <a:gd name="T11" fmla="*/ 280 h 643"/>
                <a:gd name="T12" fmla="*/ 760 w 1006"/>
                <a:gd name="T13" fmla="*/ 214 h 643"/>
                <a:gd name="T14" fmla="*/ 785 w 1006"/>
                <a:gd name="T15" fmla="*/ 116 h 643"/>
                <a:gd name="T16" fmla="*/ 796 w 1006"/>
                <a:gd name="T17" fmla="*/ 104 h 643"/>
                <a:gd name="T18" fmla="*/ 809 w 1006"/>
                <a:gd name="T19" fmla="*/ 114 h 643"/>
                <a:gd name="T20" fmla="*/ 873 w 1006"/>
                <a:gd name="T21" fmla="*/ 217 h 643"/>
                <a:gd name="T22" fmla="*/ 992 w 1006"/>
                <a:gd name="T23" fmla="*/ 228 h 643"/>
                <a:gd name="T24" fmla="*/ 1006 w 1006"/>
                <a:gd name="T25" fmla="*/ 236 h 643"/>
                <a:gd name="T26" fmla="*/ 999 w 1006"/>
                <a:gd name="T27" fmla="*/ 250 h 643"/>
                <a:gd name="T28" fmla="*/ 850 w 1006"/>
                <a:gd name="T29" fmla="*/ 320 h 643"/>
                <a:gd name="T30" fmla="*/ 334 w 1006"/>
                <a:gd name="T31" fmla="*/ 643 h 643"/>
                <a:gd name="T32" fmla="*/ 39 w 1006"/>
                <a:gd name="T33" fmla="*/ 492 h 643"/>
                <a:gd name="T34" fmla="*/ 38 w 1006"/>
                <a:gd name="T35" fmla="*/ 490 h 643"/>
                <a:gd name="T36" fmla="*/ 29 w 1006"/>
                <a:gd name="T37" fmla="*/ 472 h 643"/>
                <a:gd name="T38" fmla="*/ 5 w 1006"/>
                <a:gd name="T39" fmla="*/ 322 h 643"/>
                <a:gd name="T40" fmla="*/ 7 w 1006"/>
                <a:gd name="T41" fmla="*/ 307 h 643"/>
                <a:gd name="T42" fmla="*/ 94 w 1006"/>
                <a:gd name="T43" fmla="*/ 307 h 643"/>
                <a:gd name="T44" fmla="*/ 94 w 1006"/>
                <a:gd name="T45" fmla="*/ 203 h 643"/>
                <a:gd name="T46" fmla="*/ 197 w 1006"/>
                <a:gd name="T47" fmla="*/ 203 h 643"/>
                <a:gd name="T48" fmla="*/ 197 w 1006"/>
                <a:gd name="T49" fmla="*/ 102 h 643"/>
                <a:gd name="T50" fmla="*/ 401 w 1006"/>
                <a:gd name="T51" fmla="*/ 102 h 643"/>
                <a:gd name="T52" fmla="*/ 401 w 1006"/>
                <a:gd name="T53" fmla="*/ 0 h 643"/>
                <a:gd name="T54" fmla="*/ 524 w 1006"/>
                <a:gd name="T55" fmla="*/ 0 h 643"/>
                <a:gd name="T56" fmla="*/ 524 w 1006"/>
                <a:gd name="T57" fmla="*/ 203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06" h="643">
                  <a:moveTo>
                    <a:pt x="524" y="203"/>
                  </a:moveTo>
                  <a:cubicBezTo>
                    <a:pt x="627" y="203"/>
                    <a:pt x="627" y="203"/>
                    <a:pt x="627" y="203"/>
                  </a:cubicBezTo>
                  <a:cubicBezTo>
                    <a:pt x="627" y="307"/>
                    <a:pt x="627" y="307"/>
                    <a:pt x="627" y="307"/>
                  </a:cubicBezTo>
                  <a:cubicBezTo>
                    <a:pt x="678" y="307"/>
                    <a:pt x="678" y="307"/>
                    <a:pt x="678" y="307"/>
                  </a:cubicBezTo>
                  <a:cubicBezTo>
                    <a:pt x="702" y="307"/>
                    <a:pt x="727" y="303"/>
                    <a:pt x="750" y="295"/>
                  </a:cubicBezTo>
                  <a:cubicBezTo>
                    <a:pt x="761" y="291"/>
                    <a:pt x="773" y="286"/>
                    <a:pt x="784" y="280"/>
                  </a:cubicBezTo>
                  <a:cubicBezTo>
                    <a:pt x="770" y="261"/>
                    <a:pt x="762" y="237"/>
                    <a:pt x="760" y="214"/>
                  </a:cubicBezTo>
                  <a:cubicBezTo>
                    <a:pt x="757" y="182"/>
                    <a:pt x="764" y="141"/>
                    <a:pt x="785" y="116"/>
                  </a:cubicBezTo>
                  <a:cubicBezTo>
                    <a:pt x="796" y="104"/>
                    <a:pt x="796" y="104"/>
                    <a:pt x="796" y="104"/>
                  </a:cubicBezTo>
                  <a:cubicBezTo>
                    <a:pt x="809" y="114"/>
                    <a:pt x="809" y="114"/>
                    <a:pt x="809" y="114"/>
                  </a:cubicBezTo>
                  <a:cubicBezTo>
                    <a:pt x="841" y="140"/>
                    <a:pt x="868" y="176"/>
                    <a:pt x="873" y="217"/>
                  </a:cubicBezTo>
                  <a:cubicBezTo>
                    <a:pt x="912" y="205"/>
                    <a:pt x="958" y="208"/>
                    <a:pt x="992" y="228"/>
                  </a:cubicBezTo>
                  <a:cubicBezTo>
                    <a:pt x="1006" y="236"/>
                    <a:pt x="1006" y="236"/>
                    <a:pt x="1006" y="236"/>
                  </a:cubicBezTo>
                  <a:cubicBezTo>
                    <a:pt x="999" y="250"/>
                    <a:pt x="999" y="250"/>
                    <a:pt x="999" y="250"/>
                  </a:cubicBezTo>
                  <a:cubicBezTo>
                    <a:pt x="970" y="306"/>
                    <a:pt x="909" y="324"/>
                    <a:pt x="850" y="320"/>
                  </a:cubicBezTo>
                  <a:cubicBezTo>
                    <a:pt x="761" y="539"/>
                    <a:pt x="568" y="643"/>
                    <a:pt x="334" y="643"/>
                  </a:cubicBezTo>
                  <a:cubicBezTo>
                    <a:pt x="213" y="643"/>
                    <a:pt x="102" y="598"/>
                    <a:pt x="39" y="492"/>
                  </a:cubicBezTo>
                  <a:cubicBezTo>
                    <a:pt x="38" y="490"/>
                    <a:pt x="38" y="490"/>
                    <a:pt x="38" y="490"/>
                  </a:cubicBezTo>
                  <a:cubicBezTo>
                    <a:pt x="29" y="472"/>
                    <a:pt x="29" y="472"/>
                    <a:pt x="29" y="472"/>
                  </a:cubicBezTo>
                  <a:cubicBezTo>
                    <a:pt x="8" y="425"/>
                    <a:pt x="0" y="373"/>
                    <a:pt x="5" y="322"/>
                  </a:cubicBezTo>
                  <a:cubicBezTo>
                    <a:pt x="7" y="307"/>
                    <a:pt x="7" y="307"/>
                    <a:pt x="7" y="307"/>
                  </a:cubicBezTo>
                  <a:cubicBezTo>
                    <a:pt x="94" y="307"/>
                    <a:pt x="94" y="307"/>
                    <a:pt x="94" y="307"/>
                  </a:cubicBezTo>
                  <a:cubicBezTo>
                    <a:pt x="94" y="203"/>
                    <a:pt x="94" y="203"/>
                    <a:pt x="94" y="203"/>
                  </a:cubicBezTo>
                  <a:cubicBezTo>
                    <a:pt x="197" y="203"/>
                    <a:pt x="197" y="203"/>
                    <a:pt x="197" y="203"/>
                  </a:cubicBezTo>
                  <a:cubicBezTo>
                    <a:pt x="197" y="102"/>
                    <a:pt x="197" y="102"/>
                    <a:pt x="197" y="102"/>
                  </a:cubicBezTo>
                  <a:cubicBezTo>
                    <a:pt x="401" y="102"/>
                    <a:pt x="401" y="102"/>
                    <a:pt x="401" y="102"/>
                  </a:cubicBezTo>
                  <a:cubicBezTo>
                    <a:pt x="401" y="0"/>
                    <a:pt x="401" y="0"/>
                    <a:pt x="401" y="0"/>
                  </a:cubicBezTo>
                  <a:cubicBezTo>
                    <a:pt x="524" y="0"/>
                    <a:pt x="524" y="0"/>
                    <a:pt x="524" y="0"/>
                  </a:cubicBezTo>
                  <a:lnTo>
                    <a:pt x="524" y="203"/>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2" name="Freeform 68">
              <a:extLst>
                <a:ext uri="{FF2B5EF4-FFF2-40B4-BE49-F238E27FC236}">
                  <a16:creationId xmlns:a16="http://schemas.microsoft.com/office/drawing/2014/main" id="{D0AB2118-686C-4C3C-BAFD-AA950851E71A}"/>
                </a:ext>
              </a:extLst>
            </p:cNvPr>
            <p:cNvSpPr>
              <a:spLocks/>
            </p:cNvSpPr>
            <p:nvPr/>
          </p:nvSpPr>
          <p:spPr bwMode="auto">
            <a:xfrm>
              <a:off x="5441317" y="4203702"/>
              <a:ext cx="661611" cy="354013"/>
            </a:xfrm>
            <a:custGeom>
              <a:avLst/>
              <a:gdLst>
                <a:gd name="T0" fmla="*/ 839 w 966"/>
                <a:gd name="T1" fmla="*/ 114 h 499"/>
                <a:gd name="T2" fmla="*/ 781 w 966"/>
                <a:gd name="T3" fmla="*/ 0 h 499"/>
                <a:gd name="T4" fmla="*/ 793 w 966"/>
                <a:gd name="T5" fmla="*/ 155 h 499"/>
                <a:gd name="T6" fmla="*/ 661 w 966"/>
                <a:gd name="T7" fmla="*/ 197 h 499"/>
                <a:gd name="T8" fmla="*/ 5 w 966"/>
                <a:gd name="T9" fmla="*/ 197 h 499"/>
                <a:gd name="T10" fmla="*/ 32 w 966"/>
                <a:gd name="T11" fmla="*/ 348 h 499"/>
                <a:gd name="T12" fmla="*/ 40 w 966"/>
                <a:gd name="T13" fmla="*/ 362 h 499"/>
                <a:gd name="T14" fmla="*/ 55 w 966"/>
                <a:gd name="T15" fmla="*/ 385 h 499"/>
                <a:gd name="T16" fmla="*/ 55 w 966"/>
                <a:gd name="T17" fmla="*/ 385 h 499"/>
                <a:gd name="T18" fmla="*/ 130 w 966"/>
                <a:gd name="T19" fmla="*/ 386 h 499"/>
                <a:gd name="T20" fmla="*/ 130 w 966"/>
                <a:gd name="T21" fmla="*/ 386 h 499"/>
                <a:gd name="T22" fmla="*/ 239 w 966"/>
                <a:gd name="T23" fmla="*/ 371 h 499"/>
                <a:gd name="T24" fmla="*/ 249 w 966"/>
                <a:gd name="T25" fmla="*/ 375 h 499"/>
                <a:gd name="T26" fmla="*/ 244 w 966"/>
                <a:gd name="T27" fmla="*/ 385 h 499"/>
                <a:gd name="T28" fmla="*/ 233 w 966"/>
                <a:gd name="T29" fmla="*/ 389 h 499"/>
                <a:gd name="T30" fmla="*/ 233 w 966"/>
                <a:gd name="T31" fmla="*/ 389 h 499"/>
                <a:gd name="T32" fmla="*/ 157 w 966"/>
                <a:gd name="T33" fmla="*/ 401 h 499"/>
                <a:gd name="T34" fmla="*/ 155 w 966"/>
                <a:gd name="T35" fmla="*/ 401 h 499"/>
                <a:gd name="T36" fmla="*/ 152 w 966"/>
                <a:gd name="T37" fmla="*/ 402 h 499"/>
                <a:gd name="T38" fmla="*/ 114 w 966"/>
                <a:gd name="T39" fmla="*/ 402 h 499"/>
                <a:gd name="T40" fmla="*/ 70 w 966"/>
                <a:gd name="T41" fmla="*/ 401 h 499"/>
                <a:gd name="T42" fmla="*/ 70 w 966"/>
                <a:gd name="T43" fmla="*/ 402 h 499"/>
                <a:gd name="T44" fmla="*/ 317 w 966"/>
                <a:gd name="T45" fmla="*/ 499 h 499"/>
                <a:gd name="T46" fmla="*/ 821 w 966"/>
                <a:gd name="T47" fmla="*/ 176 h 499"/>
                <a:gd name="T48" fmla="*/ 966 w 966"/>
                <a:gd name="T49" fmla="*/ 115 h 499"/>
                <a:gd name="T50" fmla="*/ 839 w 966"/>
                <a:gd name="T51" fmla="*/ 114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6" h="499">
                  <a:moveTo>
                    <a:pt x="839" y="114"/>
                  </a:moveTo>
                  <a:cubicBezTo>
                    <a:pt x="846" y="62"/>
                    <a:pt x="806" y="20"/>
                    <a:pt x="781" y="0"/>
                  </a:cubicBezTo>
                  <a:cubicBezTo>
                    <a:pt x="753" y="33"/>
                    <a:pt x="748" y="119"/>
                    <a:pt x="793" y="155"/>
                  </a:cubicBezTo>
                  <a:cubicBezTo>
                    <a:pt x="768" y="177"/>
                    <a:pt x="715" y="197"/>
                    <a:pt x="661" y="197"/>
                  </a:cubicBezTo>
                  <a:cubicBezTo>
                    <a:pt x="5" y="197"/>
                    <a:pt x="5" y="197"/>
                    <a:pt x="5" y="197"/>
                  </a:cubicBezTo>
                  <a:cubicBezTo>
                    <a:pt x="0" y="253"/>
                    <a:pt x="10" y="304"/>
                    <a:pt x="32" y="348"/>
                  </a:cubicBezTo>
                  <a:cubicBezTo>
                    <a:pt x="40" y="362"/>
                    <a:pt x="40" y="362"/>
                    <a:pt x="40" y="362"/>
                  </a:cubicBezTo>
                  <a:cubicBezTo>
                    <a:pt x="45" y="369"/>
                    <a:pt x="50" y="377"/>
                    <a:pt x="55" y="385"/>
                  </a:cubicBezTo>
                  <a:cubicBezTo>
                    <a:pt x="55" y="385"/>
                    <a:pt x="55" y="385"/>
                    <a:pt x="55" y="385"/>
                  </a:cubicBezTo>
                  <a:cubicBezTo>
                    <a:pt x="82" y="386"/>
                    <a:pt x="107" y="387"/>
                    <a:pt x="130" y="386"/>
                  </a:cubicBezTo>
                  <a:cubicBezTo>
                    <a:pt x="130" y="386"/>
                    <a:pt x="130" y="386"/>
                    <a:pt x="130" y="386"/>
                  </a:cubicBezTo>
                  <a:cubicBezTo>
                    <a:pt x="175" y="385"/>
                    <a:pt x="211" y="380"/>
                    <a:pt x="239" y="371"/>
                  </a:cubicBezTo>
                  <a:cubicBezTo>
                    <a:pt x="243" y="369"/>
                    <a:pt x="247" y="371"/>
                    <a:pt x="249" y="375"/>
                  </a:cubicBezTo>
                  <a:cubicBezTo>
                    <a:pt x="250" y="380"/>
                    <a:pt x="248" y="384"/>
                    <a:pt x="244" y="385"/>
                  </a:cubicBezTo>
                  <a:cubicBezTo>
                    <a:pt x="240" y="387"/>
                    <a:pt x="236" y="388"/>
                    <a:pt x="233" y="389"/>
                  </a:cubicBezTo>
                  <a:cubicBezTo>
                    <a:pt x="233" y="389"/>
                    <a:pt x="233" y="389"/>
                    <a:pt x="233" y="389"/>
                  </a:cubicBezTo>
                  <a:cubicBezTo>
                    <a:pt x="211" y="395"/>
                    <a:pt x="187" y="399"/>
                    <a:pt x="157" y="401"/>
                  </a:cubicBezTo>
                  <a:cubicBezTo>
                    <a:pt x="159" y="401"/>
                    <a:pt x="155" y="401"/>
                    <a:pt x="155" y="401"/>
                  </a:cubicBezTo>
                  <a:cubicBezTo>
                    <a:pt x="154" y="401"/>
                    <a:pt x="153" y="402"/>
                    <a:pt x="152" y="402"/>
                  </a:cubicBezTo>
                  <a:cubicBezTo>
                    <a:pt x="140" y="402"/>
                    <a:pt x="127" y="402"/>
                    <a:pt x="114" y="402"/>
                  </a:cubicBezTo>
                  <a:cubicBezTo>
                    <a:pt x="100" y="402"/>
                    <a:pt x="86" y="402"/>
                    <a:pt x="70" y="401"/>
                  </a:cubicBezTo>
                  <a:cubicBezTo>
                    <a:pt x="70" y="402"/>
                    <a:pt x="70" y="402"/>
                    <a:pt x="70" y="402"/>
                  </a:cubicBezTo>
                  <a:cubicBezTo>
                    <a:pt x="124" y="463"/>
                    <a:pt x="210" y="499"/>
                    <a:pt x="317" y="499"/>
                  </a:cubicBezTo>
                  <a:cubicBezTo>
                    <a:pt x="544" y="499"/>
                    <a:pt x="736" y="399"/>
                    <a:pt x="821" y="176"/>
                  </a:cubicBezTo>
                  <a:cubicBezTo>
                    <a:pt x="882" y="182"/>
                    <a:pt x="940" y="167"/>
                    <a:pt x="966" y="115"/>
                  </a:cubicBezTo>
                  <a:cubicBezTo>
                    <a:pt x="924" y="91"/>
                    <a:pt x="870" y="99"/>
                    <a:pt x="839" y="114"/>
                  </a:cubicBez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3" name="Freeform 72">
              <a:extLst>
                <a:ext uri="{FF2B5EF4-FFF2-40B4-BE49-F238E27FC236}">
                  <a16:creationId xmlns:a16="http://schemas.microsoft.com/office/drawing/2014/main" id="{055562BA-1576-46CD-A5D0-2EA1A8D90F49}"/>
                </a:ext>
              </a:extLst>
            </p:cNvPr>
            <p:cNvSpPr>
              <a:spLocks noEditPoints="1"/>
            </p:cNvSpPr>
            <p:nvPr/>
          </p:nvSpPr>
          <p:spPr bwMode="auto">
            <a:xfrm>
              <a:off x="5505641" y="4270375"/>
              <a:ext cx="61260" cy="6191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4" name="Freeform 73">
              <a:extLst>
                <a:ext uri="{FF2B5EF4-FFF2-40B4-BE49-F238E27FC236}">
                  <a16:creationId xmlns:a16="http://schemas.microsoft.com/office/drawing/2014/main" id="{18BC7806-2A07-48A1-B37A-BC11B1705F9C}"/>
                </a:ext>
              </a:extLst>
            </p:cNvPr>
            <p:cNvSpPr>
              <a:spLocks noEditPoints="1"/>
            </p:cNvSpPr>
            <p:nvPr/>
          </p:nvSpPr>
          <p:spPr bwMode="auto">
            <a:xfrm>
              <a:off x="5576090" y="4197350"/>
              <a:ext cx="61260" cy="63500"/>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5" name="Freeform 74">
              <a:extLst>
                <a:ext uri="{FF2B5EF4-FFF2-40B4-BE49-F238E27FC236}">
                  <a16:creationId xmlns:a16="http://schemas.microsoft.com/office/drawing/2014/main" id="{28EA09CD-0CEA-4065-A265-F78174F93003}"/>
                </a:ext>
              </a:extLst>
            </p:cNvPr>
            <p:cNvSpPr>
              <a:spLocks noEditPoints="1"/>
            </p:cNvSpPr>
            <p:nvPr/>
          </p:nvSpPr>
          <p:spPr bwMode="auto">
            <a:xfrm>
              <a:off x="5576090" y="4270375"/>
              <a:ext cx="61260" cy="6191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6" name="Freeform 75">
              <a:extLst>
                <a:ext uri="{FF2B5EF4-FFF2-40B4-BE49-F238E27FC236}">
                  <a16:creationId xmlns:a16="http://schemas.microsoft.com/office/drawing/2014/main" id="{E8A86FB9-29F2-4C93-9DD6-E64CD710440A}"/>
                </a:ext>
              </a:extLst>
            </p:cNvPr>
            <p:cNvSpPr>
              <a:spLocks noEditPoints="1"/>
            </p:cNvSpPr>
            <p:nvPr/>
          </p:nvSpPr>
          <p:spPr bwMode="auto">
            <a:xfrm>
              <a:off x="5646539" y="4270375"/>
              <a:ext cx="61260" cy="6191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0" name="Freeform 76">
              <a:extLst>
                <a:ext uri="{FF2B5EF4-FFF2-40B4-BE49-F238E27FC236}">
                  <a16:creationId xmlns:a16="http://schemas.microsoft.com/office/drawing/2014/main" id="{6742F7A3-9DE6-4AB2-8436-4EB9B09BA494}"/>
                </a:ext>
              </a:extLst>
            </p:cNvPr>
            <p:cNvSpPr>
              <a:spLocks noEditPoints="1"/>
            </p:cNvSpPr>
            <p:nvPr/>
          </p:nvSpPr>
          <p:spPr bwMode="auto">
            <a:xfrm>
              <a:off x="5646539" y="4197350"/>
              <a:ext cx="61260" cy="63500"/>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1" name="Freeform 77">
              <a:extLst>
                <a:ext uri="{FF2B5EF4-FFF2-40B4-BE49-F238E27FC236}">
                  <a16:creationId xmlns:a16="http://schemas.microsoft.com/office/drawing/2014/main" id="{7D6CCE65-F232-49D6-86B6-FD71644537DB}"/>
                </a:ext>
              </a:extLst>
            </p:cNvPr>
            <p:cNvSpPr>
              <a:spLocks noEditPoints="1"/>
            </p:cNvSpPr>
            <p:nvPr/>
          </p:nvSpPr>
          <p:spPr bwMode="auto">
            <a:xfrm>
              <a:off x="5716989" y="4270375"/>
              <a:ext cx="61260" cy="6191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2" name="Freeform 78">
              <a:extLst>
                <a:ext uri="{FF2B5EF4-FFF2-40B4-BE49-F238E27FC236}">
                  <a16:creationId xmlns:a16="http://schemas.microsoft.com/office/drawing/2014/main" id="{832E96A7-332C-4D42-B290-357E718711AF}"/>
                </a:ext>
              </a:extLst>
            </p:cNvPr>
            <p:cNvSpPr>
              <a:spLocks noEditPoints="1"/>
            </p:cNvSpPr>
            <p:nvPr/>
          </p:nvSpPr>
          <p:spPr bwMode="auto">
            <a:xfrm>
              <a:off x="5716989" y="4197350"/>
              <a:ext cx="61260" cy="63500"/>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3" name="Freeform 79">
              <a:extLst>
                <a:ext uri="{FF2B5EF4-FFF2-40B4-BE49-F238E27FC236}">
                  <a16:creationId xmlns:a16="http://schemas.microsoft.com/office/drawing/2014/main" id="{A88C11BD-5401-4BEB-922D-B6C50456BEF9}"/>
                </a:ext>
              </a:extLst>
            </p:cNvPr>
            <p:cNvSpPr>
              <a:spLocks noEditPoints="1"/>
            </p:cNvSpPr>
            <p:nvPr/>
          </p:nvSpPr>
          <p:spPr bwMode="auto">
            <a:xfrm>
              <a:off x="5716989" y="4125913"/>
              <a:ext cx="61260" cy="63500"/>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4" name="Freeform 80">
              <a:extLst>
                <a:ext uri="{FF2B5EF4-FFF2-40B4-BE49-F238E27FC236}">
                  <a16:creationId xmlns:a16="http://schemas.microsoft.com/office/drawing/2014/main" id="{44359ED2-0DA3-4DD5-A144-D137DDAA930A}"/>
                </a:ext>
              </a:extLst>
            </p:cNvPr>
            <p:cNvSpPr>
              <a:spLocks noEditPoints="1"/>
            </p:cNvSpPr>
            <p:nvPr/>
          </p:nvSpPr>
          <p:spPr bwMode="auto">
            <a:xfrm>
              <a:off x="5787438" y="4270375"/>
              <a:ext cx="61260" cy="6191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5" name="Oval 81">
              <a:extLst>
                <a:ext uri="{FF2B5EF4-FFF2-40B4-BE49-F238E27FC236}">
                  <a16:creationId xmlns:a16="http://schemas.microsoft.com/office/drawing/2014/main" id="{6B070C48-6805-492C-9173-0F3CC21AFA1E}"/>
                </a:ext>
              </a:extLst>
            </p:cNvPr>
            <p:cNvSpPr>
              <a:spLocks noChangeArrowheads="1"/>
            </p:cNvSpPr>
            <p:nvPr/>
          </p:nvSpPr>
          <p:spPr bwMode="auto">
            <a:xfrm>
              <a:off x="5615909" y="4433888"/>
              <a:ext cx="33693" cy="3333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6" name="Freeform 82">
              <a:extLst>
                <a:ext uri="{FF2B5EF4-FFF2-40B4-BE49-F238E27FC236}">
                  <a16:creationId xmlns:a16="http://schemas.microsoft.com/office/drawing/2014/main" id="{9CF09907-485A-4AD4-B23A-14D84FF8B2A0}"/>
                </a:ext>
              </a:extLst>
            </p:cNvPr>
            <p:cNvSpPr>
              <a:spLocks/>
            </p:cNvSpPr>
            <p:nvPr/>
          </p:nvSpPr>
          <p:spPr bwMode="auto">
            <a:xfrm>
              <a:off x="5622035" y="4438650"/>
              <a:ext cx="24504" cy="23813"/>
            </a:xfrm>
            <a:custGeom>
              <a:avLst/>
              <a:gdLst>
                <a:gd name="T0" fmla="*/ 18 w 35"/>
                <a:gd name="T1" fmla="*/ 0 h 34"/>
                <a:gd name="T2" fmla="*/ 24 w 35"/>
                <a:gd name="T3" fmla="*/ 1 h 34"/>
                <a:gd name="T4" fmla="*/ 21 w 35"/>
                <a:gd name="T5" fmla="*/ 7 h 34"/>
                <a:gd name="T6" fmla="*/ 28 w 35"/>
                <a:gd name="T7" fmla="*/ 14 h 34"/>
                <a:gd name="T8" fmla="*/ 34 w 35"/>
                <a:gd name="T9" fmla="*/ 10 h 34"/>
                <a:gd name="T10" fmla="*/ 35 w 35"/>
                <a:gd name="T11" fmla="*/ 17 h 34"/>
                <a:gd name="T12" fmla="*/ 18 w 35"/>
                <a:gd name="T13" fmla="*/ 34 h 34"/>
                <a:gd name="T14" fmla="*/ 0 w 35"/>
                <a:gd name="T15" fmla="*/ 17 h 34"/>
                <a:gd name="T16" fmla="*/ 18 w 3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4">
                  <a:moveTo>
                    <a:pt x="18" y="0"/>
                  </a:moveTo>
                  <a:cubicBezTo>
                    <a:pt x="20" y="0"/>
                    <a:pt x="22" y="0"/>
                    <a:pt x="24" y="1"/>
                  </a:cubicBezTo>
                  <a:cubicBezTo>
                    <a:pt x="22" y="2"/>
                    <a:pt x="21" y="4"/>
                    <a:pt x="21" y="7"/>
                  </a:cubicBezTo>
                  <a:cubicBezTo>
                    <a:pt x="21" y="11"/>
                    <a:pt x="24" y="14"/>
                    <a:pt x="28" y="14"/>
                  </a:cubicBezTo>
                  <a:cubicBezTo>
                    <a:pt x="30" y="14"/>
                    <a:pt x="33" y="13"/>
                    <a:pt x="34" y="10"/>
                  </a:cubicBezTo>
                  <a:cubicBezTo>
                    <a:pt x="35" y="12"/>
                    <a:pt x="35" y="15"/>
                    <a:pt x="35" y="17"/>
                  </a:cubicBezTo>
                  <a:cubicBezTo>
                    <a:pt x="35" y="27"/>
                    <a:pt x="28" y="34"/>
                    <a:pt x="18" y="34"/>
                  </a:cubicBezTo>
                  <a:cubicBezTo>
                    <a:pt x="8" y="34"/>
                    <a:pt x="0" y="27"/>
                    <a:pt x="0" y="17"/>
                  </a:cubicBezTo>
                  <a:cubicBezTo>
                    <a:pt x="0" y="7"/>
                    <a:pt x="8" y="0"/>
                    <a:pt x="18" y="0"/>
                  </a:cubicBezTo>
                </a:path>
              </a:pathLst>
            </a:custGeom>
            <a:solidFill>
              <a:schemeClr val="tx2"/>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8" name="Freeform 84">
              <a:extLst>
                <a:ext uri="{FF2B5EF4-FFF2-40B4-BE49-F238E27FC236}">
                  <a16:creationId xmlns:a16="http://schemas.microsoft.com/office/drawing/2014/main" id="{923B10E4-C8AC-45E5-956A-3638BEAF71B8}"/>
                </a:ext>
              </a:extLst>
            </p:cNvPr>
            <p:cNvSpPr>
              <a:spLocks/>
            </p:cNvSpPr>
            <p:nvPr/>
          </p:nvSpPr>
          <p:spPr bwMode="auto">
            <a:xfrm>
              <a:off x="5487263" y="4479925"/>
              <a:ext cx="189907" cy="77788"/>
            </a:xfrm>
            <a:custGeom>
              <a:avLst/>
              <a:gdLst>
                <a:gd name="T0" fmla="*/ 279 w 279"/>
                <a:gd name="T1" fmla="*/ 110 h 110"/>
                <a:gd name="T2" fmla="*/ 167 w 279"/>
                <a:gd name="T3" fmla="*/ 0 h 110"/>
                <a:gd name="T4" fmla="*/ 85 w 279"/>
                <a:gd name="T5" fmla="*/ 12 h 110"/>
                <a:gd name="T6" fmla="*/ 48 w 279"/>
                <a:gd name="T7" fmla="*/ 13 h 110"/>
                <a:gd name="T8" fmla="*/ 0 w 279"/>
                <a:gd name="T9" fmla="*/ 12 h 110"/>
                <a:gd name="T10" fmla="*/ 251 w 279"/>
                <a:gd name="T11" fmla="*/ 110 h 110"/>
                <a:gd name="T12" fmla="*/ 279 w 279"/>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279" h="110">
                  <a:moveTo>
                    <a:pt x="279" y="110"/>
                  </a:moveTo>
                  <a:cubicBezTo>
                    <a:pt x="218" y="81"/>
                    <a:pt x="185" y="42"/>
                    <a:pt x="167" y="0"/>
                  </a:cubicBezTo>
                  <a:cubicBezTo>
                    <a:pt x="144" y="6"/>
                    <a:pt x="117" y="10"/>
                    <a:pt x="85" y="12"/>
                  </a:cubicBezTo>
                  <a:cubicBezTo>
                    <a:pt x="74" y="13"/>
                    <a:pt x="61" y="13"/>
                    <a:pt x="48" y="13"/>
                  </a:cubicBezTo>
                  <a:cubicBezTo>
                    <a:pt x="33" y="13"/>
                    <a:pt x="17" y="13"/>
                    <a:pt x="0" y="12"/>
                  </a:cubicBezTo>
                  <a:cubicBezTo>
                    <a:pt x="56" y="67"/>
                    <a:pt x="124" y="109"/>
                    <a:pt x="251" y="110"/>
                  </a:cubicBezTo>
                  <a:cubicBezTo>
                    <a:pt x="260" y="110"/>
                    <a:pt x="270" y="110"/>
                    <a:pt x="279" y="11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5138F45C-CA7E-1A48-B84E-B70459EC669B}"/>
              </a:ext>
            </a:extLst>
          </p:cNvPr>
          <p:cNvSpPr>
            <a:spLocks noGrp="1"/>
          </p:cNvSpPr>
          <p:nvPr>
            <p:ph type="title"/>
          </p:nvPr>
        </p:nvSpPr>
        <p:spPr/>
        <p:txBody>
          <a:bodyPr/>
          <a:lstStyle/>
          <a:p>
            <a:r>
              <a:rPr lang="en-US" dirty="0"/>
              <a:t>Building your own AI models</a:t>
            </a:r>
            <a:br>
              <a:rPr lang="en-US" dirty="0"/>
            </a:br>
            <a:endParaRPr lang="en-US" dirty="0"/>
          </a:p>
        </p:txBody>
      </p:sp>
      <p:sp>
        <p:nvSpPr>
          <p:cNvPr id="3" name="Text Placeholder 2">
            <a:extLst>
              <a:ext uri="{FF2B5EF4-FFF2-40B4-BE49-F238E27FC236}">
                <a16:creationId xmlns:a16="http://schemas.microsoft.com/office/drawing/2014/main" id="{70FCB086-6C5C-D849-A307-5C208D57FCCD}"/>
              </a:ext>
            </a:extLst>
          </p:cNvPr>
          <p:cNvSpPr>
            <a:spLocks noGrp="1"/>
          </p:cNvSpPr>
          <p:nvPr>
            <p:ph type="body" sz="quarter" idx="12"/>
          </p:nvPr>
        </p:nvSpPr>
        <p:spPr/>
        <p:txBody>
          <a:bodyPr/>
          <a:lstStyle/>
          <a:p>
            <a:r>
              <a:rPr lang="en-US" b="1" dirty="0">
                <a:latin typeface="Segoe UI Semibold" panose="020B0502040204020203" pitchFamily="34" charset="0"/>
                <a:cs typeface="Segoe UI Semibold" panose="020B0502040204020203" pitchFamily="34" charset="0"/>
              </a:rPr>
              <a:t>Step 3: </a:t>
            </a:r>
            <a:r>
              <a:rPr lang="en-US" dirty="0"/>
              <a:t>Deploy</a:t>
            </a:r>
          </a:p>
        </p:txBody>
      </p:sp>
      <p:grpSp>
        <p:nvGrpSpPr>
          <p:cNvPr id="42" name="Group 41">
            <a:extLst>
              <a:ext uri="{FF2B5EF4-FFF2-40B4-BE49-F238E27FC236}">
                <a16:creationId xmlns:a16="http://schemas.microsoft.com/office/drawing/2014/main" id="{7EC33928-B64B-354B-89DA-1397236E594D}"/>
              </a:ext>
            </a:extLst>
          </p:cNvPr>
          <p:cNvGrpSpPr/>
          <p:nvPr/>
        </p:nvGrpSpPr>
        <p:grpSpPr>
          <a:xfrm>
            <a:off x="1297097" y="3557506"/>
            <a:ext cx="876794" cy="937542"/>
            <a:chOff x="8882196" y="3721867"/>
            <a:chExt cx="285941" cy="305752"/>
          </a:xfrm>
          <a:solidFill>
            <a:schemeClr val="bg1"/>
          </a:solidFill>
        </p:grpSpPr>
        <p:sp>
          <p:nvSpPr>
            <p:cNvPr id="43" name="Rectangle 42">
              <a:extLst>
                <a:ext uri="{FF2B5EF4-FFF2-40B4-BE49-F238E27FC236}">
                  <a16:creationId xmlns:a16="http://schemas.microsoft.com/office/drawing/2014/main" id="{F625485A-ED42-5444-9589-7521F20379A7}"/>
                </a:ext>
              </a:extLst>
            </p:cNvPr>
            <p:cNvSpPr/>
            <p:nvPr/>
          </p:nvSpPr>
          <p:spPr bwMode="auto">
            <a:xfrm>
              <a:off x="8901347" y="3950022"/>
              <a:ext cx="247639" cy="77597"/>
            </a:xfrm>
            <a:prstGeom prst="rect">
              <a:avLst/>
            </a:prstGeom>
            <a:grp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Freeform 123">
              <a:extLst>
                <a:ext uri="{FF2B5EF4-FFF2-40B4-BE49-F238E27FC236}">
                  <a16:creationId xmlns:a16="http://schemas.microsoft.com/office/drawing/2014/main" id="{2824889F-E5DD-5941-A5F0-26FE58663091}"/>
                </a:ext>
              </a:extLst>
            </p:cNvPr>
            <p:cNvSpPr/>
            <p:nvPr/>
          </p:nvSpPr>
          <p:spPr bwMode="auto">
            <a:xfrm>
              <a:off x="8882196" y="3721867"/>
              <a:ext cx="180942" cy="305752"/>
            </a:xfrm>
            <a:custGeom>
              <a:avLst/>
              <a:gdLst>
                <a:gd name="connsiteX0" fmla="*/ 1641764 w 2847109"/>
                <a:gd name="connsiteY0" fmla="*/ 0 h 4810991"/>
                <a:gd name="connsiteX1" fmla="*/ 2847109 w 2847109"/>
                <a:gd name="connsiteY1" fmla="*/ 0 h 4810991"/>
                <a:gd name="connsiteX2" fmla="*/ 2847109 w 2847109"/>
                <a:gd name="connsiteY2" fmla="*/ 1797627 h 4810991"/>
                <a:gd name="connsiteX3" fmla="*/ 290946 w 2847109"/>
                <a:gd name="connsiteY3" fmla="*/ 4810991 h 4810991"/>
                <a:gd name="connsiteX4" fmla="*/ 0 w 2847109"/>
                <a:gd name="connsiteY4" fmla="*/ 3647209 h 4810991"/>
                <a:gd name="connsiteX5" fmla="*/ 1662546 w 2847109"/>
                <a:gd name="connsiteY5" fmla="*/ 1787236 h 4810991"/>
                <a:gd name="connsiteX6" fmla="*/ 1641764 w 2847109"/>
                <a:gd name="connsiteY6" fmla="*/ 0 h 481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7109" h="4810991">
                  <a:moveTo>
                    <a:pt x="1641764" y="0"/>
                  </a:moveTo>
                  <a:lnTo>
                    <a:pt x="2847109" y="0"/>
                  </a:lnTo>
                  <a:lnTo>
                    <a:pt x="2847109" y="1797627"/>
                  </a:lnTo>
                  <a:lnTo>
                    <a:pt x="290946" y="4810991"/>
                  </a:lnTo>
                  <a:lnTo>
                    <a:pt x="0" y="3647209"/>
                  </a:lnTo>
                  <a:lnTo>
                    <a:pt x="1662546" y="1787236"/>
                  </a:lnTo>
                  <a:lnTo>
                    <a:pt x="1641764" y="0"/>
                  </a:lnTo>
                  <a:close/>
                </a:path>
              </a:pathLst>
            </a:custGeom>
            <a:grp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Freeform 124">
              <a:extLst>
                <a:ext uri="{FF2B5EF4-FFF2-40B4-BE49-F238E27FC236}">
                  <a16:creationId xmlns:a16="http://schemas.microsoft.com/office/drawing/2014/main" id="{96DB359C-B80A-F647-B29D-BD493BC6A177}"/>
                </a:ext>
              </a:extLst>
            </p:cNvPr>
            <p:cNvSpPr/>
            <p:nvPr/>
          </p:nvSpPr>
          <p:spPr bwMode="auto">
            <a:xfrm>
              <a:off x="9035402" y="3857904"/>
              <a:ext cx="132735" cy="169715"/>
            </a:xfrm>
            <a:custGeom>
              <a:avLst/>
              <a:gdLst>
                <a:gd name="connsiteX0" fmla="*/ 0 w 2088573"/>
                <a:gd name="connsiteY0" fmla="*/ 883227 h 2670464"/>
                <a:gd name="connsiteX1" fmla="*/ 737755 w 2088573"/>
                <a:gd name="connsiteY1" fmla="*/ 0 h 2670464"/>
                <a:gd name="connsiteX2" fmla="*/ 2088573 w 2088573"/>
                <a:gd name="connsiteY2" fmla="*/ 1517073 h 2670464"/>
                <a:gd name="connsiteX3" fmla="*/ 1797627 w 2088573"/>
                <a:gd name="connsiteY3" fmla="*/ 2670464 h 2670464"/>
                <a:gd name="connsiteX4" fmla="*/ 0 w 2088573"/>
                <a:gd name="connsiteY4" fmla="*/ 883227 h 2670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573" h="2670464">
                  <a:moveTo>
                    <a:pt x="0" y="883227"/>
                  </a:moveTo>
                  <a:lnTo>
                    <a:pt x="737755" y="0"/>
                  </a:lnTo>
                  <a:lnTo>
                    <a:pt x="2088573" y="1517073"/>
                  </a:lnTo>
                  <a:lnTo>
                    <a:pt x="1797627" y="2670464"/>
                  </a:lnTo>
                  <a:lnTo>
                    <a:pt x="0" y="883227"/>
                  </a:lnTo>
                  <a:close/>
                </a:path>
              </a:pathLst>
            </a:custGeom>
            <a:grp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721380646"/>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37B518A-E2D3-44BC-9F12-CEFB7C53C718}"/>
              </a:ext>
            </a:extLst>
          </p:cNvPr>
          <p:cNvSpPr/>
          <p:nvPr/>
        </p:nvSpPr>
        <p:spPr bwMode="auto">
          <a:xfrm>
            <a:off x="583660" y="603115"/>
            <a:ext cx="11011710" cy="5680953"/>
          </a:xfrm>
          <a:prstGeom prst="rect">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78D4"/>
              </a:solidFill>
              <a:effectLst/>
              <a:uLnTx/>
              <a:uFillTx/>
              <a:latin typeface="Segoe UI Semilight"/>
              <a:ea typeface="+mn-ea"/>
              <a:cs typeface="+mn-cs"/>
            </a:endParaRPr>
          </a:p>
        </p:txBody>
      </p:sp>
      <p:pic>
        <p:nvPicPr>
          <p:cNvPr id="34" name="Picture 2" descr="http://vignette2.wikia.nocookie.net/logopedia/images/e/ed/Fujitsu-Logo.svg.png/revision/latest?cb=20121230050709"/>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055721" y="5627909"/>
            <a:ext cx="621434" cy="314059"/>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2" descr="https://upload.wikimedia.org/wikipedia/en/thumb/d/dd/Schneider_Electric.svg/1024px-Schneider_Electric.svg.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03032" y="2325869"/>
            <a:ext cx="780472" cy="235512"/>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16" descr="File:Liebherr-Logo.sv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323095" y="2921266"/>
            <a:ext cx="818507" cy="115616"/>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4" descr="https://upload.wikimedia.org/wikipedia/en/thumb/3/33/Jabil_logo.svg/1280px-Jabil_logo.svg.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810755" y="2362913"/>
            <a:ext cx="705976" cy="13457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1285329" y="1098072"/>
            <a:ext cx="792298" cy="336445"/>
          </a:xfrm>
          <a:prstGeom prst="rect">
            <a:avLst/>
          </a:prstGeom>
          <a:ln>
            <a:noFill/>
          </a:ln>
        </p:spPr>
      </p:pic>
      <p:pic>
        <p:nvPicPr>
          <p:cNvPr id="27" name="Picture 2" descr="ThyssenKrupp Logo"/>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059029" y="1567437"/>
            <a:ext cx="675630" cy="49459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4" name="Picture 43">
            <a:extLst>
              <a:ext uri="{FF2B5EF4-FFF2-40B4-BE49-F238E27FC236}">
                <a16:creationId xmlns:a16="http://schemas.microsoft.com/office/drawing/2014/main" id="{7352673B-6EB6-49C8-BCF1-9E8171B191F8}"/>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622360" y="2307478"/>
            <a:ext cx="770422" cy="232929"/>
          </a:xfrm>
          <a:prstGeom prst="rect">
            <a:avLst/>
          </a:prstGeom>
          <a:ln>
            <a:noFill/>
          </a:ln>
        </p:spPr>
      </p:pic>
      <p:pic>
        <p:nvPicPr>
          <p:cNvPr id="63" name="Picture 62">
            <a:extLst>
              <a:ext uri="{FF2B5EF4-FFF2-40B4-BE49-F238E27FC236}">
                <a16:creationId xmlns:a16="http://schemas.microsoft.com/office/drawing/2014/main" id="{7394E206-39EF-4CF8-8F72-ED90F38D4F9A}"/>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l="7417" t="4545" r="7417" b="4545"/>
          <a:stretch/>
        </p:blipFill>
        <p:spPr>
          <a:xfrm>
            <a:off x="4521503" y="1601020"/>
            <a:ext cx="473685" cy="473685"/>
          </a:xfrm>
          <a:prstGeom prst="rect">
            <a:avLst/>
          </a:prstGeom>
          <a:ln>
            <a:noFill/>
          </a:ln>
        </p:spPr>
      </p:pic>
      <p:pic>
        <p:nvPicPr>
          <p:cNvPr id="69" name="Picture 68">
            <a:extLst>
              <a:ext uri="{FF2B5EF4-FFF2-40B4-BE49-F238E27FC236}">
                <a16:creationId xmlns:a16="http://schemas.microsoft.com/office/drawing/2014/main" id="{CD09C826-EA7A-4380-823D-3DED5FE49E57}"/>
              </a:ext>
            </a:extLst>
          </p:cNvPr>
          <p:cNvPicPr>
            <a:picLocks noChangeAspect="1"/>
          </p:cNvPicPr>
          <p:nvPr/>
        </p:nvPicPr>
        <p:blipFill>
          <a:blip r:embed="rId11"/>
          <a:stretch>
            <a:fillRect/>
          </a:stretch>
        </p:blipFill>
        <p:spPr>
          <a:xfrm>
            <a:off x="8565129" y="1737824"/>
            <a:ext cx="757411" cy="213952"/>
          </a:xfrm>
          <a:prstGeom prst="rect">
            <a:avLst/>
          </a:prstGeom>
          <a:ln>
            <a:noFill/>
          </a:ln>
        </p:spPr>
      </p:pic>
      <p:pic>
        <p:nvPicPr>
          <p:cNvPr id="8" name="Picture 7"/>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3962888" y="3364294"/>
            <a:ext cx="1215605" cy="325582"/>
          </a:xfrm>
          <a:prstGeom prst="rect">
            <a:avLst/>
          </a:prstGeom>
          <a:ln>
            <a:noFill/>
          </a:ln>
        </p:spPr>
      </p:pic>
      <p:pic>
        <p:nvPicPr>
          <p:cNvPr id="29" name="Picture 28"/>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1228194" y="3428729"/>
            <a:ext cx="887050" cy="235512"/>
          </a:xfrm>
          <a:prstGeom prst="rect">
            <a:avLst/>
          </a:prstGeom>
          <a:ln>
            <a:noFill/>
          </a:ln>
        </p:spPr>
      </p:pic>
      <p:pic>
        <p:nvPicPr>
          <p:cNvPr id="60" name="Picture 59">
            <a:extLst>
              <a:ext uri="{FF2B5EF4-FFF2-40B4-BE49-F238E27FC236}">
                <a16:creationId xmlns:a16="http://schemas.microsoft.com/office/drawing/2014/main" id="{8B102AC8-6F51-448C-8C6C-A04525394A0D}"/>
              </a:ext>
            </a:extLst>
          </p:cNvPr>
          <p:cNvPicPr>
            <a:picLocks noChangeAspect="1"/>
          </p:cNvPicPr>
          <p:nvPr/>
        </p:nvPicPr>
        <p:blipFill rotWithShape="1">
          <a:blip r:embed="rId14" cstate="hqprint">
            <a:extLst>
              <a:ext uri="{28A0092B-C50C-407E-A947-70E740481C1C}">
                <a14:useLocalDpi xmlns:a14="http://schemas.microsoft.com/office/drawing/2010/main"/>
              </a:ext>
            </a:extLst>
          </a:blip>
          <a:srcRect/>
          <a:stretch/>
        </p:blipFill>
        <p:spPr>
          <a:xfrm>
            <a:off x="1240962" y="4005042"/>
            <a:ext cx="861512" cy="235512"/>
          </a:xfrm>
          <a:prstGeom prst="rect">
            <a:avLst/>
          </a:prstGeom>
          <a:ln>
            <a:noFill/>
          </a:ln>
        </p:spPr>
      </p:pic>
      <p:pic>
        <p:nvPicPr>
          <p:cNvPr id="72" name="Picture 71">
            <a:extLst>
              <a:ext uri="{FF2B5EF4-FFF2-40B4-BE49-F238E27FC236}">
                <a16:creationId xmlns:a16="http://schemas.microsoft.com/office/drawing/2014/main" id="{9DE68120-A687-4E4B-ACD9-439C6F97B516}"/>
              </a:ext>
            </a:extLst>
          </p:cNvPr>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5803865" y="3421792"/>
            <a:ext cx="1047078" cy="235512"/>
          </a:xfrm>
          <a:prstGeom prst="rect">
            <a:avLst/>
          </a:prstGeom>
          <a:ln>
            <a:noFill/>
          </a:ln>
        </p:spPr>
      </p:pic>
      <p:pic>
        <p:nvPicPr>
          <p:cNvPr id="2054" name="Picture 6" descr="See the source image">
            <a:extLst>
              <a:ext uri="{FF2B5EF4-FFF2-40B4-BE49-F238E27FC236}">
                <a16:creationId xmlns:a16="http://schemas.microsoft.com/office/drawing/2014/main" id="{63E267D3-35BE-49A9-AA22-57CDE9186522}"/>
              </a:ext>
            </a:extLst>
          </p:cNvPr>
          <p:cNvPicPr>
            <a:picLocks noChangeAspect="1" noChangeArrowheads="1"/>
          </p:cNvPicPr>
          <p:nvPr/>
        </p:nvPicPr>
        <p:blipFill>
          <a:blip r:embed="rId16" cstate="hqprint">
            <a:extLst>
              <a:ext uri="{28A0092B-C50C-407E-A947-70E740481C1C}">
                <a14:useLocalDpi xmlns:a14="http://schemas.microsoft.com/office/drawing/2010/main"/>
              </a:ext>
            </a:extLst>
          </a:blip>
          <a:srcRect/>
          <a:stretch>
            <a:fillRect/>
          </a:stretch>
        </p:blipFill>
        <p:spPr bwMode="auto">
          <a:xfrm>
            <a:off x="1479405" y="2233915"/>
            <a:ext cx="343005" cy="343005"/>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See the source image">
            <a:extLst>
              <a:ext uri="{FF2B5EF4-FFF2-40B4-BE49-F238E27FC236}">
                <a16:creationId xmlns:a16="http://schemas.microsoft.com/office/drawing/2014/main" id="{AAA02E2C-DA2E-4C3E-A1D5-66AA56E0E8F4}"/>
              </a:ext>
            </a:extLst>
          </p:cNvPr>
          <p:cNvPicPr>
            <a:picLocks noChangeAspect="1" noChangeArrowheads="1"/>
          </p:cNvPicPr>
          <p:nvPr/>
        </p:nvPicPr>
        <p:blipFill>
          <a:blip r:embed="rId17" cstate="hqprint">
            <a:extLst>
              <a:ext uri="{28A0092B-C50C-407E-A947-70E740481C1C}">
                <a14:useLocalDpi xmlns:a14="http://schemas.microsoft.com/office/drawing/2010/main"/>
              </a:ext>
            </a:extLst>
          </a:blip>
          <a:srcRect/>
          <a:stretch>
            <a:fillRect/>
          </a:stretch>
        </p:blipFill>
        <p:spPr bwMode="auto">
          <a:xfrm>
            <a:off x="4313599" y="2902305"/>
            <a:ext cx="785609" cy="134578"/>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See the source image">
            <a:extLst>
              <a:ext uri="{FF2B5EF4-FFF2-40B4-BE49-F238E27FC236}">
                <a16:creationId xmlns:a16="http://schemas.microsoft.com/office/drawing/2014/main" id="{6D608F4D-67C6-4A28-B60D-88C9666399C2}"/>
              </a:ext>
            </a:extLst>
          </p:cNvPr>
          <p:cNvPicPr>
            <a:picLocks noChangeAspect="1" noChangeArrowheads="1"/>
          </p:cNvPicPr>
          <p:nvPr/>
        </p:nvPicPr>
        <p:blipFill rotWithShape="1">
          <a:blip r:embed="rId18" cstate="hqprint">
            <a:extLst>
              <a:ext uri="{28A0092B-C50C-407E-A947-70E740481C1C}">
                <a14:useLocalDpi xmlns:a14="http://schemas.microsoft.com/office/drawing/2010/main"/>
              </a:ext>
            </a:extLst>
          </a:blip>
          <a:srcRect/>
          <a:stretch/>
        </p:blipFill>
        <p:spPr bwMode="auto">
          <a:xfrm>
            <a:off x="10316683" y="2298693"/>
            <a:ext cx="691805" cy="278227"/>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See the source image">
            <a:extLst>
              <a:ext uri="{FF2B5EF4-FFF2-40B4-BE49-F238E27FC236}">
                <a16:creationId xmlns:a16="http://schemas.microsoft.com/office/drawing/2014/main" id="{F8F2F874-3A30-4EF0-A2DA-6D7606ADF172}"/>
              </a:ext>
            </a:extLst>
          </p:cNvPr>
          <p:cNvPicPr>
            <a:picLocks noChangeAspect="1" noChangeArrowheads="1"/>
          </p:cNvPicPr>
          <p:nvPr/>
        </p:nvPicPr>
        <p:blipFill>
          <a:blip r:embed="rId19" cstate="hqprint">
            <a:extLst>
              <a:ext uri="{28A0092B-C50C-407E-A947-70E740481C1C}">
                <a14:useLocalDpi xmlns:a14="http://schemas.microsoft.com/office/drawing/2010/main"/>
              </a:ext>
            </a:extLst>
          </a:blip>
          <a:srcRect/>
          <a:stretch>
            <a:fillRect/>
          </a:stretch>
        </p:blipFill>
        <p:spPr bwMode="auto">
          <a:xfrm>
            <a:off x="4192732" y="2367858"/>
            <a:ext cx="710350" cy="13457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7BB0ED5F-9FB5-415E-BFDB-3974299E07F9}"/>
              </a:ext>
            </a:extLst>
          </p:cNvPr>
          <p:cNvPicPr>
            <a:picLocks noChangeAspect="1"/>
          </p:cNvPicPr>
          <p:nvPr/>
        </p:nvPicPr>
        <p:blipFill rotWithShape="1">
          <a:blip r:embed="rId20">
            <a:extLst>
              <a:ext uri="{28A0092B-C50C-407E-A947-70E740481C1C}">
                <a14:useLocalDpi xmlns:a14="http://schemas.microsoft.com/office/drawing/2010/main" val="0"/>
              </a:ext>
            </a:extLst>
          </a:blip>
          <a:srcRect l="21229" t="40548" r="20457" b="40937"/>
          <a:stretch/>
        </p:blipFill>
        <p:spPr>
          <a:xfrm>
            <a:off x="10324443" y="3451279"/>
            <a:ext cx="777056" cy="185045"/>
          </a:xfrm>
          <a:prstGeom prst="rect">
            <a:avLst/>
          </a:prstGeom>
        </p:spPr>
      </p:pic>
      <p:pic>
        <p:nvPicPr>
          <p:cNvPr id="62" name="Picture 48" descr="https://upload.wikimedia.org/wikipedia/commons/thumb/b/b8/Weir-Logo.svg/1000px-Weir-Logo.svg.png">
            <a:extLst>
              <a:ext uri="{FF2B5EF4-FFF2-40B4-BE49-F238E27FC236}">
                <a16:creationId xmlns:a16="http://schemas.microsoft.com/office/drawing/2014/main" id="{172D0B87-CE3B-454A-B3FF-7A826C052DE4}"/>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3088470" y="4579014"/>
            <a:ext cx="742936" cy="235512"/>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4" descr="https://upload.wikimedia.org/wikipedia/en/thumb/3/33/Jabil_logo.svg/1280px-Jabil_logo.svg.png">
            <a:extLst>
              <a:ext uri="{FF2B5EF4-FFF2-40B4-BE49-F238E27FC236}">
                <a16:creationId xmlns:a16="http://schemas.microsoft.com/office/drawing/2014/main" id="{DCDEEF15-13F2-4D3C-91D0-9579A60892BB}"/>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300990" y="4055508"/>
            <a:ext cx="705978" cy="134578"/>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75">
            <a:extLst>
              <a:ext uri="{FF2B5EF4-FFF2-40B4-BE49-F238E27FC236}">
                <a16:creationId xmlns:a16="http://schemas.microsoft.com/office/drawing/2014/main" id="{E6238CD5-7AA7-473A-AB9E-F9341FBC498C}"/>
              </a:ext>
            </a:extLst>
          </p:cNvPr>
          <p:cNvPicPr>
            <a:picLocks noChangeAspect="1"/>
          </p:cNvPicPr>
          <p:nvPr/>
        </p:nvPicPr>
        <p:blipFill rotWithShape="1">
          <a:blip r:embed="rId22">
            <a:extLst>
              <a:ext uri="{28A0092B-C50C-407E-A947-70E740481C1C}">
                <a14:useLocalDpi xmlns:a14="http://schemas.microsoft.com/office/drawing/2010/main" val="0"/>
              </a:ext>
            </a:extLst>
          </a:blip>
          <a:srcRect l="-968" r="58494"/>
          <a:stretch/>
        </p:blipFill>
        <p:spPr>
          <a:xfrm>
            <a:off x="6868075" y="4529031"/>
            <a:ext cx="405535" cy="335478"/>
          </a:xfrm>
          <a:prstGeom prst="rect">
            <a:avLst/>
          </a:prstGeom>
        </p:spPr>
      </p:pic>
      <p:pic>
        <p:nvPicPr>
          <p:cNvPr id="78" name="Picture 77">
            <a:extLst>
              <a:ext uri="{FF2B5EF4-FFF2-40B4-BE49-F238E27FC236}">
                <a16:creationId xmlns:a16="http://schemas.microsoft.com/office/drawing/2014/main" id="{41D11D87-F460-435A-A578-F129C4C0F31A}"/>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740616" y="3390632"/>
            <a:ext cx="596900" cy="325582"/>
          </a:xfrm>
          <a:prstGeom prst="rect">
            <a:avLst/>
          </a:prstGeom>
        </p:spPr>
      </p:pic>
      <p:pic>
        <p:nvPicPr>
          <p:cNvPr id="79" name="Picture 78">
            <a:extLst>
              <a:ext uri="{FF2B5EF4-FFF2-40B4-BE49-F238E27FC236}">
                <a16:creationId xmlns:a16="http://schemas.microsoft.com/office/drawing/2014/main" id="{B8C35447-43E5-4400-AA7A-491D545371DA}"/>
              </a:ext>
            </a:extLst>
          </p:cNvPr>
          <p:cNvPicPr>
            <a:picLocks noChangeAspect="1"/>
          </p:cNvPicPr>
          <p:nvPr/>
        </p:nvPicPr>
        <p:blipFill>
          <a:blip r:embed="rId2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366751" y="5019289"/>
            <a:ext cx="658996" cy="502373"/>
          </a:xfrm>
          <a:prstGeom prst="rect">
            <a:avLst/>
          </a:prstGeom>
        </p:spPr>
      </p:pic>
      <p:pic>
        <p:nvPicPr>
          <p:cNvPr id="80" name="Picture 2" descr="Image result for fathym logo">
            <a:extLst>
              <a:ext uri="{FF2B5EF4-FFF2-40B4-BE49-F238E27FC236}">
                <a16:creationId xmlns:a16="http://schemas.microsoft.com/office/drawing/2014/main" id="{C80D9D5B-9B95-42C2-8C63-83A8C0B0ECDC}"/>
              </a:ext>
            </a:extLst>
          </p:cNvPr>
          <p:cNvPicPr>
            <a:picLocks noChangeAspect="1" noChangeArrowheads="1"/>
          </p:cNvPicPr>
          <p:nvPr/>
        </p:nvPicPr>
        <p:blipFill rotWithShape="1">
          <a:blip r:embed="rId25">
            <a:clrChange>
              <a:clrFrom>
                <a:srgbClr val="FFFFFF"/>
              </a:clrFrom>
              <a:clrTo>
                <a:srgbClr val="FFFFFF">
                  <a:alpha val="0"/>
                </a:srgbClr>
              </a:clrTo>
            </a:clrChange>
            <a:extLst>
              <a:ext uri="{28A0092B-C50C-407E-A947-70E740481C1C}">
                <a14:useLocalDpi xmlns:a14="http://schemas.microsoft.com/office/drawing/2010/main" val="0"/>
              </a:ext>
            </a:extLst>
          </a:blip>
          <a:srcRect l="11986" t="16667" r="17415" b="25000"/>
          <a:stretch/>
        </p:blipFill>
        <p:spPr bwMode="auto">
          <a:xfrm>
            <a:off x="10273794" y="4483602"/>
            <a:ext cx="734694" cy="395604"/>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80">
            <a:extLst>
              <a:ext uri="{FF2B5EF4-FFF2-40B4-BE49-F238E27FC236}">
                <a16:creationId xmlns:a16="http://schemas.microsoft.com/office/drawing/2014/main" id="{67665187-8B0A-46C9-9708-61F24DC0C3F8}"/>
              </a:ext>
            </a:extLst>
          </p:cNvPr>
          <p:cNvPicPr>
            <a:picLocks noChangeAspect="1"/>
          </p:cNvPicPr>
          <p:nvPr/>
        </p:nvPicPr>
        <p:blipFill rotWithShape="1">
          <a:blip r:embed="rId26">
            <a:extLst>
              <a:ext uri="{28A0092B-C50C-407E-A947-70E740481C1C}">
                <a14:useLocalDpi xmlns:a14="http://schemas.microsoft.com/office/drawing/2010/main" val="0"/>
              </a:ext>
            </a:extLst>
          </a:blip>
          <a:srcRect b="32294"/>
          <a:stretch/>
        </p:blipFill>
        <p:spPr>
          <a:xfrm>
            <a:off x="4470513" y="5077488"/>
            <a:ext cx="570080" cy="385974"/>
          </a:xfrm>
          <a:prstGeom prst="rect">
            <a:avLst/>
          </a:prstGeom>
        </p:spPr>
      </p:pic>
      <p:pic>
        <p:nvPicPr>
          <p:cNvPr id="82" name="Picture Placeholder 6">
            <a:extLst>
              <a:ext uri="{FF2B5EF4-FFF2-40B4-BE49-F238E27FC236}">
                <a16:creationId xmlns:a16="http://schemas.microsoft.com/office/drawing/2014/main" id="{B94F12F5-73A8-4E00-962B-8645F11402C8}"/>
              </a:ext>
            </a:extLst>
          </p:cNvPr>
          <p:cNvPicPr>
            <a:picLocks noChangeAspect="1"/>
          </p:cNvPicPr>
          <p:nvPr/>
        </p:nvPicPr>
        <p:blipFill rotWithShape="1">
          <a:blip r:embed="rId27" cstate="print">
            <a:extLst>
              <a:ext uri="{28A0092B-C50C-407E-A947-70E740481C1C}">
                <a14:useLocalDpi xmlns:a14="http://schemas.microsoft.com/office/drawing/2010/main" val="0"/>
              </a:ext>
            </a:extLst>
          </a:blip>
          <a:srcRect l="6060" t="15941" r="6060" b="17232"/>
          <a:stretch/>
        </p:blipFill>
        <p:spPr>
          <a:xfrm>
            <a:off x="6942035" y="5130842"/>
            <a:ext cx="948288" cy="279268"/>
          </a:xfrm>
          <a:prstGeom prst="rect">
            <a:avLst/>
          </a:prstGeom>
        </p:spPr>
      </p:pic>
      <p:pic>
        <p:nvPicPr>
          <p:cNvPr id="92" name="Picture 2" descr="Related image">
            <a:extLst>
              <a:ext uri="{FF2B5EF4-FFF2-40B4-BE49-F238E27FC236}">
                <a16:creationId xmlns:a16="http://schemas.microsoft.com/office/drawing/2014/main" id="{31900F21-8415-489D-9F85-A31989BC7885}"/>
              </a:ext>
            </a:extLst>
          </p:cNvPr>
          <p:cNvPicPr>
            <a:picLocks noChangeAspect="1" noChangeArrowheads="1"/>
          </p:cNvPicPr>
          <p:nvPr/>
        </p:nvPicPr>
        <p:blipFill>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33399" y="5203186"/>
            <a:ext cx="876639" cy="134578"/>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4" descr="Image result for NAV canada logo">
            <a:extLst>
              <a:ext uri="{FF2B5EF4-FFF2-40B4-BE49-F238E27FC236}">
                <a16:creationId xmlns:a16="http://schemas.microsoft.com/office/drawing/2014/main" id="{5F6671E4-99C0-43DC-B80F-400E353CD063}"/>
              </a:ext>
            </a:extLst>
          </p:cNvPr>
          <p:cNvPicPr>
            <a:picLocks noChangeAspect="1" noChangeArrowheads="1"/>
          </p:cNvPicPr>
          <p:nvPr/>
        </p:nvPicPr>
        <p:blipFill>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878083" y="4549378"/>
            <a:ext cx="943315" cy="294786"/>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6" descr="Image result for ABT power management logo">
            <a:extLst>
              <a:ext uri="{FF2B5EF4-FFF2-40B4-BE49-F238E27FC236}">
                <a16:creationId xmlns:a16="http://schemas.microsoft.com/office/drawing/2014/main" id="{DF7FE5E8-C404-4D50-9CA6-DB9FDA9CDEEA}"/>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0239224" y="5108077"/>
            <a:ext cx="846722" cy="324796"/>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4" descr="Image result for mondelez logo">
            <a:extLst>
              <a:ext uri="{FF2B5EF4-FFF2-40B4-BE49-F238E27FC236}">
                <a16:creationId xmlns:a16="http://schemas.microsoft.com/office/drawing/2014/main" id="{FA522959-FF81-4681-BC66-EAFF0036567A}"/>
              </a:ext>
            </a:extLst>
          </p:cNvPr>
          <p:cNvPicPr>
            <a:picLocks noChangeAspect="1" noChangeArrowheads="1"/>
          </p:cNvPicPr>
          <p:nvPr/>
        </p:nvPicPr>
        <p:blipFill>
          <a:blip r:embed="rId3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53004" y="5666372"/>
            <a:ext cx="934913" cy="299693"/>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95">
            <a:extLst>
              <a:ext uri="{FF2B5EF4-FFF2-40B4-BE49-F238E27FC236}">
                <a16:creationId xmlns:a16="http://schemas.microsoft.com/office/drawing/2014/main" id="{8BF35C57-0219-4A64-8A77-37D181289026}"/>
              </a:ext>
            </a:extLst>
          </p:cNvPr>
          <p:cNvPicPr>
            <a:picLocks noChangeAspect="1"/>
          </p:cNvPicPr>
          <p:nvPr/>
        </p:nvPicPr>
        <p:blipFill rotWithShape="1">
          <a:blip r:embed="rId32">
            <a:extLst>
              <a:ext uri="{28A0092B-C50C-407E-A947-70E740481C1C}">
                <a14:useLocalDpi xmlns:a14="http://schemas.microsoft.com/office/drawing/2010/main" val="0"/>
              </a:ext>
            </a:extLst>
          </a:blip>
          <a:srcRect l="8762" t="23406" r="7811" b="22758"/>
          <a:stretch/>
        </p:blipFill>
        <p:spPr>
          <a:xfrm>
            <a:off x="7558897" y="5666372"/>
            <a:ext cx="876550" cy="285328"/>
          </a:xfrm>
          <a:prstGeom prst="rect">
            <a:avLst/>
          </a:prstGeom>
        </p:spPr>
      </p:pic>
      <p:pic>
        <p:nvPicPr>
          <p:cNvPr id="98" name="Picture 97">
            <a:extLst>
              <a:ext uri="{FF2B5EF4-FFF2-40B4-BE49-F238E27FC236}">
                <a16:creationId xmlns:a16="http://schemas.microsoft.com/office/drawing/2014/main" id="{B3ED5C3D-A061-4318-90A6-5908ABA1FFFE}"/>
              </a:ext>
            </a:extLst>
          </p:cNvPr>
          <p:cNvPicPr>
            <a:picLocks noChangeAspect="1"/>
          </p:cNvPicPr>
          <p:nvPr/>
        </p:nvPicPr>
        <p:blipFill rotWithShape="1">
          <a:blip r:embed="rId33">
            <a:clrChange>
              <a:clrFrom>
                <a:srgbClr val="FFFFFF"/>
              </a:clrFrom>
              <a:clrTo>
                <a:srgbClr val="FFFFFF">
                  <a:alpha val="0"/>
                </a:srgbClr>
              </a:clrTo>
            </a:clrChange>
            <a:extLst>
              <a:ext uri="{28A0092B-C50C-407E-A947-70E740481C1C}">
                <a14:useLocalDpi xmlns:a14="http://schemas.microsoft.com/office/drawing/2010/main" val="0"/>
              </a:ext>
            </a:extLst>
          </a:blip>
          <a:srcRect t="26518" b="32507"/>
          <a:stretch/>
        </p:blipFill>
        <p:spPr>
          <a:xfrm>
            <a:off x="4171237" y="1173340"/>
            <a:ext cx="1030508" cy="269156"/>
          </a:xfrm>
          <a:prstGeom prst="rect">
            <a:avLst/>
          </a:prstGeom>
        </p:spPr>
      </p:pic>
      <p:pic>
        <p:nvPicPr>
          <p:cNvPr id="99" name="Picture 98">
            <a:extLst>
              <a:ext uri="{FF2B5EF4-FFF2-40B4-BE49-F238E27FC236}">
                <a16:creationId xmlns:a16="http://schemas.microsoft.com/office/drawing/2014/main" id="{E8165450-557C-471A-BCC9-E48E0C4B0B18}"/>
              </a:ext>
            </a:extLst>
          </p:cNvPr>
          <p:cNvPicPr>
            <a:picLocks noChangeAspect="1"/>
          </p:cNvPicPr>
          <p:nvPr/>
        </p:nvPicPr>
        <p:blipFill rotWithShape="1">
          <a:blip r:embed="rId34">
            <a:clrChange>
              <a:clrFrom>
                <a:srgbClr val="FFFFFF"/>
              </a:clrFrom>
              <a:clrTo>
                <a:srgbClr val="FFFFFF">
                  <a:alpha val="0"/>
                </a:srgbClr>
              </a:clrTo>
            </a:clrChange>
            <a:extLst>
              <a:ext uri="{28A0092B-C50C-407E-A947-70E740481C1C}">
                <a14:useLocalDpi xmlns:a14="http://schemas.microsoft.com/office/drawing/2010/main" val="0"/>
              </a:ext>
            </a:extLst>
          </a:blip>
          <a:srcRect t="23703" b="16043"/>
          <a:stretch/>
        </p:blipFill>
        <p:spPr>
          <a:xfrm>
            <a:off x="7410733" y="1145592"/>
            <a:ext cx="768017" cy="269156"/>
          </a:xfrm>
          <a:prstGeom prst="rect">
            <a:avLst/>
          </a:prstGeom>
        </p:spPr>
      </p:pic>
      <p:pic>
        <p:nvPicPr>
          <p:cNvPr id="100" name="Picture 99">
            <a:extLst>
              <a:ext uri="{FF2B5EF4-FFF2-40B4-BE49-F238E27FC236}">
                <a16:creationId xmlns:a16="http://schemas.microsoft.com/office/drawing/2014/main" id="{3AB0309F-0B0D-4829-A2E2-6FB3FA504BB2}"/>
              </a:ext>
            </a:extLst>
          </p:cNvPr>
          <p:cNvPicPr>
            <a:picLocks noChangeAspect="1"/>
          </p:cNvPicPr>
          <p:nvPr/>
        </p:nvPicPr>
        <p:blipFill rotWithShape="1">
          <a:blip r:embed="rId35">
            <a:extLst>
              <a:ext uri="{28A0092B-C50C-407E-A947-70E740481C1C}">
                <a14:useLocalDpi xmlns:a14="http://schemas.microsoft.com/office/drawing/2010/main" val="0"/>
              </a:ext>
            </a:extLst>
          </a:blip>
          <a:srcRect l="4709" t="13709" r="1328" b="15210"/>
          <a:stretch/>
        </p:blipFill>
        <p:spPr>
          <a:xfrm>
            <a:off x="2752224" y="2854638"/>
            <a:ext cx="840555" cy="316010"/>
          </a:xfrm>
          <a:prstGeom prst="rect">
            <a:avLst/>
          </a:prstGeom>
        </p:spPr>
      </p:pic>
      <p:pic>
        <p:nvPicPr>
          <p:cNvPr id="101" name="Picture 100">
            <a:extLst>
              <a:ext uri="{FF2B5EF4-FFF2-40B4-BE49-F238E27FC236}">
                <a16:creationId xmlns:a16="http://schemas.microsoft.com/office/drawing/2014/main" id="{9F270B88-5554-42BD-B140-9A8598F374B1}"/>
              </a:ext>
            </a:extLst>
          </p:cNvPr>
          <p:cNvPicPr>
            <a:picLocks noChangeAspect="1"/>
          </p:cNvPicPr>
          <p:nvPr/>
        </p:nvPicPr>
        <p:blipFill>
          <a:blip r:embed="rId3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336773" y="2836002"/>
            <a:ext cx="671846" cy="357488"/>
          </a:xfrm>
          <a:prstGeom prst="rect">
            <a:avLst/>
          </a:prstGeom>
        </p:spPr>
      </p:pic>
      <p:pic>
        <p:nvPicPr>
          <p:cNvPr id="102" name="Picture 101">
            <a:extLst>
              <a:ext uri="{FF2B5EF4-FFF2-40B4-BE49-F238E27FC236}">
                <a16:creationId xmlns:a16="http://schemas.microsoft.com/office/drawing/2014/main" id="{DF171231-FAE7-46F4-9860-33729F65FA30}"/>
              </a:ext>
            </a:extLst>
          </p:cNvPr>
          <p:cNvPicPr>
            <a:picLocks noChangeAspect="1"/>
          </p:cNvPicPr>
          <p:nvPr/>
        </p:nvPicPr>
        <p:blipFill rotWithShape="1">
          <a:blip r:embed="rId37">
            <a:clrChange>
              <a:clrFrom>
                <a:srgbClr val="FFFFFF"/>
              </a:clrFrom>
              <a:clrTo>
                <a:srgbClr val="FFFFFF">
                  <a:alpha val="0"/>
                </a:srgbClr>
              </a:clrTo>
            </a:clrChange>
            <a:extLst>
              <a:ext uri="{28A0092B-C50C-407E-A947-70E740481C1C}">
                <a14:useLocalDpi xmlns:a14="http://schemas.microsoft.com/office/drawing/2010/main" val="0"/>
              </a:ext>
            </a:extLst>
          </a:blip>
          <a:srcRect l="19765" t="17200" r="15821" b="18501"/>
          <a:stretch/>
        </p:blipFill>
        <p:spPr>
          <a:xfrm>
            <a:off x="8729439" y="2696107"/>
            <a:ext cx="872837" cy="546974"/>
          </a:xfrm>
          <a:prstGeom prst="rect">
            <a:avLst/>
          </a:prstGeom>
        </p:spPr>
      </p:pic>
      <p:pic>
        <p:nvPicPr>
          <p:cNvPr id="103" name="Picture 2" descr="Story logo">
            <a:extLst>
              <a:ext uri="{FF2B5EF4-FFF2-40B4-BE49-F238E27FC236}">
                <a16:creationId xmlns:a16="http://schemas.microsoft.com/office/drawing/2014/main" id="{97757EA1-6DFF-43BB-9BD8-997B9FC8480F}"/>
              </a:ext>
            </a:extLst>
          </p:cNvPr>
          <p:cNvPicPr>
            <a:picLocks noChangeAspect="1" noChangeArrowheads="1"/>
          </p:cNvPicPr>
          <p:nvPr/>
        </p:nvPicPr>
        <p:blipFill>
          <a:blip r:embed="rId3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47975" y="1675125"/>
            <a:ext cx="578117" cy="325476"/>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4" descr="Story logo">
            <a:extLst>
              <a:ext uri="{FF2B5EF4-FFF2-40B4-BE49-F238E27FC236}">
                <a16:creationId xmlns:a16="http://schemas.microsoft.com/office/drawing/2014/main" id="{C428DD6D-5C06-4054-B1B4-3907544093E3}"/>
              </a:ext>
            </a:extLst>
          </p:cNvPr>
          <p:cNvPicPr>
            <a:picLocks noChangeAspect="1" noChangeArrowheads="1"/>
          </p:cNvPicPr>
          <p:nvPr/>
        </p:nvPicPr>
        <p:blipFill rotWithShape="1">
          <a:blip r:embed="rId39">
            <a:clrChange>
              <a:clrFrom>
                <a:srgbClr val="FFFFFF"/>
              </a:clrFrom>
              <a:clrTo>
                <a:srgbClr val="FFFFFF">
                  <a:alpha val="0"/>
                </a:srgbClr>
              </a:clrTo>
            </a:clrChange>
            <a:extLst>
              <a:ext uri="{28A0092B-C50C-407E-A947-70E740481C1C}">
                <a14:useLocalDpi xmlns:a14="http://schemas.microsoft.com/office/drawing/2010/main" val="0"/>
              </a:ext>
            </a:extLst>
          </a:blip>
          <a:srcRect b="24391"/>
          <a:stretch/>
        </p:blipFill>
        <p:spPr bwMode="auto">
          <a:xfrm>
            <a:off x="5963081" y="1159466"/>
            <a:ext cx="686316" cy="269156"/>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6" descr="Story logo">
            <a:extLst>
              <a:ext uri="{FF2B5EF4-FFF2-40B4-BE49-F238E27FC236}">
                <a16:creationId xmlns:a16="http://schemas.microsoft.com/office/drawing/2014/main" id="{C0D59967-F3DB-4A8E-8A6D-8B6DBEE92027}"/>
              </a:ext>
            </a:extLst>
          </p:cNvPr>
          <p:cNvPicPr>
            <a:picLocks noChangeAspect="1" noChangeArrowheads="1"/>
          </p:cNvPicPr>
          <p:nvPr/>
        </p:nvPicPr>
        <p:blipFill>
          <a:blip r:embed="rId4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940086" y="1079293"/>
            <a:ext cx="538615" cy="432451"/>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Placeholder 1">
            <a:extLst>
              <a:ext uri="{FF2B5EF4-FFF2-40B4-BE49-F238E27FC236}">
                <a16:creationId xmlns:a16="http://schemas.microsoft.com/office/drawing/2014/main" id="{FF6BBB0E-A2E6-4F69-A015-EDB469479F4E}"/>
              </a:ext>
            </a:extLst>
          </p:cNvPr>
          <p:cNvPicPr>
            <a:picLocks noChangeAspect="1"/>
          </p:cNvPicPr>
          <p:nvPr/>
        </p:nvPicPr>
        <p:blipFill rotWithShape="1">
          <a:blip r:embed="rId41" cstate="print">
            <a:extLst>
              <a:ext uri="{28A0092B-C50C-407E-A947-70E740481C1C}">
                <a14:useLocalDpi xmlns:a14="http://schemas.microsoft.com/office/drawing/2010/main" val="0"/>
              </a:ext>
            </a:extLst>
          </a:blip>
          <a:srcRect t="9160" b="15445"/>
          <a:stretch/>
        </p:blipFill>
        <p:spPr>
          <a:xfrm>
            <a:off x="2923948" y="5106249"/>
            <a:ext cx="1070138" cy="328453"/>
          </a:xfrm>
          <a:prstGeom prst="rect">
            <a:avLst/>
          </a:prstGeom>
        </p:spPr>
      </p:pic>
      <p:pic>
        <p:nvPicPr>
          <p:cNvPr id="107" name="Picture Placeholder 4">
            <a:extLst>
              <a:ext uri="{FF2B5EF4-FFF2-40B4-BE49-F238E27FC236}">
                <a16:creationId xmlns:a16="http://schemas.microsoft.com/office/drawing/2014/main" id="{0980C195-7225-4CF1-B7D1-0FCD32606EE6}"/>
              </a:ext>
            </a:extLst>
          </p:cNvPr>
          <p:cNvPicPr>
            <a:picLocks noChangeAspect="1"/>
          </p:cNvPicPr>
          <p:nvPr/>
        </p:nvPicPr>
        <p:blipFill rotWithShape="1">
          <a:blip r:embed="rId42" cstate="print">
            <a:extLst>
              <a:ext uri="{28A0092B-C50C-407E-A947-70E740481C1C}">
                <a14:useLocalDpi xmlns:a14="http://schemas.microsoft.com/office/drawing/2010/main" val="0"/>
              </a:ext>
            </a:extLst>
          </a:blip>
          <a:srcRect l="-73723" r="-73723"/>
          <a:stretch/>
        </p:blipFill>
        <p:spPr>
          <a:xfrm>
            <a:off x="10165492" y="3894161"/>
            <a:ext cx="994187" cy="401779"/>
          </a:xfrm>
          <a:prstGeom prst="rect">
            <a:avLst/>
          </a:prstGeom>
        </p:spPr>
      </p:pic>
      <p:pic>
        <p:nvPicPr>
          <p:cNvPr id="108" name="Picture Placeholder 1">
            <a:extLst>
              <a:ext uri="{FF2B5EF4-FFF2-40B4-BE49-F238E27FC236}">
                <a16:creationId xmlns:a16="http://schemas.microsoft.com/office/drawing/2014/main" id="{B51D7015-5844-4CAB-956D-8CA5CD5B225A}"/>
              </a:ext>
            </a:extLst>
          </p:cNvPr>
          <p:cNvPicPr>
            <a:picLocks noChangeAspect="1"/>
          </p:cNvPicPr>
          <p:nvPr/>
        </p:nvPicPr>
        <p:blipFill rotWithShape="1">
          <a:blip r:embed="rId43" cstate="print">
            <a:clrChange>
              <a:clrFrom>
                <a:srgbClr val="FFFFFF"/>
              </a:clrFrom>
              <a:clrTo>
                <a:srgbClr val="FFFFFF">
                  <a:alpha val="0"/>
                </a:srgbClr>
              </a:clrTo>
            </a:clrChange>
            <a:extLst>
              <a:ext uri="{28A0092B-C50C-407E-A947-70E740481C1C}">
                <a14:useLocalDpi xmlns:a14="http://schemas.microsoft.com/office/drawing/2010/main" val="0"/>
              </a:ext>
            </a:extLst>
          </a:blip>
          <a:srcRect t="-17229" b="-17229"/>
          <a:stretch/>
        </p:blipFill>
        <p:spPr>
          <a:xfrm>
            <a:off x="8614537" y="3327341"/>
            <a:ext cx="1084533" cy="438290"/>
          </a:xfrm>
          <a:prstGeom prst="rect">
            <a:avLst/>
          </a:prstGeom>
        </p:spPr>
      </p:pic>
      <p:pic>
        <p:nvPicPr>
          <p:cNvPr id="109" name="Picture Placeholder 2">
            <a:extLst>
              <a:ext uri="{FF2B5EF4-FFF2-40B4-BE49-F238E27FC236}">
                <a16:creationId xmlns:a16="http://schemas.microsoft.com/office/drawing/2014/main" id="{F95CBECB-A62A-414C-AA0A-9E65AD3901DE}"/>
              </a:ext>
            </a:extLst>
          </p:cNvPr>
          <p:cNvPicPr>
            <a:picLocks noChangeAspect="1"/>
          </p:cNvPicPr>
          <p:nvPr/>
        </p:nvPicPr>
        <p:blipFill rotWithShape="1">
          <a:blip r:embed="rId44">
            <a:extLst>
              <a:ext uri="{28A0092B-C50C-407E-A947-70E740481C1C}">
                <a14:useLocalDpi xmlns:a14="http://schemas.microsoft.com/office/drawing/2010/main" val="0"/>
              </a:ext>
            </a:extLst>
          </a:blip>
          <a:srcRect l="-4304" r="-6574"/>
          <a:stretch/>
        </p:blipFill>
        <p:spPr>
          <a:xfrm>
            <a:off x="4377826" y="4381883"/>
            <a:ext cx="791335" cy="526233"/>
          </a:xfrm>
          <a:prstGeom prst="rect">
            <a:avLst/>
          </a:prstGeom>
        </p:spPr>
      </p:pic>
      <p:pic>
        <p:nvPicPr>
          <p:cNvPr id="110" name="Picture Placeholder 6">
            <a:extLst>
              <a:ext uri="{FF2B5EF4-FFF2-40B4-BE49-F238E27FC236}">
                <a16:creationId xmlns:a16="http://schemas.microsoft.com/office/drawing/2014/main" id="{E93F5BE9-BAA3-416E-AC24-55835821DB60}"/>
              </a:ext>
            </a:extLst>
          </p:cNvPr>
          <p:cNvPicPr>
            <a:picLocks noChangeAspect="1"/>
          </p:cNvPicPr>
          <p:nvPr/>
        </p:nvPicPr>
        <p:blipFill rotWithShape="1">
          <a:blip r:embed="rId45">
            <a:extLst>
              <a:ext uri="{28A0092B-C50C-407E-A947-70E740481C1C}">
                <a14:useLocalDpi xmlns:a14="http://schemas.microsoft.com/office/drawing/2010/main" val="0"/>
              </a:ext>
            </a:extLst>
          </a:blip>
          <a:srcRect t="-14148" b="-14148"/>
          <a:stretch/>
        </p:blipFill>
        <p:spPr>
          <a:xfrm>
            <a:off x="6978047" y="3956293"/>
            <a:ext cx="824023" cy="333010"/>
          </a:xfrm>
          <a:prstGeom prst="rect">
            <a:avLst/>
          </a:prstGeom>
        </p:spPr>
      </p:pic>
      <p:pic>
        <p:nvPicPr>
          <p:cNvPr id="112" name="Picture Placeholder 2">
            <a:extLst>
              <a:ext uri="{FF2B5EF4-FFF2-40B4-BE49-F238E27FC236}">
                <a16:creationId xmlns:a16="http://schemas.microsoft.com/office/drawing/2014/main" id="{77CBC595-3BFD-43A4-A12B-6D3B91EF2433}"/>
              </a:ext>
            </a:extLst>
          </p:cNvPr>
          <p:cNvPicPr>
            <a:picLocks noChangeAspect="1"/>
          </p:cNvPicPr>
          <p:nvPr/>
        </p:nvPicPr>
        <p:blipFill rotWithShape="1">
          <a:blip r:embed="rId46" cstate="print">
            <a:clrChange>
              <a:clrFrom>
                <a:srgbClr val="FFFFFF"/>
              </a:clrFrom>
              <a:clrTo>
                <a:srgbClr val="FFFFFF">
                  <a:alpha val="0"/>
                </a:srgbClr>
              </a:clrTo>
            </a:clrChange>
            <a:extLst>
              <a:ext uri="{28A0092B-C50C-407E-A947-70E740481C1C}">
                <a14:useLocalDpi xmlns:a14="http://schemas.microsoft.com/office/drawing/2010/main" val="0"/>
              </a:ext>
            </a:extLst>
          </a:blip>
          <a:srcRect t="-1002" b="-16766"/>
          <a:stretch/>
        </p:blipFill>
        <p:spPr>
          <a:xfrm>
            <a:off x="5820028" y="2906401"/>
            <a:ext cx="795925" cy="235512"/>
          </a:xfrm>
          <a:prstGeom prst="rect">
            <a:avLst/>
          </a:prstGeom>
        </p:spPr>
      </p:pic>
      <p:pic>
        <p:nvPicPr>
          <p:cNvPr id="113" name="Picture Placeholder 7">
            <a:extLst>
              <a:ext uri="{FF2B5EF4-FFF2-40B4-BE49-F238E27FC236}">
                <a16:creationId xmlns:a16="http://schemas.microsoft.com/office/drawing/2014/main" id="{C759B880-D447-4ECA-BC14-96EEABFCCF81}"/>
              </a:ext>
            </a:extLst>
          </p:cNvPr>
          <p:cNvPicPr>
            <a:picLocks noChangeAspect="1"/>
          </p:cNvPicPr>
          <p:nvPr/>
        </p:nvPicPr>
        <p:blipFill rotWithShape="1">
          <a:blip r:embed="rId47" cstate="print">
            <a:extLst>
              <a:ext uri="{28A0092B-C50C-407E-A947-70E740481C1C}">
                <a14:useLocalDpi xmlns:a14="http://schemas.microsoft.com/office/drawing/2010/main" val="0"/>
              </a:ext>
            </a:extLst>
          </a:blip>
          <a:srcRect t="-5032" b="-5032"/>
          <a:stretch/>
        </p:blipFill>
        <p:spPr>
          <a:xfrm>
            <a:off x="1270410" y="2842331"/>
            <a:ext cx="760994" cy="307539"/>
          </a:xfrm>
          <a:prstGeom prst="rect">
            <a:avLst/>
          </a:prstGeom>
        </p:spPr>
      </p:pic>
      <p:pic>
        <p:nvPicPr>
          <p:cNvPr id="114" name="Picture Placeholder 1">
            <a:extLst>
              <a:ext uri="{FF2B5EF4-FFF2-40B4-BE49-F238E27FC236}">
                <a16:creationId xmlns:a16="http://schemas.microsoft.com/office/drawing/2014/main" id="{0226FED8-A809-4E99-B6A5-4F2C7B9E6C2E}"/>
              </a:ext>
            </a:extLst>
          </p:cNvPr>
          <p:cNvPicPr>
            <a:picLocks noChangeAspect="1"/>
          </p:cNvPicPr>
          <p:nvPr/>
        </p:nvPicPr>
        <p:blipFill rotWithShape="1">
          <a:blip r:embed="rId48">
            <a:extLst>
              <a:ext uri="{28A0092B-C50C-407E-A947-70E740481C1C}">
                <a14:useLocalDpi xmlns:a14="http://schemas.microsoft.com/office/drawing/2010/main" val="0"/>
              </a:ext>
            </a:extLst>
          </a:blip>
          <a:srcRect t="-25825" b="-11711"/>
          <a:stretch/>
        </p:blipFill>
        <p:spPr>
          <a:xfrm>
            <a:off x="2756562" y="1720107"/>
            <a:ext cx="934471" cy="235512"/>
          </a:xfrm>
          <a:prstGeom prst="rect">
            <a:avLst/>
          </a:prstGeom>
        </p:spPr>
      </p:pic>
      <p:pic>
        <p:nvPicPr>
          <p:cNvPr id="115" name="Picture Placeholder 4">
            <a:extLst>
              <a:ext uri="{FF2B5EF4-FFF2-40B4-BE49-F238E27FC236}">
                <a16:creationId xmlns:a16="http://schemas.microsoft.com/office/drawing/2014/main" id="{F12A2AA1-3476-4451-9599-A0F67D2C3DF8}"/>
              </a:ext>
            </a:extLst>
          </p:cNvPr>
          <p:cNvPicPr>
            <a:picLocks noChangeAspect="1"/>
          </p:cNvPicPr>
          <p:nvPr/>
        </p:nvPicPr>
        <p:blipFill rotWithShape="1">
          <a:blip r:embed="rId49"/>
          <a:srcRect t="27974" b="27974"/>
          <a:stretch/>
        </p:blipFill>
        <p:spPr>
          <a:xfrm>
            <a:off x="7283454" y="2251990"/>
            <a:ext cx="727351" cy="320533"/>
          </a:xfrm>
          <a:prstGeom prst="rect">
            <a:avLst/>
          </a:prstGeom>
        </p:spPr>
      </p:pic>
      <p:pic>
        <p:nvPicPr>
          <p:cNvPr id="116" name="Picture 2">
            <a:extLst>
              <a:ext uri="{FF2B5EF4-FFF2-40B4-BE49-F238E27FC236}">
                <a16:creationId xmlns:a16="http://schemas.microsoft.com/office/drawing/2014/main" id="{DC75E68E-BC27-4FD9-87B3-BEED9EC9D299}"/>
              </a:ext>
            </a:extLst>
          </p:cNvPr>
          <p:cNvPicPr>
            <a:picLocks noChangeAspect="1" noChangeArrowheads="1"/>
          </p:cNvPicPr>
          <p:nvPr/>
        </p:nvPicPr>
        <p:blipFill>
          <a:blip r:embed="rId50"/>
          <a:stretch>
            <a:fillRect/>
          </a:stretch>
        </p:blipFill>
        <p:spPr bwMode="auto">
          <a:xfrm>
            <a:off x="2838963" y="1210974"/>
            <a:ext cx="570938" cy="235512"/>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116">
            <a:hlinkClick r:id="rId51"/>
            <a:extLst>
              <a:ext uri="{FF2B5EF4-FFF2-40B4-BE49-F238E27FC236}">
                <a16:creationId xmlns:a16="http://schemas.microsoft.com/office/drawing/2014/main" id="{02753057-DE4C-4F51-A64A-87100A9D8378}"/>
              </a:ext>
            </a:extLst>
          </p:cNvPr>
          <p:cNvPicPr>
            <a:picLocks noChangeAspect="1"/>
          </p:cNvPicPr>
          <p:nvPr/>
        </p:nvPicPr>
        <p:blipFill>
          <a:blip r:embed="rId52">
            <a:clrChange>
              <a:clrFrom>
                <a:srgbClr val="FFFFFF"/>
              </a:clrFrom>
              <a:clrTo>
                <a:srgbClr val="FFFFFF">
                  <a:alpha val="0"/>
                </a:srgbClr>
              </a:clrTo>
            </a:clrChange>
          </a:blip>
          <a:stretch>
            <a:fillRect/>
          </a:stretch>
        </p:blipFill>
        <p:spPr bwMode="auto">
          <a:xfrm>
            <a:off x="3008520" y="4005042"/>
            <a:ext cx="900993" cy="235512"/>
          </a:xfrm>
          <a:prstGeom prst="rect">
            <a:avLst/>
          </a:prstGeom>
          <a:noFill/>
          <a:ln>
            <a:noFill/>
          </a:ln>
        </p:spPr>
      </p:pic>
      <p:pic>
        <p:nvPicPr>
          <p:cNvPr id="118" name="Picture 117">
            <a:hlinkClick r:id="rId51"/>
            <a:extLst>
              <a:ext uri="{FF2B5EF4-FFF2-40B4-BE49-F238E27FC236}">
                <a16:creationId xmlns:a16="http://schemas.microsoft.com/office/drawing/2014/main" id="{E4E01C6F-A2F0-401D-81DC-5D8695CB7148}"/>
              </a:ext>
            </a:extLst>
          </p:cNvPr>
          <p:cNvPicPr>
            <a:picLocks noChangeAspect="1"/>
          </p:cNvPicPr>
          <p:nvPr/>
        </p:nvPicPr>
        <p:blipFill>
          <a:blip r:embed="rId53">
            <a:clrChange>
              <a:clrFrom>
                <a:srgbClr val="FFFFFF"/>
              </a:clrFrom>
              <a:clrTo>
                <a:srgbClr val="FFFFFF">
                  <a:alpha val="0"/>
                </a:srgbClr>
              </a:clrTo>
            </a:clrChange>
          </a:blip>
          <a:stretch>
            <a:fillRect/>
          </a:stretch>
        </p:blipFill>
        <p:spPr bwMode="auto">
          <a:xfrm>
            <a:off x="1258873" y="5531708"/>
            <a:ext cx="756320" cy="472432"/>
          </a:xfrm>
          <a:prstGeom prst="rect">
            <a:avLst/>
          </a:prstGeom>
          <a:noFill/>
          <a:ln>
            <a:noFill/>
          </a:ln>
        </p:spPr>
      </p:pic>
      <p:pic>
        <p:nvPicPr>
          <p:cNvPr id="119" name="Picture 118" descr="ZPMC Logo 2.svg">
            <a:extLst>
              <a:ext uri="{FF2B5EF4-FFF2-40B4-BE49-F238E27FC236}">
                <a16:creationId xmlns:a16="http://schemas.microsoft.com/office/drawing/2014/main" id="{5E62FE60-A399-435D-9099-F08AF61BF7D5}"/>
              </a:ext>
            </a:extLst>
          </p:cNvPr>
          <p:cNvPicPr>
            <a:picLocks noChangeAspect="1"/>
          </p:cNvPicPr>
          <p:nvPr/>
        </p:nvPicPr>
        <p:blipFill>
          <a:blip r:embed="rId54">
            <a:extLst>
              <a:ext uri="{28A0092B-C50C-407E-A947-70E740481C1C}">
                <a14:useLocalDpi xmlns:a14="http://schemas.microsoft.com/office/drawing/2010/main" val="0"/>
              </a:ext>
            </a:extLst>
          </a:blip>
          <a:srcRect/>
          <a:stretch>
            <a:fillRect/>
          </a:stretch>
        </p:blipFill>
        <p:spPr bwMode="auto">
          <a:xfrm>
            <a:off x="1301645" y="4579014"/>
            <a:ext cx="740148" cy="235512"/>
          </a:xfrm>
          <a:prstGeom prst="rect">
            <a:avLst/>
          </a:prstGeom>
          <a:noFill/>
          <a:ln>
            <a:noFill/>
          </a:ln>
        </p:spPr>
      </p:pic>
      <p:pic>
        <p:nvPicPr>
          <p:cNvPr id="120" name="Picture 119">
            <a:extLst>
              <a:ext uri="{FF2B5EF4-FFF2-40B4-BE49-F238E27FC236}">
                <a16:creationId xmlns:a16="http://schemas.microsoft.com/office/drawing/2014/main" id="{E71FD993-BA71-404F-ABEB-68EF0981660A}"/>
              </a:ext>
            </a:extLst>
          </p:cNvPr>
          <p:cNvPicPr>
            <a:picLocks noChangeAspect="1"/>
          </p:cNvPicPr>
          <p:nvPr/>
        </p:nvPicPr>
        <p:blipFill>
          <a:blip r:embed="rId55" cstate="print">
            <a:extLst>
              <a:ext uri="{28A0092B-C50C-407E-A947-70E740481C1C}">
                <a14:useLocalDpi xmlns:a14="http://schemas.microsoft.com/office/drawing/2010/main" val="0"/>
              </a:ext>
            </a:extLst>
          </a:blip>
          <a:stretch>
            <a:fillRect/>
          </a:stretch>
        </p:blipFill>
        <p:spPr bwMode="auto">
          <a:xfrm>
            <a:off x="2635467" y="5622710"/>
            <a:ext cx="897263" cy="372654"/>
          </a:xfrm>
          <a:prstGeom prst="rect">
            <a:avLst/>
          </a:prstGeom>
          <a:noFill/>
          <a:ln>
            <a:noFill/>
          </a:ln>
        </p:spPr>
      </p:pic>
      <p:pic>
        <p:nvPicPr>
          <p:cNvPr id="121" name="Picture 120">
            <a:extLst>
              <a:ext uri="{FF2B5EF4-FFF2-40B4-BE49-F238E27FC236}">
                <a16:creationId xmlns:a16="http://schemas.microsoft.com/office/drawing/2014/main" id="{EE888397-5334-4DDD-A6B7-67F9B5053224}"/>
              </a:ext>
            </a:extLst>
          </p:cNvPr>
          <p:cNvPicPr>
            <a:picLocks noChangeAspect="1"/>
          </p:cNvPicPr>
          <p:nvPr/>
        </p:nvPicPr>
        <p:blipFill>
          <a:blip r:embed="rId56">
            <a:extLst>
              <a:ext uri="{28A0092B-C50C-407E-A947-70E740481C1C}">
                <a14:useLocalDpi xmlns:a14="http://schemas.microsoft.com/office/drawing/2010/main" val="0"/>
              </a:ext>
            </a:extLst>
          </a:blip>
          <a:stretch>
            <a:fillRect/>
          </a:stretch>
        </p:blipFill>
        <p:spPr bwMode="auto">
          <a:xfrm>
            <a:off x="5517020" y="5152719"/>
            <a:ext cx="948588" cy="235512"/>
          </a:xfrm>
          <a:prstGeom prst="rect">
            <a:avLst/>
          </a:prstGeom>
          <a:noFill/>
          <a:ln>
            <a:noFill/>
          </a:ln>
        </p:spPr>
      </p:pic>
      <p:pic>
        <p:nvPicPr>
          <p:cNvPr id="122" name="Picture 121">
            <a:extLst>
              <a:ext uri="{FF2B5EF4-FFF2-40B4-BE49-F238E27FC236}">
                <a16:creationId xmlns:a16="http://schemas.microsoft.com/office/drawing/2014/main" id="{34AA43FB-39BB-4A47-A950-5FC4E3ECA41C}"/>
              </a:ext>
            </a:extLst>
          </p:cNvPr>
          <p:cNvPicPr>
            <a:picLocks noChangeAspect="1"/>
          </p:cNvPicPr>
          <p:nvPr/>
        </p:nvPicPr>
        <p:blipFill>
          <a:blip r:embed="rId57">
            <a:clrChange>
              <a:clrFrom>
                <a:srgbClr val="FFFFFF"/>
              </a:clrFrom>
              <a:clrTo>
                <a:srgbClr val="FFFFFF">
                  <a:alpha val="0"/>
                </a:srgbClr>
              </a:clrTo>
            </a:clrChange>
          </a:blip>
          <a:stretch>
            <a:fillRect/>
          </a:stretch>
        </p:blipFill>
        <p:spPr>
          <a:xfrm>
            <a:off x="10240039" y="1131717"/>
            <a:ext cx="845092" cy="269156"/>
          </a:xfrm>
          <a:prstGeom prst="rect">
            <a:avLst/>
          </a:prstGeom>
        </p:spPr>
      </p:pic>
      <p:pic>
        <p:nvPicPr>
          <p:cNvPr id="123" name="Picture 122">
            <a:extLst>
              <a:ext uri="{FF2B5EF4-FFF2-40B4-BE49-F238E27FC236}">
                <a16:creationId xmlns:a16="http://schemas.microsoft.com/office/drawing/2014/main" id="{7619A647-A06F-4E89-A750-84173F538166}"/>
              </a:ext>
            </a:extLst>
          </p:cNvPr>
          <p:cNvPicPr>
            <a:picLocks noChangeAspect="1"/>
          </p:cNvPicPr>
          <p:nvPr/>
        </p:nvPicPr>
        <p:blipFill>
          <a:blip r:embed="rId58"/>
          <a:stretch>
            <a:fillRect/>
          </a:stretch>
        </p:blipFill>
        <p:spPr>
          <a:xfrm>
            <a:off x="10297430" y="5598067"/>
            <a:ext cx="730311" cy="357852"/>
          </a:xfrm>
          <a:prstGeom prst="rect">
            <a:avLst/>
          </a:prstGeom>
        </p:spPr>
      </p:pic>
      <p:pic>
        <p:nvPicPr>
          <p:cNvPr id="124" name="Picture 123">
            <a:extLst>
              <a:ext uri="{FF2B5EF4-FFF2-40B4-BE49-F238E27FC236}">
                <a16:creationId xmlns:a16="http://schemas.microsoft.com/office/drawing/2014/main" id="{03BF914D-627B-4036-8E15-FF73F0FA3A38}"/>
              </a:ext>
            </a:extLst>
          </p:cNvPr>
          <p:cNvPicPr>
            <a:picLocks noChangeAspect="1"/>
          </p:cNvPicPr>
          <p:nvPr/>
        </p:nvPicPr>
        <p:blipFill rotWithShape="1">
          <a:blip r:embed="rId59" cstate="print">
            <a:clrChange>
              <a:clrFrom>
                <a:srgbClr val="FFFFFF"/>
              </a:clrFrom>
              <a:clrTo>
                <a:srgbClr val="FFFFFF">
                  <a:alpha val="0"/>
                </a:srgbClr>
              </a:clrTo>
            </a:clrChange>
            <a:extLst>
              <a:ext uri="{28A0092B-C50C-407E-A947-70E740481C1C}">
                <a14:useLocalDpi xmlns:a14="http://schemas.microsoft.com/office/drawing/2010/main" val="0"/>
              </a:ext>
            </a:extLst>
          </a:blip>
          <a:srcRect t="3067" r="3110" b="1"/>
          <a:stretch/>
        </p:blipFill>
        <p:spPr bwMode="auto">
          <a:xfrm>
            <a:off x="10153010" y="1686458"/>
            <a:ext cx="1005277" cy="302809"/>
          </a:xfrm>
          <a:prstGeom prst="rect">
            <a:avLst/>
          </a:prstGeom>
          <a:noFill/>
          <a:ln>
            <a:noFill/>
          </a:ln>
        </p:spPr>
      </p:pic>
      <p:pic>
        <p:nvPicPr>
          <p:cNvPr id="125" name="Picture 124" descr="Logo">
            <a:hlinkClick r:id="rId51"/>
            <a:extLst>
              <a:ext uri="{FF2B5EF4-FFF2-40B4-BE49-F238E27FC236}">
                <a16:creationId xmlns:a16="http://schemas.microsoft.com/office/drawing/2014/main" id="{39FEF569-4172-4D19-83CE-72BD40D9DE7D}"/>
              </a:ext>
            </a:extLst>
          </p:cNvPr>
          <p:cNvPicPr>
            <a:picLocks noChangeAspect="1"/>
          </p:cNvPicPr>
          <p:nvPr/>
        </p:nvPicPr>
        <p:blipFill>
          <a:blip r:embed="rId60">
            <a:extLst>
              <a:ext uri="{28A0092B-C50C-407E-A947-70E740481C1C}">
                <a14:useLocalDpi xmlns:a14="http://schemas.microsoft.com/office/drawing/2010/main" val="0"/>
              </a:ext>
            </a:extLst>
          </a:blip>
          <a:srcRect/>
          <a:stretch>
            <a:fillRect/>
          </a:stretch>
        </p:blipFill>
        <p:spPr bwMode="auto">
          <a:xfrm>
            <a:off x="5825658" y="1662236"/>
            <a:ext cx="402901" cy="351254"/>
          </a:xfrm>
          <a:prstGeom prst="rect">
            <a:avLst/>
          </a:prstGeom>
          <a:noFill/>
          <a:ln>
            <a:noFill/>
          </a:ln>
        </p:spPr>
      </p:pic>
      <p:pic>
        <p:nvPicPr>
          <p:cNvPr id="1026" name="Picture 2" descr="Story logo">
            <a:extLst>
              <a:ext uri="{FF2B5EF4-FFF2-40B4-BE49-F238E27FC236}">
                <a16:creationId xmlns:a16="http://schemas.microsoft.com/office/drawing/2014/main" id="{986C1153-14C8-417B-9BB4-BCF6307ECDDC}"/>
              </a:ext>
            </a:extLst>
          </p:cNvPr>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708191" y="5691280"/>
            <a:ext cx="1230432" cy="23551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7EF17AD6-4B52-4CC3-A30F-C50EDC21C285}"/>
              </a:ext>
            </a:extLst>
          </p:cNvPr>
          <p:cNvPicPr>
            <a:picLocks noChangeAspect="1"/>
          </p:cNvPicPr>
          <p:nvPr/>
        </p:nvPicPr>
        <p:blipFill rotWithShape="1">
          <a:blip r:embed="rId62">
            <a:extLst>
              <a:ext uri="{28A0092B-C50C-407E-A947-70E740481C1C}">
                <a14:useLocalDpi xmlns:a14="http://schemas.microsoft.com/office/drawing/2010/main" val="0"/>
              </a:ext>
            </a:extLst>
          </a:blip>
          <a:srcRect l="6503" t="31967" r="6036" b="30496"/>
          <a:stretch/>
        </p:blipFill>
        <p:spPr>
          <a:xfrm>
            <a:off x="8320287" y="4587241"/>
            <a:ext cx="906829" cy="219058"/>
          </a:xfrm>
          <a:prstGeom prst="rect">
            <a:avLst/>
          </a:prstGeom>
        </p:spPr>
      </p:pic>
      <p:pic>
        <p:nvPicPr>
          <p:cNvPr id="21" name="Picture 20">
            <a:extLst>
              <a:ext uri="{FF2B5EF4-FFF2-40B4-BE49-F238E27FC236}">
                <a16:creationId xmlns:a16="http://schemas.microsoft.com/office/drawing/2014/main" id="{24206FF8-FBD6-4B3F-BFA5-29639B72B7AB}"/>
              </a:ext>
            </a:extLst>
          </p:cNvPr>
          <p:cNvPicPr>
            <a:picLocks noChangeAspect="1"/>
          </p:cNvPicPr>
          <p:nvPr/>
        </p:nvPicPr>
        <p:blipFill>
          <a:blip r:embed="rId63">
            <a:extLst>
              <a:ext uri="{28A0092B-C50C-407E-A947-70E740481C1C}">
                <a14:useLocalDpi xmlns:a14="http://schemas.microsoft.com/office/drawing/2010/main" val="0"/>
              </a:ext>
            </a:extLst>
          </a:blip>
          <a:stretch>
            <a:fillRect/>
          </a:stretch>
        </p:blipFill>
        <p:spPr>
          <a:xfrm>
            <a:off x="5700016" y="3921909"/>
            <a:ext cx="766279" cy="361479"/>
          </a:xfrm>
          <a:prstGeom prst="rect">
            <a:avLst/>
          </a:prstGeom>
        </p:spPr>
      </p:pic>
      <p:pic>
        <p:nvPicPr>
          <p:cNvPr id="23" name="Picture 22">
            <a:extLst>
              <a:ext uri="{FF2B5EF4-FFF2-40B4-BE49-F238E27FC236}">
                <a16:creationId xmlns:a16="http://schemas.microsoft.com/office/drawing/2014/main" id="{8714A388-5D09-498F-A4F0-B6D22DBC8F04}"/>
              </a:ext>
            </a:extLst>
          </p:cNvPr>
          <p:cNvPicPr>
            <a:picLocks noChangeAspect="1"/>
          </p:cNvPicPr>
          <p:nvPr/>
        </p:nvPicPr>
        <p:blipFill rotWithShape="1">
          <a:blip r:embed="rId64">
            <a:extLst>
              <a:ext uri="{28A0092B-C50C-407E-A947-70E740481C1C}">
                <a14:useLocalDpi xmlns:a14="http://schemas.microsoft.com/office/drawing/2010/main" val="0"/>
              </a:ext>
            </a:extLst>
          </a:blip>
          <a:srcRect l="4586" t="15565" r="4588" b="15112"/>
          <a:stretch/>
        </p:blipFill>
        <p:spPr>
          <a:xfrm>
            <a:off x="4306053" y="3998491"/>
            <a:ext cx="905099" cy="191596"/>
          </a:xfrm>
          <a:prstGeom prst="rect">
            <a:avLst/>
          </a:prstGeom>
        </p:spPr>
      </p:pic>
      <p:pic>
        <p:nvPicPr>
          <p:cNvPr id="28" name="Picture 27">
            <a:extLst>
              <a:ext uri="{FF2B5EF4-FFF2-40B4-BE49-F238E27FC236}">
                <a16:creationId xmlns:a16="http://schemas.microsoft.com/office/drawing/2014/main" id="{FD4A6A92-3BA8-4280-9189-E07081C11A69}"/>
              </a:ext>
            </a:extLst>
          </p:cNvPr>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7476315" y="3378714"/>
            <a:ext cx="512850" cy="358130"/>
          </a:xfrm>
          <a:prstGeom prst="rect">
            <a:avLst/>
          </a:prstGeom>
        </p:spPr>
      </p:pic>
    </p:spTree>
    <p:extLst>
      <p:ext uri="{BB962C8B-B14F-4D97-AF65-F5344CB8AC3E}">
        <p14:creationId xmlns:p14="http://schemas.microsoft.com/office/powerpoint/2010/main" val="3034221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AB008-C98E-6646-BA67-98FCF1CC1F48}"/>
              </a:ext>
            </a:extLst>
          </p:cNvPr>
          <p:cNvSpPr>
            <a:spLocks noGrp="1"/>
          </p:cNvSpPr>
          <p:nvPr>
            <p:ph type="title"/>
          </p:nvPr>
        </p:nvSpPr>
        <p:spPr/>
        <p:txBody>
          <a:bodyPr/>
          <a:lstStyle/>
          <a:p>
            <a:r>
              <a:rPr lang="en-US" dirty="0"/>
              <a:t>Building your own AI models</a:t>
            </a:r>
          </a:p>
        </p:txBody>
      </p:sp>
      <p:sp>
        <p:nvSpPr>
          <p:cNvPr id="3" name="Text Placeholder 2">
            <a:extLst>
              <a:ext uri="{FF2B5EF4-FFF2-40B4-BE49-F238E27FC236}">
                <a16:creationId xmlns:a16="http://schemas.microsoft.com/office/drawing/2014/main" id="{0F6F9D08-FD90-2140-ACFD-1BDC53440D24}"/>
              </a:ext>
            </a:extLst>
          </p:cNvPr>
          <p:cNvSpPr>
            <a:spLocks noGrp="1"/>
          </p:cNvSpPr>
          <p:nvPr>
            <p:ph type="body" sz="quarter" idx="12"/>
          </p:nvPr>
        </p:nvSpPr>
        <p:spPr/>
        <p:txBody>
          <a:bodyPr/>
          <a:lstStyle/>
          <a:p>
            <a:r>
              <a:rPr lang="en-US" dirty="0"/>
              <a:t>Transforming data into intelligence</a:t>
            </a:r>
          </a:p>
        </p:txBody>
      </p:sp>
      <p:sp>
        <p:nvSpPr>
          <p:cNvPr id="75" name="Rectangle 74">
            <a:extLst>
              <a:ext uri="{FF2B5EF4-FFF2-40B4-BE49-F238E27FC236}">
                <a16:creationId xmlns:a16="http://schemas.microsoft.com/office/drawing/2014/main" id="{1C3B3968-26A4-8F47-88AC-2673202B3C4F}"/>
              </a:ext>
            </a:extLst>
          </p:cNvPr>
          <p:cNvSpPr/>
          <p:nvPr/>
        </p:nvSpPr>
        <p:spPr>
          <a:xfrm>
            <a:off x="1135110" y="4705161"/>
            <a:ext cx="1777357"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Prepare data</a:t>
            </a:r>
          </a:p>
        </p:txBody>
      </p:sp>
      <p:sp>
        <p:nvSpPr>
          <p:cNvPr id="76" name="Rectangle 75">
            <a:extLst>
              <a:ext uri="{FF2B5EF4-FFF2-40B4-BE49-F238E27FC236}">
                <a16:creationId xmlns:a16="http://schemas.microsoft.com/office/drawing/2014/main" id="{9B389D86-52C4-2D4D-A8ED-50EED5B6FA31}"/>
              </a:ext>
            </a:extLst>
          </p:cNvPr>
          <p:cNvSpPr/>
          <p:nvPr/>
        </p:nvSpPr>
        <p:spPr>
          <a:xfrm>
            <a:off x="4989206" y="4705161"/>
            <a:ext cx="2025966"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Build and train</a:t>
            </a:r>
          </a:p>
        </p:txBody>
      </p:sp>
      <p:sp>
        <p:nvSpPr>
          <p:cNvPr id="77" name="Rectangle 76">
            <a:extLst>
              <a:ext uri="{FF2B5EF4-FFF2-40B4-BE49-F238E27FC236}">
                <a16:creationId xmlns:a16="http://schemas.microsoft.com/office/drawing/2014/main" id="{9D501BCA-152A-1E4F-B632-A870FB0AFF75}"/>
              </a:ext>
            </a:extLst>
          </p:cNvPr>
          <p:cNvSpPr/>
          <p:nvPr/>
        </p:nvSpPr>
        <p:spPr>
          <a:xfrm>
            <a:off x="9468437" y="4705161"/>
            <a:ext cx="1070500"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Deploy</a:t>
            </a:r>
          </a:p>
        </p:txBody>
      </p:sp>
      <p:grpSp>
        <p:nvGrpSpPr>
          <p:cNvPr id="78" name="Group 77">
            <a:extLst>
              <a:ext uri="{FF2B5EF4-FFF2-40B4-BE49-F238E27FC236}">
                <a16:creationId xmlns:a16="http://schemas.microsoft.com/office/drawing/2014/main" id="{0DE24FE9-005E-3B43-B2E9-EAD5D11E9CB3}"/>
              </a:ext>
            </a:extLst>
          </p:cNvPr>
          <p:cNvGrpSpPr/>
          <p:nvPr/>
        </p:nvGrpSpPr>
        <p:grpSpPr>
          <a:xfrm>
            <a:off x="9012965" y="2581371"/>
            <a:ext cx="1981445" cy="1637978"/>
            <a:chOff x="9524460" y="2632636"/>
            <a:chExt cx="2021177" cy="1670823"/>
          </a:xfrm>
        </p:grpSpPr>
        <p:sp>
          <p:nvSpPr>
            <p:cNvPr id="79" name="gear_3">
              <a:extLst>
                <a:ext uri="{FF2B5EF4-FFF2-40B4-BE49-F238E27FC236}">
                  <a16:creationId xmlns:a16="http://schemas.microsoft.com/office/drawing/2014/main" id="{704F2D56-647B-4047-B96C-1E3C20BFA8FB}"/>
                </a:ext>
              </a:extLst>
            </p:cNvPr>
            <p:cNvSpPr>
              <a:spLocks noChangeAspect="1" noEditPoints="1"/>
            </p:cNvSpPr>
            <p:nvPr/>
          </p:nvSpPr>
          <p:spPr bwMode="auto">
            <a:xfrm>
              <a:off x="9524460" y="3183698"/>
              <a:ext cx="1110355" cy="111976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gear_3">
              <a:extLst>
                <a:ext uri="{FF2B5EF4-FFF2-40B4-BE49-F238E27FC236}">
                  <a16:creationId xmlns:a16="http://schemas.microsoft.com/office/drawing/2014/main" id="{70740903-624E-8F4B-8D84-3119D0193BD1}"/>
                </a:ext>
              </a:extLst>
            </p:cNvPr>
            <p:cNvSpPr>
              <a:spLocks noChangeAspect="1" noEditPoints="1"/>
            </p:cNvSpPr>
            <p:nvPr/>
          </p:nvSpPr>
          <p:spPr bwMode="auto">
            <a:xfrm>
              <a:off x="10421433" y="2632636"/>
              <a:ext cx="735342" cy="74157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gear_3">
              <a:extLst>
                <a:ext uri="{FF2B5EF4-FFF2-40B4-BE49-F238E27FC236}">
                  <a16:creationId xmlns:a16="http://schemas.microsoft.com/office/drawing/2014/main" id="{F998CEF3-EEFF-D342-A50C-1DC77FCD9F4C}"/>
                </a:ext>
              </a:extLst>
            </p:cNvPr>
            <p:cNvSpPr>
              <a:spLocks noChangeAspect="1" noEditPoints="1"/>
            </p:cNvSpPr>
            <p:nvPr/>
          </p:nvSpPr>
          <p:spPr bwMode="auto">
            <a:xfrm>
              <a:off x="11022746" y="3309209"/>
              <a:ext cx="522891" cy="527320"/>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82" name="Group 81">
            <a:extLst>
              <a:ext uri="{FF2B5EF4-FFF2-40B4-BE49-F238E27FC236}">
                <a16:creationId xmlns:a16="http://schemas.microsoft.com/office/drawing/2014/main" id="{D837E3BE-BC6A-6949-B639-E3DD2D94D0E4}"/>
              </a:ext>
            </a:extLst>
          </p:cNvPr>
          <p:cNvGrpSpPr/>
          <p:nvPr/>
        </p:nvGrpSpPr>
        <p:grpSpPr>
          <a:xfrm>
            <a:off x="1144934" y="2677641"/>
            <a:ext cx="1757706" cy="1650960"/>
            <a:chOff x="1239394" y="2531811"/>
            <a:chExt cx="1792952" cy="1684065"/>
          </a:xfrm>
        </p:grpSpPr>
        <p:grpSp>
          <p:nvGrpSpPr>
            <p:cNvPr id="83" name="Group 82">
              <a:extLst>
                <a:ext uri="{FF2B5EF4-FFF2-40B4-BE49-F238E27FC236}">
                  <a16:creationId xmlns:a16="http://schemas.microsoft.com/office/drawing/2014/main" id="{3511E66E-22CF-7A4F-AB74-E89116E22B57}"/>
                </a:ext>
              </a:extLst>
            </p:cNvPr>
            <p:cNvGrpSpPr/>
            <p:nvPr/>
          </p:nvGrpSpPr>
          <p:grpSpPr>
            <a:xfrm>
              <a:off x="1239394" y="2531811"/>
              <a:ext cx="523013" cy="1684065"/>
              <a:chOff x="1395310" y="3332039"/>
              <a:chExt cx="430961" cy="1387665"/>
            </a:xfrm>
            <a:solidFill>
              <a:schemeClr val="bg1"/>
            </a:solidFill>
          </p:grpSpPr>
          <p:sp>
            <p:nvSpPr>
              <p:cNvPr id="92" name="Isosceles Triangle 86">
                <a:extLst>
                  <a:ext uri="{FF2B5EF4-FFF2-40B4-BE49-F238E27FC236}">
                    <a16:creationId xmlns:a16="http://schemas.microsoft.com/office/drawing/2014/main" id="{E9666272-04E8-BE47-A08D-3AAABFFBE8CA}"/>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 name="Rectangle 92">
                <a:extLst>
                  <a:ext uri="{FF2B5EF4-FFF2-40B4-BE49-F238E27FC236}">
                    <a16:creationId xmlns:a16="http://schemas.microsoft.com/office/drawing/2014/main" id="{CD0BBD34-986C-EB4D-B1FF-5156118693B3}"/>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 name="Oval 93">
                <a:extLst>
                  <a:ext uri="{FF2B5EF4-FFF2-40B4-BE49-F238E27FC236}">
                    <a16:creationId xmlns:a16="http://schemas.microsoft.com/office/drawing/2014/main" id="{A66D751E-7F70-924E-815A-88F84E827FFF}"/>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84" name="Group 83">
              <a:extLst>
                <a:ext uri="{FF2B5EF4-FFF2-40B4-BE49-F238E27FC236}">
                  <a16:creationId xmlns:a16="http://schemas.microsoft.com/office/drawing/2014/main" id="{6DADAA1D-7468-FB44-9115-39D24A0D3886}"/>
                </a:ext>
              </a:extLst>
            </p:cNvPr>
            <p:cNvGrpSpPr/>
            <p:nvPr/>
          </p:nvGrpSpPr>
          <p:grpSpPr>
            <a:xfrm>
              <a:off x="1874363" y="2531811"/>
              <a:ext cx="523013" cy="1684065"/>
              <a:chOff x="1395310" y="3332039"/>
              <a:chExt cx="430961" cy="1387665"/>
            </a:xfrm>
            <a:solidFill>
              <a:schemeClr val="bg1"/>
            </a:solidFill>
          </p:grpSpPr>
          <p:sp>
            <p:nvSpPr>
              <p:cNvPr id="89" name="Isosceles Triangle 83">
                <a:extLst>
                  <a:ext uri="{FF2B5EF4-FFF2-40B4-BE49-F238E27FC236}">
                    <a16:creationId xmlns:a16="http://schemas.microsoft.com/office/drawing/2014/main" id="{9C5BE7A0-6561-1441-AA5C-D808A113A932}"/>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 name="Rectangle 89">
                <a:extLst>
                  <a:ext uri="{FF2B5EF4-FFF2-40B4-BE49-F238E27FC236}">
                    <a16:creationId xmlns:a16="http://schemas.microsoft.com/office/drawing/2014/main" id="{B55571EC-E8E1-1443-A6AC-D6AABACB41A8}"/>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 name="Oval 90">
                <a:extLst>
                  <a:ext uri="{FF2B5EF4-FFF2-40B4-BE49-F238E27FC236}">
                    <a16:creationId xmlns:a16="http://schemas.microsoft.com/office/drawing/2014/main" id="{C6313B18-0DD5-6F44-A2BA-1D8C6994EF0E}"/>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85" name="Group 84">
              <a:extLst>
                <a:ext uri="{FF2B5EF4-FFF2-40B4-BE49-F238E27FC236}">
                  <a16:creationId xmlns:a16="http://schemas.microsoft.com/office/drawing/2014/main" id="{1A787792-5FE2-6C49-B359-DB54C21F797F}"/>
                </a:ext>
              </a:extLst>
            </p:cNvPr>
            <p:cNvGrpSpPr/>
            <p:nvPr/>
          </p:nvGrpSpPr>
          <p:grpSpPr>
            <a:xfrm>
              <a:off x="2509333" y="2531811"/>
              <a:ext cx="523013" cy="1684065"/>
              <a:chOff x="1395310" y="3332039"/>
              <a:chExt cx="430961" cy="1387665"/>
            </a:xfrm>
            <a:solidFill>
              <a:schemeClr val="bg1"/>
            </a:solidFill>
          </p:grpSpPr>
          <p:sp>
            <p:nvSpPr>
              <p:cNvPr id="86" name="Isosceles Triangle 80">
                <a:extLst>
                  <a:ext uri="{FF2B5EF4-FFF2-40B4-BE49-F238E27FC236}">
                    <a16:creationId xmlns:a16="http://schemas.microsoft.com/office/drawing/2014/main" id="{E0468EE2-9C89-7C46-A84B-5690418A0241}"/>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 name="Rectangle 86">
                <a:extLst>
                  <a:ext uri="{FF2B5EF4-FFF2-40B4-BE49-F238E27FC236}">
                    <a16:creationId xmlns:a16="http://schemas.microsoft.com/office/drawing/2014/main" id="{4F71CAE2-302A-8B42-A8AF-AE5E246346E4}"/>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 name="Oval 87">
                <a:extLst>
                  <a:ext uri="{FF2B5EF4-FFF2-40B4-BE49-F238E27FC236}">
                    <a16:creationId xmlns:a16="http://schemas.microsoft.com/office/drawing/2014/main" id="{B143D7F4-AEBA-2A41-8E92-0B56D5710A7E}"/>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grpSp>
        <p:nvGrpSpPr>
          <p:cNvPr id="95" name="Group 94">
            <a:extLst>
              <a:ext uri="{FF2B5EF4-FFF2-40B4-BE49-F238E27FC236}">
                <a16:creationId xmlns:a16="http://schemas.microsoft.com/office/drawing/2014/main" id="{008326FA-D852-314A-9F8D-227D5A2881BE}"/>
              </a:ext>
            </a:extLst>
          </p:cNvPr>
          <p:cNvGrpSpPr/>
          <p:nvPr/>
        </p:nvGrpSpPr>
        <p:grpSpPr>
          <a:xfrm>
            <a:off x="4848627" y="2491813"/>
            <a:ext cx="2301051" cy="1998974"/>
            <a:chOff x="4986639" y="2541282"/>
            <a:chExt cx="2347192" cy="2039058"/>
          </a:xfrm>
        </p:grpSpPr>
        <p:sp>
          <p:nvSpPr>
            <p:cNvPr id="96" name="Line 19">
              <a:extLst>
                <a:ext uri="{FF2B5EF4-FFF2-40B4-BE49-F238E27FC236}">
                  <a16:creationId xmlns:a16="http://schemas.microsoft.com/office/drawing/2014/main" id="{554D43DF-7F26-0A4B-8800-65436EA41756}"/>
                </a:ext>
              </a:extLst>
            </p:cNvPr>
            <p:cNvSpPr>
              <a:spLocks noChangeShapeType="1"/>
            </p:cNvSpPr>
            <p:nvPr/>
          </p:nvSpPr>
          <p:spPr bwMode="auto">
            <a:xfrm rot="16200000">
              <a:off x="6005770" y="3401735"/>
              <a:ext cx="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nvGrpSpPr>
            <p:cNvPr id="97" name="Group 11">
              <a:extLst>
                <a:ext uri="{FF2B5EF4-FFF2-40B4-BE49-F238E27FC236}">
                  <a16:creationId xmlns:a16="http://schemas.microsoft.com/office/drawing/2014/main" id="{5E94C35C-3346-8F44-83DE-6795B6930B7B}"/>
                </a:ext>
              </a:extLst>
            </p:cNvPr>
            <p:cNvGrpSpPr>
              <a:grpSpLocks noChangeAspect="1"/>
            </p:cNvGrpSpPr>
            <p:nvPr/>
          </p:nvGrpSpPr>
          <p:grpSpPr bwMode="auto">
            <a:xfrm>
              <a:off x="5712422" y="3055262"/>
              <a:ext cx="1007365" cy="1097312"/>
              <a:chOff x="3861" y="4291602"/>
              <a:chExt cx="112" cy="244433"/>
            </a:xfrm>
          </p:grpSpPr>
          <p:sp>
            <p:nvSpPr>
              <p:cNvPr id="104" name="Freeform 12">
                <a:extLst>
                  <a:ext uri="{FF2B5EF4-FFF2-40B4-BE49-F238E27FC236}">
                    <a16:creationId xmlns:a16="http://schemas.microsoft.com/office/drawing/2014/main" id="{2F0900AA-2D4D-5044-B251-2216B5F0B2B2}"/>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5" name="Line 13">
                <a:extLst>
                  <a:ext uri="{FF2B5EF4-FFF2-40B4-BE49-F238E27FC236}">
                    <a16:creationId xmlns:a16="http://schemas.microsoft.com/office/drawing/2014/main" id="{37FCEECE-7E75-4E47-BD1C-9B7D4DE2C996}"/>
                  </a:ext>
                </a:extLst>
              </p:cNvPr>
              <p:cNvSpPr>
                <a:spLocks noChangeShapeType="1"/>
              </p:cNvSpPr>
              <p:nvPr/>
            </p:nvSpPr>
            <p:spPr bwMode="auto">
              <a:xfrm>
                <a:off x="3874" y="4469918"/>
                <a:ext cx="8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6" name="Line 14">
                <a:extLst>
                  <a:ext uri="{FF2B5EF4-FFF2-40B4-BE49-F238E27FC236}">
                    <a16:creationId xmlns:a16="http://schemas.microsoft.com/office/drawing/2014/main" id="{C981225F-E4DB-1A4C-B5B3-BDB59A65AD43}"/>
                  </a:ext>
                </a:extLst>
              </p:cNvPr>
              <p:cNvSpPr>
                <a:spLocks noChangeShapeType="1"/>
              </p:cNvSpPr>
              <p:nvPr/>
            </p:nvSpPr>
            <p:spPr bwMode="auto">
              <a:xfrm>
                <a:off x="3923" y="4335680"/>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7" name="Line 15">
                <a:extLst>
                  <a:ext uri="{FF2B5EF4-FFF2-40B4-BE49-F238E27FC236}">
                    <a16:creationId xmlns:a16="http://schemas.microsoft.com/office/drawing/2014/main" id="{64037CB9-A8CB-BF44-9605-FFDC71EEAA9D}"/>
                  </a:ext>
                </a:extLst>
              </p:cNvPr>
              <p:cNvSpPr>
                <a:spLocks noChangeShapeType="1"/>
              </p:cNvSpPr>
              <p:nvPr/>
            </p:nvSpPr>
            <p:spPr bwMode="auto">
              <a:xfrm>
                <a:off x="3923" y="4379758"/>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8" name="Line 16">
                <a:extLst>
                  <a:ext uri="{FF2B5EF4-FFF2-40B4-BE49-F238E27FC236}">
                    <a16:creationId xmlns:a16="http://schemas.microsoft.com/office/drawing/2014/main" id="{27C804A6-F112-0748-8D5C-4CC0F018E66F}"/>
                  </a:ext>
                </a:extLst>
              </p:cNvPr>
              <p:cNvSpPr>
                <a:spLocks noChangeShapeType="1"/>
              </p:cNvSpPr>
              <p:nvPr/>
            </p:nvSpPr>
            <p:spPr bwMode="auto">
              <a:xfrm>
                <a:off x="3923" y="4425840"/>
                <a:ext cx="2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9" name="Line 17">
                <a:extLst>
                  <a:ext uri="{FF2B5EF4-FFF2-40B4-BE49-F238E27FC236}">
                    <a16:creationId xmlns:a16="http://schemas.microsoft.com/office/drawing/2014/main" id="{F8036C0D-6DAA-664A-894B-109B39C0C2EF}"/>
                  </a:ext>
                </a:extLst>
              </p:cNvPr>
              <p:cNvSpPr>
                <a:spLocks noChangeShapeType="1"/>
              </p:cNvSpPr>
              <p:nvPr/>
            </p:nvSpPr>
            <p:spPr bwMode="auto">
              <a:xfrm>
                <a:off x="3883" y="4291602"/>
                <a:ext cx="68"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98" name="Group 97">
              <a:extLst>
                <a:ext uri="{FF2B5EF4-FFF2-40B4-BE49-F238E27FC236}">
                  <a16:creationId xmlns:a16="http://schemas.microsoft.com/office/drawing/2014/main" id="{9FE668BD-F09C-C944-9FEB-D8372B26CF85}"/>
                </a:ext>
              </a:extLst>
            </p:cNvPr>
            <p:cNvGrpSpPr/>
            <p:nvPr/>
          </p:nvGrpSpPr>
          <p:grpSpPr>
            <a:xfrm>
              <a:off x="5359189" y="2541282"/>
              <a:ext cx="1974642" cy="1799700"/>
              <a:chOff x="4723382" y="2415376"/>
              <a:chExt cx="2374103" cy="2163771"/>
            </a:xfrm>
          </p:grpSpPr>
          <p:sp>
            <p:nvSpPr>
              <p:cNvPr id="102" name="Freeform 22">
                <a:extLst>
                  <a:ext uri="{FF2B5EF4-FFF2-40B4-BE49-F238E27FC236}">
                    <a16:creationId xmlns:a16="http://schemas.microsoft.com/office/drawing/2014/main" id="{6C641964-27D8-5346-8B18-DDD94A0DDFF4}"/>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03" name="Arc 102">
                <a:extLst>
                  <a:ext uri="{FF2B5EF4-FFF2-40B4-BE49-F238E27FC236}">
                    <a16:creationId xmlns:a16="http://schemas.microsoft.com/office/drawing/2014/main" id="{D625BE68-BF56-0D4E-B7D7-E95D452CAE37}"/>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grpSp>
          <p:nvGrpSpPr>
            <p:cNvPr id="99" name="Group 98">
              <a:extLst>
                <a:ext uri="{FF2B5EF4-FFF2-40B4-BE49-F238E27FC236}">
                  <a16:creationId xmlns:a16="http://schemas.microsoft.com/office/drawing/2014/main" id="{130F85D9-7292-8344-93EA-F5BE0DAE5C4C}"/>
                </a:ext>
              </a:extLst>
            </p:cNvPr>
            <p:cNvGrpSpPr/>
            <p:nvPr/>
          </p:nvGrpSpPr>
          <p:grpSpPr>
            <a:xfrm rot="10800000">
              <a:off x="4986639" y="2780640"/>
              <a:ext cx="1974642" cy="1799700"/>
              <a:chOff x="4723382" y="2415376"/>
              <a:chExt cx="2374103" cy="2163771"/>
            </a:xfrm>
          </p:grpSpPr>
          <p:sp>
            <p:nvSpPr>
              <p:cNvPr id="100" name="Freeform 22">
                <a:extLst>
                  <a:ext uri="{FF2B5EF4-FFF2-40B4-BE49-F238E27FC236}">
                    <a16:creationId xmlns:a16="http://schemas.microsoft.com/office/drawing/2014/main" id="{8863C34A-A3FC-9143-84BA-D1264C2BE2BE}"/>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01" name="Arc 100">
                <a:extLst>
                  <a:ext uri="{FF2B5EF4-FFF2-40B4-BE49-F238E27FC236}">
                    <a16:creationId xmlns:a16="http://schemas.microsoft.com/office/drawing/2014/main" id="{C85B8CE6-D821-5841-B404-D7683E8CD5D5}"/>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grpSp>
      <p:sp>
        <p:nvSpPr>
          <p:cNvPr id="110" name="Freeform 109">
            <a:extLst>
              <a:ext uri="{FF2B5EF4-FFF2-40B4-BE49-F238E27FC236}">
                <a16:creationId xmlns:a16="http://schemas.microsoft.com/office/drawing/2014/main" id="{D9B594C6-6906-0649-BE83-A11D33411D6F}"/>
              </a:ext>
            </a:extLst>
          </p:cNvPr>
          <p:cNvSpPr/>
          <p:nvPr/>
        </p:nvSpPr>
        <p:spPr bwMode="auto">
          <a:xfrm flipH="1">
            <a:off x="7970370" y="3136710"/>
            <a:ext cx="401865" cy="89951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11" name="Freeform 110">
            <a:extLst>
              <a:ext uri="{FF2B5EF4-FFF2-40B4-BE49-F238E27FC236}">
                <a16:creationId xmlns:a16="http://schemas.microsoft.com/office/drawing/2014/main" id="{053F215C-7A43-2A46-89C9-9964BF0E8814}"/>
              </a:ext>
            </a:extLst>
          </p:cNvPr>
          <p:cNvSpPr/>
          <p:nvPr/>
        </p:nvSpPr>
        <p:spPr bwMode="auto">
          <a:xfrm flipH="1">
            <a:off x="3591924" y="3136710"/>
            <a:ext cx="401865" cy="89951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161028136"/>
      </p:ext>
    </p:extLst>
  </p:cSld>
  <p:clrMapOvr>
    <a:masterClrMapping/>
  </p:clrMapOvr>
  <mc:AlternateContent xmlns:mc="http://schemas.openxmlformats.org/markup-compatibility/2006" xmlns:p14="http://schemas.microsoft.com/office/powerpoint/2010/main">
    <mc:Choice Requires="p14">
      <p:transition spd="med" p14:dur="700" advTm="500">
        <p:fade/>
      </p:transition>
    </mc:Choice>
    <mc:Fallback xmlns="">
      <p:transition spd="med" advTm="500">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aphic 4">
            <a:extLst>
              <a:ext uri="{FF2B5EF4-FFF2-40B4-BE49-F238E27FC236}">
                <a16:creationId xmlns:a16="http://schemas.microsoft.com/office/drawing/2014/main" id="{A5F3BD6B-18ED-4BA4-9942-943FBDA18367}"/>
              </a:ext>
            </a:extLst>
          </p:cNvPr>
          <p:cNvGrpSpPr/>
          <p:nvPr/>
        </p:nvGrpSpPr>
        <p:grpSpPr>
          <a:xfrm>
            <a:off x="11408775" y="186780"/>
            <a:ext cx="515479" cy="545802"/>
            <a:chOff x="11448302" y="6116320"/>
            <a:chExt cx="515552" cy="545879"/>
          </a:xfrm>
        </p:grpSpPr>
        <p:sp>
          <p:nvSpPr>
            <p:cNvPr id="15" name="Freeform: Shape 14">
              <a:extLst>
                <a:ext uri="{FF2B5EF4-FFF2-40B4-BE49-F238E27FC236}">
                  <a16:creationId xmlns:a16="http://schemas.microsoft.com/office/drawing/2014/main" id="{298EB83F-099E-488F-9FC3-3E3C12ADFC4F}"/>
                </a:ext>
              </a:extLst>
            </p:cNvPr>
            <p:cNvSpPr/>
            <p:nvPr/>
          </p:nvSpPr>
          <p:spPr>
            <a:xfrm>
              <a:off x="11471805" y="6521938"/>
              <a:ext cx="470062" cy="151633"/>
            </a:xfrm>
            <a:custGeom>
              <a:avLst/>
              <a:gdLst>
                <a:gd name="connsiteX0" fmla="*/ 11372 w 470062"/>
                <a:gd name="connsiteY0" fmla="*/ 146326 h 151633"/>
                <a:gd name="connsiteX1" fmla="*/ 466271 w 470062"/>
                <a:gd name="connsiteY1" fmla="*/ 146326 h 151633"/>
                <a:gd name="connsiteX2" fmla="*/ 338900 w 470062"/>
                <a:gd name="connsiteY2" fmla="*/ 11372 h 151633"/>
                <a:gd name="connsiteX3" fmla="*/ 117516 w 470062"/>
                <a:gd name="connsiteY3" fmla="*/ 11372 h 151633"/>
              </a:gdLst>
              <a:ahLst/>
              <a:cxnLst>
                <a:cxn ang="0">
                  <a:pos x="connsiteX0" y="connsiteY0"/>
                </a:cxn>
                <a:cxn ang="0">
                  <a:pos x="connsiteX1" y="connsiteY1"/>
                </a:cxn>
                <a:cxn ang="0">
                  <a:pos x="connsiteX2" y="connsiteY2"/>
                </a:cxn>
                <a:cxn ang="0">
                  <a:pos x="connsiteX3" y="connsiteY3"/>
                </a:cxn>
              </a:cxnLst>
              <a:rect l="l" t="t" r="r" b="b"/>
              <a:pathLst>
                <a:path w="470062" h="151633">
                  <a:moveTo>
                    <a:pt x="11372" y="146326"/>
                  </a:moveTo>
                  <a:lnTo>
                    <a:pt x="466271" y="146326"/>
                  </a:lnTo>
                  <a:lnTo>
                    <a:pt x="338900" y="11372"/>
                  </a:lnTo>
                  <a:lnTo>
                    <a:pt x="117516" y="11372"/>
                  </a:lnTo>
                  <a:close/>
                </a:path>
              </a:pathLst>
            </a:custGeom>
            <a:solidFill>
              <a:srgbClr val="153C63"/>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 name="Freeform: Shape 15">
              <a:extLst>
                <a:ext uri="{FF2B5EF4-FFF2-40B4-BE49-F238E27FC236}">
                  <a16:creationId xmlns:a16="http://schemas.microsoft.com/office/drawing/2014/main" id="{C96E63E2-8FF3-497D-8FAB-53306EF43A2D}"/>
                </a:ext>
              </a:extLst>
            </p:cNvPr>
            <p:cNvSpPr/>
            <p:nvPr/>
          </p:nvSpPr>
          <p:spPr>
            <a:xfrm>
              <a:off x="11436930" y="6315717"/>
              <a:ext cx="348756" cy="363919"/>
            </a:xfrm>
            <a:custGeom>
              <a:avLst/>
              <a:gdLst>
                <a:gd name="connsiteX0" fmla="*/ 46248 w 348755"/>
                <a:gd name="connsiteY0" fmla="*/ 352547 h 363919"/>
                <a:gd name="connsiteX1" fmla="*/ 11372 w 348755"/>
                <a:gd name="connsiteY1" fmla="*/ 217593 h 363919"/>
                <a:gd name="connsiteX2" fmla="*/ 203946 w 348755"/>
                <a:gd name="connsiteY2" fmla="*/ 11372 h 363919"/>
                <a:gd name="connsiteX3" fmla="*/ 338900 w 348755"/>
                <a:gd name="connsiteY3" fmla="*/ 11372 h 363919"/>
              </a:gdLst>
              <a:ahLst/>
              <a:cxnLst>
                <a:cxn ang="0">
                  <a:pos x="connsiteX0" y="connsiteY0"/>
                </a:cxn>
                <a:cxn ang="0">
                  <a:pos x="connsiteX1" y="connsiteY1"/>
                </a:cxn>
                <a:cxn ang="0">
                  <a:pos x="connsiteX2" y="connsiteY2"/>
                </a:cxn>
                <a:cxn ang="0">
                  <a:pos x="connsiteX3" y="connsiteY3"/>
                </a:cxn>
              </a:cxnLst>
              <a:rect l="l" t="t" r="r" b="b"/>
              <a:pathLst>
                <a:path w="348755" h="363919">
                  <a:moveTo>
                    <a:pt x="46248" y="352547"/>
                  </a:moveTo>
                  <a:lnTo>
                    <a:pt x="11372" y="217593"/>
                  </a:lnTo>
                  <a:lnTo>
                    <a:pt x="203946" y="11372"/>
                  </a:lnTo>
                  <a:lnTo>
                    <a:pt x="338900" y="11372"/>
                  </a:lnTo>
                  <a:close/>
                </a:path>
              </a:pathLst>
            </a:custGeom>
            <a:solidFill>
              <a:srgbClr val="1C93D6"/>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 name="Freeform: Shape 16">
              <a:extLst>
                <a:ext uri="{FF2B5EF4-FFF2-40B4-BE49-F238E27FC236}">
                  <a16:creationId xmlns:a16="http://schemas.microsoft.com/office/drawing/2014/main" id="{AA44F0CA-C6D4-4842-A1B2-4755F56F6A2F}"/>
                </a:ext>
              </a:extLst>
            </p:cNvPr>
            <p:cNvSpPr/>
            <p:nvPr/>
          </p:nvSpPr>
          <p:spPr>
            <a:xfrm>
              <a:off x="11627987" y="6104948"/>
              <a:ext cx="151633" cy="227450"/>
            </a:xfrm>
            <a:custGeom>
              <a:avLst/>
              <a:gdLst>
                <a:gd name="connsiteX0" fmla="*/ 11372 w 151632"/>
                <a:gd name="connsiteY0" fmla="*/ 11372 h 227449"/>
                <a:gd name="connsiteX1" fmla="*/ 147842 w 151632"/>
                <a:gd name="connsiteY1" fmla="*/ 11372 h 227449"/>
                <a:gd name="connsiteX2" fmla="*/ 147842 w 151632"/>
                <a:gd name="connsiteY2" fmla="*/ 222142 h 227449"/>
                <a:gd name="connsiteX3" fmla="*/ 12889 w 151632"/>
                <a:gd name="connsiteY3" fmla="*/ 222142 h 227449"/>
              </a:gdLst>
              <a:ahLst/>
              <a:cxnLst>
                <a:cxn ang="0">
                  <a:pos x="connsiteX0" y="connsiteY0"/>
                </a:cxn>
                <a:cxn ang="0">
                  <a:pos x="connsiteX1" y="connsiteY1"/>
                </a:cxn>
                <a:cxn ang="0">
                  <a:pos x="connsiteX2" y="connsiteY2"/>
                </a:cxn>
                <a:cxn ang="0">
                  <a:pos x="connsiteX3" y="connsiteY3"/>
                </a:cxn>
              </a:cxnLst>
              <a:rect l="l" t="t" r="r" b="b"/>
              <a:pathLst>
                <a:path w="151632" h="227449">
                  <a:moveTo>
                    <a:pt x="11372" y="11372"/>
                  </a:moveTo>
                  <a:lnTo>
                    <a:pt x="147842" y="11372"/>
                  </a:lnTo>
                  <a:lnTo>
                    <a:pt x="147842" y="222142"/>
                  </a:lnTo>
                  <a:lnTo>
                    <a:pt x="12889" y="222142"/>
                  </a:lnTo>
                  <a:close/>
                </a:path>
              </a:pathLst>
            </a:custGeom>
            <a:solidFill>
              <a:srgbClr val="0478B6"/>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8" name="Freeform: Shape 17">
              <a:extLst>
                <a:ext uri="{FF2B5EF4-FFF2-40B4-BE49-F238E27FC236}">
                  <a16:creationId xmlns:a16="http://schemas.microsoft.com/office/drawing/2014/main" id="{8D9C93CB-684A-4F9F-8AB5-4D6862CFE053}"/>
                </a:ext>
              </a:extLst>
            </p:cNvPr>
            <p:cNvSpPr/>
            <p:nvPr/>
          </p:nvSpPr>
          <p:spPr>
            <a:xfrm>
              <a:off x="11714418" y="6350593"/>
              <a:ext cx="257776" cy="318429"/>
            </a:xfrm>
            <a:custGeom>
              <a:avLst/>
              <a:gdLst>
                <a:gd name="connsiteX0" fmla="*/ 11372 w 257776"/>
                <a:gd name="connsiteY0" fmla="*/ 111450 h 318429"/>
                <a:gd name="connsiteX1" fmla="*/ 97803 w 257776"/>
                <a:gd name="connsiteY1" fmla="*/ 11372 h 318429"/>
                <a:gd name="connsiteX2" fmla="*/ 253985 w 257776"/>
                <a:gd name="connsiteY2" fmla="*/ 185751 h 318429"/>
                <a:gd name="connsiteX3" fmla="*/ 223659 w 257776"/>
                <a:gd name="connsiteY3" fmla="*/ 317671 h 318429"/>
              </a:gdLst>
              <a:ahLst/>
              <a:cxnLst>
                <a:cxn ang="0">
                  <a:pos x="connsiteX0" y="connsiteY0"/>
                </a:cxn>
                <a:cxn ang="0">
                  <a:pos x="connsiteX1" y="connsiteY1"/>
                </a:cxn>
                <a:cxn ang="0">
                  <a:pos x="connsiteX2" y="connsiteY2"/>
                </a:cxn>
                <a:cxn ang="0">
                  <a:pos x="connsiteX3" y="connsiteY3"/>
                </a:cxn>
              </a:cxnLst>
              <a:rect l="l" t="t" r="r" b="b"/>
              <a:pathLst>
                <a:path w="257776" h="318429">
                  <a:moveTo>
                    <a:pt x="11372" y="111450"/>
                  </a:moveTo>
                  <a:lnTo>
                    <a:pt x="97803" y="11372"/>
                  </a:lnTo>
                  <a:lnTo>
                    <a:pt x="253985" y="185751"/>
                  </a:lnTo>
                  <a:lnTo>
                    <a:pt x="223659" y="317671"/>
                  </a:lnTo>
                  <a:close/>
                </a:path>
              </a:pathLst>
            </a:custGeom>
            <a:solidFill>
              <a:srgbClr val="0273B1"/>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2" name="Title 1">
            <a:extLst>
              <a:ext uri="{FF2B5EF4-FFF2-40B4-BE49-F238E27FC236}">
                <a16:creationId xmlns:a16="http://schemas.microsoft.com/office/drawing/2014/main" id="{3B2C09AD-6BE5-45FA-9E70-0BCAD44AABA2}"/>
              </a:ext>
            </a:extLst>
          </p:cNvPr>
          <p:cNvSpPr>
            <a:spLocks noGrp="1"/>
          </p:cNvSpPr>
          <p:nvPr>
            <p:ph type="title"/>
          </p:nvPr>
        </p:nvSpPr>
        <p:spPr/>
        <p:txBody>
          <a:bodyPr/>
          <a:lstStyle/>
          <a:p>
            <a:r>
              <a:rPr lang="en-US" dirty="0"/>
              <a:t>Azure Machine Learning service</a:t>
            </a:r>
          </a:p>
        </p:txBody>
      </p:sp>
      <p:sp>
        <p:nvSpPr>
          <p:cNvPr id="4" name="Text Placeholder 3">
            <a:extLst>
              <a:ext uri="{FF2B5EF4-FFF2-40B4-BE49-F238E27FC236}">
                <a16:creationId xmlns:a16="http://schemas.microsoft.com/office/drawing/2014/main" id="{CEDF0BAC-00F6-A04E-B392-760A025E1BEC}"/>
              </a:ext>
            </a:extLst>
          </p:cNvPr>
          <p:cNvSpPr>
            <a:spLocks noGrp="1"/>
          </p:cNvSpPr>
          <p:nvPr>
            <p:ph type="body" sz="quarter" idx="12"/>
          </p:nvPr>
        </p:nvSpPr>
        <p:spPr/>
        <p:txBody>
          <a:bodyPr/>
          <a:lstStyle/>
          <a:p>
            <a:r>
              <a:rPr lang="en-US" dirty="0"/>
              <a:t>Bring AI to everyone with an end-to-end, scalable, trusted platform</a:t>
            </a:r>
          </a:p>
        </p:txBody>
      </p:sp>
      <p:grpSp>
        <p:nvGrpSpPr>
          <p:cNvPr id="3" name="Group 2">
            <a:extLst>
              <a:ext uri="{FF2B5EF4-FFF2-40B4-BE49-F238E27FC236}">
                <a16:creationId xmlns:a16="http://schemas.microsoft.com/office/drawing/2014/main" id="{8F2B65B5-A5F6-4D55-84CC-C23AFB8CA240}"/>
              </a:ext>
            </a:extLst>
          </p:cNvPr>
          <p:cNvGrpSpPr/>
          <p:nvPr/>
        </p:nvGrpSpPr>
        <p:grpSpPr>
          <a:xfrm>
            <a:off x="6760306" y="1859904"/>
            <a:ext cx="4023437" cy="4015918"/>
            <a:chOff x="6760399" y="1859681"/>
            <a:chExt cx="4024007" cy="4016488"/>
          </a:xfrm>
        </p:grpSpPr>
        <p:sp>
          <p:nvSpPr>
            <p:cNvPr id="104" name="Oval 103">
              <a:extLst>
                <a:ext uri="{FF2B5EF4-FFF2-40B4-BE49-F238E27FC236}">
                  <a16:creationId xmlns:a16="http://schemas.microsoft.com/office/drawing/2014/main" id="{132BDB20-C202-4F02-A9D4-2118A1F4E3AD}"/>
                </a:ext>
              </a:extLst>
            </p:cNvPr>
            <p:cNvSpPr/>
            <p:nvPr/>
          </p:nvSpPr>
          <p:spPr bwMode="auto">
            <a:xfrm>
              <a:off x="6826028" y="1925310"/>
              <a:ext cx="748300" cy="74830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 name="Arc 104">
              <a:extLst>
                <a:ext uri="{FF2B5EF4-FFF2-40B4-BE49-F238E27FC236}">
                  <a16:creationId xmlns:a16="http://schemas.microsoft.com/office/drawing/2014/main" id="{2174FB03-703A-41F3-B932-BFF12A1D8D2B}"/>
                </a:ext>
              </a:extLst>
            </p:cNvPr>
            <p:cNvSpPr/>
            <p:nvPr/>
          </p:nvSpPr>
          <p:spPr bwMode="auto">
            <a:xfrm flipV="1">
              <a:off x="6760399" y="1859681"/>
              <a:ext cx="879558" cy="879558"/>
            </a:xfrm>
            <a:prstGeom prst="arc">
              <a:avLst/>
            </a:prstGeom>
            <a:noFill/>
            <a:ln w="63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06" name="Straight Connector 105">
              <a:extLst>
                <a:ext uri="{FF2B5EF4-FFF2-40B4-BE49-F238E27FC236}">
                  <a16:creationId xmlns:a16="http://schemas.microsoft.com/office/drawing/2014/main" id="{8E9B11E9-F5B7-46F7-AD97-3A3CF87AA4A5}"/>
                </a:ext>
              </a:extLst>
            </p:cNvPr>
            <p:cNvCxnSpPr>
              <a:cxnSpLocks/>
              <a:stCxn id="105" idx="2"/>
            </p:cNvCxnSpPr>
            <p:nvPr/>
          </p:nvCxnSpPr>
          <p:spPr>
            <a:xfrm>
              <a:off x="7639957" y="2299460"/>
              <a:ext cx="3144449" cy="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1087AD9B-81CD-4777-88BC-F44649275C19}"/>
                </a:ext>
              </a:extLst>
            </p:cNvPr>
            <p:cNvCxnSpPr>
              <a:cxnSpLocks/>
              <a:stCxn id="105" idx="0"/>
            </p:cNvCxnSpPr>
            <p:nvPr/>
          </p:nvCxnSpPr>
          <p:spPr>
            <a:xfrm>
              <a:off x="7200178" y="2739239"/>
              <a:ext cx="0" cy="313693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3885E410-DC7E-403B-A656-94613B7616E2}"/>
                </a:ext>
              </a:extLst>
            </p:cNvPr>
            <p:cNvSpPr/>
            <p:nvPr/>
          </p:nvSpPr>
          <p:spPr bwMode="auto">
            <a:xfrm>
              <a:off x="7662492" y="2069550"/>
              <a:ext cx="2814119" cy="2154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Built with your needs in mind</a:t>
              </a:r>
            </a:p>
          </p:txBody>
        </p:sp>
        <p:sp>
          <p:nvSpPr>
            <p:cNvPr id="100" name="Rectangle 99">
              <a:extLst>
                <a:ext uri="{FF2B5EF4-FFF2-40B4-BE49-F238E27FC236}">
                  <a16:creationId xmlns:a16="http://schemas.microsoft.com/office/drawing/2014/main" id="{3B9AD2B3-C520-4E08-AB4C-2FFEE05B8706}"/>
                </a:ext>
              </a:extLst>
            </p:cNvPr>
            <p:cNvSpPr/>
            <p:nvPr/>
          </p:nvSpPr>
          <p:spPr bwMode="auto">
            <a:xfrm>
              <a:off x="7469989" y="4914844"/>
              <a:ext cx="3017520" cy="1846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rPr>
                <a:t>Support for open source frameworks</a:t>
              </a:r>
            </a:p>
          </p:txBody>
        </p:sp>
        <p:sp>
          <p:nvSpPr>
            <p:cNvPr id="109" name="Oval 108">
              <a:extLst>
                <a:ext uri="{FF2B5EF4-FFF2-40B4-BE49-F238E27FC236}">
                  <a16:creationId xmlns:a16="http://schemas.microsoft.com/office/drawing/2014/main" id="{C1866CB6-6ED3-4206-BF5F-4EF0843A8E56}"/>
                </a:ext>
              </a:extLst>
            </p:cNvPr>
            <p:cNvSpPr/>
            <p:nvPr/>
          </p:nvSpPr>
          <p:spPr bwMode="auto">
            <a:xfrm>
              <a:off x="7151769" y="292467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01" name="Rectangle 100">
              <a:extLst>
                <a:ext uri="{FF2B5EF4-FFF2-40B4-BE49-F238E27FC236}">
                  <a16:creationId xmlns:a16="http://schemas.microsoft.com/office/drawing/2014/main" id="{E6BC52FB-0566-411B-9E0A-C6986F3139B4}"/>
                </a:ext>
              </a:extLst>
            </p:cNvPr>
            <p:cNvSpPr/>
            <p:nvPr/>
          </p:nvSpPr>
          <p:spPr bwMode="auto">
            <a:xfrm>
              <a:off x="7485109" y="3389366"/>
              <a:ext cx="3017520" cy="1846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rPr>
                <a:t>Managed compute</a:t>
              </a:r>
            </a:p>
          </p:txBody>
        </p:sp>
        <p:sp>
          <p:nvSpPr>
            <p:cNvPr id="110" name="Oval 109">
              <a:extLst>
                <a:ext uri="{FF2B5EF4-FFF2-40B4-BE49-F238E27FC236}">
                  <a16:creationId xmlns:a16="http://schemas.microsoft.com/office/drawing/2014/main" id="{45FB452C-EDC0-4F26-80C2-9EF2D4E49BA6}"/>
                </a:ext>
              </a:extLst>
            </p:cNvPr>
            <p:cNvSpPr/>
            <p:nvPr/>
          </p:nvSpPr>
          <p:spPr bwMode="auto">
            <a:xfrm>
              <a:off x="7151769" y="3432813"/>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11" name="Oval 110">
              <a:extLst>
                <a:ext uri="{FF2B5EF4-FFF2-40B4-BE49-F238E27FC236}">
                  <a16:creationId xmlns:a16="http://schemas.microsoft.com/office/drawing/2014/main" id="{73721510-1896-46A1-96B0-7C85D78FC80C}"/>
                </a:ext>
              </a:extLst>
            </p:cNvPr>
            <p:cNvSpPr/>
            <p:nvPr/>
          </p:nvSpPr>
          <p:spPr bwMode="auto">
            <a:xfrm>
              <a:off x="7151769" y="394094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32" name="Rectangle 131">
              <a:extLst>
                <a:ext uri="{FF2B5EF4-FFF2-40B4-BE49-F238E27FC236}">
                  <a16:creationId xmlns:a16="http://schemas.microsoft.com/office/drawing/2014/main" id="{098989D0-4151-46B2-87D3-A14595CF90C5}"/>
                </a:ext>
              </a:extLst>
            </p:cNvPr>
            <p:cNvSpPr/>
            <p:nvPr/>
          </p:nvSpPr>
          <p:spPr bwMode="auto">
            <a:xfrm>
              <a:off x="7486352" y="4393247"/>
              <a:ext cx="3017520" cy="1846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rPr>
                <a:t>DevOps for machine learning</a:t>
              </a:r>
            </a:p>
          </p:txBody>
        </p:sp>
        <p:sp>
          <p:nvSpPr>
            <p:cNvPr id="129" name="Oval 128">
              <a:extLst>
                <a:ext uri="{FF2B5EF4-FFF2-40B4-BE49-F238E27FC236}">
                  <a16:creationId xmlns:a16="http://schemas.microsoft.com/office/drawing/2014/main" id="{9EDF74D9-F261-4D40-873C-12214DDD7205}"/>
                </a:ext>
              </a:extLst>
            </p:cNvPr>
            <p:cNvSpPr/>
            <p:nvPr/>
          </p:nvSpPr>
          <p:spPr bwMode="auto">
            <a:xfrm>
              <a:off x="7151769" y="4449083"/>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35" name="Rectangle 134">
              <a:extLst>
                <a:ext uri="{FF2B5EF4-FFF2-40B4-BE49-F238E27FC236}">
                  <a16:creationId xmlns:a16="http://schemas.microsoft.com/office/drawing/2014/main" id="{AE1991C8-2A3B-4965-8B55-A7410749ED72}"/>
                </a:ext>
              </a:extLst>
            </p:cNvPr>
            <p:cNvSpPr/>
            <p:nvPr/>
          </p:nvSpPr>
          <p:spPr bwMode="auto">
            <a:xfrm>
              <a:off x="7486352" y="3900212"/>
              <a:ext cx="3017520" cy="1846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rPr>
                <a:t>Simple deployment</a:t>
              </a:r>
            </a:p>
          </p:txBody>
        </p:sp>
        <p:sp>
          <p:nvSpPr>
            <p:cNvPr id="130" name="Oval 129">
              <a:extLst>
                <a:ext uri="{FF2B5EF4-FFF2-40B4-BE49-F238E27FC236}">
                  <a16:creationId xmlns:a16="http://schemas.microsoft.com/office/drawing/2014/main" id="{1C368C97-24FA-4B27-B3A0-273E79F2575E}"/>
                </a:ext>
              </a:extLst>
            </p:cNvPr>
            <p:cNvSpPr/>
            <p:nvPr/>
          </p:nvSpPr>
          <p:spPr bwMode="auto">
            <a:xfrm>
              <a:off x="7151769" y="495721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31" name="Oval 130">
              <a:extLst>
                <a:ext uri="{FF2B5EF4-FFF2-40B4-BE49-F238E27FC236}">
                  <a16:creationId xmlns:a16="http://schemas.microsoft.com/office/drawing/2014/main" id="{CE077823-6247-4857-A2BD-8DBAE03AB89E}"/>
                </a:ext>
              </a:extLst>
            </p:cNvPr>
            <p:cNvSpPr/>
            <p:nvPr/>
          </p:nvSpPr>
          <p:spPr bwMode="auto">
            <a:xfrm>
              <a:off x="7151769" y="5465355"/>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37" name="Rectangle 136">
              <a:extLst>
                <a:ext uri="{FF2B5EF4-FFF2-40B4-BE49-F238E27FC236}">
                  <a16:creationId xmlns:a16="http://schemas.microsoft.com/office/drawing/2014/main" id="{DCE43057-CD55-4FBF-8E5E-EFD7EF03BD4D}"/>
                </a:ext>
              </a:extLst>
            </p:cNvPr>
            <p:cNvSpPr/>
            <p:nvPr/>
          </p:nvSpPr>
          <p:spPr bwMode="auto">
            <a:xfrm>
              <a:off x="7468746" y="2889269"/>
              <a:ext cx="3017520" cy="1846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rPr>
                <a:t>Automated machine learning</a:t>
              </a:r>
            </a:p>
          </p:txBody>
        </p:sp>
        <p:sp>
          <p:nvSpPr>
            <p:cNvPr id="138" name="Freeform 96" title="Icon of a gear with a wrench">
              <a:extLst>
                <a:ext uri="{FF2B5EF4-FFF2-40B4-BE49-F238E27FC236}">
                  <a16:creationId xmlns:a16="http://schemas.microsoft.com/office/drawing/2014/main" id="{8B98717F-F834-4139-A1B6-20837FEB5C5B}"/>
                </a:ext>
              </a:extLst>
            </p:cNvPr>
            <p:cNvSpPr>
              <a:spLocks noChangeAspect="1" noEditPoints="1"/>
            </p:cNvSpPr>
            <p:nvPr/>
          </p:nvSpPr>
          <p:spPr bwMode="auto">
            <a:xfrm>
              <a:off x="6987276" y="2103429"/>
              <a:ext cx="425804" cy="3920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95" name="TextBox 94">
            <a:extLst>
              <a:ext uri="{FF2B5EF4-FFF2-40B4-BE49-F238E27FC236}">
                <a16:creationId xmlns:a16="http://schemas.microsoft.com/office/drawing/2014/main" id="{F19CAC52-6D06-4653-8D27-33860E16AD49}"/>
              </a:ext>
            </a:extLst>
          </p:cNvPr>
          <p:cNvSpPr txBox="1"/>
          <p:nvPr/>
        </p:nvSpPr>
        <p:spPr>
          <a:xfrm>
            <a:off x="4169346" y="6392899"/>
            <a:ext cx="3853310" cy="614348"/>
          </a:xfrm>
          <a:prstGeom prst="rect">
            <a:avLst/>
          </a:prstGeom>
          <a:noFill/>
        </p:spPr>
        <p:txBody>
          <a:bodyPr wrap="square" lIns="358519" tIns="179259" rIns="89580" bIns="146180" rtlCol="0">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a:ea typeface="+mn-ea"/>
                <a:cs typeface="Segoe UI Semibold" panose="020B0702040204020203" pitchFamily="34" charset="0"/>
              </a:rPr>
              <a:t>Seamlessly integrated with the Azure Portfolio</a:t>
            </a:r>
          </a:p>
        </p:txBody>
      </p:sp>
      <p:cxnSp>
        <p:nvCxnSpPr>
          <p:cNvPr id="96" name="Straight Connector 95">
            <a:extLst>
              <a:ext uri="{FF2B5EF4-FFF2-40B4-BE49-F238E27FC236}">
                <a16:creationId xmlns:a16="http://schemas.microsoft.com/office/drawing/2014/main" id="{33AFBAC2-B708-472A-B297-B92C17C47E12}"/>
              </a:ext>
            </a:extLst>
          </p:cNvPr>
          <p:cNvCxnSpPr>
            <a:cxnSpLocks/>
          </p:cNvCxnSpPr>
          <p:nvPr/>
        </p:nvCxnSpPr>
        <p:spPr>
          <a:xfrm flipH="1">
            <a:off x="1232718" y="6438569"/>
            <a:ext cx="9726565" cy="0"/>
          </a:xfrm>
          <a:prstGeom prst="line">
            <a:avLst/>
          </a:prstGeom>
          <a:ln w="6350">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DDC8608C-880D-42B8-B153-9D44AB940C4A}"/>
              </a:ext>
            </a:extLst>
          </p:cNvPr>
          <p:cNvGrpSpPr/>
          <p:nvPr/>
        </p:nvGrpSpPr>
        <p:grpSpPr>
          <a:xfrm>
            <a:off x="1673216" y="1993673"/>
            <a:ext cx="4859282" cy="672750"/>
            <a:chOff x="1672587" y="1993469"/>
            <a:chExt cx="4859972" cy="672845"/>
          </a:xfrm>
        </p:grpSpPr>
        <p:sp>
          <p:nvSpPr>
            <p:cNvPr id="11" name="Rectangle 10">
              <a:extLst>
                <a:ext uri="{FF2B5EF4-FFF2-40B4-BE49-F238E27FC236}">
                  <a16:creationId xmlns:a16="http://schemas.microsoft.com/office/drawing/2014/main" id="{D88CF9A1-0ACF-4E45-B06C-2AB62194FDC8}"/>
                </a:ext>
              </a:extLst>
            </p:cNvPr>
            <p:cNvSpPr/>
            <p:nvPr/>
          </p:nvSpPr>
          <p:spPr>
            <a:xfrm>
              <a:off x="3124235" y="2211781"/>
              <a:ext cx="3408324" cy="215474"/>
            </a:xfrm>
            <a:prstGeom prst="rect">
              <a:avLst/>
            </a:prstGeom>
          </p:spPr>
          <p:txBody>
            <a:bodyPr wrap="square" lIns="0" tIns="0" rIns="0" bIns="0">
              <a:spAutoFit/>
            </a:bodyPr>
            <a:lstStyle/>
            <a:p>
              <a:pPr marL="0" marR="0" lvl="0" indent="0" algn="l" defTabSz="913874" rtl="0" eaLnBrk="1" fontAlgn="auto" latinLnBrk="0" hangingPunct="1">
                <a:lnSpc>
                  <a:spcPct val="100000"/>
                </a:lnSpc>
                <a:spcBef>
                  <a:spcPts val="0"/>
                </a:spcBef>
                <a:spcAft>
                  <a:spcPts val="2400"/>
                </a:spcAft>
                <a:buClrTx/>
                <a:buSzTx/>
                <a:buFontTx/>
                <a:buNone/>
                <a:tabLst/>
                <a:defRPr/>
              </a:pPr>
              <a:r>
                <a:rPr kumimoji="0" lang="en-US" sz="1400" b="1" i="0" u="none" strike="noStrike" kern="0" cap="none" spc="0" normalizeH="0" baseline="0" noProof="0" dirty="0">
                  <a:ln>
                    <a:noFill/>
                  </a:ln>
                  <a:solidFill>
                    <a:srgbClr val="0078D7"/>
                  </a:solidFill>
                  <a:effectLst/>
                  <a:uLnTx/>
                  <a:uFillTx/>
                  <a:latin typeface="Segoe UI Semibold" charset="0"/>
                  <a:ea typeface="+mn-ea"/>
                  <a:cs typeface="Segoe UI Semibold" charset="0"/>
                </a:rPr>
                <a:t>Boost your data science productivity</a:t>
              </a:r>
            </a:p>
          </p:txBody>
        </p:sp>
        <p:cxnSp>
          <p:nvCxnSpPr>
            <p:cNvPr id="31" name="Straight Connector 30">
              <a:extLst>
                <a:ext uri="{FF2B5EF4-FFF2-40B4-BE49-F238E27FC236}">
                  <a16:creationId xmlns:a16="http://schemas.microsoft.com/office/drawing/2014/main" id="{E6AA3606-949B-4AC4-922A-B52E6C26EC2D}"/>
                </a:ext>
              </a:extLst>
            </p:cNvPr>
            <p:cNvCxnSpPr/>
            <p:nvPr/>
          </p:nvCxnSpPr>
          <p:spPr>
            <a:xfrm>
              <a:off x="2844745" y="2033380"/>
              <a:ext cx="0" cy="603023"/>
            </a:xfrm>
            <a:prstGeom prst="line">
              <a:avLst/>
            </a:prstGeom>
            <a:ln w="12700" cap="rnd">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aphic 6">
              <a:extLst>
                <a:ext uri="{FF2B5EF4-FFF2-40B4-BE49-F238E27FC236}">
                  <a16:creationId xmlns:a16="http://schemas.microsoft.com/office/drawing/2014/main" id="{130E1048-F7EE-4FC1-90AD-B6BE56991CC2}"/>
                </a:ext>
              </a:extLst>
            </p:cNvPr>
            <p:cNvGrpSpPr/>
            <p:nvPr/>
          </p:nvGrpSpPr>
          <p:grpSpPr>
            <a:xfrm>
              <a:off x="1672587" y="1993469"/>
              <a:ext cx="672845" cy="672845"/>
              <a:chOff x="165227" y="2054828"/>
              <a:chExt cx="2133600" cy="2133600"/>
            </a:xfrm>
          </p:grpSpPr>
          <p:sp>
            <p:nvSpPr>
              <p:cNvPr id="42" name="Freeform: Shape 41">
                <a:extLst>
                  <a:ext uri="{FF2B5EF4-FFF2-40B4-BE49-F238E27FC236}">
                    <a16:creationId xmlns:a16="http://schemas.microsoft.com/office/drawing/2014/main" id="{7111A606-CE67-44F3-A22F-524EAD80F3DD}"/>
                  </a:ext>
                </a:extLst>
              </p:cNvPr>
              <p:cNvSpPr/>
              <p:nvPr/>
            </p:nvSpPr>
            <p:spPr>
              <a:xfrm>
                <a:off x="158078" y="2047683"/>
                <a:ext cx="2143125" cy="2143125"/>
              </a:xfrm>
              <a:custGeom>
                <a:avLst/>
                <a:gdLst>
                  <a:gd name="connsiteX0" fmla="*/ 1080292 w 2143125"/>
                  <a:gd name="connsiteY0" fmla="*/ 7144 h 2143125"/>
                  <a:gd name="connsiteX1" fmla="*/ 2137577 w 2143125"/>
                  <a:gd name="connsiteY1" fmla="*/ 404012 h 2143125"/>
                  <a:gd name="connsiteX2" fmla="*/ 2137577 w 2143125"/>
                  <a:gd name="connsiteY2" fmla="*/ 1734342 h 2143125"/>
                  <a:gd name="connsiteX3" fmla="*/ 1089817 w 2143125"/>
                  <a:gd name="connsiteY3" fmla="*/ 2140745 h 2143125"/>
                  <a:gd name="connsiteX4" fmla="*/ 7144 w 2143125"/>
                  <a:gd name="connsiteY4" fmla="*/ 1734342 h 2143125"/>
                  <a:gd name="connsiteX5" fmla="*/ 7144 w 2143125"/>
                  <a:gd name="connsiteY5" fmla="*/ 404012 h 2143125"/>
                  <a:gd name="connsiteX6" fmla="*/ 1080292 w 2143125"/>
                  <a:gd name="connsiteY6" fmla="*/ 7144 h 2143125"/>
                  <a:gd name="connsiteX7" fmla="*/ 188119 w 2143125"/>
                  <a:gd name="connsiteY7" fmla="*/ 1622147 h 2143125"/>
                  <a:gd name="connsiteX8" fmla="*/ 1077130 w 2143125"/>
                  <a:gd name="connsiteY8" fmla="*/ 1953417 h 2143125"/>
                  <a:gd name="connsiteX9" fmla="*/ 1969308 w 2143125"/>
                  <a:gd name="connsiteY9" fmla="*/ 1610517 h 2143125"/>
                  <a:gd name="connsiteX10" fmla="*/ 1969308 w 2143125"/>
                  <a:gd name="connsiteY10" fmla="*/ 521018 h 2143125"/>
                  <a:gd name="connsiteX11" fmla="*/ 1078940 w 2143125"/>
                  <a:gd name="connsiteY11" fmla="*/ 188395 h 2143125"/>
                  <a:gd name="connsiteX12" fmla="*/ 188119 w 2143125"/>
                  <a:gd name="connsiteY12" fmla="*/ 531019 h 2143125"/>
                  <a:gd name="connsiteX13" fmla="*/ 188119 w 2143125"/>
                  <a:gd name="connsiteY13" fmla="*/ 1622147 h 214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43125" h="2143125">
                    <a:moveTo>
                      <a:pt x="1080292" y="7144"/>
                    </a:moveTo>
                    <a:lnTo>
                      <a:pt x="2137577" y="404012"/>
                    </a:lnTo>
                    <a:lnTo>
                      <a:pt x="2137577" y="1734342"/>
                    </a:lnTo>
                    <a:lnTo>
                      <a:pt x="1089817" y="2140745"/>
                    </a:lnTo>
                    <a:lnTo>
                      <a:pt x="7144" y="1734342"/>
                    </a:lnTo>
                    <a:lnTo>
                      <a:pt x="7144" y="404012"/>
                    </a:lnTo>
                    <a:lnTo>
                      <a:pt x="1080292" y="7144"/>
                    </a:lnTo>
                    <a:close/>
                    <a:moveTo>
                      <a:pt x="188119" y="1622147"/>
                    </a:moveTo>
                    <a:lnTo>
                      <a:pt x="1077130" y="1953417"/>
                    </a:lnTo>
                    <a:lnTo>
                      <a:pt x="1969308" y="1610517"/>
                    </a:lnTo>
                    <a:lnTo>
                      <a:pt x="1969308" y="521018"/>
                    </a:lnTo>
                    <a:lnTo>
                      <a:pt x="1078940" y="188395"/>
                    </a:lnTo>
                    <a:lnTo>
                      <a:pt x="188119" y="531019"/>
                    </a:lnTo>
                    <a:lnTo>
                      <a:pt x="188119" y="1622147"/>
                    </a:lnTo>
                    <a:close/>
                  </a:path>
                </a:pathLst>
              </a:custGeom>
              <a:solidFill>
                <a:srgbClr val="0075DA"/>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 name="Freeform: Shape 42">
                <a:extLst>
                  <a:ext uri="{FF2B5EF4-FFF2-40B4-BE49-F238E27FC236}">
                    <a16:creationId xmlns:a16="http://schemas.microsoft.com/office/drawing/2014/main" id="{0FE6A089-ECEE-4E5B-A372-72F68D5F6C14}"/>
                  </a:ext>
                </a:extLst>
              </p:cNvPr>
              <p:cNvSpPr/>
              <p:nvPr/>
            </p:nvSpPr>
            <p:spPr>
              <a:xfrm>
                <a:off x="761333" y="2535050"/>
                <a:ext cx="952500" cy="314325"/>
              </a:xfrm>
              <a:custGeom>
                <a:avLst/>
                <a:gdLst>
                  <a:gd name="connsiteX0" fmla="*/ 816766 w 952500"/>
                  <a:gd name="connsiteY0" fmla="*/ 308762 h 314325"/>
                  <a:gd name="connsiteX1" fmla="*/ 472275 w 952500"/>
                  <a:gd name="connsiteY1" fmla="*/ 156362 h 314325"/>
                  <a:gd name="connsiteX2" fmla="*/ 135731 w 952500"/>
                  <a:gd name="connsiteY2" fmla="*/ 307181 h 314325"/>
                  <a:gd name="connsiteX3" fmla="*/ 7144 w 952500"/>
                  <a:gd name="connsiteY3" fmla="*/ 227800 h 314325"/>
                  <a:gd name="connsiteX4" fmla="*/ 467513 w 952500"/>
                  <a:gd name="connsiteY4" fmla="*/ 7144 h 314325"/>
                  <a:gd name="connsiteX5" fmla="*/ 953288 w 952500"/>
                  <a:gd name="connsiteY5" fmla="*/ 22780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314325">
                    <a:moveTo>
                      <a:pt x="816766" y="308762"/>
                    </a:moveTo>
                    <a:lnTo>
                      <a:pt x="472275" y="156362"/>
                    </a:lnTo>
                    <a:lnTo>
                      <a:pt x="135731" y="307181"/>
                    </a:lnTo>
                    <a:lnTo>
                      <a:pt x="7144" y="227800"/>
                    </a:lnTo>
                    <a:lnTo>
                      <a:pt x="467513" y="7144"/>
                    </a:lnTo>
                    <a:lnTo>
                      <a:pt x="953288" y="227800"/>
                    </a:lnTo>
                    <a:close/>
                  </a:path>
                </a:pathLst>
              </a:custGeom>
              <a:solidFill>
                <a:srgbClr val="0075DA"/>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 name="Freeform: Shape 43">
                <a:extLst>
                  <a:ext uri="{FF2B5EF4-FFF2-40B4-BE49-F238E27FC236}">
                    <a16:creationId xmlns:a16="http://schemas.microsoft.com/office/drawing/2014/main" id="{E5808C01-9EFA-41DF-9097-E4CA34746091}"/>
                  </a:ext>
                </a:extLst>
              </p:cNvPr>
              <p:cNvSpPr/>
              <p:nvPr/>
            </p:nvSpPr>
            <p:spPr>
              <a:xfrm>
                <a:off x="696248" y="2890647"/>
                <a:ext cx="466725" cy="771525"/>
              </a:xfrm>
              <a:custGeom>
                <a:avLst/>
                <a:gdLst>
                  <a:gd name="connsiteX0" fmla="*/ 464342 w 466725"/>
                  <a:gd name="connsiteY0" fmla="*/ 629441 h 771525"/>
                  <a:gd name="connsiteX1" fmla="*/ 461161 w 466725"/>
                  <a:gd name="connsiteY1" fmla="*/ 772316 h 771525"/>
                  <a:gd name="connsiteX2" fmla="*/ 7144 w 466725"/>
                  <a:gd name="connsiteY2" fmla="*/ 561975 h 771525"/>
                  <a:gd name="connsiteX3" fmla="*/ 7144 w 466725"/>
                  <a:gd name="connsiteY3" fmla="*/ 7144 h 771525"/>
                  <a:gd name="connsiteX4" fmla="*/ 137312 w 466725"/>
                  <a:gd name="connsiteY4" fmla="*/ 83344 h 771525"/>
                  <a:gd name="connsiteX5" fmla="*/ 137312 w 466725"/>
                  <a:gd name="connsiteY5" fmla="*/ 475460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6725" h="771525">
                    <a:moveTo>
                      <a:pt x="464342" y="629441"/>
                    </a:moveTo>
                    <a:lnTo>
                      <a:pt x="461161" y="772316"/>
                    </a:lnTo>
                    <a:lnTo>
                      <a:pt x="7144" y="561975"/>
                    </a:lnTo>
                    <a:lnTo>
                      <a:pt x="7144" y="7144"/>
                    </a:lnTo>
                    <a:lnTo>
                      <a:pt x="137312" y="83344"/>
                    </a:lnTo>
                    <a:lnTo>
                      <a:pt x="137312" y="475460"/>
                    </a:lnTo>
                    <a:close/>
                  </a:path>
                </a:pathLst>
              </a:custGeom>
              <a:solidFill>
                <a:srgbClr val="0075DA"/>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5" name="Freeform: Shape 44">
                <a:extLst>
                  <a:ext uri="{FF2B5EF4-FFF2-40B4-BE49-F238E27FC236}">
                    <a16:creationId xmlns:a16="http://schemas.microsoft.com/office/drawing/2014/main" id="{38FD17EC-EC63-4939-BFE7-9FAE03C403A1}"/>
                  </a:ext>
                </a:extLst>
              </p:cNvPr>
              <p:cNvSpPr/>
              <p:nvPr/>
            </p:nvSpPr>
            <p:spPr>
              <a:xfrm>
                <a:off x="1301083" y="2890647"/>
                <a:ext cx="466725" cy="771525"/>
              </a:xfrm>
              <a:custGeom>
                <a:avLst/>
                <a:gdLst>
                  <a:gd name="connsiteX0" fmla="*/ 7144 w 466725"/>
                  <a:gd name="connsiteY0" fmla="*/ 629441 h 771525"/>
                  <a:gd name="connsiteX1" fmla="*/ 10316 w 466725"/>
                  <a:gd name="connsiteY1" fmla="*/ 772316 h 771525"/>
                  <a:gd name="connsiteX2" fmla="*/ 464344 w 466725"/>
                  <a:gd name="connsiteY2" fmla="*/ 561975 h 771525"/>
                  <a:gd name="connsiteX3" fmla="*/ 464344 w 466725"/>
                  <a:gd name="connsiteY3" fmla="*/ 7144 h 771525"/>
                  <a:gd name="connsiteX4" fmla="*/ 334166 w 466725"/>
                  <a:gd name="connsiteY4" fmla="*/ 83344 h 771525"/>
                  <a:gd name="connsiteX5" fmla="*/ 334166 w 466725"/>
                  <a:gd name="connsiteY5" fmla="*/ 475460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6725" h="771525">
                    <a:moveTo>
                      <a:pt x="7144" y="629441"/>
                    </a:moveTo>
                    <a:lnTo>
                      <a:pt x="10316" y="772316"/>
                    </a:lnTo>
                    <a:lnTo>
                      <a:pt x="464344" y="561975"/>
                    </a:lnTo>
                    <a:lnTo>
                      <a:pt x="464344" y="7144"/>
                    </a:lnTo>
                    <a:lnTo>
                      <a:pt x="334166" y="83344"/>
                    </a:lnTo>
                    <a:lnTo>
                      <a:pt x="334166" y="475460"/>
                    </a:lnTo>
                    <a:close/>
                  </a:path>
                </a:pathLst>
              </a:custGeom>
              <a:solidFill>
                <a:srgbClr val="0075DA"/>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21" name="Group 20">
            <a:extLst>
              <a:ext uri="{FF2B5EF4-FFF2-40B4-BE49-F238E27FC236}">
                <a16:creationId xmlns:a16="http://schemas.microsoft.com/office/drawing/2014/main" id="{84EBBFA0-641F-4847-87DF-208A8F05CD5A}"/>
              </a:ext>
            </a:extLst>
          </p:cNvPr>
          <p:cNvGrpSpPr/>
          <p:nvPr/>
        </p:nvGrpSpPr>
        <p:grpSpPr>
          <a:xfrm>
            <a:off x="1461720" y="3502870"/>
            <a:ext cx="5251382" cy="737000"/>
            <a:chOff x="1461062" y="3524273"/>
            <a:chExt cx="5252127" cy="737104"/>
          </a:xfrm>
        </p:grpSpPr>
        <p:sp>
          <p:nvSpPr>
            <p:cNvPr id="12" name="Rectangle 11">
              <a:extLst>
                <a:ext uri="{FF2B5EF4-FFF2-40B4-BE49-F238E27FC236}">
                  <a16:creationId xmlns:a16="http://schemas.microsoft.com/office/drawing/2014/main" id="{54C3F0E5-8EFB-4AD7-8D7F-2A838942A046}"/>
                </a:ext>
              </a:extLst>
            </p:cNvPr>
            <p:cNvSpPr/>
            <p:nvPr/>
          </p:nvSpPr>
          <p:spPr>
            <a:xfrm>
              <a:off x="3124235" y="3752885"/>
              <a:ext cx="3588954" cy="215474"/>
            </a:xfrm>
            <a:prstGeom prst="rect">
              <a:avLst/>
            </a:prstGeom>
          </p:spPr>
          <p:txBody>
            <a:bodyPr wrap="square" lIns="0" tIns="0" rIns="0" bIns="0">
              <a:spAutoFit/>
            </a:bodyPr>
            <a:lstStyle/>
            <a:p>
              <a:pPr marL="0" marR="0" lvl="0" indent="0" algn="l" defTabSz="913874" rtl="0" eaLnBrk="1" fontAlgn="base" latinLnBrk="0" hangingPunct="1">
                <a:lnSpc>
                  <a:spcPct val="100000"/>
                </a:lnSpc>
                <a:spcBef>
                  <a:spcPct val="0"/>
                </a:spcBef>
                <a:spcAft>
                  <a:spcPts val="2400"/>
                </a:spcAft>
                <a:buClrTx/>
                <a:buSzTx/>
                <a:buFontTx/>
                <a:buNone/>
                <a:tabLst/>
                <a:defRPr/>
              </a:pPr>
              <a:r>
                <a:rPr kumimoji="0" lang="en-US" sz="1400" b="1" i="0" u="none" strike="noStrike" kern="0" cap="none" spc="0" normalizeH="0" baseline="0" noProof="0" dirty="0">
                  <a:ln>
                    <a:noFill/>
                  </a:ln>
                  <a:solidFill>
                    <a:srgbClr val="0078D7"/>
                  </a:solidFill>
                  <a:effectLst/>
                  <a:uLnTx/>
                  <a:uFillTx/>
                  <a:latin typeface="Segoe UI Semibold" charset="0"/>
                  <a:ea typeface="+mn-ea"/>
                  <a:cs typeface="Segoe UI Semibold" charset="0"/>
                </a:rPr>
                <a:t>Increase your rate of experimentation</a:t>
              </a:r>
            </a:p>
          </p:txBody>
        </p:sp>
        <p:grpSp>
          <p:nvGrpSpPr>
            <p:cNvPr id="20" name="Group 19">
              <a:extLst>
                <a:ext uri="{FF2B5EF4-FFF2-40B4-BE49-F238E27FC236}">
                  <a16:creationId xmlns:a16="http://schemas.microsoft.com/office/drawing/2014/main" id="{69183BAC-79E4-4CB8-AC82-08A4E94B8F78}"/>
                </a:ext>
              </a:extLst>
            </p:cNvPr>
            <p:cNvGrpSpPr/>
            <p:nvPr/>
          </p:nvGrpSpPr>
          <p:grpSpPr>
            <a:xfrm>
              <a:off x="1461062" y="3524273"/>
              <a:ext cx="1383683" cy="737104"/>
              <a:chOff x="1461062" y="3524273"/>
              <a:chExt cx="1383683" cy="737104"/>
            </a:xfrm>
          </p:grpSpPr>
          <p:cxnSp>
            <p:nvCxnSpPr>
              <p:cNvPr id="140" name="Straight Connector 139">
                <a:extLst>
                  <a:ext uri="{FF2B5EF4-FFF2-40B4-BE49-F238E27FC236}">
                    <a16:creationId xmlns:a16="http://schemas.microsoft.com/office/drawing/2014/main" id="{3C0AEF2B-C342-44AC-9A7F-9A125AF2DB3E}"/>
                  </a:ext>
                </a:extLst>
              </p:cNvPr>
              <p:cNvCxnSpPr/>
              <p:nvPr/>
            </p:nvCxnSpPr>
            <p:spPr>
              <a:xfrm>
                <a:off x="2844745" y="3574484"/>
                <a:ext cx="0" cy="603023"/>
              </a:xfrm>
              <a:prstGeom prst="line">
                <a:avLst/>
              </a:prstGeom>
              <a:ln w="12700" cap="rnd">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83" name="Graphic 97">
                <a:extLst>
                  <a:ext uri="{FF2B5EF4-FFF2-40B4-BE49-F238E27FC236}">
                    <a16:creationId xmlns:a16="http://schemas.microsoft.com/office/drawing/2014/main" id="{46C8DCEC-48E4-41F6-8795-2DEF7ED677C4}"/>
                  </a:ext>
                </a:extLst>
              </p:cNvPr>
              <p:cNvGrpSpPr/>
              <p:nvPr/>
            </p:nvGrpSpPr>
            <p:grpSpPr>
              <a:xfrm>
                <a:off x="1461062" y="3524273"/>
                <a:ext cx="981471" cy="737104"/>
                <a:chOff x="619072" y="3029620"/>
                <a:chExt cx="2333625" cy="1752600"/>
              </a:xfrm>
            </p:grpSpPr>
            <p:sp>
              <p:nvSpPr>
                <p:cNvPr id="84" name="Freeform: Shape 83">
                  <a:extLst>
                    <a:ext uri="{FF2B5EF4-FFF2-40B4-BE49-F238E27FC236}">
                      <a16:creationId xmlns:a16="http://schemas.microsoft.com/office/drawing/2014/main" id="{971EC907-BDCD-40E7-914D-BE4DF7A64679}"/>
                    </a:ext>
                  </a:extLst>
                </p:cNvPr>
                <p:cNvSpPr/>
                <p:nvPr/>
              </p:nvSpPr>
              <p:spPr>
                <a:xfrm>
                  <a:off x="1739012" y="3849656"/>
                  <a:ext cx="752475" cy="228600"/>
                </a:xfrm>
                <a:custGeom>
                  <a:avLst/>
                  <a:gdLst>
                    <a:gd name="connsiteX0" fmla="*/ 545354 w 752475"/>
                    <a:gd name="connsiteY0" fmla="*/ 7144 h 228600"/>
                    <a:gd name="connsiteX1" fmla="*/ 237515 w 752475"/>
                    <a:gd name="connsiteY1" fmla="*/ 7144 h 228600"/>
                    <a:gd name="connsiteX2" fmla="*/ 7144 w 752475"/>
                    <a:gd name="connsiteY2" fmla="*/ 156467 h 228600"/>
                    <a:gd name="connsiteX3" fmla="*/ 7144 w 752475"/>
                    <a:gd name="connsiteY3" fmla="*/ 224857 h 228600"/>
                    <a:gd name="connsiteX4" fmla="*/ 747332 w 752475"/>
                    <a:gd name="connsiteY4" fmla="*/ 224857 h 228600"/>
                    <a:gd name="connsiteX5" fmla="*/ 747332 w 752475"/>
                    <a:gd name="connsiteY5" fmla="*/ 156477 h 228600"/>
                    <a:gd name="connsiteX6" fmla="*/ 545344 w 752475"/>
                    <a:gd name="connsiteY6" fmla="*/ 7153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2475" h="228600">
                      <a:moveTo>
                        <a:pt x="545354" y="7144"/>
                      </a:moveTo>
                      <a:lnTo>
                        <a:pt x="237515" y="7144"/>
                      </a:lnTo>
                      <a:cubicBezTo>
                        <a:pt x="274511" y="137741"/>
                        <a:pt x="224809" y="156467"/>
                        <a:pt x="7144" y="156467"/>
                      </a:cubicBezTo>
                      <a:lnTo>
                        <a:pt x="7144" y="224857"/>
                      </a:lnTo>
                      <a:lnTo>
                        <a:pt x="747332" y="224857"/>
                      </a:lnTo>
                      <a:lnTo>
                        <a:pt x="747332" y="156477"/>
                      </a:lnTo>
                      <a:cubicBezTo>
                        <a:pt x="529657" y="156477"/>
                        <a:pt x="508311" y="137817"/>
                        <a:pt x="545344" y="7153"/>
                      </a:cubicBezTo>
                    </a:path>
                  </a:pathLst>
                </a:custGeom>
                <a:solidFill>
                  <a:srgbClr val="7A7A7A"/>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5" name="Freeform: Shape 84">
                  <a:extLst>
                    <a:ext uri="{FF2B5EF4-FFF2-40B4-BE49-F238E27FC236}">
                      <a16:creationId xmlns:a16="http://schemas.microsoft.com/office/drawing/2014/main" id="{959FDA9B-7FA4-4707-AD20-E7D50158C0E2}"/>
                    </a:ext>
                  </a:extLst>
                </p:cNvPr>
                <p:cNvSpPr/>
                <p:nvPr/>
              </p:nvSpPr>
              <p:spPr>
                <a:xfrm>
                  <a:off x="1543081" y="3022476"/>
                  <a:ext cx="1143000" cy="838200"/>
                </a:xfrm>
                <a:custGeom>
                  <a:avLst/>
                  <a:gdLst>
                    <a:gd name="connsiteX0" fmla="*/ 1070802 w 1143000"/>
                    <a:gd name="connsiteY0" fmla="*/ 7144 h 838200"/>
                    <a:gd name="connsiteX1" fmla="*/ 68658 w 1143000"/>
                    <a:gd name="connsiteY1" fmla="*/ 7144 h 838200"/>
                    <a:gd name="connsiteX2" fmla="*/ 7146 w 1143000"/>
                    <a:gd name="connsiteY2" fmla="*/ 71599 h 838200"/>
                    <a:gd name="connsiteX3" fmla="*/ 7146 w 1143000"/>
                    <a:gd name="connsiteY3" fmla="*/ 770449 h 838200"/>
                    <a:gd name="connsiteX4" fmla="*/ 68658 w 1143000"/>
                    <a:gd name="connsiteY4" fmla="*/ 834361 h 838200"/>
                    <a:gd name="connsiteX5" fmla="*/ 1070802 w 1143000"/>
                    <a:gd name="connsiteY5" fmla="*/ 834361 h 838200"/>
                    <a:gd name="connsiteX6" fmla="*/ 1139201 w 1143000"/>
                    <a:gd name="connsiteY6" fmla="*/ 770449 h 838200"/>
                    <a:gd name="connsiteX7" fmla="*/ 1139201 w 1143000"/>
                    <a:gd name="connsiteY7" fmla="*/ 71599 h 838200"/>
                    <a:gd name="connsiteX8" fmla="*/ 1070802 w 1143000"/>
                    <a:gd name="connsiteY8" fmla="*/ 7144 h 83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0" h="838200">
                      <a:moveTo>
                        <a:pt x="1070802" y="7144"/>
                      </a:moveTo>
                      <a:lnTo>
                        <a:pt x="68658" y="7144"/>
                      </a:lnTo>
                      <a:cubicBezTo>
                        <a:pt x="34120" y="8500"/>
                        <a:pt x="6887" y="37032"/>
                        <a:pt x="7146" y="71599"/>
                      </a:cubicBezTo>
                      <a:lnTo>
                        <a:pt x="7146" y="770449"/>
                      </a:lnTo>
                      <a:cubicBezTo>
                        <a:pt x="6997" y="804881"/>
                        <a:pt x="34244" y="833193"/>
                        <a:pt x="68658" y="834361"/>
                      </a:cubicBezTo>
                      <a:lnTo>
                        <a:pt x="1070802" y="834361"/>
                      </a:lnTo>
                      <a:cubicBezTo>
                        <a:pt x="1104787" y="834361"/>
                        <a:pt x="1139201" y="804253"/>
                        <a:pt x="1139201" y="770449"/>
                      </a:cubicBezTo>
                      <a:lnTo>
                        <a:pt x="1139201" y="71599"/>
                      </a:lnTo>
                      <a:cubicBezTo>
                        <a:pt x="1139201" y="37509"/>
                        <a:pt x="1104816" y="7144"/>
                        <a:pt x="1070802" y="7144"/>
                      </a:cubicBezTo>
                    </a:path>
                  </a:pathLst>
                </a:custGeom>
                <a:solidFill>
                  <a:srgbClr val="A0A1A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6" name="Freeform: Shape 85">
                  <a:extLst>
                    <a:ext uri="{FF2B5EF4-FFF2-40B4-BE49-F238E27FC236}">
                      <a16:creationId xmlns:a16="http://schemas.microsoft.com/office/drawing/2014/main" id="{58AB6947-0C3F-40B1-80B8-DF3CB5E75CA7}"/>
                    </a:ext>
                  </a:extLst>
                </p:cNvPr>
                <p:cNvSpPr/>
                <p:nvPr/>
              </p:nvSpPr>
              <p:spPr>
                <a:xfrm>
                  <a:off x="1543052" y="3022543"/>
                  <a:ext cx="1076325" cy="838200"/>
                </a:xfrm>
                <a:custGeom>
                  <a:avLst/>
                  <a:gdLst>
                    <a:gd name="connsiteX0" fmla="*/ 1071507 w 1076325"/>
                    <a:gd name="connsiteY0" fmla="*/ 7144 h 838200"/>
                    <a:gd name="connsiteX1" fmla="*/ 1070802 w 1076325"/>
                    <a:gd name="connsiteY1" fmla="*/ 7144 h 838200"/>
                    <a:gd name="connsiteX2" fmla="*/ 68658 w 1076325"/>
                    <a:gd name="connsiteY2" fmla="*/ 7144 h 838200"/>
                    <a:gd name="connsiteX3" fmla="*/ 7145 w 1076325"/>
                    <a:gd name="connsiteY3" fmla="*/ 71561 h 838200"/>
                    <a:gd name="connsiteX4" fmla="*/ 7145 w 1076325"/>
                    <a:gd name="connsiteY4" fmla="*/ 770382 h 838200"/>
                    <a:gd name="connsiteX5" fmla="*/ 68658 w 1076325"/>
                    <a:gd name="connsiteY5" fmla="*/ 834323 h 838200"/>
                    <a:gd name="connsiteX6" fmla="*/ 92470 w 1076325"/>
                    <a:gd name="connsiteY6" fmla="*/ 834323 h 83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325" h="838200">
                      <a:moveTo>
                        <a:pt x="1071507" y="7144"/>
                      </a:moveTo>
                      <a:cubicBezTo>
                        <a:pt x="1071259" y="7144"/>
                        <a:pt x="1071031" y="7144"/>
                        <a:pt x="1070802" y="7144"/>
                      </a:cubicBezTo>
                      <a:lnTo>
                        <a:pt x="68658" y="7144"/>
                      </a:lnTo>
                      <a:cubicBezTo>
                        <a:pt x="34130" y="8490"/>
                        <a:pt x="6898" y="37004"/>
                        <a:pt x="7145" y="71561"/>
                      </a:cubicBezTo>
                      <a:lnTo>
                        <a:pt x="7145" y="770382"/>
                      </a:lnTo>
                      <a:cubicBezTo>
                        <a:pt x="6982" y="804824"/>
                        <a:pt x="34235" y="833155"/>
                        <a:pt x="68658" y="834323"/>
                      </a:cubicBezTo>
                      <a:lnTo>
                        <a:pt x="92470" y="834323"/>
                      </a:lnTo>
                      <a:close/>
                    </a:path>
                  </a:pathLst>
                </a:custGeom>
                <a:solidFill>
                  <a:srgbClr val="FFFFFF">
                    <a:alpha val="20000"/>
                  </a:srgb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7" name="Freeform: Shape 86">
                  <a:extLst>
                    <a:ext uri="{FF2B5EF4-FFF2-40B4-BE49-F238E27FC236}">
                      <a16:creationId xmlns:a16="http://schemas.microsoft.com/office/drawing/2014/main" id="{819280F9-775F-46ED-964D-01E623505377}"/>
                    </a:ext>
                  </a:extLst>
                </p:cNvPr>
                <p:cNvSpPr/>
                <p:nvPr/>
              </p:nvSpPr>
              <p:spPr>
                <a:xfrm>
                  <a:off x="1628865" y="3109601"/>
                  <a:ext cx="971550" cy="666750"/>
                </a:xfrm>
                <a:custGeom>
                  <a:avLst/>
                  <a:gdLst>
                    <a:gd name="connsiteX0" fmla="*/ 965044 w 971550"/>
                    <a:gd name="connsiteY0" fmla="*/ 7144 h 666750"/>
                    <a:gd name="connsiteX1" fmla="*/ 965044 w 971550"/>
                    <a:gd name="connsiteY1" fmla="*/ 660140 h 666750"/>
                    <a:gd name="connsiteX2" fmla="*/ 7144 w 971550"/>
                    <a:gd name="connsiteY2" fmla="*/ 660140 h 666750"/>
                    <a:gd name="connsiteX3" fmla="*/ 7144 w 971550"/>
                    <a:gd name="connsiteY3" fmla="*/ 7144 h 666750"/>
                    <a:gd name="connsiteX4" fmla="*/ 965044 w 971550"/>
                    <a:gd name="connsiteY4" fmla="*/ 7144 h 666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0" h="666750">
                      <a:moveTo>
                        <a:pt x="965044" y="7144"/>
                      </a:moveTo>
                      <a:lnTo>
                        <a:pt x="965044" y="660140"/>
                      </a:lnTo>
                      <a:lnTo>
                        <a:pt x="7144" y="660140"/>
                      </a:lnTo>
                      <a:lnTo>
                        <a:pt x="7144" y="7144"/>
                      </a:lnTo>
                      <a:lnTo>
                        <a:pt x="965044" y="7144"/>
                      </a:lnTo>
                      <a:close/>
                    </a:path>
                  </a:pathLst>
                </a:custGeom>
                <a:solidFill>
                  <a:srgbClr val="59B4D9"/>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8" name="Freeform: Shape 87">
                  <a:extLst>
                    <a:ext uri="{FF2B5EF4-FFF2-40B4-BE49-F238E27FC236}">
                      <a16:creationId xmlns:a16="http://schemas.microsoft.com/office/drawing/2014/main" id="{FC0C33F5-9322-4779-8D11-539B381D2B8E}"/>
                    </a:ext>
                  </a:extLst>
                </p:cNvPr>
                <p:cNvSpPr/>
                <p:nvPr/>
              </p:nvSpPr>
              <p:spPr>
                <a:xfrm>
                  <a:off x="1628865" y="3108306"/>
                  <a:ext cx="885825" cy="666750"/>
                </a:xfrm>
                <a:custGeom>
                  <a:avLst/>
                  <a:gdLst>
                    <a:gd name="connsiteX0" fmla="*/ 7144 w 885825"/>
                    <a:gd name="connsiteY0" fmla="*/ 661435 h 666750"/>
                    <a:gd name="connsiteX1" fmla="*/ 8458 w 885825"/>
                    <a:gd name="connsiteY1" fmla="*/ 661435 h 666750"/>
                    <a:gd name="connsiteX2" fmla="*/ 8458 w 885825"/>
                    <a:gd name="connsiteY2" fmla="*/ 8458 h 666750"/>
                    <a:gd name="connsiteX3" fmla="*/ 884215 w 885825"/>
                    <a:gd name="connsiteY3" fmla="*/ 7144 h 666750"/>
                    <a:gd name="connsiteX4" fmla="*/ 884263 w 885825"/>
                    <a:gd name="connsiteY4" fmla="*/ 7144 h 666750"/>
                    <a:gd name="connsiteX5" fmla="*/ 7144 w 885825"/>
                    <a:gd name="connsiteY5" fmla="*/ 8458 h 666750"/>
                    <a:gd name="connsiteX6" fmla="*/ 7144 w 885825"/>
                    <a:gd name="connsiteY6" fmla="*/ 661435 h 66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825" h="666750">
                      <a:moveTo>
                        <a:pt x="7144" y="661435"/>
                      </a:moveTo>
                      <a:lnTo>
                        <a:pt x="8458" y="661435"/>
                      </a:lnTo>
                      <a:lnTo>
                        <a:pt x="8458" y="8458"/>
                      </a:lnTo>
                      <a:lnTo>
                        <a:pt x="884215" y="7144"/>
                      </a:lnTo>
                      <a:lnTo>
                        <a:pt x="884263" y="7144"/>
                      </a:lnTo>
                      <a:lnTo>
                        <a:pt x="7144" y="8458"/>
                      </a:lnTo>
                      <a:lnTo>
                        <a:pt x="7144" y="661435"/>
                      </a:lnTo>
                      <a:close/>
                    </a:path>
                  </a:pathLst>
                </a:custGeom>
                <a:solidFill>
                  <a:srgbClr val="59B4D9"/>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9" name="Freeform: Shape 88">
                  <a:extLst>
                    <a:ext uri="{FF2B5EF4-FFF2-40B4-BE49-F238E27FC236}">
                      <a16:creationId xmlns:a16="http://schemas.microsoft.com/office/drawing/2014/main" id="{461CD7B4-E72C-48D4-AE84-D83736D56A1E}"/>
                    </a:ext>
                  </a:extLst>
                </p:cNvPr>
                <p:cNvSpPr/>
                <p:nvPr/>
              </p:nvSpPr>
              <p:spPr>
                <a:xfrm>
                  <a:off x="1739012" y="3998951"/>
                  <a:ext cx="752475" cy="76200"/>
                </a:xfrm>
                <a:custGeom>
                  <a:avLst/>
                  <a:gdLst>
                    <a:gd name="connsiteX0" fmla="*/ 7144 w 752475"/>
                    <a:gd name="connsiteY0" fmla="*/ 7144 h 76200"/>
                    <a:gd name="connsiteX1" fmla="*/ 747332 w 752475"/>
                    <a:gd name="connsiteY1" fmla="*/ 7144 h 76200"/>
                    <a:gd name="connsiteX2" fmla="*/ 747332 w 752475"/>
                    <a:gd name="connsiteY2" fmla="*/ 75543 h 76200"/>
                    <a:gd name="connsiteX3" fmla="*/ 7144 w 752475"/>
                    <a:gd name="connsiteY3" fmla="*/ 75543 h 76200"/>
                  </a:gdLst>
                  <a:ahLst/>
                  <a:cxnLst>
                    <a:cxn ang="0">
                      <a:pos x="connsiteX0" y="connsiteY0"/>
                    </a:cxn>
                    <a:cxn ang="0">
                      <a:pos x="connsiteX1" y="connsiteY1"/>
                    </a:cxn>
                    <a:cxn ang="0">
                      <a:pos x="connsiteX2" y="connsiteY2"/>
                    </a:cxn>
                    <a:cxn ang="0">
                      <a:pos x="connsiteX3" y="connsiteY3"/>
                    </a:cxn>
                  </a:cxnLst>
                  <a:rect l="l" t="t" r="r" b="b"/>
                  <a:pathLst>
                    <a:path w="752475" h="76200">
                      <a:moveTo>
                        <a:pt x="7144" y="7144"/>
                      </a:moveTo>
                      <a:lnTo>
                        <a:pt x="747332" y="7144"/>
                      </a:lnTo>
                      <a:lnTo>
                        <a:pt x="747332" y="75543"/>
                      </a:lnTo>
                      <a:lnTo>
                        <a:pt x="7144" y="75543"/>
                      </a:lnTo>
                      <a:close/>
                    </a:path>
                  </a:pathLst>
                </a:custGeom>
                <a:solidFill>
                  <a:srgbClr val="A0A1A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0" name="Freeform: Shape 89">
                  <a:extLst>
                    <a:ext uri="{FF2B5EF4-FFF2-40B4-BE49-F238E27FC236}">
                      <a16:creationId xmlns:a16="http://schemas.microsoft.com/office/drawing/2014/main" id="{D523D95F-DB43-40BE-A026-65185B048180}"/>
                    </a:ext>
                  </a:extLst>
                </p:cNvPr>
                <p:cNvSpPr/>
                <p:nvPr/>
              </p:nvSpPr>
              <p:spPr>
                <a:xfrm>
                  <a:off x="2088675" y="3053833"/>
                  <a:ext cx="38100" cy="38100"/>
                </a:xfrm>
                <a:custGeom>
                  <a:avLst/>
                  <a:gdLst>
                    <a:gd name="connsiteX0" fmla="*/ 39281 w 38100"/>
                    <a:gd name="connsiteY0" fmla="*/ 23222 h 38100"/>
                    <a:gd name="connsiteX1" fmla="*/ 23203 w 38100"/>
                    <a:gd name="connsiteY1" fmla="*/ 39281 h 38100"/>
                    <a:gd name="connsiteX2" fmla="*/ 7144 w 38100"/>
                    <a:gd name="connsiteY2" fmla="*/ 23203 h 38100"/>
                    <a:gd name="connsiteX3" fmla="*/ 23203 w 38100"/>
                    <a:gd name="connsiteY3" fmla="*/ 7144 h 38100"/>
                    <a:gd name="connsiteX4" fmla="*/ 39281 w 38100"/>
                    <a:gd name="connsiteY4" fmla="*/ 2322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281" y="23222"/>
                      </a:moveTo>
                      <a:cubicBezTo>
                        <a:pt x="39272" y="32096"/>
                        <a:pt x="32080" y="39286"/>
                        <a:pt x="23203" y="39281"/>
                      </a:cubicBezTo>
                      <a:cubicBezTo>
                        <a:pt x="14326" y="39276"/>
                        <a:pt x="7134" y="32077"/>
                        <a:pt x="7144" y="23203"/>
                      </a:cubicBezTo>
                      <a:cubicBezTo>
                        <a:pt x="7153" y="14336"/>
                        <a:pt x="14335" y="7149"/>
                        <a:pt x="23203" y="7144"/>
                      </a:cubicBezTo>
                      <a:cubicBezTo>
                        <a:pt x="32080" y="7144"/>
                        <a:pt x="39281" y="14342"/>
                        <a:pt x="39281" y="23222"/>
                      </a:cubicBezTo>
                    </a:path>
                  </a:pathLst>
                </a:custGeom>
                <a:solidFill>
                  <a:srgbClr val="B8D43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1" name="Freeform: Shape 90">
                  <a:extLst>
                    <a:ext uri="{FF2B5EF4-FFF2-40B4-BE49-F238E27FC236}">
                      <a16:creationId xmlns:a16="http://schemas.microsoft.com/office/drawing/2014/main" id="{53F800DF-20CE-434C-A77F-70237DC37D7C}"/>
                    </a:ext>
                  </a:extLst>
                </p:cNvPr>
                <p:cNvSpPr/>
                <p:nvPr/>
              </p:nvSpPr>
              <p:spPr>
                <a:xfrm>
                  <a:off x="1628865" y="3109601"/>
                  <a:ext cx="962025" cy="666750"/>
                </a:xfrm>
                <a:custGeom>
                  <a:avLst/>
                  <a:gdLst>
                    <a:gd name="connsiteX0" fmla="*/ 7144 w 962025"/>
                    <a:gd name="connsiteY0" fmla="*/ 7144 h 666750"/>
                    <a:gd name="connsiteX1" fmla="*/ 963159 w 962025"/>
                    <a:gd name="connsiteY1" fmla="*/ 7144 h 666750"/>
                    <a:gd name="connsiteX2" fmla="*/ 963159 w 962025"/>
                    <a:gd name="connsiteY2" fmla="*/ 660140 h 666750"/>
                    <a:gd name="connsiteX3" fmla="*/ 7144 w 962025"/>
                    <a:gd name="connsiteY3" fmla="*/ 660140 h 666750"/>
                  </a:gdLst>
                  <a:ahLst/>
                  <a:cxnLst>
                    <a:cxn ang="0">
                      <a:pos x="connsiteX0" y="connsiteY0"/>
                    </a:cxn>
                    <a:cxn ang="0">
                      <a:pos x="connsiteX1" y="connsiteY1"/>
                    </a:cxn>
                    <a:cxn ang="0">
                      <a:pos x="connsiteX2" y="connsiteY2"/>
                    </a:cxn>
                    <a:cxn ang="0">
                      <a:pos x="connsiteX3" y="connsiteY3"/>
                    </a:cxn>
                  </a:cxnLst>
                  <a:rect l="l" t="t" r="r" b="b"/>
                  <a:pathLst>
                    <a:path w="962025" h="666750">
                      <a:moveTo>
                        <a:pt x="7144" y="7144"/>
                      </a:moveTo>
                      <a:lnTo>
                        <a:pt x="963159" y="7144"/>
                      </a:lnTo>
                      <a:lnTo>
                        <a:pt x="963159" y="660140"/>
                      </a:lnTo>
                      <a:lnTo>
                        <a:pt x="7144" y="660140"/>
                      </a:lnTo>
                      <a:close/>
                    </a:path>
                  </a:pathLst>
                </a:custGeom>
                <a:solidFill>
                  <a:srgbClr val="1B348E"/>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2" name="Freeform: Shape 91">
                  <a:extLst>
                    <a:ext uri="{FF2B5EF4-FFF2-40B4-BE49-F238E27FC236}">
                      <a16:creationId xmlns:a16="http://schemas.microsoft.com/office/drawing/2014/main" id="{78095D1B-DF8D-430D-B790-269CBD97046C}"/>
                    </a:ext>
                  </a:extLst>
                </p:cNvPr>
                <p:cNvSpPr/>
                <p:nvPr/>
              </p:nvSpPr>
              <p:spPr>
                <a:xfrm>
                  <a:off x="1708532" y="3207547"/>
                  <a:ext cx="247650" cy="400050"/>
                </a:xfrm>
                <a:custGeom>
                  <a:avLst/>
                  <a:gdLst>
                    <a:gd name="connsiteX0" fmla="*/ 7144 w 247650"/>
                    <a:gd name="connsiteY0" fmla="*/ 7144 h 400050"/>
                    <a:gd name="connsiteX1" fmla="*/ 246145 w 247650"/>
                    <a:gd name="connsiteY1" fmla="*/ 7144 h 400050"/>
                    <a:gd name="connsiteX2" fmla="*/ 246145 w 247650"/>
                    <a:gd name="connsiteY2" fmla="*/ 398945 h 400050"/>
                    <a:gd name="connsiteX3" fmla="*/ 7144 w 247650"/>
                    <a:gd name="connsiteY3" fmla="*/ 398945 h 400050"/>
                  </a:gdLst>
                  <a:ahLst/>
                  <a:cxnLst>
                    <a:cxn ang="0">
                      <a:pos x="connsiteX0" y="connsiteY0"/>
                    </a:cxn>
                    <a:cxn ang="0">
                      <a:pos x="connsiteX1" y="connsiteY1"/>
                    </a:cxn>
                    <a:cxn ang="0">
                      <a:pos x="connsiteX2" y="connsiteY2"/>
                    </a:cxn>
                    <a:cxn ang="0">
                      <a:pos x="connsiteX3" y="connsiteY3"/>
                    </a:cxn>
                  </a:cxnLst>
                  <a:rect l="l" t="t" r="r" b="b"/>
                  <a:pathLst>
                    <a:path w="247650" h="400050">
                      <a:moveTo>
                        <a:pt x="7144" y="7144"/>
                      </a:moveTo>
                      <a:lnTo>
                        <a:pt x="246145" y="7144"/>
                      </a:lnTo>
                      <a:lnTo>
                        <a:pt x="246145" y="398945"/>
                      </a:lnTo>
                      <a:lnTo>
                        <a:pt x="7144" y="398945"/>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3" name="Freeform: Shape 92">
                  <a:extLst>
                    <a:ext uri="{FF2B5EF4-FFF2-40B4-BE49-F238E27FC236}">
                      <a16:creationId xmlns:a16="http://schemas.microsoft.com/office/drawing/2014/main" id="{6E4F0518-9A3D-430A-9158-EC685E5EB05D}"/>
                    </a:ext>
                  </a:extLst>
                </p:cNvPr>
                <p:cNvSpPr/>
                <p:nvPr/>
              </p:nvSpPr>
              <p:spPr>
                <a:xfrm>
                  <a:off x="1987367" y="3207547"/>
                  <a:ext cx="447675" cy="209550"/>
                </a:xfrm>
                <a:custGeom>
                  <a:avLst/>
                  <a:gdLst>
                    <a:gd name="connsiteX0" fmla="*/ 7144 w 447675"/>
                    <a:gd name="connsiteY0" fmla="*/ 7144 h 209550"/>
                    <a:gd name="connsiteX1" fmla="*/ 445313 w 447675"/>
                    <a:gd name="connsiteY1" fmla="*/ 7144 h 209550"/>
                    <a:gd name="connsiteX2" fmla="*/ 445313 w 447675"/>
                    <a:gd name="connsiteY2" fmla="*/ 203044 h 209550"/>
                    <a:gd name="connsiteX3" fmla="*/ 7144 w 447675"/>
                    <a:gd name="connsiteY3" fmla="*/ 203044 h 209550"/>
                  </a:gdLst>
                  <a:ahLst/>
                  <a:cxnLst>
                    <a:cxn ang="0">
                      <a:pos x="connsiteX0" y="connsiteY0"/>
                    </a:cxn>
                    <a:cxn ang="0">
                      <a:pos x="connsiteX1" y="connsiteY1"/>
                    </a:cxn>
                    <a:cxn ang="0">
                      <a:pos x="connsiteX2" y="connsiteY2"/>
                    </a:cxn>
                    <a:cxn ang="0">
                      <a:pos x="connsiteX3" y="connsiteY3"/>
                    </a:cxn>
                  </a:cxnLst>
                  <a:rect l="l" t="t" r="r" b="b"/>
                  <a:pathLst>
                    <a:path w="447675" h="209550">
                      <a:moveTo>
                        <a:pt x="7144" y="7144"/>
                      </a:moveTo>
                      <a:lnTo>
                        <a:pt x="445313" y="7144"/>
                      </a:lnTo>
                      <a:lnTo>
                        <a:pt x="445313" y="203044"/>
                      </a:lnTo>
                      <a:lnTo>
                        <a:pt x="7144" y="203044"/>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4" name="Freeform: Shape 93">
                  <a:extLst>
                    <a:ext uri="{FF2B5EF4-FFF2-40B4-BE49-F238E27FC236}">
                      <a16:creationId xmlns:a16="http://schemas.microsoft.com/office/drawing/2014/main" id="{DB0F39B7-1CC7-4AE4-8558-69B54FE1BB78}"/>
                    </a:ext>
                  </a:extLst>
                </p:cNvPr>
                <p:cNvSpPr/>
                <p:nvPr/>
              </p:nvSpPr>
              <p:spPr>
                <a:xfrm>
                  <a:off x="1987367" y="3436099"/>
                  <a:ext cx="209550" cy="171450"/>
                </a:xfrm>
                <a:custGeom>
                  <a:avLst/>
                  <a:gdLst>
                    <a:gd name="connsiteX0" fmla="*/ 7144 w 209550"/>
                    <a:gd name="connsiteY0" fmla="*/ 7144 h 171450"/>
                    <a:gd name="connsiteX1" fmla="*/ 206312 w 209550"/>
                    <a:gd name="connsiteY1" fmla="*/ 7144 h 171450"/>
                    <a:gd name="connsiteX2" fmla="*/ 206312 w 209550"/>
                    <a:gd name="connsiteY2" fmla="*/ 170393 h 171450"/>
                    <a:gd name="connsiteX3" fmla="*/ 7144 w 209550"/>
                    <a:gd name="connsiteY3" fmla="*/ 170393 h 171450"/>
                  </a:gdLst>
                  <a:ahLst/>
                  <a:cxnLst>
                    <a:cxn ang="0">
                      <a:pos x="connsiteX0" y="connsiteY0"/>
                    </a:cxn>
                    <a:cxn ang="0">
                      <a:pos x="connsiteX1" y="connsiteY1"/>
                    </a:cxn>
                    <a:cxn ang="0">
                      <a:pos x="connsiteX2" y="connsiteY2"/>
                    </a:cxn>
                    <a:cxn ang="0">
                      <a:pos x="connsiteX3" y="connsiteY3"/>
                    </a:cxn>
                  </a:cxnLst>
                  <a:rect l="l" t="t" r="r" b="b"/>
                  <a:pathLst>
                    <a:path w="209550" h="171450">
                      <a:moveTo>
                        <a:pt x="7144" y="7144"/>
                      </a:moveTo>
                      <a:lnTo>
                        <a:pt x="206312" y="7144"/>
                      </a:lnTo>
                      <a:lnTo>
                        <a:pt x="206312" y="170393"/>
                      </a:lnTo>
                      <a:lnTo>
                        <a:pt x="7144" y="170393"/>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7" name="Freeform: Shape 96">
                  <a:extLst>
                    <a:ext uri="{FF2B5EF4-FFF2-40B4-BE49-F238E27FC236}">
                      <a16:creationId xmlns:a16="http://schemas.microsoft.com/office/drawing/2014/main" id="{CFCAFCA1-76B1-4C9B-9711-343AE79A80CA}"/>
                    </a:ext>
                  </a:extLst>
                </p:cNvPr>
                <p:cNvSpPr/>
                <p:nvPr/>
              </p:nvSpPr>
              <p:spPr>
                <a:xfrm>
                  <a:off x="2226368" y="3436099"/>
                  <a:ext cx="209550" cy="171450"/>
                </a:xfrm>
                <a:custGeom>
                  <a:avLst/>
                  <a:gdLst>
                    <a:gd name="connsiteX0" fmla="*/ 7144 w 209550"/>
                    <a:gd name="connsiteY0" fmla="*/ 7144 h 171450"/>
                    <a:gd name="connsiteX1" fmla="*/ 206311 w 209550"/>
                    <a:gd name="connsiteY1" fmla="*/ 7144 h 171450"/>
                    <a:gd name="connsiteX2" fmla="*/ 206311 w 209550"/>
                    <a:gd name="connsiteY2" fmla="*/ 170393 h 171450"/>
                    <a:gd name="connsiteX3" fmla="*/ 7144 w 209550"/>
                    <a:gd name="connsiteY3" fmla="*/ 170393 h 171450"/>
                  </a:gdLst>
                  <a:ahLst/>
                  <a:cxnLst>
                    <a:cxn ang="0">
                      <a:pos x="connsiteX0" y="connsiteY0"/>
                    </a:cxn>
                    <a:cxn ang="0">
                      <a:pos x="connsiteX1" y="connsiteY1"/>
                    </a:cxn>
                    <a:cxn ang="0">
                      <a:pos x="connsiteX2" y="connsiteY2"/>
                    </a:cxn>
                    <a:cxn ang="0">
                      <a:pos x="connsiteX3" y="connsiteY3"/>
                    </a:cxn>
                  </a:cxnLst>
                  <a:rect l="l" t="t" r="r" b="b"/>
                  <a:pathLst>
                    <a:path w="209550" h="171450">
                      <a:moveTo>
                        <a:pt x="7144" y="7144"/>
                      </a:moveTo>
                      <a:lnTo>
                        <a:pt x="206311" y="7144"/>
                      </a:lnTo>
                      <a:lnTo>
                        <a:pt x="206311" y="170393"/>
                      </a:lnTo>
                      <a:lnTo>
                        <a:pt x="7144" y="170393"/>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8" name="Freeform: Shape 97">
                  <a:extLst>
                    <a:ext uri="{FF2B5EF4-FFF2-40B4-BE49-F238E27FC236}">
                      <a16:creationId xmlns:a16="http://schemas.microsoft.com/office/drawing/2014/main" id="{BCA46B70-B633-4BF2-84E7-55AB1A61FA0E}"/>
                    </a:ext>
                  </a:extLst>
                </p:cNvPr>
                <p:cNvSpPr/>
                <p:nvPr/>
              </p:nvSpPr>
              <p:spPr>
                <a:xfrm>
                  <a:off x="914452" y="4562793"/>
                  <a:ext cx="533400" cy="161925"/>
                </a:xfrm>
                <a:custGeom>
                  <a:avLst/>
                  <a:gdLst>
                    <a:gd name="connsiteX0" fmla="*/ 387477 w 533400"/>
                    <a:gd name="connsiteY0" fmla="*/ 7144 h 161925"/>
                    <a:gd name="connsiteX1" fmla="*/ 169945 w 533400"/>
                    <a:gd name="connsiteY1" fmla="*/ 7144 h 161925"/>
                    <a:gd name="connsiteX2" fmla="*/ 7144 w 533400"/>
                    <a:gd name="connsiteY2" fmla="*/ 112662 h 161925"/>
                    <a:gd name="connsiteX3" fmla="*/ 7144 w 533400"/>
                    <a:gd name="connsiteY3" fmla="*/ 160982 h 161925"/>
                    <a:gd name="connsiteX4" fmla="*/ 530219 w 533400"/>
                    <a:gd name="connsiteY4" fmla="*/ 160982 h 161925"/>
                    <a:gd name="connsiteX5" fmla="*/ 530219 w 533400"/>
                    <a:gd name="connsiteY5" fmla="*/ 112662 h 161925"/>
                    <a:gd name="connsiteX6" fmla="*/ 387487 w 533400"/>
                    <a:gd name="connsiteY6" fmla="*/ 7144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3400" h="161925">
                      <a:moveTo>
                        <a:pt x="387477" y="7144"/>
                      </a:moveTo>
                      <a:lnTo>
                        <a:pt x="169945" y="7144"/>
                      </a:lnTo>
                      <a:cubicBezTo>
                        <a:pt x="196091" y="99431"/>
                        <a:pt x="160973" y="112662"/>
                        <a:pt x="7144" y="112662"/>
                      </a:cubicBezTo>
                      <a:lnTo>
                        <a:pt x="7144" y="160982"/>
                      </a:lnTo>
                      <a:lnTo>
                        <a:pt x="530219" y="160982"/>
                      </a:lnTo>
                      <a:lnTo>
                        <a:pt x="530219" y="112662"/>
                      </a:lnTo>
                      <a:cubicBezTo>
                        <a:pt x="376399" y="112662"/>
                        <a:pt x="361312" y="99479"/>
                        <a:pt x="387487" y="7144"/>
                      </a:cubicBezTo>
                    </a:path>
                  </a:pathLst>
                </a:custGeom>
                <a:solidFill>
                  <a:srgbClr val="7A7A7A"/>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9" name="Freeform: Shape 98">
                  <a:extLst>
                    <a:ext uri="{FF2B5EF4-FFF2-40B4-BE49-F238E27FC236}">
                      <a16:creationId xmlns:a16="http://schemas.microsoft.com/office/drawing/2014/main" id="{73F048E0-0DE4-48F6-A73D-B8F24A4F618A}"/>
                    </a:ext>
                  </a:extLst>
                </p:cNvPr>
                <p:cNvSpPr/>
                <p:nvPr/>
              </p:nvSpPr>
              <p:spPr>
                <a:xfrm>
                  <a:off x="775986" y="3978253"/>
                  <a:ext cx="809625" cy="590550"/>
                </a:xfrm>
                <a:custGeom>
                  <a:avLst/>
                  <a:gdLst>
                    <a:gd name="connsiteX0" fmla="*/ 758810 w 809625"/>
                    <a:gd name="connsiteY0" fmla="*/ 7144 h 590550"/>
                    <a:gd name="connsiteX1" fmla="*/ 50617 w 809625"/>
                    <a:gd name="connsiteY1" fmla="*/ 7144 h 590550"/>
                    <a:gd name="connsiteX2" fmla="*/ 7145 w 809625"/>
                    <a:gd name="connsiteY2" fmla="*/ 52692 h 590550"/>
                    <a:gd name="connsiteX3" fmla="*/ 7145 w 809625"/>
                    <a:gd name="connsiteY3" fmla="*/ 546545 h 590550"/>
                    <a:gd name="connsiteX4" fmla="*/ 50617 w 809625"/>
                    <a:gd name="connsiteY4" fmla="*/ 591712 h 590550"/>
                    <a:gd name="connsiteX5" fmla="*/ 758801 w 809625"/>
                    <a:gd name="connsiteY5" fmla="*/ 591712 h 590550"/>
                    <a:gd name="connsiteX6" fmla="*/ 807140 w 809625"/>
                    <a:gd name="connsiteY6" fmla="*/ 546545 h 590550"/>
                    <a:gd name="connsiteX7" fmla="*/ 807140 w 809625"/>
                    <a:gd name="connsiteY7" fmla="*/ 52692 h 590550"/>
                    <a:gd name="connsiteX8" fmla="*/ 758801 w 809625"/>
                    <a:gd name="connsiteY8" fmla="*/ 7144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9625" h="590550">
                      <a:moveTo>
                        <a:pt x="758810" y="7144"/>
                      </a:moveTo>
                      <a:lnTo>
                        <a:pt x="50617" y="7144"/>
                      </a:lnTo>
                      <a:cubicBezTo>
                        <a:pt x="26206" y="8096"/>
                        <a:pt x="6962" y="28261"/>
                        <a:pt x="7145" y="52692"/>
                      </a:cubicBezTo>
                      <a:lnTo>
                        <a:pt x="7145" y="546545"/>
                      </a:lnTo>
                      <a:cubicBezTo>
                        <a:pt x="7038" y="570881"/>
                        <a:pt x="26297" y="590893"/>
                        <a:pt x="50617" y="591712"/>
                      </a:cubicBezTo>
                      <a:lnTo>
                        <a:pt x="758801" y="591712"/>
                      </a:lnTo>
                      <a:cubicBezTo>
                        <a:pt x="782813" y="591712"/>
                        <a:pt x="807140" y="570433"/>
                        <a:pt x="807140" y="546545"/>
                      </a:cubicBezTo>
                      <a:lnTo>
                        <a:pt x="807140" y="52692"/>
                      </a:lnTo>
                      <a:cubicBezTo>
                        <a:pt x="805064" y="27375"/>
                        <a:pt x="784198" y="7715"/>
                        <a:pt x="758801" y="7144"/>
                      </a:cubicBezTo>
                    </a:path>
                  </a:pathLst>
                </a:custGeom>
                <a:solidFill>
                  <a:srgbClr val="A0A1A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02" name="Freeform: Shape 101">
                  <a:extLst>
                    <a:ext uri="{FF2B5EF4-FFF2-40B4-BE49-F238E27FC236}">
                      <a16:creationId xmlns:a16="http://schemas.microsoft.com/office/drawing/2014/main" id="{51311F6B-DD90-44EA-A203-0AFCCBF2A6C5}"/>
                    </a:ext>
                  </a:extLst>
                </p:cNvPr>
                <p:cNvSpPr/>
                <p:nvPr/>
              </p:nvSpPr>
              <p:spPr>
                <a:xfrm>
                  <a:off x="775976" y="3978300"/>
                  <a:ext cx="762000" cy="590550"/>
                </a:xfrm>
                <a:custGeom>
                  <a:avLst/>
                  <a:gdLst>
                    <a:gd name="connsiteX0" fmla="*/ 759315 w 762000"/>
                    <a:gd name="connsiteY0" fmla="*/ 7144 h 590550"/>
                    <a:gd name="connsiteX1" fmla="*/ 758820 w 762000"/>
                    <a:gd name="connsiteY1" fmla="*/ 7144 h 590550"/>
                    <a:gd name="connsiteX2" fmla="*/ 50617 w 762000"/>
                    <a:gd name="connsiteY2" fmla="*/ 7144 h 590550"/>
                    <a:gd name="connsiteX3" fmla="*/ 7145 w 762000"/>
                    <a:gd name="connsiteY3" fmla="*/ 52692 h 590550"/>
                    <a:gd name="connsiteX4" fmla="*/ 7145 w 762000"/>
                    <a:gd name="connsiteY4" fmla="*/ 546526 h 590550"/>
                    <a:gd name="connsiteX5" fmla="*/ 50617 w 762000"/>
                    <a:gd name="connsiteY5" fmla="*/ 591712 h 590550"/>
                    <a:gd name="connsiteX6" fmla="*/ 67467 w 762000"/>
                    <a:gd name="connsiteY6" fmla="*/ 59171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0" h="590550">
                      <a:moveTo>
                        <a:pt x="759315" y="7144"/>
                      </a:moveTo>
                      <a:cubicBezTo>
                        <a:pt x="759144" y="7144"/>
                        <a:pt x="758982" y="7144"/>
                        <a:pt x="758820" y="7144"/>
                      </a:cubicBezTo>
                      <a:lnTo>
                        <a:pt x="50617" y="7144"/>
                      </a:lnTo>
                      <a:cubicBezTo>
                        <a:pt x="26204" y="8096"/>
                        <a:pt x="6957" y="28261"/>
                        <a:pt x="7145" y="52692"/>
                      </a:cubicBezTo>
                      <a:lnTo>
                        <a:pt x="7145" y="546526"/>
                      </a:lnTo>
                      <a:cubicBezTo>
                        <a:pt x="7028" y="570871"/>
                        <a:pt x="26289" y="590883"/>
                        <a:pt x="50617" y="591712"/>
                      </a:cubicBezTo>
                      <a:lnTo>
                        <a:pt x="67467" y="591712"/>
                      </a:lnTo>
                      <a:close/>
                    </a:path>
                  </a:pathLst>
                </a:custGeom>
                <a:solidFill>
                  <a:srgbClr val="FFFFFF">
                    <a:alpha val="20000"/>
                  </a:srgb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03" name="Freeform: Shape 102">
                  <a:extLst>
                    <a:ext uri="{FF2B5EF4-FFF2-40B4-BE49-F238E27FC236}">
                      <a16:creationId xmlns:a16="http://schemas.microsoft.com/office/drawing/2014/main" id="{A85C2B73-D2A1-456B-8E51-9211D204A417}"/>
                    </a:ext>
                  </a:extLst>
                </p:cNvPr>
                <p:cNvSpPr/>
                <p:nvPr/>
              </p:nvSpPr>
              <p:spPr>
                <a:xfrm>
                  <a:off x="836613" y="4039822"/>
                  <a:ext cx="685800" cy="466725"/>
                </a:xfrm>
                <a:custGeom>
                  <a:avLst/>
                  <a:gdLst>
                    <a:gd name="connsiteX0" fmla="*/ 684066 w 685800"/>
                    <a:gd name="connsiteY0" fmla="*/ 7144 h 466725"/>
                    <a:gd name="connsiteX1" fmla="*/ 684066 w 685800"/>
                    <a:gd name="connsiteY1" fmla="*/ 468592 h 466725"/>
                    <a:gd name="connsiteX2" fmla="*/ 7144 w 685800"/>
                    <a:gd name="connsiteY2" fmla="*/ 468592 h 466725"/>
                    <a:gd name="connsiteX3" fmla="*/ 7144 w 685800"/>
                    <a:gd name="connsiteY3" fmla="*/ 7144 h 466725"/>
                    <a:gd name="connsiteX4" fmla="*/ 684066 w 685800"/>
                    <a:gd name="connsiteY4" fmla="*/ 7144 h 466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 h="466725">
                      <a:moveTo>
                        <a:pt x="684066" y="7144"/>
                      </a:moveTo>
                      <a:lnTo>
                        <a:pt x="684066" y="468592"/>
                      </a:lnTo>
                      <a:lnTo>
                        <a:pt x="7144" y="468592"/>
                      </a:lnTo>
                      <a:lnTo>
                        <a:pt x="7144" y="7144"/>
                      </a:lnTo>
                      <a:lnTo>
                        <a:pt x="684066" y="7144"/>
                      </a:lnTo>
                      <a:close/>
                    </a:path>
                  </a:pathLst>
                </a:custGeom>
                <a:solidFill>
                  <a:srgbClr val="59B4D9"/>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2" name="Freeform: Shape 111">
                  <a:extLst>
                    <a:ext uri="{FF2B5EF4-FFF2-40B4-BE49-F238E27FC236}">
                      <a16:creationId xmlns:a16="http://schemas.microsoft.com/office/drawing/2014/main" id="{F1DF301C-E3C7-4F92-BAE2-10D9758EB88A}"/>
                    </a:ext>
                  </a:extLst>
                </p:cNvPr>
                <p:cNvSpPr/>
                <p:nvPr/>
              </p:nvSpPr>
              <p:spPr>
                <a:xfrm>
                  <a:off x="836613" y="4038908"/>
                  <a:ext cx="628650" cy="476250"/>
                </a:xfrm>
                <a:custGeom>
                  <a:avLst/>
                  <a:gdLst>
                    <a:gd name="connsiteX0" fmla="*/ 7144 w 628650"/>
                    <a:gd name="connsiteY0" fmla="*/ 469506 h 476250"/>
                    <a:gd name="connsiteX1" fmla="*/ 8077 w 628650"/>
                    <a:gd name="connsiteY1" fmla="*/ 469506 h 476250"/>
                    <a:gd name="connsiteX2" fmla="*/ 8077 w 628650"/>
                    <a:gd name="connsiteY2" fmla="*/ 8068 h 476250"/>
                    <a:gd name="connsiteX3" fmla="*/ 626945 w 628650"/>
                    <a:gd name="connsiteY3" fmla="*/ 7144 h 476250"/>
                    <a:gd name="connsiteX4" fmla="*/ 626983 w 628650"/>
                    <a:gd name="connsiteY4" fmla="*/ 7144 h 476250"/>
                    <a:gd name="connsiteX5" fmla="*/ 7144 w 628650"/>
                    <a:gd name="connsiteY5" fmla="*/ 8068 h 476250"/>
                    <a:gd name="connsiteX6" fmla="*/ 7144 w 628650"/>
                    <a:gd name="connsiteY6" fmla="*/ 469506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50" h="476250">
                      <a:moveTo>
                        <a:pt x="7144" y="469506"/>
                      </a:moveTo>
                      <a:lnTo>
                        <a:pt x="8077" y="469506"/>
                      </a:lnTo>
                      <a:lnTo>
                        <a:pt x="8077" y="8068"/>
                      </a:lnTo>
                      <a:lnTo>
                        <a:pt x="626945" y="7144"/>
                      </a:lnTo>
                      <a:lnTo>
                        <a:pt x="626983" y="7144"/>
                      </a:lnTo>
                      <a:lnTo>
                        <a:pt x="7144" y="8068"/>
                      </a:lnTo>
                      <a:lnTo>
                        <a:pt x="7144" y="469506"/>
                      </a:lnTo>
                      <a:close/>
                    </a:path>
                  </a:pathLst>
                </a:custGeom>
                <a:solidFill>
                  <a:srgbClr val="59B4D9"/>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3" name="Freeform: Shape 112">
                  <a:extLst>
                    <a:ext uri="{FF2B5EF4-FFF2-40B4-BE49-F238E27FC236}">
                      <a16:creationId xmlns:a16="http://schemas.microsoft.com/office/drawing/2014/main" id="{947CBE55-F6BA-4B0A-A9C6-FAD09DE96A45}"/>
                    </a:ext>
                  </a:extLst>
                </p:cNvPr>
                <p:cNvSpPr/>
                <p:nvPr/>
              </p:nvSpPr>
              <p:spPr>
                <a:xfrm>
                  <a:off x="914452" y="4668291"/>
                  <a:ext cx="533400" cy="57150"/>
                </a:xfrm>
                <a:custGeom>
                  <a:avLst/>
                  <a:gdLst>
                    <a:gd name="connsiteX0" fmla="*/ 7144 w 533400"/>
                    <a:gd name="connsiteY0" fmla="*/ 7144 h 57150"/>
                    <a:gd name="connsiteX1" fmla="*/ 530209 w 533400"/>
                    <a:gd name="connsiteY1" fmla="*/ 7144 h 57150"/>
                    <a:gd name="connsiteX2" fmla="*/ 530209 w 533400"/>
                    <a:gd name="connsiteY2" fmla="*/ 55483 h 57150"/>
                    <a:gd name="connsiteX3" fmla="*/ 7144 w 533400"/>
                    <a:gd name="connsiteY3" fmla="*/ 55483 h 57150"/>
                  </a:gdLst>
                  <a:ahLst/>
                  <a:cxnLst>
                    <a:cxn ang="0">
                      <a:pos x="connsiteX0" y="connsiteY0"/>
                    </a:cxn>
                    <a:cxn ang="0">
                      <a:pos x="connsiteX1" y="connsiteY1"/>
                    </a:cxn>
                    <a:cxn ang="0">
                      <a:pos x="connsiteX2" y="connsiteY2"/>
                    </a:cxn>
                    <a:cxn ang="0">
                      <a:pos x="connsiteX3" y="connsiteY3"/>
                    </a:cxn>
                  </a:cxnLst>
                  <a:rect l="l" t="t" r="r" b="b"/>
                  <a:pathLst>
                    <a:path w="533400" h="57150">
                      <a:moveTo>
                        <a:pt x="7144" y="7144"/>
                      </a:moveTo>
                      <a:lnTo>
                        <a:pt x="530209" y="7144"/>
                      </a:lnTo>
                      <a:lnTo>
                        <a:pt x="530209" y="55483"/>
                      </a:lnTo>
                      <a:lnTo>
                        <a:pt x="7144" y="55483"/>
                      </a:lnTo>
                      <a:close/>
                    </a:path>
                  </a:pathLst>
                </a:custGeom>
                <a:solidFill>
                  <a:srgbClr val="A0A1A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4" name="Freeform: Shape 113">
                  <a:extLst>
                    <a:ext uri="{FF2B5EF4-FFF2-40B4-BE49-F238E27FC236}">
                      <a16:creationId xmlns:a16="http://schemas.microsoft.com/office/drawing/2014/main" id="{770B407D-A2EB-4BD3-B009-9627B2C61977}"/>
                    </a:ext>
                  </a:extLst>
                </p:cNvPr>
                <p:cNvSpPr/>
                <p:nvPr/>
              </p:nvSpPr>
              <p:spPr>
                <a:xfrm>
                  <a:off x="1161549" y="4000408"/>
                  <a:ext cx="28575" cy="28575"/>
                </a:xfrm>
                <a:custGeom>
                  <a:avLst/>
                  <a:gdLst>
                    <a:gd name="connsiteX0" fmla="*/ 29851 w 28575"/>
                    <a:gd name="connsiteY0" fmla="*/ 18507 h 28575"/>
                    <a:gd name="connsiteX1" fmla="*/ 18488 w 28575"/>
                    <a:gd name="connsiteY1" fmla="*/ 29851 h 28575"/>
                    <a:gd name="connsiteX2" fmla="*/ 7144 w 28575"/>
                    <a:gd name="connsiteY2" fmla="*/ 18488 h 28575"/>
                    <a:gd name="connsiteX3" fmla="*/ 18488 w 28575"/>
                    <a:gd name="connsiteY3" fmla="*/ 7144 h 28575"/>
                    <a:gd name="connsiteX4" fmla="*/ 29851 w 28575"/>
                    <a:gd name="connsiteY4" fmla="*/ 1850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9851" y="18507"/>
                      </a:moveTo>
                      <a:cubicBezTo>
                        <a:pt x="29846" y="24775"/>
                        <a:pt x="24758" y="29861"/>
                        <a:pt x="18488" y="29851"/>
                      </a:cubicBezTo>
                      <a:cubicBezTo>
                        <a:pt x="12218" y="29842"/>
                        <a:pt x="7138" y="24755"/>
                        <a:pt x="7144" y="18488"/>
                      </a:cubicBezTo>
                      <a:cubicBezTo>
                        <a:pt x="7149" y="12221"/>
                        <a:pt x="12225" y="7153"/>
                        <a:pt x="18488" y="7144"/>
                      </a:cubicBezTo>
                      <a:cubicBezTo>
                        <a:pt x="24764" y="7144"/>
                        <a:pt x="29851" y="12230"/>
                        <a:pt x="29851" y="18507"/>
                      </a:cubicBezTo>
                    </a:path>
                  </a:pathLst>
                </a:custGeom>
                <a:solidFill>
                  <a:srgbClr val="B8D43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5" name="Freeform: Shape 114">
                  <a:extLst>
                    <a:ext uri="{FF2B5EF4-FFF2-40B4-BE49-F238E27FC236}">
                      <a16:creationId xmlns:a16="http://schemas.microsoft.com/office/drawing/2014/main" id="{53F3A886-709B-40BF-89F2-C69393EF3CA9}"/>
                    </a:ext>
                  </a:extLst>
                </p:cNvPr>
                <p:cNvSpPr/>
                <p:nvPr/>
              </p:nvSpPr>
              <p:spPr>
                <a:xfrm>
                  <a:off x="1896499" y="3791225"/>
                  <a:ext cx="1057275" cy="438150"/>
                </a:xfrm>
                <a:custGeom>
                  <a:avLst/>
                  <a:gdLst>
                    <a:gd name="connsiteX0" fmla="*/ 987751 w 1057275"/>
                    <a:gd name="connsiteY0" fmla="*/ 291860 h 438150"/>
                    <a:gd name="connsiteX1" fmla="*/ 985236 w 1057275"/>
                    <a:gd name="connsiteY1" fmla="*/ 292089 h 438150"/>
                    <a:gd name="connsiteX2" fmla="*/ 885233 w 1057275"/>
                    <a:gd name="connsiteY2" fmla="*/ 114147 h 438150"/>
                    <a:gd name="connsiteX3" fmla="*/ 748483 w 1057275"/>
                    <a:gd name="connsiteY3" fmla="*/ 146956 h 438150"/>
                    <a:gd name="connsiteX4" fmla="*/ 515959 w 1057275"/>
                    <a:gd name="connsiteY4" fmla="*/ 13825 h 438150"/>
                    <a:gd name="connsiteX5" fmla="*/ 377008 w 1057275"/>
                    <a:gd name="connsiteY5" fmla="*/ 179103 h 438150"/>
                    <a:gd name="connsiteX6" fmla="*/ 372245 w 1057275"/>
                    <a:gd name="connsiteY6" fmla="*/ 178341 h 438150"/>
                    <a:gd name="connsiteX7" fmla="*/ 168611 w 1057275"/>
                    <a:gd name="connsiteY7" fmla="*/ 186409 h 438150"/>
                    <a:gd name="connsiteX8" fmla="*/ 137826 w 1057275"/>
                    <a:gd name="connsiteY8" fmla="*/ 238406 h 438150"/>
                    <a:gd name="connsiteX9" fmla="*/ 105650 w 1057275"/>
                    <a:gd name="connsiteY9" fmla="*/ 232919 h 438150"/>
                    <a:gd name="connsiteX10" fmla="*/ 7171 w 1057275"/>
                    <a:gd name="connsiteY10" fmla="*/ 327398 h 438150"/>
                    <a:gd name="connsiteX11" fmla="*/ 7152 w 1057275"/>
                    <a:gd name="connsiteY11" fmla="*/ 329074 h 438150"/>
                    <a:gd name="connsiteX12" fmla="*/ 104536 w 1057275"/>
                    <a:gd name="connsiteY12" fmla="*/ 429830 h 438150"/>
                    <a:gd name="connsiteX13" fmla="*/ 336289 w 1057275"/>
                    <a:gd name="connsiteY13" fmla="*/ 429830 h 438150"/>
                    <a:gd name="connsiteX14" fmla="*/ 355148 w 1057275"/>
                    <a:gd name="connsiteY14" fmla="*/ 429830 h 438150"/>
                    <a:gd name="connsiteX15" fmla="*/ 987751 w 1057275"/>
                    <a:gd name="connsiteY15" fmla="*/ 429830 h 438150"/>
                    <a:gd name="connsiteX16" fmla="*/ 1056741 w 1057275"/>
                    <a:gd name="connsiteY16" fmla="*/ 360840 h 438150"/>
                    <a:gd name="connsiteX17" fmla="*/ 987751 w 1057275"/>
                    <a:gd name="connsiteY17" fmla="*/ 29185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57275" h="438150">
                      <a:moveTo>
                        <a:pt x="987751" y="291860"/>
                      </a:moveTo>
                      <a:cubicBezTo>
                        <a:pt x="986875" y="291860"/>
                        <a:pt x="986113" y="292060"/>
                        <a:pt x="985236" y="292089"/>
                      </a:cubicBezTo>
                      <a:cubicBezTo>
                        <a:pt x="1006763" y="215336"/>
                        <a:pt x="961986" y="135669"/>
                        <a:pt x="885233" y="114147"/>
                      </a:cubicBezTo>
                      <a:cubicBezTo>
                        <a:pt x="837046" y="100634"/>
                        <a:pt x="785297" y="113050"/>
                        <a:pt x="748483" y="146956"/>
                      </a:cubicBezTo>
                      <a:cubicBezTo>
                        <a:pt x="721032" y="45984"/>
                        <a:pt x="616933" y="-13622"/>
                        <a:pt x="515959" y="13825"/>
                      </a:cubicBezTo>
                      <a:cubicBezTo>
                        <a:pt x="439711" y="34552"/>
                        <a:pt x="384323" y="100426"/>
                        <a:pt x="377008" y="179103"/>
                      </a:cubicBezTo>
                      <a:cubicBezTo>
                        <a:pt x="375427" y="178808"/>
                        <a:pt x="373865" y="178579"/>
                        <a:pt x="372245" y="178341"/>
                      </a:cubicBezTo>
                      <a:cubicBezTo>
                        <a:pt x="313791" y="124337"/>
                        <a:pt x="222617" y="127949"/>
                        <a:pt x="168611" y="186409"/>
                      </a:cubicBezTo>
                      <a:cubicBezTo>
                        <a:pt x="154790" y="201373"/>
                        <a:pt x="144293" y="219089"/>
                        <a:pt x="137826" y="238406"/>
                      </a:cubicBezTo>
                      <a:cubicBezTo>
                        <a:pt x="127481" y="234786"/>
                        <a:pt x="116604" y="232938"/>
                        <a:pt x="105650" y="232919"/>
                      </a:cubicBezTo>
                      <a:cubicBezTo>
                        <a:pt x="52367" y="231814"/>
                        <a:pt x="8276" y="274115"/>
                        <a:pt x="7171" y="327398"/>
                      </a:cubicBezTo>
                      <a:cubicBezTo>
                        <a:pt x="7162" y="327960"/>
                        <a:pt x="7152" y="328512"/>
                        <a:pt x="7152" y="329074"/>
                      </a:cubicBezTo>
                      <a:cubicBezTo>
                        <a:pt x="6447" y="383700"/>
                        <a:pt x="49920" y="428677"/>
                        <a:pt x="104536" y="429830"/>
                      </a:cubicBezTo>
                      <a:lnTo>
                        <a:pt x="336289" y="429830"/>
                      </a:lnTo>
                      <a:cubicBezTo>
                        <a:pt x="342404" y="437097"/>
                        <a:pt x="348776" y="429830"/>
                        <a:pt x="355148" y="429830"/>
                      </a:cubicBezTo>
                      <a:lnTo>
                        <a:pt x="987751" y="429830"/>
                      </a:lnTo>
                      <a:cubicBezTo>
                        <a:pt x="1025851" y="429830"/>
                        <a:pt x="1056741" y="398940"/>
                        <a:pt x="1056741" y="360840"/>
                      </a:cubicBezTo>
                      <a:cubicBezTo>
                        <a:pt x="1056741" y="322740"/>
                        <a:pt x="1025851" y="291851"/>
                        <a:pt x="987751" y="291851"/>
                      </a:cubicBezTo>
                      <a:close/>
                    </a:path>
                  </a:pathLst>
                </a:custGeom>
                <a:solidFill>
                  <a:srgbClr val="CBEBF5">
                    <a:alpha val="80000"/>
                  </a:srgb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6" name="Freeform: Shape 115">
                  <a:extLst>
                    <a:ext uri="{FF2B5EF4-FFF2-40B4-BE49-F238E27FC236}">
                      <a16:creationId xmlns:a16="http://schemas.microsoft.com/office/drawing/2014/main" id="{D81D3DCF-C8BA-41FF-A86B-91019D2473A2}"/>
                    </a:ext>
                  </a:extLst>
                </p:cNvPr>
                <p:cNvSpPr/>
                <p:nvPr/>
              </p:nvSpPr>
              <p:spPr>
                <a:xfrm>
                  <a:off x="611928" y="4716021"/>
                  <a:ext cx="1743075" cy="66675"/>
                </a:xfrm>
                <a:custGeom>
                  <a:avLst/>
                  <a:gdLst>
                    <a:gd name="connsiteX0" fmla="*/ 7144 w 1743075"/>
                    <a:gd name="connsiteY0" fmla="*/ 7144 h 66675"/>
                    <a:gd name="connsiteX1" fmla="*/ 1739894 w 1743075"/>
                    <a:gd name="connsiteY1" fmla="*/ 7144 h 66675"/>
                    <a:gd name="connsiteX2" fmla="*/ 1739894 w 1743075"/>
                    <a:gd name="connsiteY2" fmla="*/ 67885 h 66675"/>
                    <a:gd name="connsiteX3" fmla="*/ 7144 w 1743075"/>
                    <a:gd name="connsiteY3" fmla="*/ 67885 h 66675"/>
                  </a:gdLst>
                  <a:ahLst/>
                  <a:cxnLst>
                    <a:cxn ang="0">
                      <a:pos x="connsiteX0" y="connsiteY0"/>
                    </a:cxn>
                    <a:cxn ang="0">
                      <a:pos x="connsiteX1" y="connsiteY1"/>
                    </a:cxn>
                    <a:cxn ang="0">
                      <a:pos x="connsiteX2" y="connsiteY2"/>
                    </a:cxn>
                    <a:cxn ang="0">
                      <a:pos x="connsiteX3" y="connsiteY3"/>
                    </a:cxn>
                  </a:cxnLst>
                  <a:rect l="l" t="t" r="r" b="b"/>
                  <a:pathLst>
                    <a:path w="1743075" h="66675">
                      <a:moveTo>
                        <a:pt x="7144" y="7144"/>
                      </a:moveTo>
                      <a:lnTo>
                        <a:pt x="1739894" y="7144"/>
                      </a:lnTo>
                      <a:lnTo>
                        <a:pt x="1739894" y="67885"/>
                      </a:lnTo>
                      <a:lnTo>
                        <a:pt x="7144" y="67885"/>
                      </a:lnTo>
                      <a:close/>
                    </a:path>
                  </a:pathLst>
                </a:custGeom>
                <a:solidFill>
                  <a:srgbClr val="6A6A6A"/>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7" name="Freeform: Shape 116">
                  <a:extLst>
                    <a:ext uri="{FF2B5EF4-FFF2-40B4-BE49-F238E27FC236}">
                      <a16:creationId xmlns:a16="http://schemas.microsoft.com/office/drawing/2014/main" id="{0DDC47A7-52F6-4D24-8432-AC659A67AB03}"/>
                    </a:ext>
                  </a:extLst>
                </p:cNvPr>
                <p:cNvSpPr/>
                <p:nvPr/>
              </p:nvSpPr>
              <p:spPr>
                <a:xfrm>
                  <a:off x="1751899" y="4567850"/>
                  <a:ext cx="200025" cy="161925"/>
                </a:xfrm>
                <a:custGeom>
                  <a:avLst/>
                  <a:gdLst>
                    <a:gd name="connsiteX0" fmla="*/ 194520 w 200025"/>
                    <a:gd name="connsiteY0" fmla="*/ 23689 h 161925"/>
                    <a:gd name="connsiteX1" fmla="*/ 158191 w 200025"/>
                    <a:gd name="connsiteY1" fmla="*/ 23689 h 161925"/>
                    <a:gd name="connsiteX2" fmla="*/ 161049 w 200025"/>
                    <a:gd name="connsiteY2" fmla="*/ 7144 h 161925"/>
                    <a:gd name="connsiteX3" fmla="*/ 7144 w 200025"/>
                    <a:gd name="connsiteY3" fmla="*/ 7144 h 161925"/>
                    <a:gd name="connsiteX4" fmla="*/ 37871 w 200025"/>
                    <a:gd name="connsiteY4" fmla="*/ 155315 h 161925"/>
                    <a:gd name="connsiteX5" fmla="*/ 135617 w 200025"/>
                    <a:gd name="connsiteY5" fmla="*/ 155315 h 161925"/>
                    <a:gd name="connsiteX6" fmla="*/ 138474 w 200025"/>
                    <a:gd name="connsiteY6" fmla="*/ 138398 h 161925"/>
                    <a:gd name="connsiteX7" fmla="*/ 194482 w 200025"/>
                    <a:gd name="connsiteY7" fmla="*/ 138398 h 161925"/>
                    <a:gd name="connsiteX8" fmla="*/ 171717 w 200025"/>
                    <a:gd name="connsiteY8" fmla="*/ 115595 h 161925"/>
                    <a:gd name="connsiteX9" fmla="*/ 142427 w 200025"/>
                    <a:gd name="connsiteY9" fmla="*/ 115595 h 161925"/>
                    <a:gd name="connsiteX10" fmla="*/ 154286 w 200025"/>
                    <a:gd name="connsiteY10" fmla="*/ 46482 h 161925"/>
                    <a:gd name="connsiteX11" fmla="*/ 171726 w 200025"/>
                    <a:gd name="connsiteY11" fmla="*/ 46482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0025" h="161925">
                      <a:moveTo>
                        <a:pt x="194520" y="23689"/>
                      </a:moveTo>
                      <a:lnTo>
                        <a:pt x="158191" y="23689"/>
                      </a:lnTo>
                      <a:lnTo>
                        <a:pt x="161049" y="7144"/>
                      </a:lnTo>
                      <a:lnTo>
                        <a:pt x="7144" y="7144"/>
                      </a:lnTo>
                      <a:lnTo>
                        <a:pt x="37871" y="155315"/>
                      </a:lnTo>
                      <a:lnTo>
                        <a:pt x="135617" y="155315"/>
                      </a:lnTo>
                      <a:lnTo>
                        <a:pt x="138474" y="138398"/>
                      </a:lnTo>
                      <a:lnTo>
                        <a:pt x="194482" y="138398"/>
                      </a:lnTo>
                      <a:close/>
                      <a:moveTo>
                        <a:pt x="171717" y="115595"/>
                      </a:moveTo>
                      <a:lnTo>
                        <a:pt x="142427" y="115595"/>
                      </a:lnTo>
                      <a:lnTo>
                        <a:pt x="154286" y="46482"/>
                      </a:lnTo>
                      <a:lnTo>
                        <a:pt x="171726" y="46482"/>
                      </a:lnTo>
                      <a:close/>
                    </a:path>
                  </a:pathLst>
                </a:custGeom>
                <a:solidFill>
                  <a:srgbClr val="1A1A1A"/>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8" name="Freeform: Shape 117">
                  <a:extLst>
                    <a:ext uri="{FF2B5EF4-FFF2-40B4-BE49-F238E27FC236}">
                      <a16:creationId xmlns:a16="http://schemas.microsoft.com/office/drawing/2014/main" id="{3581A756-2A1D-4B7A-BA9A-BD9ACCA320FE}"/>
                    </a:ext>
                  </a:extLst>
                </p:cNvPr>
                <p:cNvSpPr/>
                <p:nvPr/>
              </p:nvSpPr>
              <p:spPr>
                <a:xfrm>
                  <a:off x="1283479" y="4269051"/>
                  <a:ext cx="171450" cy="180975"/>
                </a:xfrm>
                <a:custGeom>
                  <a:avLst/>
                  <a:gdLst>
                    <a:gd name="connsiteX0" fmla="*/ 164706 w 171450"/>
                    <a:gd name="connsiteY0" fmla="*/ 7144 h 180975"/>
                    <a:gd name="connsiteX1" fmla="*/ 7144 w 171450"/>
                    <a:gd name="connsiteY1" fmla="*/ 176670 h 180975"/>
                  </a:gdLst>
                  <a:ahLst/>
                  <a:cxnLst>
                    <a:cxn ang="0">
                      <a:pos x="connsiteX0" y="connsiteY0"/>
                    </a:cxn>
                    <a:cxn ang="0">
                      <a:pos x="connsiteX1" y="connsiteY1"/>
                    </a:cxn>
                  </a:cxnLst>
                  <a:rect l="l" t="t" r="r" b="b"/>
                  <a:pathLst>
                    <a:path w="171450" h="180975">
                      <a:moveTo>
                        <a:pt x="164706" y="7144"/>
                      </a:moveTo>
                      <a:lnTo>
                        <a:pt x="7144" y="176670"/>
                      </a:lnTo>
                    </a:path>
                  </a:pathLst>
                </a:custGeom>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9" name="Freeform: Shape 118">
                  <a:extLst>
                    <a:ext uri="{FF2B5EF4-FFF2-40B4-BE49-F238E27FC236}">
                      <a16:creationId xmlns:a16="http://schemas.microsoft.com/office/drawing/2014/main" id="{481B1AD4-BB51-4F47-B1CB-69BCC06F01F7}"/>
                    </a:ext>
                  </a:extLst>
                </p:cNvPr>
                <p:cNvSpPr/>
                <p:nvPr/>
              </p:nvSpPr>
              <p:spPr>
                <a:xfrm>
                  <a:off x="1067233" y="3108887"/>
                  <a:ext cx="571500" cy="1304925"/>
                </a:xfrm>
                <a:custGeom>
                  <a:avLst/>
                  <a:gdLst>
                    <a:gd name="connsiteX0" fmla="*/ 568776 w 571500"/>
                    <a:gd name="connsiteY0" fmla="*/ 660854 h 1304925"/>
                    <a:gd name="connsiteX1" fmla="*/ 7144 w 571500"/>
                    <a:gd name="connsiteY1" fmla="*/ 1305058 h 1304925"/>
                    <a:gd name="connsiteX2" fmla="*/ 7144 w 571500"/>
                    <a:gd name="connsiteY2" fmla="*/ 937165 h 1304925"/>
                    <a:gd name="connsiteX3" fmla="*/ 568785 w 571500"/>
                    <a:gd name="connsiteY3" fmla="*/ 7144 h 1304925"/>
                    <a:gd name="connsiteX4" fmla="*/ 568776 w 571500"/>
                    <a:gd name="connsiteY4" fmla="*/ 660854 h 1304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0" h="1304925">
                      <a:moveTo>
                        <a:pt x="568776" y="660854"/>
                      </a:moveTo>
                      <a:lnTo>
                        <a:pt x="7144" y="1305058"/>
                      </a:lnTo>
                      <a:lnTo>
                        <a:pt x="7144" y="937165"/>
                      </a:lnTo>
                      <a:lnTo>
                        <a:pt x="568785" y="7144"/>
                      </a:lnTo>
                      <a:lnTo>
                        <a:pt x="568776" y="660854"/>
                      </a:lnTo>
                      <a:close/>
                    </a:path>
                  </a:pathLst>
                </a:custGeom>
                <a:solidFill>
                  <a:srgbClr val="0072C6">
                    <a:alpha val="40000"/>
                  </a:srgb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0" name="Freeform: Shape 119">
                  <a:extLst>
                    <a:ext uri="{FF2B5EF4-FFF2-40B4-BE49-F238E27FC236}">
                      <a16:creationId xmlns:a16="http://schemas.microsoft.com/office/drawing/2014/main" id="{C8F81A3B-1357-4A9A-BE10-D476C71C0762}"/>
                    </a:ext>
                  </a:extLst>
                </p:cNvPr>
                <p:cNvSpPr/>
                <p:nvPr/>
              </p:nvSpPr>
              <p:spPr>
                <a:xfrm>
                  <a:off x="1513536" y="3109601"/>
                  <a:ext cx="1085850" cy="1247775"/>
                </a:xfrm>
                <a:custGeom>
                  <a:avLst/>
                  <a:gdLst>
                    <a:gd name="connsiteX0" fmla="*/ 7144 w 1085850"/>
                    <a:gd name="connsiteY0" fmla="*/ 1241012 h 1247775"/>
                    <a:gd name="connsiteX1" fmla="*/ 1080373 w 1085850"/>
                    <a:gd name="connsiteY1" fmla="*/ 660140 h 1247775"/>
                    <a:gd name="connsiteX2" fmla="*/ 1080373 w 1085850"/>
                    <a:gd name="connsiteY2" fmla="*/ 7144 h 1247775"/>
                    <a:gd name="connsiteX3" fmla="*/ 7144 w 1085850"/>
                    <a:gd name="connsiteY3" fmla="*/ 937365 h 1247775"/>
                    <a:gd name="connsiteX4" fmla="*/ 7144 w 1085850"/>
                    <a:gd name="connsiteY4" fmla="*/ 1241012 h 1247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850" h="1247775">
                      <a:moveTo>
                        <a:pt x="7144" y="1241012"/>
                      </a:moveTo>
                      <a:lnTo>
                        <a:pt x="1080373" y="660140"/>
                      </a:lnTo>
                      <a:lnTo>
                        <a:pt x="1080373" y="7144"/>
                      </a:lnTo>
                      <a:lnTo>
                        <a:pt x="7144" y="937365"/>
                      </a:lnTo>
                      <a:lnTo>
                        <a:pt x="7144" y="1241012"/>
                      </a:lnTo>
                      <a:close/>
                    </a:path>
                  </a:pathLst>
                </a:custGeom>
                <a:solidFill>
                  <a:srgbClr val="0072C6">
                    <a:alpha val="40000"/>
                  </a:srgb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1" name="Freeform: Shape 120">
                  <a:extLst>
                    <a:ext uri="{FF2B5EF4-FFF2-40B4-BE49-F238E27FC236}">
                      <a16:creationId xmlns:a16="http://schemas.microsoft.com/office/drawing/2014/main" id="{91EF670B-04CB-471A-8739-CF4ED6F3EF84}"/>
                    </a:ext>
                  </a:extLst>
                </p:cNvPr>
                <p:cNvSpPr/>
                <p:nvPr/>
              </p:nvSpPr>
              <p:spPr>
                <a:xfrm>
                  <a:off x="759956" y="3220831"/>
                  <a:ext cx="828675" cy="514350"/>
                </a:xfrm>
                <a:custGeom>
                  <a:avLst/>
                  <a:gdLst>
                    <a:gd name="connsiteX0" fmla="*/ 728872 w 828675"/>
                    <a:gd name="connsiteY0" fmla="*/ 499971 h 514350"/>
                    <a:gd name="connsiteX1" fmla="*/ 820979 w 828675"/>
                    <a:gd name="connsiteY1" fmla="*/ 368680 h 514350"/>
                    <a:gd name="connsiteX2" fmla="*/ 709279 w 828675"/>
                    <a:gd name="connsiteY2" fmla="*/ 274867 h 514350"/>
                    <a:gd name="connsiteX3" fmla="*/ 708146 w 828675"/>
                    <a:gd name="connsiteY3" fmla="*/ 274867 h 514350"/>
                    <a:gd name="connsiteX4" fmla="*/ 709098 w 828675"/>
                    <a:gd name="connsiteY4" fmla="*/ 253007 h 514350"/>
                    <a:gd name="connsiteX5" fmla="*/ 463243 w 828675"/>
                    <a:gd name="connsiteY5" fmla="*/ 7144 h 514350"/>
                    <a:gd name="connsiteX6" fmla="*/ 230134 w 828675"/>
                    <a:gd name="connsiteY6" fmla="*/ 174845 h 514350"/>
                    <a:gd name="connsiteX7" fmla="*/ 175203 w 828675"/>
                    <a:gd name="connsiteY7" fmla="*/ 165501 h 514350"/>
                    <a:gd name="connsiteX8" fmla="*/ 7144 w 828675"/>
                    <a:gd name="connsiteY8" fmla="*/ 337017 h 514350"/>
                    <a:gd name="connsiteX9" fmla="*/ 175203 w 828675"/>
                    <a:gd name="connsiteY9" fmla="*/ 508572 h 514350"/>
                    <a:gd name="connsiteX10" fmla="*/ 175431 w 828675"/>
                    <a:gd name="connsiteY10" fmla="*/ 508572 h 514350"/>
                    <a:gd name="connsiteX11" fmla="*/ 728872 w 828675"/>
                    <a:gd name="connsiteY11" fmla="*/ 499971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8675" h="514350">
                      <a:moveTo>
                        <a:pt x="728872" y="499971"/>
                      </a:moveTo>
                      <a:cubicBezTo>
                        <a:pt x="790562" y="489152"/>
                        <a:pt x="831799" y="430371"/>
                        <a:pt x="820979" y="368680"/>
                      </a:cubicBezTo>
                      <a:cubicBezTo>
                        <a:pt x="811467" y="314435"/>
                        <a:pt x="764354" y="274866"/>
                        <a:pt x="709279" y="274867"/>
                      </a:cubicBezTo>
                      <a:lnTo>
                        <a:pt x="708146" y="274867"/>
                      </a:lnTo>
                      <a:cubicBezTo>
                        <a:pt x="708784" y="267656"/>
                        <a:pt x="709098" y="260370"/>
                        <a:pt x="709098" y="253007"/>
                      </a:cubicBezTo>
                      <a:cubicBezTo>
                        <a:pt x="709100" y="117222"/>
                        <a:pt x="599027" y="7146"/>
                        <a:pt x="463243" y="7144"/>
                      </a:cubicBezTo>
                      <a:cubicBezTo>
                        <a:pt x="357575" y="7142"/>
                        <a:pt x="263725" y="74659"/>
                        <a:pt x="230134" y="174845"/>
                      </a:cubicBezTo>
                      <a:cubicBezTo>
                        <a:pt x="212471" y="168693"/>
                        <a:pt x="193905" y="165536"/>
                        <a:pt x="175203" y="165501"/>
                      </a:cubicBezTo>
                      <a:cubicBezTo>
                        <a:pt x="82372" y="165501"/>
                        <a:pt x="7144" y="244215"/>
                        <a:pt x="7144" y="337017"/>
                      </a:cubicBezTo>
                      <a:cubicBezTo>
                        <a:pt x="7144" y="429819"/>
                        <a:pt x="82391" y="508572"/>
                        <a:pt x="175203" y="508572"/>
                      </a:cubicBezTo>
                      <a:lnTo>
                        <a:pt x="175431" y="508572"/>
                      </a:lnTo>
                      <a:cubicBezTo>
                        <a:pt x="175431" y="508572"/>
                        <a:pt x="728234" y="500085"/>
                        <a:pt x="728872" y="499971"/>
                      </a:cubicBezTo>
                      <a:close/>
                    </a:path>
                  </a:pathLst>
                </a:custGeom>
                <a:solidFill>
                  <a:srgbClr val="CBEBF5">
                    <a:alpha val="80000"/>
                  </a:srgb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3" name="Freeform: Shape 122">
                  <a:extLst>
                    <a:ext uri="{FF2B5EF4-FFF2-40B4-BE49-F238E27FC236}">
                      <a16:creationId xmlns:a16="http://schemas.microsoft.com/office/drawing/2014/main" id="{B28A8D31-E98C-4B0C-80AD-8B93FFEBEFF7}"/>
                    </a:ext>
                  </a:extLst>
                </p:cNvPr>
                <p:cNvSpPr/>
                <p:nvPr/>
              </p:nvSpPr>
              <p:spPr>
                <a:xfrm>
                  <a:off x="1067233" y="4038908"/>
                  <a:ext cx="457200" cy="314325"/>
                </a:xfrm>
                <a:custGeom>
                  <a:avLst/>
                  <a:gdLst>
                    <a:gd name="connsiteX0" fmla="*/ 7144 w 457200"/>
                    <a:gd name="connsiteY0" fmla="*/ 7144 h 314325"/>
                    <a:gd name="connsiteX1" fmla="*/ 453447 w 457200"/>
                    <a:gd name="connsiteY1" fmla="*/ 7144 h 314325"/>
                    <a:gd name="connsiteX2" fmla="*/ 453447 w 457200"/>
                    <a:gd name="connsiteY2" fmla="*/ 311706 h 314325"/>
                    <a:gd name="connsiteX3" fmla="*/ 7144 w 457200"/>
                    <a:gd name="connsiteY3" fmla="*/ 311706 h 314325"/>
                  </a:gdLst>
                  <a:ahLst/>
                  <a:cxnLst>
                    <a:cxn ang="0">
                      <a:pos x="connsiteX0" y="connsiteY0"/>
                    </a:cxn>
                    <a:cxn ang="0">
                      <a:pos x="connsiteX1" y="connsiteY1"/>
                    </a:cxn>
                    <a:cxn ang="0">
                      <a:pos x="connsiteX2" y="connsiteY2"/>
                    </a:cxn>
                    <a:cxn ang="0">
                      <a:pos x="connsiteX3" y="connsiteY3"/>
                    </a:cxn>
                  </a:cxnLst>
                  <a:rect l="l" t="t" r="r" b="b"/>
                  <a:pathLst>
                    <a:path w="457200" h="314325">
                      <a:moveTo>
                        <a:pt x="7144" y="7144"/>
                      </a:moveTo>
                      <a:lnTo>
                        <a:pt x="453447" y="7144"/>
                      </a:lnTo>
                      <a:lnTo>
                        <a:pt x="453447" y="311706"/>
                      </a:lnTo>
                      <a:lnTo>
                        <a:pt x="7144" y="311706"/>
                      </a:lnTo>
                      <a:close/>
                    </a:path>
                  </a:pathLst>
                </a:custGeom>
                <a:solidFill>
                  <a:srgbClr val="1B348E"/>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4" name="Freeform: Shape 123">
                  <a:extLst>
                    <a:ext uri="{FF2B5EF4-FFF2-40B4-BE49-F238E27FC236}">
                      <a16:creationId xmlns:a16="http://schemas.microsoft.com/office/drawing/2014/main" id="{CC0F0B99-C56D-4C08-BFD5-D217D2ED584B}"/>
                    </a:ext>
                  </a:extLst>
                </p:cNvPr>
                <p:cNvSpPr/>
                <p:nvPr/>
              </p:nvSpPr>
              <p:spPr>
                <a:xfrm>
                  <a:off x="1104428" y="4084590"/>
                  <a:ext cx="123825" cy="190500"/>
                </a:xfrm>
                <a:custGeom>
                  <a:avLst/>
                  <a:gdLst>
                    <a:gd name="connsiteX0" fmla="*/ 7144 w 123825"/>
                    <a:gd name="connsiteY0" fmla="*/ 7144 h 190500"/>
                    <a:gd name="connsiteX1" fmla="*/ 118720 w 123825"/>
                    <a:gd name="connsiteY1" fmla="*/ 7144 h 190500"/>
                    <a:gd name="connsiteX2" fmla="*/ 118720 w 123825"/>
                    <a:gd name="connsiteY2" fmla="*/ 189881 h 190500"/>
                    <a:gd name="connsiteX3" fmla="*/ 7144 w 123825"/>
                    <a:gd name="connsiteY3" fmla="*/ 189881 h 190500"/>
                  </a:gdLst>
                  <a:ahLst/>
                  <a:cxnLst>
                    <a:cxn ang="0">
                      <a:pos x="connsiteX0" y="connsiteY0"/>
                    </a:cxn>
                    <a:cxn ang="0">
                      <a:pos x="connsiteX1" y="connsiteY1"/>
                    </a:cxn>
                    <a:cxn ang="0">
                      <a:pos x="connsiteX2" y="connsiteY2"/>
                    </a:cxn>
                    <a:cxn ang="0">
                      <a:pos x="connsiteX3" y="connsiteY3"/>
                    </a:cxn>
                  </a:cxnLst>
                  <a:rect l="l" t="t" r="r" b="b"/>
                  <a:pathLst>
                    <a:path w="123825" h="190500">
                      <a:moveTo>
                        <a:pt x="7144" y="7144"/>
                      </a:moveTo>
                      <a:lnTo>
                        <a:pt x="118720" y="7144"/>
                      </a:lnTo>
                      <a:lnTo>
                        <a:pt x="118720" y="189881"/>
                      </a:lnTo>
                      <a:lnTo>
                        <a:pt x="7144" y="189881"/>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5" name="Freeform: Shape 124">
                  <a:extLst>
                    <a:ext uri="{FF2B5EF4-FFF2-40B4-BE49-F238E27FC236}">
                      <a16:creationId xmlns:a16="http://schemas.microsoft.com/office/drawing/2014/main" id="{4F15EB48-DB87-4862-929D-636A97455584}"/>
                    </a:ext>
                  </a:extLst>
                </p:cNvPr>
                <p:cNvSpPr/>
                <p:nvPr/>
              </p:nvSpPr>
              <p:spPr>
                <a:xfrm>
                  <a:off x="1234597" y="4084590"/>
                  <a:ext cx="209550" cy="104775"/>
                </a:xfrm>
                <a:custGeom>
                  <a:avLst/>
                  <a:gdLst>
                    <a:gd name="connsiteX0" fmla="*/ 7144 w 209550"/>
                    <a:gd name="connsiteY0" fmla="*/ 7144 h 104775"/>
                    <a:gd name="connsiteX1" fmla="*/ 211703 w 209550"/>
                    <a:gd name="connsiteY1" fmla="*/ 7144 h 104775"/>
                    <a:gd name="connsiteX2" fmla="*/ 211703 w 209550"/>
                    <a:gd name="connsiteY2" fmla="*/ 98517 h 104775"/>
                    <a:gd name="connsiteX3" fmla="*/ 7144 w 209550"/>
                    <a:gd name="connsiteY3" fmla="*/ 98517 h 104775"/>
                  </a:gdLst>
                  <a:ahLst/>
                  <a:cxnLst>
                    <a:cxn ang="0">
                      <a:pos x="connsiteX0" y="connsiteY0"/>
                    </a:cxn>
                    <a:cxn ang="0">
                      <a:pos x="connsiteX1" y="connsiteY1"/>
                    </a:cxn>
                    <a:cxn ang="0">
                      <a:pos x="connsiteX2" y="connsiteY2"/>
                    </a:cxn>
                    <a:cxn ang="0">
                      <a:pos x="connsiteX3" y="connsiteY3"/>
                    </a:cxn>
                  </a:cxnLst>
                  <a:rect l="l" t="t" r="r" b="b"/>
                  <a:pathLst>
                    <a:path w="209550" h="104775">
                      <a:moveTo>
                        <a:pt x="7144" y="7144"/>
                      </a:moveTo>
                      <a:lnTo>
                        <a:pt x="211703" y="7144"/>
                      </a:lnTo>
                      <a:lnTo>
                        <a:pt x="211703" y="98517"/>
                      </a:lnTo>
                      <a:lnTo>
                        <a:pt x="7144" y="98517"/>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6" name="Freeform: Shape 125">
                  <a:extLst>
                    <a:ext uri="{FF2B5EF4-FFF2-40B4-BE49-F238E27FC236}">
                      <a16:creationId xmlns:a16="http://schemas.microsoft.com/office/drawing/2014/main" id="{19C9D373-AAEF-4BC4-8256-A28094FD5B88}"/>
                    </a:ext>
                  </a:extLst>
                </p:cNvPr>
                <p:cNvSpPr/>
                <p:nvPr/>
              </p:nvSpPr>
              <p:spPr>
                <a:xfrm>
                  <a:off x="1234597" y="4191184"/>
                  <a:ext cx="104775" cy="85725"/>
                </a:xfrm>
                <a:custGeom>
                  <a:avLst/>
                  <a:gdLst>
                    <a:gd name="connsiteX0" fmla="*/ 7144 w 104775"/>
                    <a:gd name="connsiteY0" fmla="*/ 7144 h 85725"/>
                    <a:gd name="connsiteX1" fmla="*/ 100127 w 104775"/>
                    <a:gd name="connsiteY1" fmla="*/ 7144 h 85725"/>
                    <a:gd name="connsiteX2" fmla="*/ 100127 w 104775"/>
                    <a:gd name="connsiteY2" fmla="*/ 83287 h 85725"/>
                    <a:gd name="connsiteX3" fmla="*/ 7144 w 104775"/>
                    <a:gd name="connsiteY3" fmla="*/ 83287 h 85725"/>
                  </a:gdLst>
                  <a:ahLst/>
                  <a:cxnLst>
                    <a:cxn ang="0">
                      <a:pos x="connsiteX0" y="connsiteY0"/>
                    </a:cxn>
                    <a:cxn ang="0">
                      <a:pos x="connsiteX1" y="connsiteY1"/>
                    </a:cxn>
                    <a:cxn ang="0">
                      <a:pos x="connsiteX2" y="connsiteY2"/>
                    </a:cxn>
                    <a:cxn ang="0">
                      <a:pos x="connsiteX3" y="connsiteY3"/>
                    </a:cxn>
                  </a:cxnLst>
                  <a:rect l="l" t="t" r="r" b="b"/>
                  <a:pathLst>
                    <a:path w="104775" h="85725">
                      <a:moveTo>
                        <a:pt x="7144" y="7144"/>
                      </a:moveTo>
                      <a:lnTo>
                        <a:pt x="100127" y="7144"/>
                      </a:lnTo>
                      <a:lnTo>
                        <a:pt x="100127" y="83287"/>
                      </a:lnTo>
                      <a:lnTo>
                        <a:pt x="7144" y="83287"/>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7" name="Freeform: Shape 126">
                  <a:extLst>
                    <a:ext uri="{FF2B5EF4-FFF2-40B4-BE49-F238E27FC236}">
                      <a16:creationId xmlns:a16="http://schemas.microsoft.com/office/drawing/2014/main" id="{4605E245-F8E4-4D34-A259-3653753AB4BF}"/>
                    </a:ext>
                  </a:extLst>
                </p:cNvPr>
                <p:cNvSpPr/>
                <p:nvPr/>
              </p:nvSpPr>
              <p:spPr>
                <a:xfrm>
                  <a:off x="1346172" y="4191184"/>
                  <a:ext cx="104775" cy="85725"/>
                </a:xfrm>
                <a:custGeom>
                  <a:avLst/>
                  <a:gdLst>
                    <a:gd name="connsiteX0" fmla="*/ 7144 w 104775"/>
                    <a:gd name="connsiteY0" fmla="*/ 7144 h 85725"/>
                    <a:gd name="connsiteX1" fmla="*/ 100127 w 104775"/>
                    <a:gd name="connsiteY1" fmla="*/ 7144 h 85725"/>
                    <a:gd name="connsiteX2" fmla="*/ 100127 w 104775"/>
                    <a:gd name="connsiteY2" fmla="*/ 83287 h 85725"/>
                    <a:gd name="connsiteX3" fmla="*/ 7144 w 104775"/>
                    <a:gd name="connsiteY3" fmla="*/ 83287 h 85725"/>
                  </a:gdLst>
                  <a:ahLst/>
                  <a:cxnLst>
                    <a:cxn ang="0">
                      <a:pos x="connsiteX0" y="connsiteY0"/>
                    </a:cxn>
                    <a:cxn ang="0">
                      <a:pos x="connsiteX1" y="connsiteY1"/>
                    </a:cxn>
                    <a:cxn ang="0">
                      <a:pos x="connsiteX2" y="connsiteY2"/>
                    </a:cxn>
                    <a:cxn ang="0">
                      <a:pos x="connsiteX3" y="connsiteY3"/>
                    </a:cxn>
                  </a:cxnLst>
                  <a:rect l="l" t="t" r="r" b="b"/>
                  <a:pathLst>
                    <a:path w="104775" h="85725">
                      <a:moveTo>
                        <a:pt x="7144" y="7144"/>
                      </a:moveTo>
                      <a:lnTo>
                        <a:pt x="100127" y="7144"/>
                      </a:lnTo>
                      <a:lnTo>
                        <a:pt x="100127" y="83287"/>
                      </a:lnTo>
                      <a:lnTo>
                        <a:pt x="7144" y="83287"/>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8" name="Freeform: Shape 127">
                  <a:extLst>
                    <a:ext uri="{FF2B5EF4-FFF2-40B4-BE49-F238E27FC236}">
                      <a16:creationId xmlns:a16="http://schemas.microsoft.com/office/drawing/2014/main" id="{01C49E70-DCAA-4FA3-BFFD-FAA6EC148917}"/>
                    </a:ext>
                  </a:extLst>
                </p:cNvPr>
                <p:cNvSpPr/>
                <p:nvPr/>
              </p:nvSpPr>
              <p:spPr>
                <a:xfrm>
                  <a:off x="960658" y="4117804"/>
                  <a:ext cx="457200" cy="314325"/>
                </a:xfrm>
                <a:custGeom>
                  <a:avLst/>
                  <a:gdLst>
                    <a:gd name="connsiteX0" fmla="*/ 7144 w 457200"/>
                    <a:gd name="connsiteY0" fmla="*/ 7144 h 314325"/>
                    <a:gd name="connsiteX1" fmla="*/ 453447 w 457200"/>
                    <a:gd name="connsiteY1" fmla="*/ 7144 h 314325"/>
                    <a:gd name="connsiteX2" fmla="*/ 453447 w 457200"/>
                    <a:gd name="connsiteY2" fmla="*/ 311706 h 314325"/>
                    <a:gd name="connsiteX3" fmla="*/ 7144 w 457200"/>
                    <a:gd name="connsiteY3" fmla="*/ 311706 h 314325"/>
                  </a:gdLst>
                  <a:ahLst/>
                  <a:cxnLst>
                    <a:cxn ang="0">
                      <a:pos x="connsiteX0" y="connsiteY0"/>
                    </a:cxn>
                    <a:cxn ang="0">
                      <a:pos x="connsiteX1" y="connsiteY1"/>
                    </a:cxn>
                    <a:cxn ang="0">
                      <a:pos x="connsiteX2" y="connsiteY2"/>
                    </a:cxn>
                    <a:cxn ang="0">
                      <a:pos x="connsiteX3" y="connsiteY3"/>
                    </a:cxn>
                  </a:cxnLst>
                  <a:rect l="l" t="t" r="r" b="b"/>
                  <a:pathLst>
                    <a:path w="457200" h="314325">
                      <a:moveTo>
                        <a:pt x="7144" y="7144"/>
                      </a:moveTo>
                      <a:lnTo>
                        <a:pt x="453447" y="7144"/>
                      </a:lnTo>
                      <a:lnTo>
                        <a:pt x="453447" y="311706"/>
                      </a:lnTo>
                      <a:lnTo>
                        <a:pt x="7144" y="311706"/>
                      </a:lnTo>
                      <a:close/>
                    </a:path>
                  </a:pathLst>
                </a:custGeom>
                <a:solidFill>
                  <a:srgbClr val="495DA5"/>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33" name="Freeform: Shape 132">
                  <a:extLst>
                    <a:ext uri="{FF2B5EF4-FFF2-40B4-BE49-F238E27FC236}">
                      <a16:creationId xmlns:a16="http://schemas.microsoft.com/office/drawing/2014/main" id="{F7EA5AD0-C561-4582-8B04-CD4DACE30521}"/>
                    </a:ext>
                  </a:extLst>
                </p:cNvPr>
                <p:cNvSpPr/>
                <p:nvPr/>
              </p:nvSpPr>
              <p:spPr>
                <a:xfrm>
                  <a:off x="997853" y="4163495"/>
                  <a:ext cx="342900" cy="190500"/>
                </a:xfrm>
                <a:custGeom>
                  <a:avLst/>
                  <a:gdLst>
                    <a:gd name="connsiteX0" fmla="*/ 341871 w 342900"/>
                    <a:gd name="connsiteY0" fmla="*/ 7144 h 190500"/>
                    <a:gd name="connsiteX1" fmla="*/ 7144 w 342900"/>
                    <a:gd name="connsiteY1" fmla="*/ 7144 h 190500"/>
                    <a:gd name="connsiteX2" fmla="*/ 7144 w 342900"/>
                    <a:gd name="connsiteY2" fmla="*/ 189881 h 190500"/>
                    <a:gd name="connsiteX3" fmla="*/ 144580 w 342900"/>
                    <a:gd name="connsiteY3" fmla="*/ 189881 h 190500"/>
                    <a:gd name="connsiteX4" fmla="*/ 144580 w 342900"/>
                    <a:gd name="connsiteY4" fmla="*/ 98508 h 190500"/>
                    <a:gd name="connsiteX5" fmla="*/ 341871 w 342900"/>
                    <a:gd name="connsiteY5" fmla="*/ 98508 h 190500"/>
                    <a:gd name="connsiteX6" fmla="*/ 341871 w 342900"/>
                    <a:gd name="connsiteY6"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900" h="190500">
                      <a:moveTo>
                        <a:pt x="341871" y="7144"/>
                      </a:moveTo>
                      <a:lnTo>
                        <a:pt x="7144" y="7144"/>
                      </a:lnTo>
                      <a:lnTo>
                        <a:pt x="7144" y="189881"/>
                      </a:lnTo>
                      <a:lnTo>
                        <a:pt x="144580" y="189881"/>
                      </a:lnTo>
                      <a:lnTo>
                        <a:pt x="144580" y="98508"/>
                      </a:lnTo>
                      <a:lnTo>
                        <a:pt x="341871" y="98508"/>
                      </a:lnTo>
                      <a:lnTo>
                        <a:pt x="341871" y="7144"/>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1" name="Freeform: Shape 140">
                  <a:extLst>
                    <a:ext uri="{FF2B5EF4-FFF2-40B4-BE49-F238E27FC236}">
                      <a16:creationId xmlns:a16="http://schemas.microsoft.com/office/drawing/2014/main" id="{F93CC698-4773-4EF8-9623-5E5575CDB554}"/>
                    </a:ext>
                  </a:extLst>
                </p:cNvPr>
                <p:cNvSpPr/>
                <p:nvPr/>
              </p:nvSpPr>
              <p:spPr>
                <a:xfrm>
                  <a:off x="1128021" y="4270089"/>
                  <a:ext cx="104775" cy="85725"/>
                </a:xfrm>
                <a:custGeom>
                  <a:avLst/>
                  <a:gdLst>
                    <a:gd name="connsiteX0" fmla="*/ 7144 w 104775"/>
                    <a:gd name="connsiteY0" fmla="*/ 7144 h 85725"/>
                    <a:gd name="connsiteX1" fmla="*/ 100127 w 104775"/>
                    <a:gd name="connsiteY1" fmla="*/ 7144 h 85725"/>
                    <a:gd name="connsiteX2" fmla="*/ 100127 w 104775"/>
                    <a:gd name="connsiteY2" fmla="*/ 83287 h 85725"/>
                    <a:gd name="connsiteX3" fmla="*/ 7144 w 104775"/>
                    <a:gd name="connsiteY3" fmla="*/ 83287 h 85725"/>
                  </a:gdLst>
                  <a:ahLst/>
                  <a:cxnLst>
                    <a:cxn ang="0">
                      <a:pos x="connsiteX0" y="connsiteY0"/>
                    </a:cxn>
                    <a:cxn ang="0">
                      <a:pos x="connsiteX1" y="connsiteY1"/>
                    </a:cxn>
                    <a:cxn ang="0">
                      <a:pos x="connsiteX2" y="connsiteY2"/>
                    </a:cxn>
                    <a:cxn ang="0">
                      <a:pos x="connsiteX3" y="connsiteY3"/>
                    </a:cxn>
                  </a:cxnLst>
                  <a:rect l="l" t="t" r="r" b="b"/>
                  <a:pathLst>
                    <a:path w="104775" h="85725">
                      <a:moveTo>
                        <a:pt x="7144" y="7144"/>
                      </a:moveTo>
                      <a:lnTo>
                        <a:pt x="100127" y="7144"/>
                      </a:lnTo>
                      <a:lnTo>
                        <a:pt x="100127" y="83287"/>
                      </a:lnTo>
                      <a:lnTo>
                        <a:pt x="7144" y="83287"/>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2" name="Freeform: Shape 141">
                  <a:extLst>
                    <a:ext uri="{FF2B5EF4-FFF2-40B4-BE49-F238E27FC236}">
                      <a16:creationId xmlns:a16="http://schemas.microsoft.com/office/drawing/2014/main" id="{833D282D-1BE4-4E1F-945A-878EEECBE35E}"/>
                    </a:ext>
                  </a:extLst>
                </p:cNvPr>
                <p:cNvSpPr/>
                <p:nvPr/>
              </p:nvSpPr>
              <p:spPr>
                <a:xfrm>
                  <a:off x="1239597" y="4270089"/>
                  <a:ext cx="104775" cy="85725"/>
                </a:xfrm>
                <a:custGeom>
                  <a:avLst/>
                  <a:gdLst>
                    <a:gd name="connsiteX0" fmla="*/ 7144 w 104775"/>
                    <a:gd name="connsiteY0" fmla="*/ 7144 h 85725"/>
                    <a:gd name="connsiteX1" fmla="*/ 100127 w 104775"/>
                    <a:gd name="connsiteY1" fmla="*/ 7144 h 85725"/>
                    <a:gd name="connsiteX2" fmla="*/ 100127 w 104775"/>
                    <a:gd name="connsiteY2" fmla="*/ 83287 h 85725"/>
                    <a:gd name="connsiteX3" fmla="*/ 7144 w 104775"/>
                    <a:gd name="connsiteY3" fmla="*/ 83287 h 85725"/>
                  </a:gdLst>
                  <a:ahLst/>
                  <a:cxnLst>
                    <a:cxn ang="0">
                      <a:pos x="connsiteX0" y="connsiteY0"/>
                    </a:cxn>
                    <a:cxn ang="0">
                      <a:pos x="connsiteX1" y="connsiteY1"/>
                    </a:cxn>
                    <a:cxn ang="0">
                      <a:pos x="connsiteX2" y="connsiteY2"/>
                    </a:cxn>
                    <a:cxn ang="0">
                      <a:pos x="connsiteX3" y="connsiteY3"/>
                    </a:cxn>
                  </a:cxnLst>
                  <a:rect l="l" t="t" r="r" b="b"/>
                  <a:pathLst>
                    <a:path w="104775" h="85725">
                      <a:moveTo>
                        <a:pt x="7144" y="7144"/>
                      </a:moveTo>
                      <a:lnTo>
                        <a:pt x="100127" y="7144"/>
                      </a:lnTo>
                      <a:lnTo>
                        <a:pt x="100127" y="83287"/>
                      </a:lnTo>
                      <a:lnTo>
                        <a:pt x="7144" y="83287"/>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3" name="Freeform: Shape 142">
                  <a:extLst>
                    <a:ext uri="{FF2B5EF4-FFF2-40B4-BE49-F238E27FC236}">
                      <a16:creationId xmlns:a16="http://schemas.microsoft.com/office/drawing/2014/main" id="{B80BF7C4-8A09-4888-AE85-7364BBAFD81F}"/>
                    </a:ext>
                  </a:extLst>
                </p:cNvPr>
                <p:cNvSpPr/>
                <p:nvPr/>
              </p:nvSpPr>
              <p:spPr>
                <a:xfrm>
                  <a:off x="836613" y="4196709"/>
                  <a:ext cx="457200" cy="314325"/>
                </a:xfrm>
                <a:custGeom>
                  <a:avLst/>
                  <a:gdLst>
                    <a:gd name="connsiteX0" fmla="*/ 7144 w 457200"/>
                    <a:gd name="connsiteY0" fmla="*/ 7144 h 314325"/>
                    <a:gd name="connsiteX1" fmla="*/ 453447 w 457200"/>
                    <a:gd name="connsiteY1" fmla="*/ 7144 h 314325"/>
                    <a:gd name="connsiteX2" fmla="*/ 453447 w 457200"/>
                    <a:gd name="connsiteY2" fmla="*/ 311706 h 314325"/>
                    <a:gd name="connsiteX3" fmla="*/ 7144 w 457200"/>
                    <a:gd name="connsiteY3" fmla="*/ 311706 h 314325"/>
                  </a:gdLst>
                  <a:ahLst/>
                  <a:cxnLst>
                    <a:cxn ang="0">
                      <a:pos x="connsiteX0" y="connsiteY0"/>
                    </a:cxn>
                    <a:cxn ang="0">
                      <a:pos x="connsiteX1" y="connsiteY1"/>
                    </a:cxn>
                    <a:cxn ang="0">
                      <a:pos x="connsiteX2" y="connsiteY2"/>
                    </a:cxn>
                    <a:cxn ang="0">
                      <a:pos x="connsiteX3" y="connsiteY3"/>
                    </a:cxn>
                  </a:cxnLst>
                  <a:rect l="l" t="t" r="r" b="b"/>
                  <a:pathLst>
                    <a:path w="457200" h="314325">
                      <a:moveTo>
                        <a:pt x="7144" y="7144"/>
                      </a:moveTo>
                      <a:lnTo>
                        <a:pt x="453447" y="7144"/>
                      </a:lnTo>
                      <a:lnTo>
                        <a:pt x="453447" y="311706"/>
                      </a:lnTo>
                      <a:lnTo>
                        <a:pt x="7144" y="311706"/>
                      </a:lnTo>
                      <a:close/>
                    </a:path>
                  </a:pathLst>
                </a:custGeom>
                <a:solidFill>
                  <a:srgbClr val="7685BB"/>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4" name="Freeform: Shape 143">
                  <a:extLst>
                    <a:ext uri="{FF2B5EF4-FFF2-40B4-BE49-F238E27FC236}">
                      <a16:creationId xmlns:a16="http://schemas.microsoft.com/office/drawing/2014/main" id="{FA462D71-2A3E-44EF-BCC8-21AB15C064ED}"/>
                    </a:ext>
                  </a:extLst>
                </p:cNvPr>
                <p:cNvSpPr/>
                <p:nvPr/>
              </p:nvSpPr>
              <p:spPr>
                <a:xfrm>
                  <a:off x="873809" y="4242391"/>
                  <a:ext cx="123825" cy="190500"/>
                </a:xfrm>
                <a:custGeom>
                  <a:avLst/>
                  <a:gdLst>
                    <a:gd name="connsiteX0" fmla="*/ 7144 w 123825"/>
                    <a:gd name="connsiteY0" fmla="*/ 7144 h 190500"/>
                    <a:gd name="connsiteX1" fmla="*/ 118720 w 123825"/>
                    <a:gd name="connsiteY1" fmla="*/ 7144 h 190500"/>
                    <a:gd name="connsiteX2" fmla="*/ 118720 w 123825"/>
                    <a:gd name="connsiteY2" fmla="*/ 189881 h 190500"/>
                    <a:gd name="connsiteX3" fmla="*/ 7144 w 123825"/>
                    <a:gd name="connsiteY3" fmla="*/ 189881 h 190500"/>
                  </a:gdLst>
                  <a:ahLst/>
                  <a:cxnLst>
                    <a:cxn ang="0">
                      <a:pos x="connsiteX0" y="connsiteY0"/>
                    </a:cxn>
                    <a:cxn ang="0">
                      <a:pos x="connsiteX1" y="connsiteY1"/>
                    </a:cxn>
                    <a:cxn ang="0">
                      <a:pos x="connsiteX2" y="connsiteY2"/>
                    </a:cxn>
                    <a:cxn ang="0">
                      <a:pos x="connsiteX3" y="connsiteY3"/>
                    </a:cxn>
                  </a:cxnLst>
                  <a:rect l="l" t="t" r="r" b="b"/>
                  <a:pathLst>
                    <a:path w="123825" h="190500">
                      <a:moveTo>
                        <a:pt x="7144" y="7144"/>
                      </a:moveTo>
                      <a:lnTo>
                        <a:pt x="118720" y="7144"/>
                      </a:lnTo>
                      <a:lnTo>
                        <a:pt x="118720" y="189881"/>
                      </a:lnTo>
                      <a:lnTo>
                        <a:pt x="7144" y="189881"/>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5" name="Freeform: Shape 144">
                  <a:extLst>
                    <a:ext uri="{FF2B5EF4-FFF2-40B4-BE49-F238E27FC236}">
                      <a16:creationId xmlns:a16="http://schemas.microsoft.com/office/drawing/2014/main" id="{79728B54-768E-4026-97F0-F0562D04843C}"/>
                    </a:ext>
                  </a:extLst>
                </p:cNvPr>
                <p:cNvSpPr/>
                <p:nvPr/>
              </p:nvSpPr>
              <p:spPr>
                <a:xfrm>
                  <a:off x="1003977" y="4348994"/>
                  <a:ext cx="104775" cy="85725"/>
                </a:xfrm>
                <a:custGeom>
                  <a:avLst/>
                  <a:gdLst>
                    <a:gd name="connsiteX0" fmla="*/ 7144 w 104775"/>
                    <a:gd name="connsiteY0" fmla="*/ 7144 h 85725"/>
                    <a:gd name="connsiteX1" fmla="*/ 100127 w 104775"/>
                    <a:gd name="connsiteY1" fmla="*/ 7144 h 85725"/>
                    <a:gd name="connsiteX2" fmla="*/ 100127 w 104775"/>
                    <a:gd name="connsiteY2" fmla="*/ 83287 h 85725"/>
                    <a:gd name="connsiteX3" fmla="*/ 7144 w 104775"/>
                    <a:gd name="connsiteY3" fmla="*/ 83287 h 85725"/>
                  </a:gdLst>
                  <a:ahLst/>
                  <a:cxnLst>
                    <a:cxn ang="0">
                      <a:pos x="connsiteX0" y="connsiteY0"/>
                    </a:cxn>
                    <a:cxn ang="0">
                      <a:pos x="connsiteX1" y="connsiteY1"/>
                    </a:cxn>
                    <a:cxn ang="0">
                      <a:pos x="connsiteX2" y="connsiteY2"/>
                    </a:cxn>
                    <a:cxn ang="0">
                      <a:pos x="connsiteX3" y="connsiteY3"/>
                    </a:cxn>
                  </a:cxnLst>
                  <a:rect l="l" t="t" r="r" b="b"/>
                  <a:pathLst>
                    <a:path w="104775" h="85725">
                      <a:moveTo>
                        <a:pt x="7144" y="7144"/>
                      </a:moveTo>
                      <a:lnTo>
                        <a:pt x="100127" y="7144"/>
                      </a:lnTo>
                      <a:lnTo>
                        <a:pt x="100127" y="83287"/>
                      </a:lnTo>
                      <a:lnTo>
                        <a:pt x="7144" y="83287"/>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6" name="Freeform: Shape 145">
                  <a:extLst>
                    <a:ext uri="{FF2B5EF4-FFF2-40B4-BE49-F238E27FC236}">
                      <a16:creationId xmlns:a16="http://schemas.microsoft.com/office/drawing/2014/main" id="{47D5962D-DEF9-4D93-BCB9-0B9FD6DC003F}"/>
                    </a:ext>
                  </a:extLst>
                </p:cNvPr>
                <p:cNvSpPr/>
                <p:nvPr/>
              </p:nvSpPr>
              <p:spPr>
                <a:xfrm>
                  <a:off x="1003977" y="4242391"/>
                  <a:ext cx="209550" cy="190500"/>
                </a:xfrm>
                <a:custGeom>
                  <a:avLst/>
                  <a:gdLst>
                    <a:gd name="connsiteX0" fmla="*/ 7144 w 209550"/>
                    <a:gd name="connsiteY0" fmla="*/ 7144 h 190500"/>
                    <a:gd name="connsiteX1" fmla="*/ 7144 w 209550"/>
                    <a:gd name="connsiteY1" fmla="*/ 98517 h 190500"/>
                    <a:gd name="connsiteX2" fmla="*/ 118720 w 209550"/>
                    <a:gd name="connsiteY2" fmla="*/ 98517 h 190500"/>
                    <a:gd name="connsiteX3" fmla="*/ 118720 w 209550"/>
                    <a:gd name="connsiteY3" fmla="*/ 189881 h 190500"/>
                    <a:gd name="connsiteX4" fmla="*/ 211703 w 209550"/>
                    <a:gd name="connsiteY4" fmla="*/ 189881 h 190500"/>
                    <a:gd name="connsiteX5" fmla="*/ 211703 w 209550"/>
                    <a:gd name="connsiteY5" fmla="*/ 7144 h 190500"/>
                    <a:gd name="connsiteX6" fmla="*/ 7144 w 209550"/>
                    <a:gd name="connsiteY6"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550" h="190500">
                      <a:moveTo>
                        <a:pt x="7144" y="7144"/>
                      </a:moveTo>
                      <a:lnTo>
                        <a:pt x="7144" y="98517"/>
                      </a:lnTo>
                      <a:lnTo>
                        <a:pt x="118720" y="98517"/>
                      </a:lnTo>
                      <a:lnTo>
                        <a:pt x="118720" y="189881"/>
                      </a:lnTo>
                      <a:lnTo>
                        <a:pt x="211703" y="189881"/>
                      </a:lnTo>
                      <a:lnTo>
                        <a:pt x="211703" y="7144"/>
                      </a:lnTo>
                      <a:lnTo>
                        <a:pt x="7144" y="7144"/>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7" name="Freeform: Shape 146">
                  <a:extLst>
                    <a:ext uri="{FF2B5EF4-FFF2-40B4-BE49-F238E27FC236}">
                      <a16:creationId xmlns:a16="http://schemas.microsoft.com/office/drawing/2014/main" id="{6CFC2A13-8B3C-4E1F-B068-70CDF12F0BAE}"/>
                    </a:ext>
                  </a:extLst>
                </p:cNvPr>
                <p:cNvSpPr/>
                <p:nvPr/>
              </p:nvSpPr>
              <p:spPr>
                <a:xfrm>
                  <a:off x="1231072" y="4220778"/>
                  <a:ext cx="238125" cy="238125"/>
                </a:xfrm>
                <a:custGeom>
                  <a:avLst/>
                  <a:gdLst>
                    <a:gd name="connsiteX0" fmla="*/ 233724 w 238125"/>
                    <a:gd name="connsiteY0" fmla="*/ 120129 h 238125"/>
                    <a:gd name="connsiteX1" fmla="*/ 120434 w 238125"/>
                    <a:gd name="connsiteY1" fmla="*/ 233115 h 238125"/>
                    <a:gd name="connsiteX2" fmla="*/ 7144 w 238125"/>
                    <a:gd name="connsiteY2" fmla="*/ 120129 h 238125"/>
                    <a:gd name="connsiteX3" fmla="*/ 120434 w 238125"/>
                    <a:gd name="connsiteY3" fmla="*/ 7144 h 238125"/>
                    <a:gd name="connsiteX4" fmla="*/ 233724 w 238125"/>
                    <a:gd name="connsiteY4" fmla="*/ 120129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5" h="238125">
                      <a:moveTo>
                        <a:pt x="233724" y="120129"/>
                      </a:moveTo>
                      <a:cubicBezTo>
                        <a:pt x="233724" y="182530"/>
                        <a:pt x="183003" y="233115"/>
                        <a:pt x="120434" y="233115"/>
                      </a:cubicBezTo>
                      <a:cubicBezTo>
                        <a:pt x="57866" y="233115"/>
                        <a:pt x="7144" y="182530"/>
                        <a:pt x="7144" y="120129"/>
                      </a:cubicBezTo>
                      <a:cubicBezTo>
                        <a:pt x="7144" y="57729"/>
                        <a:pt x="57866" y="7144"/>
                        <a:pt x="120434" y="7144"/>
                      </a:cubicBezTo>
                      <a:cubicBezTo>
                        <a:pt x="183003" y="7144"/>
                        <a:pt x="233724" y="57729"/>
                        <a:pt x="233724" y="120129"/>
                      </a:cubicBezTo>
                      <a:close/>
                    </a:path>
                  </a:pathLst>
                </a:custGeom>
                <a:solidFill>
                  <a:srgbClr val="D5D841"/>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8" name="Freeform: Shape 147">
                  <a:extLst>
                    <a:ext uri="{FF2B5EF4-FFF2-40B4-BE49-F238E27FC236}">
                      <a16:creationId xmlns:a16="http://schemas.microsoft.com/office/drawing/2014/main" id="{EEA8514B-AB6D-4607-ABEE-EDC3E6C4C08C}"/>
                    </a:ext>
                  </a:extLst>
                </p:cNvPr>
                <p:cNvSpPr/>
                <p:nvPr/>
              </p:nvSpPr>
              <p:spPr>
                <a:xfrm>
                  <a:off x="1272327" y="4271832"/>
                  <a:ext cx="57150" cy="123825"/>
                </a:xfrm>
                <a:custGeom>
                  <a:avLst/>
                  <a:gdLst>
                    <a:gd name="connsiteX0" fmla="*/ 30526 w 57150"/>
                    <a:gd name="connsiteY0" fmla="*/ 123977 h 123825"/>
                    <a:gd name="connsiteX1" fmla="*/ 26599 w 57150"/>
                    <a:gd name="connsiteY1" fmla="*/ 20812 h 123825"/>
                    <a:gd name="connsiteX2" fmla="*/ 43765 w 57150"/>
                    <a:gd name="connsiteY2" fmla="*/ 7144 h 123825"/>
                    <a:gd name="connsiteX3" fmla="*/ 52947 w 57150"/>
                    <a:gd name="connsiteY3" fmla="*/ 22955 h 123825"/>
                    <a:gd name="connsiteX4" fmla="*/ 25468 w 57150"/>
                    <a:gd name="connsiteY4" fmla="*/ 70447 h 123825"/>
                    <a:gd name="connsiteX5" fmla="*/ 43013 w 57150"/>
                    <a:gd name="connsiteY5" fmla="*/ 11059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123825">
                      <a:moveTo>
                        <a:pt x="30526" y="123977"/>
                      </a:moveTo>
                      <a:cubicBezTo>
                        <a:pt x="954" y="96574"/>
                        <a:pt x="-804" y="50387"/>
                        <a:pt x="26599" y="20812"/>
                      </a:cubicBezTo>
                      <a:cubicBezTo>
                        <a:pt x="31600" y="15421"/>
                        <a:pt x="37387" y="10811"/>
                        <a:pt x="43765" y="7144"/>
                      </a:cubicBezTo>
                      <a:lnTo>
                        <a:pt x="52947" y="22955"/>
                      </a:lnTo>
                      <a:cubicBezTo>
                        <a:pt x="35983" y="32766"/>
                        <a:pt x="25516" y="50854"/>
                        <a:pt x="25468" y="70447"/>
                      </a:cubicBezTo>
                      <a:cubicBezTo>
                        <a:pt x="25406" y="85706"/>
                        <a:pt x="31775" y="100279"/>
                        <a:pt x="43013" y="110595"/>
                      </a:cubicBez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9" name="Freeform: Shape 148">
                  <a:extLst>
                    <a:ext uri="{FF2B5EF4-FFF2-40B4-BE49-F238E27FC236}">
                      <a16:creationId xmlns:a16="http://schemas.microsoft.com/office/drawing/2014/main" id="{8B4E97EF-006D-492F-A42F-7948D0A00CD6}"/>
                    </a:ext>
                  </a:extLst>
                </p:cNvPr>
                <p:cNvSpPr/>
                <p:nvPr/>
              </p:nvSpPr>
              <p:spPr>
                <a:xfrm>
                  <a:off x="1277688" y="4263184"/>
                  <a:ext cx="76200" cy="66675"/>
                </a:xfrm>
                <a:custGeom>
                  <a:avLst/>
                  <a:gdLst>
                    <a:gd name="connsiteX0" fmla="*/ 77219 w 76200"/>
                    <a:gd name="connsiteY0" fmla="*/ 7144 h 66675"/>
                    <a:gd name="connsiteX1" fmla="*/ 60731 w 76200"/>
                    <a:gd name="connsiteY1" fmla="*/ 38005 h 66675"/>
                    <a:gd name="connsiteX2" fmla="*/ 44234 w 76200"/>
                    <a:gd name="connsiteY2" fmla="*/ 68866 h 66675"/>
                    <a:gd name="connsiteX3" fmla="*/ 25689 w 76200"/>
                    <a:gd name="connsiteY3" fmla="*/ 39195 h 66675"/>
                    <a:gd name="connsiteX4" fmla="*/ 7144 w 76200"/>
                    <a:gd name="connsiteY4" fmla="*/ 9516 h 66675"/>
                    <a:gd name="connsiteX5" fmla="*/ 42177 w 76200"/>
                    <a:gd name="connsiteY5" fmla="*/ 8334 h 66675"/>
                    <a:gd name="connsiteX6" fmla="*/ 77219 w 76200"/>
                    <a:gd name="connsiteY6"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66675">
                      <a:moveTo>
                        <a:pt x="77219" y="7144"/>
                      </a:moveTo>
                      <a:lnTo>
                        <a:pt x="60731" y="38005"/>
                      </a:lnTo>
                      <a:lnTo>
                        <a:pt x="44234" y="68866"/>
                      </a:lnTo>
                      <a:lnTo>
                        <a:pt x="25689" y="39195"/>
                      </a:lnTo>
                      <a:lnTo>
                        <a:pt x="7144" y="9516"/>
                      </a:lnTo>
                      <a:lnTo>
                        <a:pt x="42177" y="8334"/>
                      </a:lnTo>
                      <a:lnTo>
                        <a:pt x="77219" y="7144"/>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0" name="Freeform: Shape 149">
                  <a:extLst>
                    <a:ext uri="{FF2B5EF4-FFF2-40B4-BE49-F238E27FC236}">
                      <a16:creationId xmlns:a16="http://schemas.microsoft.com/office/drawing/2014/main" id="{A1F1A636-D376-43F2-B936-49E0291A31F1}"/>
                    </a:ext>
                  </a:extLst>
                </p:cNvPr>
                <p:cNvSpPr/>
                <p:nvPr/>
              </p:nvSpPr>
              <p:spPr>
                <a:xfrm>
                  <a:off x="1370595" y="4278824"/>
                  <a:ext cx="57150" cy="123825"/>
                </a:xfrm>
                <a:custGeom>
                  <a:avLst/>
                  <a:gdLst>
                    <a:gd name="connsiteX0" fmla="*/ 16326 w 57150"/>
                    <a:gd name="connsiteY0" fmla="*/ 124016 h 123825"/>
                    <a:gd name="connsiteX1" fmla="*/ 7144 w 57150"/>
                    <a:gd name="connsiteY1" fmla="*/ 108204 h 123825"/>
                    <a:gd name="connsiteX2" fmla="*/ 27337 w 57150"/>
                    <a:gd name="connsiteY2" fmla="*/ 33452 h 123825"/>
                    <a:gd name="connsiteX3" fmla="*/ 17078 w 57150"/>
                    <a:gd name="connsiteY3" fmla="*/ 20574 h 123825"/>
                    <a:gd name="connsiteX4" fmla="*/ 29527 w 57150"/>
                    <a:gd name="connsiteY4" fmla="*/ 7144 h 123825"/>
                    <a:gd name="connsiteX5" fmla="*/ 33483 w 57150"/>
                    <a:gd name="connsiteY5" fmla="*/ 110290 h 123825"/>
                    <a:gd name="connsiteX6" fmla="*/ 16288 w 57150"/>
                    <a:gd name="connsiteY6" fmla="*/ 123987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123825">
                      <a:moveTo>
                        <a:pt x="16326" y="124016"/>
                      </a:moveTo>
                      <a:lnTo>
                        <a:pt x="7144" y="108204"/>
                      </a:lnTo>
                      <a:cubicBezTo>
                        <a:pt x="33361" y="93135"/>
                        <a:pt x="42401" y="59674"/>
                        <a:pt x="27337" y="33452"/>
                      </a:cubicBezTo>
                      <a:cubicBezTo>
                        <a:pt x="24586" y="28670"/>
                        <a:pt x="21127" y="24327"/>
                        <a:pt x="17078" y="20574"/>
                      </a:cubicBezTo>
                      <a:lnTo>
                        <a:pt x="29527" y="7144"/>
                      </a:lnTo>
                      <a:cubicBezTo>
                        <a:pt x="59104" y="34538"/>
                        <a:pt x="60874" y="80715"/>
                        <a:pt x="33483" y="110290"/>
                      </a:cubicBezTo>
                      <a:cubicBezTo>
                        <a:pt x="28476" y="115700"/>
                        <a:pt x="22678" y="120320"/>
                        <a:pt x="16288" y="123987"/>
                      </a:cubicBez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1" name="Freeform: Shape 150">
                  <a:extLst>
                    <a:ext uri="{FF2B5EF4-FFF2-40B4-BE49-F238E27FC236}">
                      <a16:creationId xmlns:a16="http://schemas.microsoft.com/office/drawing/2014/main" id="{D1166570-B827-46CC-BA08-D6A9824A4356}"/>
                    </a:ext>
                  </a:extLst>
                </p:cNvPr>
                <p:cNvSpPr/>
                <p:nvPr/>
              </p:nvSpPr>
              <p:spPr>
                <a:xfrm>
                  <a:off x="1340972" y="4342622"/>
                  <a:ext cx="76200" cy="66675"/>
                </a:xfrm>
                <a:custGeom>
                  <a:avLst/>
                  <a:gdLst>
                    <a:gd name="connsiteX0" fmla="*/ 7144 w 76200"/>
                    <a:gd name="connsiteY0" fmla="*/ 68856 h 66675"/>
                    <a:gd name="connsiteX1" fmla="*/ 23632 w 76200"/>
                    <a:gd name="connsiteY1" fmla="*/ 38005 h 66675"/>
                    <a:gd name="connsiteX2" fmla="*/ 40119 w 76200"/>
                    <a:gd name="connsiteY2" fmla="*/ 7144 h 66675"/>
                    <a:gd name="connsiteX3" fmla="*/ 58674 w 76200"/>
                    <a:gd name="connsiteY3" fmla="*/ 36814 h 66675"/>
                    <a:gd name="connsiteX4" fmla="*/ 77219 w 76200"/>
                    <a:gd name="connsiteY4" fmla="*/ 66484 h 66675"/>
                    <a:gd name="connsiteX5" fmla="*/ 42177 w 76200"/>
                    <a:gd name="connsiteY5" fmla="*/ 67675 h 66675"/>
                    <a:gd name="connsiteX6" fmla="*/ 7144 w 76200"/>
                    <a:gd name="connsiteY6" fmla="*/ 68856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66675">
                      <a:moveTo>
                        <a:pt x="7144" y="68856"/>
                      </a:moveTo>
                      <a:lnTo>
                        <a:pt x="23632" y="38005"/>
                      </a:lnTo>
                      <a:lnTo>
                        <a:pt x="40119" y="7144"/>
                      </a:lnTo>
                      <a:lnTo>
                        <a:pt x="58674" y="36814"/>
                      </a:lnTo>
                      <a:lnTo>
                        <a:pt x="77219" y="66484"/>
                      </a:lnTo>
                      <a:lnTo>
                        <a:pt x="42177" y="67675"/>
                      </a:lnTo>
                      <a:lnTo>
                        <a:pt x="7144" y="68856"/>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grpSp>
        <p:nvGrpSpPr>
          <p:cNvPr id="217" name="Group 216">
            <a:extLst>
              <a:ext uri="{FF2B5EF4-FFF2-40B4-BE49-F238E27FC236}">
                <a16:creationId xmlns:a16="http://schemas.microsoft.com/office/drawing/2014/main" id="{1AFBAF36-7E6B-46ED-B8F7-D94FD1938135}"/>
              </a:ext>
            </a:extLst>
          </p:cNvPr>
          <p:cNvGrpSpPr/>
          <p:nvPr/>
        </p:nvGrpSpPr>
        <p:grpSpPr>
          <a:xfrm>
            <a:off x="10061301" y="2210295"/>
            <a:ext cx="2132877" cy="3341383"/>
            <a:chOff x="10061863" y="2210121"/>
            <a:chExt cx="2133180" cy="3341857"/>
          </a:xfrm>
        </p:grpSpPr>
        <p:sp>
          <p:nvSpPr>
            <p:cNvPr id="22" name="Freeform: Shape 21">
              <a:extLst>
                <a:ext uri="{FF2B5EF4-FFF2-40B4-BE49-F238E27FC236}">
                  <a16:creationId xmlns:a16="http://schemas.microsoft.com/office/drawing/2014/main" id="{4DD08719-89F4-4D24-9D8E-21947D517BE3}"/>
                </a:ext>
              </a:extLst>
            </p:cNvPr>
            <p:cNvSpPr/>
            <p:nvPr/>
          </p:nvSpPr>
          <p:spPr>
            <a:xfrm>
              <a:off x="11385337" y="3549079"/>
              <a:ext cx="295275" cy="95250"/>
            </a:xfrm>
            <a:custGeom>
              <a:avLst/>
              <a:gdLst>
                <a:gd name="connsiteX0" fmla="*/ 7144 w 295275"/>
                <a:gd name="connsiteY0" fmla="*/ 91916 h 95250"/>
                <a:gd name="connsiteX1" fmla="*/ 292894 w 295275"/>
                <a:gd name="connsiteY1" fmla="*/ 91916 h 95250"/>
                <a:gd name="connsiteX2" fmla="*/ 205264 w 295275"/>
                <a:gd name="connsiteY2" fmla="*/ 7144 h 95250"/>
                <a:gd name="connsiteX3" fmla="*/ 80486 w 295275"/>
                <a:gd name="connsiteY3" fmla="*/ 7144 h 95250"/>
              </a:gdLst>
              <a:ahLst/>
              <a:cxnLst>
                <a:cxn ang="0">
                  <a:pos x="connsiteX0" y="connsiteY0"/>
                </a:cxn>
                <a:cxn ang="0">
                  <a:pos x="connsiteX1" y="connsiteY1"/>
                </a:cxn>
                <a:cxn ang="0">
                  <a:pos x="connsiteX2" y="connsiteY2"/>
                </a:cxn>
                <a:cxn ang="0">
                  <a:pos x="connsiteX3" y="connsiteY3"/>
                </a:cxn>
              </a:cxnLst>
              <a:rect l="l" t="t" r="r" b="b"/>
              <a:pathLst>
                <a:path w="295275" h="95250">
                  <a:moveTo>
                    <a:pt x="7144" y="91916"/>
                  </a:moveTo>
                  <a:lnTo>
                    <a:pt x="292894" y="91916"/>
                  </a:lnTo>
                  <a:lnTo>
                    <a:pt x="205264" y="7144"/>
                  </a:lnTo>
                  <a:lnTo>
                    <a:pt x="80486" y="7144"/>
                  </a:lnTo>
                  <a:close/>
                </a:path>
              </a:pathLst>
            </a:custGeom>
            <a:solidFill>
              <a:schemeClr val="bg1">
                <a:lumMod val="75000"/>
                <a:alpha val="28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 name="Freeform: Shape 22">
              <a:extLst>
                <a:ext uri="{FF2B5EF4-FFF2-40B4-BE49-F238E27FC236}">
                  <a16:creationId xmlns:a16="http://schemas.microsoft.com/office/drawing/2014/main" id="{778A2542-E575-4AB1-B3AC-80344667E46E}"/>
                </a:ext>
              </a:extLst>
            </p:cNvPr>
            <p:cNvSpPr/>
            <p:nvPr/>
          </p:nvSpPr>
          <p:spPr>
            <a:xfrm>
              <a:off x="11363429" y="3419539"/>
              <a:ext cx="219075" cy="228600"/>
            </a:xfrm>
            <a:custGeom>
              <a:avLst/>
              <a:gdLst>
                <a:gd name="connsiteX0" fmla="*/ 29051 w 219075"/>
                <a:gd name="connsiteY0" fmla="*/ 221456 h 228600"/>
                <a:gd name="connsiteX1" fmla="*/ 7144 w 219075"/>
                <a:gd name="connsiteY1" fmla="*/ 136684 h 228600"/>
                <a:gd name="connsiteX2" fmla="*/ 128111 w 219075"/>
                <a:gd name="connsiteY2" fmla="*/ 7144 h 228600"/>
                <a:gd name="connsiteX3" fmla="*/ 212884 w 219075"/>
                <a:gd name="connsiteY3" fmla="*/ 7144 h 228600"/>
              </a:gdLst>
              <a:ahLst/>
              <a:cxnLst>
                <a:cxn ang="0">
                  <a:pos x="connsiteX0" y="connsiteY0"/>
                </a:cxn>
                <a:cxn ang="0">
                  <a:pos x="connsiteX1" y="connsiteY1"/>
                </a:cxn>
                <a:cxn ang="0">
                  <a:pos x="connsiteX2" y="connsiteY2"/>
                </a:cxn>
                <a:cxn ang="0">
                  <a:pos x="connsiteX3" y="connsiteY3"/>
                </a:cxn>
              </a:cxnLst>
              <a:rect l="l" t="t" r="r" b="b"/>
              <a:pathLst>
                <a:path w="219075" h="228600">
                  <a:moveTo>
                    <a:pt x="29051" y="221456"/>
                  </a:moveTo>
                  <a:lnTo>
                    <a:pt x="7144" y="136684"/>
                  </a:lnTo>
                  <a:lnTo>
                    <a:pt x="128111" y="7144"/>
                  </a:lnTo>
                  <a:lnTo>
                    <a:pt x="212884" y="7144"/>
                  </a:lnTo>
                  <a:close/>
                </a:path>
              </a:pathLst>
            </a:custGeom>
            <a:solidFill>
              <a:schemeClr val="bg1">
                <a:lumMod val="85000"/>
                <a:alpha val="21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 name="Freeform: Shape 23">
              <a:extLst>
                <a:ext uri="{FF2B5EF4-FFF2-40B4-BE49-F238E27FC236}">
                  <a16:creationId xmlns:a16="http://schemas.microsoft.com/office/drawing/2014/main" id="{65C929AE-2C19-4846-A141-4D57764E4FA4}"/>
                </a:ext>
              </a:extLst>
            </p:cNvPr>
            <p:cNvSpPr/>
            <p:nvPr/>
          </p:nvSpPr>
          <p:spPr>
            <a:xfrm>
              <a:off x="11483444" y="3287141"/>
              <a:ext cx="95250" cy="142875"/>
            </a:xfrm>
            <a:custGeom>
              <a:avLst/>
              <a:gdLst>
                <a:gd name="connsiteX0" fmla="*/ 7144 w 95250"/>
                <a:gd name="connsiteY0" fmla="*/ 7144 h 142875"/>
                <a:gd name="connsiteX1" fmla="*/ 92869 w 95250"/>
                <a:gd name="connsiteY1" fmla="*/ 7144 h 142875"/>
                <a:gd name="connsiteX2" fmla="*/ 92869 w 95250"/>
                <a:gd name="connsiteY2" fmla="*/ 139541 h 142875"/>
                <a:gd name="connsiteX3" fmla="*/ 8096 w 95250"/>
                <a:gd name="connsiteY3" fmla="*/ 139541 h 142875"/>
              </a:gdLst>
              <a:ahLst/>
              <a:cxnLst>
                <a:cxn ang="0">
                  <a:pos x="connsiteX0" y="connsiteY0"/>
                </a:cxn>
                <a:cxn ang="0">
                  <a:pos x="connsiteX1" y="connsiteY1"/>
                </a:cxn>
                <a:cxn ang="0">
                  <a:pos x="connsiteX2" y="connsiteY2"/>
                </a:cxn>
                <a:cxn ang="0">
                  <a:pos x="connsiteX3" y="connsiteY3"/>
                </a:cxn>
              </a:cxnLst>
              <a:rect l="l" t="t" r="r" b="b"/>
              <a:pathLst>
                <a:path w="95250" h="142875">
                  <a:moveTo>
                    <a:pt x="7144" y="7144"/>
                  </a:moveTo>
                  <a:lnTo>
                    <a:pt x="92869" y="7144"/>
                  </a:lnTo>
                  <a:lnTo>
                    <a:pt x="92869" y="139541"/>
                  </a:lnTo>
                  <a:lnTo>
                    <a:pt x="8096" y="139541"/>
                  </a:lnTo>
                  <a:close/>
                </a:path>
              </a:pathLst>
            </a:custGeom>
            <a:solidFill>
              <a:schemeClr val="bg1">
                <a:lumMod val="95000"/>
                <a:alpha val="74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 name="Freeform: Shape 24">
              <a:extLst>
                <a:ext uri="{FF2B5EF4-FFF2-40B4-BE49-F238E27FC236}">
                  <a16:creationId xmlns:a16="http://schemas.microsoft.com/office/drawing/2014/main" id="{3212D0D7-A74B-490F-B690-1C10AA6A433D}"/>
                </a:ext>
              </a:extLst>
            </p:cNvPr>
            <p:cNvSpPr/>
            <p:nvPr/>
          </p:nvSpPr>
          <p:spPr>
            <a:xfrm>
              <a:off x="11537737" y="3441446"/>
              <a:ext cx="161925" cy="200025"/>
            </a:xfrm>
            <a:custGeom>
              <a:avLst/>
              <a:gdLst>
                <a:gd name="connsiteX0" fmla="*/ 7144 w 161925"/>
                <a:gd name="connsiteY0" fmla="*/ 70009 h 200025"/>
                <a:gd name="connsiteX1" fmla="*/ 61436 w 161925"/>
                <a:gd name="connsiteY1" fmla="*/ 7144 h 200025"/>
                <a:gd name="connsiteX2" fmla="*/ 159544 w 161925"/>
                <a:gd name="connsiteY2" fmla="*/ 116681 h 200025"/>
                <a:gd name="connsiteX3" fmla="*/ 140494 w 161925"/>
                <a:gd name="connsiteY3" fmla="*/ 199549 h 200025"/>
              </a:gdLst>
              <a:ahLst/>
              <a:cxnLst>
                <a:cxn ang="0">
                  <a:pos x="connsiteX0" y="connsiteY0"/>
                </a:cxn>
                <a:cxn ang="0">
                  <a:pos x="connsiteX1" y="connsiteY1"/>
                </a:cxn>
                <a:cxn ang="0">
                  <a:pos x="connsiteX2" y="connsiteY2"/>
                </a:cxn>
                <a:cxn ang="0">
                  <a:pos x="connsiteX3" y="connsiteY3"/>
                </a:cxn>
              </a:cxnLst>
              <a:rect l="l" t="t" r="r" b="b"/>
              <a:pathLst>
                <a:path w="161925" h="200025">
                  <a:moveTo>
                    <a:pt x="7144" y="70009"/>
                  </a:moveTo>
                  <a:lnTo>
                    <a:pt x="61436" y="7144"/>
                  </a:lnTo>
                  <a:lnTo>
                    <a:pt x="159544" y="116681"/>
                  </a:lnTo>
                  <a:lnTo>
                    <a:pt x="140494" y="199549"/>
                  </a:lnTo>
                  <a:close/>
                </a:path>
              </a:pathLst>
            </a:custGeom>
            <a:solidFill>
              <a:schemeClr val="bg1">
                <a:lumMod val="85000"/>
                <a:alpha val="18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 name="Freeform: Shape 26">
              <a:extLst>
                <a:ext uri="{FF2B5EF4-FFF2-40B4-BE49-F238E27FC236}">
                  <a16:creationId xmlns:a16="http://schemas.microsoft.com/office/drawing/2014/main" id="{85217603-27DE-4781-9D6C-FD0A318635E5}"/>
                </a:ext>
              </a:extLst>
            </p:cNvPr>
            <p:cNvSpPr/>
            <p:nvPr/>
          </p:nvSpPr>
          <p:spPr>
            <a:xfrm>
              <a:off x="11055303" y="4542350"/>
              <a:ext cx="415171" cy="133926"/>
            </a:xfrm>
            <a:custGeom>
              <a:avLst/>
              <a:gdLst>
                <a:gd name="connsiteX0" fmla="*/ 10044 w 415171"/>
                <a:gd name="connsiteY0" fmla="*/ 129239 h 133926"/>
                <a:gd name="connsiteX1" fmla="*/ 411823 w 415171"/>
                <a:gd name="connsiteY1" fmla="*/ 129239 h 133926"/>
                <a:gd name="connsiteX2" fmla="*/ 288611 w 415171"/>
                <a:gd name="connsiteY2" fmla="*/ 10044 h 133926"/>
                <a:gd name="connsiteX3" fmla="*/ 113168 w 415171"/>
                <a:gd name="connsiteY3" fmla="*/ 10044 h 133926"/>
              </a:gdLst>
              <a:ahLst/>
              <a:cxnLst>
                <a:cxn ang="0">
                  <a:pos x="connsiteX0" y="connsiteY0"/>
                </a:cxn>
                <a:cxn ang="0">
                  <a:pos x="connsiteX1" y="connsiteY1"/>
                </a:cxn>
                <a:cxn ang="0">
                  <a:pos x="connsiteX2" y="connsiteY2"/>
                </a:cxn>
                <a:cxn ang="0">
                  <a:pos x="connsiteX3" y="connsiteY3"/>
                </a:cxn>
              </a:cxnLst>
              <a:rect l="l" t="t" r="r" b="b"/>
              <a:pathLst>
                <a:path w="415171" h="133926">
                  <a:moveTo>
                    <a:pt x="10044" y="129239"/>
                  </a:moveTo>
                  <a:lnTo>
                    <a:pt x="411823" y="129239"/>
                  </a:lnTo>
                  <a:lnTo>
                    <a:pt x="288611" y="10044"/>
                  </a:lnTo>
                  <a:lnTo>
                    <a:pt x="113168" y="10044"/>
                  </a:lnTo>
                  <a:close/>
                </a:path>
              </a:pathLst>
            </a:custGeom>
            <a:solidFill>
              <a:schemeClr val="bg1">
                <a:lumMod val="75000"/>
                <a:alpha val="28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 name="Freeform: Shape 27">
              <a:extLst>
                <a:ext uri="{FF2B5EF4-FFF2-40B4-BE49-F238E27FC236}">
                  <a16:creationId xmlns:a16="http://schemas.microsoft.com/office/drawing/2014/main" id="{3302EADB-1F34-4295-9541-F24081D3DA26}"/>
                </a:ext>
              </a:extLst>
            </p:cNvPr>
            <p:cNvSpPr/>
            <p:nvPr/>
          </p:nvSpPr>
          <p:spPr>
            <a:xfrm>
              <a:off x="11024500" y="4360211"/>
              <a:ext cx="308030" cy="321423"/>
            </a:xfrm>
            <a:custGeom>
              <a:avLst/>
              <a:gdLst>
                <a:gd name="connsiteX0" fmla="*/ 40847 w 308030"/>
                <a:gd name="connsiteY0" fmla="*/ 311378 h 321422"/>
                <a:gd name="connsiteX1" fmla="*/ 10044 w 308030"/>
                <a:gd name="connsiteY1" fmla="*/ 192184 h 321422"/>
                <a:gd name="connsiteX2" fmla="*/ 180131 w 308030"/>
                <a:gd name="connsiteY2" fmla="*/ 10044 h 321422"/>
                <a:gd name="connsiteX3" fmla="*/ 299325 w 308030"/>
                <a:gd name="connsiteY3" fmla="*/ 10044 h 321422"/>
              </a:gdLst>
              <a:ahLst/>
              <a:cxnLst>
                <a:cxn ang="0">
                  <a:pos x="connsiteX0" y="connsiteY0"/>
                </a:cxn>
                <a:cxn ang="0">
                  <a:pos x="connsiteX1" y="connsiteY1"/>
                </a:cxn>
                <a:cxn ang="0">
                  <a:pos x="connsiteX2" y="connsiteY2"/>
                </a:cxn>
                <a:cxn ang="0">
                  <a:pos x="connsiteX3" y="connsiteY3"/>
                </a:cxn>
              </a:cxnLst>
              <a:rect l="l" t="t" r="r" b="b"/>
              <a:pathLst>
                <a:path w="308030" h="321422">
                  <a:moveTo>
                    <a:pt x="40847" y="311378"/>
                  </a:moveTo>
                  <a:lnTo>
                    <a:pt x="10044" y="192184"/>
                  </a:lnTo>
                  <a:lnTo>
                    <a:pt x="180131" y="10044"/>
                  </a:lnTo>
                  <a:lnTo>
                    <a:pt x="299325" y="10044"/>
                  </a:lnTo>
                  <a:close/>
                </a:path>
              </a:pathLst>
            </a:custGeom>
            <a:solidFill>
              <a:schemeClr val="bg1">
                <a:lumMod val="85000"/>
                <a:alpha val="21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 name="Freeform: Shape 28">
              <a:extLst>
                <a:ext uri="{FF2B5EF4-FFF2-40B4-BE49-F238E27FC236}">
                  <a16:creationId xmlns:a16="http://schemas.microsoft.com/office/drawing/2014/main" id="{020C05DB-4CB8-4C96-ADA4-00C7AD539FB1}"/>
                </a:ext>
              </a:extLst>
            </p:cNvPr>
            <p:cNvSpPr/>
            <p:nvPr/>
          </p:nvSpPr>
          <p:spPr>
            <a:xfrm>
              <a:off x="11193247" y="4174054"/>
              <a:ext cx="133926" cy="200889"/>
            </a:xfrm>
            <a:custGeom>
              <a:avLst/>
              <a:gdLst>
                <a:gd name="connsiteX0" fmla="*/ 10044 w 133926"/>
                <a:gd name="connsiteY0" fmla="*/ 10044 h 200889"/>
                <a:gd name="connsiteX1" fmla="*/ 130578 w 133926"/>
                <a:gd name="connsiteY1" fmla="*/ 10044 h 200889"/>
                <a:gd name="connsiteX2" fmla="*/ 130578 w 133926"/>
                <a:gd name="connsiteY2" fmla="*/ 196202 h 200889"/>
                <a:gd name="connsiteX3" fmla="*/ 11384 w 133926"/>
                <a:gd name="connsiteY3" fmla="*/ 196202 h 200889"/>
              </a:gdLst>
              <a:ahLst/>
              <a:cxnLst>
                <a:cxn ang="0">
                  <a:pos x="connsiteX0" y="connsiteY0"/>
                </a:cxn>
                <a:cxn ang="0">
                  <a:pos x="connsiteX1" y="connsiteY1"/>
                </a:cxn>
                <a:cxn ang="0">
                  <a:pos x="connsiteX2" y="connsiteY2"/>
                </a:cxn>
                <a:cxn ang="0">
                  <a:pos x="connsiteX3" y="connsiteY3"/>
                </a:cxn>
              </a:cxnLst>
              <a:rect l="l" t="t" r="r" b="b"/>
              <a:pathLst>
                <a:path w="133926" h="200889">
                  <a:moveTo>
                    <a:pt x="10044" y="10044"/>
                  </a:moveTo>
                  <a:lnTo>
                    <a:pt x="130578" y="10044"/>
                  </a:lnTo>
                  <a:lnTo>
                    <a:pt x="130578" y="196202"/>
                  </a:lnTo>
                  <a:lnTo>
                    <a:pt x="11384" y="196202"/>
                  </a:lnTo>
                  <a:close/>
                </a:path>
              </a:pathLst>
            </a:custGeom>
            <a:solidFill>
              <a:schemeClr val="bg1">
                <a:lumMod val="95000"/>
                <a:alpha val="74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 name="Freeform: Shape 29">
              <a:extLst>
                <a:ext uri="{FF2B5EF4-FFF2-40B4-BE49-F238E27FC236}">
                  <a16:creationId xmlns:a16="http://schemas.microsoft.com/office/drawing/2014/main" id="{3F27D918-5CDC-43F5-B438-69BCBD5203BF}"/>
                </a:ext>
              </a:extLst>
            </p:cNvPr>
            <p:cNvSpPr/>
            <p:nvPr/>
          </p:nvSpPr>
          <p:spPr>
            <a:xfrm>
              <a:off x="11269584" y="4391014"/>
              <a:ext cx="227675" cy="281245"/>
            </a:xfrm>
            <a:custGeom>
              <a:avLst/>
              <a:gdLst>
                <a:gd name="connsiteX0" fmla="*/ 10044 w 227674"/>
                <a:gd name="connsiteY0" fmla="*/ 98436 h 281244"/>
                <a:gd name="connsiteX1" fmla="*/ 86382 w 227674"/>
                <a:gd name="connsiteY1" fmla="*/ 10044 h 281244"/>
                <a:gd name="connsiteX2" fmla="*/ 224326 w 227674"/>
                <a:gd name="connsiteY2" fmla="*/ 164059 h 281244"/>
                <a:gd name="connsiteX3" fmla="*/ 197541 w 227674"/>
                <a:gd name="connsiteY3" fmla="*/ 280575 h 281244"/>
              </a:gdLst>
              <a:ahLst/>
              <a:cxnLst>
                <a:cxn ang="0">
                  <a:pos x="connsiteX0" y="connsiteY0"/>
                </a:cxn>
                <a:cxn ang="0">
                  <a:pos x="connsiteX1" y="connsiteY1"/>
                </a:cxn>
                <a:cxn ang="0">
                  <a:pos x="connsiteX2" y="connsiteY2"/>
                </a:cxn>
                <a:cxn ang="0">
                  <a:pos x="connsiteX3" y="connsiteY3"/>
                </a:cxn>
              </a:cxnLst>
              <a:rect l="l" t="t" r="r" b="b"/>
              <a:pathLst>
                <a:path w="227674" h="281244">
                  <a:moveTo>
                    <a:pt x="10044" y="98436"/>
                  </a:moveTo>
                  <a:lnTo>
                    <a:pt x="86382" y="10044"/>
                  </a:lnTo>
                  <a:lnTo>
                    <a:pt x="224326" y="164059"/>
                  </a:lnTo>
                  <a:lnTo>
                    <a:pt x="197541" y="280575"/>
                  </a:lnTo>
                  <a:close/>
                </a:path>
              </a:pathLst>
            </a:custGeom>
            <a:solidFill>
              <a:schemeClr val="bg1">
                <a:lumMod val="85000"/>
                <a:alpha val="18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 name="Freeform: Shape 32">
              <a:extLst>
                <a:ext uri="{FF2B5EF4-FFF2-40B4-BE49-F238E27FC236}">
                  <a16:creationId xmlns:a16="http://schemas.microsoft.com/office/drawing/2014/main" id="{AD4B44CC-03AB-4FDE-B726-CD976D1322CD}"/>
                </a:ext>
              </a:extLst>
            </p:cNvPr>
            <p:cNvSpPr/>
            <p:nvPr/>
          </p:nvSpPr>
          <p:spPr>
            <a:xfrm>
              <a:off x="10128571" y="3721189"/>
              <a:ext cx="899104" cy="290033"/>
            </a:xfrm>
            <a:custGeom>
              <a:avLst/>
              <a:gdLst>
                <a:gd name="connsiteX0" fmla="*/ 21753 w 899103"/>
                <a:gd name="connsiteY0" fmla="*/ 279882 h 290033"/>
                <a:gd name="connsiteX1" fmla="*/ 891853 w 899103"/>
                <a:gd name="connsiteY1" fmla="*/ 279882 h 290033"/>
                <a:gd name="connsiteX2" fmla="*/ 625022 w 899103"/>
                <a:gd name="connsiteY2" fmla="*/ 21753 h 290033"/>
                <a:gd name="connsiteX3" fmla="*/ 245078 w 899103"/>
                <a:gd name="connsiteY3" fmla="*/ 21753 h 290033"/>
              </a:gdLst>
              <a:ahLst/>
              <a:cxnLst>
                <a:cxn ang="0">
                  <a:pos x="connsiteX0" y="connsiteY0"/>
                </a:cxn>
                <a:cxn ang="0">
                  <a:pos x="connsiteX1" y="connsiteY1"/>
                </a:cxn>
                <a:cxn ang="0">
                  <a:pos x="connsiteX2" y="connsiteY2"/>
                </a:cxn>
                <a:cxn ang="0">
                  <a:pos x="connsiteX3" y="connsiteY3"/>
                </a:cxn>
              </a:cxnLst>
              <a:rect l="l" t="t" r="r" b="b"/>
              <a:pathLst>
                <a:path w="899103" h="290033">
                  <a:moveTo>
                    <a:pt x="21753" y="279882"/>
                  </a:moveTo>
                  <a:lnTo>
                    <a:pt x="891853" y="279882"/>
                  </a:lnTo>
                  <a:lnTo>
                    <a:pt x="625022" y="21753"/>
                  </a:lnTo>
                  <a:lnTo>
                    <a:pt x="245078" y="21753"/>
                  </a:lnTo>
                  <a:close/>
                </a:path>
              </a:pathLst>
            </a:custGeom>
            <a:solidFill>
              <a:schemeClr val="bg1">
                <a:lumMod val="75000"/>
                <a:alpha val="28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 name="Freeform: Shape 33">
              <a:extLst>
                <a:ext uri="{FF2B5EF4-FFF2-40B4-BE49-F238E27FC236}">
                  <a16:creationId xmlns:a16="http://schemas.microsoft.com/office/drawing/2014/main" id="{975B0DD9-CB1F-4460-8FDB-BF182D868BF0}"/>
                </a:ext>
              </a:extLst>
            </p:cNvPr>
            <p:cNvSpPr/>
            <p:nvPr/>
          </p:nvSpPr>
          <p:spPr>
            <a:xfrm>
              <a:off x="10061863" y="3326744"/>
              <a:ext cx="667077" cy="696080"/>
            </a:xfrm>
            <a:custGeom>
              <a:avLst/>
              <a:gdLst>
                <a:gd name="connsiteX0" fmla="*/ 88460 w 667077"/>
                <a:gd name="connsiteY0" fmla="*/ 674328 h 696080"/>
                <a:gd name="connsiteX1" fmla="*/ 21753 w 667077"/>
                <a:gd name="connsiteY1" fmla="*/ 416198 h 696080"/>
                <a:gd name="connsiteX2" fmla="*/ 390095 w 667077"/>
                <a:gd name="connsiteY2" fmla="*/ 21753 h 696080"/>
                <a:gd name="connsiteX3" fmla="*/ 648225 w 667077"/>
                <a:gd name="connsiteY3" fmla="*/ 21753 h 696080"/>
              </a:gdLst>
              <a:ahLst/>
              <a:cxnLst>
                <a:cxn ang="0">
                  <a:pos x="connsiteX0" y="connsiteY0"/>
                </a:cxn>
                <a:cxn ang="0">
                  <a:pos x="connsiteX1" y="connsiteY1"/>
                </a:cxn>
                <a:cxn ang="0">
                  <a:pos x="connsiteX2" y="connsiteY2"/>
                </a:cxn>
                <a:cxn ang="0">
                  <a:pos x="connsiteX3" y="connsiteY3"/>
                </a:cxn>
              </a:cxnLst>
              <a:rect l="l" t="t" r="r" b="b"/>
              <a:pathLst>
                <a:path w="667077" h="696080">
                  <a:moveTo>
                    <a:pt x="88460" y="674328"/>
                  </a:moveTo>
                  <a:lnTo>
                    <a:pt x="21753" y="416198"/>
                  </a:lnTo>
                  <a:lnTo>
                    <a:pt x="390095" y="21753"/>
                  </a:lnTo>
                  <a:lnTo>
                    <a:pt x="648225" y="21753"/>
                  </a:lnTo>
                  <a:close/>
                </a:path>
              </a:pathLst>
            </a:custGeom>
            <a:solidFill>
              <a:schemeClr val="bg1">
                <a:lumMod val="85000"/>
                <a:alpha val="21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 name="Freeform: Shape 34">
              <a:extLst>
                <a:ext uri="{FF2B5EF4-FFF2-40B4-BE49-F238E27FC236}">
                  <a16:creationId xmlns:a16="http://schemas.microsoft.com/office/drawing/2014/main" id="{D5AA2359-6089-46EB-9110-B6D5B028FB34}"/>
                </a:ext>
              </a:extLst>
            </p:cNvPr>
            <p:cNvSpPr/>
            <p:nvPr/>
          </p:nvSpPr>
          <p:spPr>
            <a:xfrm>
              <a:off x="10427306" y="2923598"/>
              <a:ext cx="290034" cy="435050"/>
            </a:xfrm>
            <a:custGeom>
              <a:avLst/>
              <a:gdLst>
                <a:gd name="connsiteX0" fmla="*/ 21753 w 290033"/>
                <a:gd name="connsiteY0" fmla="*/ 21753 h 435050"/>
                <a:gd name="connsiteX1" fmla="*/ 282783 w 290033"/>
                <a:gd name="connsiteY1" fmla="*/ 21753 h 435050"/>
                <a:gd name="connsiteX2" fmla="*/ 282783 w 290033"/>
                <a:gd name="connsiteY2" fmla="*/ 424899 h 435050"/>
                <a:gd name="connsiteX3" fmla="*/ 24653 w 290033"/>
                <a:gd name="connsiteY3" fmla="*/ 424899 h 435050"/>
              </a:gdLst>
              <a:ahLst/>
              <a:cxnLst>
                <a:cxn ang="0">
                  <a:pos x="connsiteX0" y="connsiteY0"/>
                </a:cxn>
                <a:cxn ang="0">
                  <a:pos x="connsiteX1" y="connsiteY1"/>
                </a:cxn>
                <a:cxn ang="0">
                  <a:pos x="connsiteX2" y="connsiteY2"/>
                </a:cxn>
                <a:cxn ang="0">
                  <a:pos x="connsiteX3" y="connsiteY3"/>
                </a:cxn>
              </a:cxnLst>
              <a:rect l="l" t="t" r="r" b="b"/>
              <a:pathLst>
                <a:path w="290033" h="435050">
                  <a:moveTo>
                    <a:pt x="21753" y="21753"/>
                  </a:moveTo>
                  <a:lnTo>
                    <a:pt x="282783" y="21753"/>
                  </a:lnTo>
                  <a:lnTo>
                    <a:pt x="282783" y="424899"/>
                  </a:lnTo>
                  <a:lnTo>
                    <a:pt x="24653" y="424899"/>
                  </a:lnTo>
                  <a:close/>
                </a:path>
              </a:pathLst>
            </a:custGeom>
            <a:solidFill>
              <a:schemeClr val="bg1">
                <a:lumMod val="95000"/>
                <a:alpha val="74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 name="Freeform: Shape 35">
              <a:extLst>
                <a:ext uri="{FF2B5EF4-FFF2-40B4-BE49-F238E27FC236}">
                  <a16:creationId xmlns:a16="http://schemas.microsoft.com/office/drawing/2014/main" id="{9D3EE85A-10F7-49F1-BEC9-C84193102745}"/>
                </a:ext>
              </a:extLst>
            </p:cNvPr>
            <p:cNvSpPr/>
            <p:nvPr/>
          </p:nvSpPr>
          <p:spPr>
            <a:xfrm>
              <a:off x="10592625" y="3393452"/>
              <a:ext cx="493057" cy="609070"/>
            </a:xfrm>
            <a:custGeom>
              <a:avLst/>
              <a:gdLst>
                <a:gd name="connsiteX0" fmla="*/ 21753 w 493057"/>
                <a:gd name="connsiteY0" fmla="*/ 213174 h 609070"/>
                <a:gd name="connsiteX1" fmla="*/ 187072 w 493057"/>
                <a:gd name="connsiteY1" fmla="*/ 21753 h 609070"/>
                <a:gd name="connsiteX2" fmla="*/ 485806 w 493057"/>
                <a:gd name="connsiteY2" fmla="*/ 355291 h 609070"/>
                <a:gd name="connsiteX3" fmla="*/ 427799 w 493057"/>
                <a:gd name="connsiteY3" fmla="*/ 607620 h 609070"/>
              </a:gdLst>
              <a:ahLst/>
              <a:cxnLst>
                <a:cxn ang="0">
                  <a:pos x="connsiteX0" y="connsiteY0"/>
                </a:cxn>
                <a:cxn ang="0">
                  <a:pos x="connsiteX1" y="connsiteY1"/>
                </a:cxn>
                <a:cxn ang="0">
                  <a:pos x="connsiteX2" y="connsiteY2"/>
                </a:cxn>
                <a:cxn ang="0">
                  <a:pos x="connsiteX3" y="connsiteY3"/>
                </a:cxn>
              </a:cxnLst>
              <a:rect l="l" t="t" r="r" b="b"/>
              <a:pathLst>
                <a:path w="493057" h="609070">
                  <a:moveTo>
                    <a:pt x="21753" y="213174"/>
                  </a:moveTo>
                  <a:lnTo>
                    <a:pt x="187072" y="21753"/>
                  </a:lnTo>
                  <a:lnTo>
                    <a:pt x="485806" y="355291"/>
                  </a:lnTo>
                  <a:lnTo>
                    <a:pt x="427799" y="607620"/>
                  </a:lnTo>
                  <a:close/>
                </a:path>
              </a:pathLst>
            </a:custGeom>
            <a:solidFill>
              <a:schemeClr val="bg1">
                <a:lumMod val="85000"/>
                <a:alpha val="18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0" name="Freeform: Shape 209">
              <a:extLst>
                <a:ext uri="{FF2B5EF4-FFF2-40B4-BE49-F238E27FC236}">
                  <a16:creationId xmlns:a16="http://schemas.microsoft.com/office/drawing/2014/main" id="{E64F0650-94FE-4414-B0CA-58258F35DD2F}"/>
                </a:ext>
              </a:extLst>
            </p:cNvPr>
            <p:cNvSpPr/>
            <p:nvPr/>
          </p:nvSpPr>
          <p:spPr>
            <a:xfrm>
              <a:off x="11515354" y="5260941"/>
              <a:ext cx="676646" cy="268418"/>
            </a:xfrm>
            <a:custGeom>
              <a:avLst/>
              <a:gdLst>
                <a:gd name="connsiteX0" fmla="*/ 232227 w 676646"/>
                <a:gd name="connsiteY0" fmla="*/ 0 h 268418"/>
                <a:gd name="connsiteX1" fmla="*/ 627313 w 676646"/>
                <a:gd name="connsiteY1" fmla="*/ 0 h 268418"/>
                <a:gd name="connsiteX2" fmla="*/ 676646 w 676646"/>
                <a:gd name="connsiteY2" fmla="*/ 47725 h 268418"/>
                <a:gd name="connsiteX3" fmla="*/ 676646 w 676646"/>
                <a:gd name="connsiteY3" fmla="*/ 268418 h 268418"/>
                <a:gd name="connsiteX4" fmla="*/ 0 w 676646"/>
                <a:gd name="connsiteY4" fmla="*/ 268418 h 26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646" h="268418">
                  <a:moveTo>
                    <a:pt x="232227" y="0"/>
                  </a:moveTo>
                  <a:lnTo>
                    <a:pt x="627313" y="0"/>
                  </a:lnTo>
                  <a:lnTo>
                    <a:pt x="676646" y="47725"/>
                  </a:lnTo>
                  <a:lnTo>
                    <a:pt x="676646" y="268418"/>
                  </a:lnTo>
                  <a:lnTo>
                    <a:pt x="0" y="268418"/>
                  </a:lnTo>
                  <a:close/>
                </a:path>
              </a:pathLst>
            </a:custGeom>
            <a:solidFill>
              <a:schemeClr val="bg1">
                <a:lumMod val="75000"/>
                <a:alpha val="28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 name="Freeform: Shape 38">
              <a:extLst>
                <a:ext uri="{FF2B5EF4-FFF2-40B4-BE49-F238E27FC236}">
                  <a16:creationId xmlns:a16="http://schemas.microsoft.com/office/drawing/2014/main" id="{C7DA3B30-7A1C-4B62-B62E-F1F6CAD78B0D}"/>
                </a:ext>
              </a:extLst>
            </p:cNvPr>
            <p:cNvSpPr/>
            <p:nvPr/>
          </p:nvSpPr>
          <p:spPr>
            <a:xfrm>
              <a:off x="11423369" y="4828157"/>
              <a:ext cx="693662" cy="723821"/>
            </a:xfrm>
            <a:custGeom>
              <a:avLst/>
              <a:gdLst>
                <a:gd name="connsiteX0" fmla="*/ 91986 w 693662"/>
                <a:gd name="connsiteY0" fmla="*/ 701202 h 723821"/>
                <a:gd name="connsiteX1" fmla="*/ 22619 w 693662"/>
                <a:gd name="connsiteY1" fmla="*/ 432785 h 723821"/>
                <a:gd name="connsiteX2" fmla="*/ 405642 w 693662"/>
                <a:gd name="connsiteY2" fmla="*/ 22619 h 723821"/>
                <a:gd name="connsiteX3" fmla="*/ 674059 w 693662"/>
                <a:gd name="connsiteY3" fmla="*/ 22619 h 723821"/>
              </a:gdLst>
              <a:ahLst/>
              <a:cxnLst>
                <a:cxn ang="0">
                  <a:pos x="connsiteX0" y="connsiteY0"/>
                </a:cxn>
                <a:cxn ang="0">
                  <a:pos x="connsiteX1" y="connsiteY1"/>
                </a:cxn>
                <a:cxn ang="0">
                  <a:pos x="connsiteX2" y="connsiteY2"/>
                </a:cxn>
                <a:cxn ang="0">
                  <a:pos x="connsiteX3" y="connsiteY3"/>
                </a:cxn>
              </a:cxnLst>
              <a:rect l="l" t="t" r="r" b="b"/>
              <a:pathLst>
                <a:path w="693662" h="723821">
                  <a:moveTo>
                    <a:pt x="91986" y="701202"/>
                  </a:moveTo>
                  <a:lnTo>
                    <a:pt x="22619" y="432785"/>
                  </a:lnTo>
                  <a:lnTo>
                    <a:pt x="405642" y="22619"/>
                  </a:lnTo>
                  <a:lnTo>
                    <a:pt x="674059" y="22619"/>
                  </a:lnTo>
                  <a:close/>
                </a:path>
              </a:pathLst>
            </a:custGeom>
            <a:solidFill>
              <a:schemeClr val="bg1">
                <a:lumMod val="85000"/>
                <a:alpha val="21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 name="Freeform: Shape 39">
              <a:extLst>
                <a:ext uri="{FF2B5EF4-FFF2-40B4-BE49-F238E27FC236}">
                  <a16:creationId xmlns:a16="http://schemas.microsoft.com/office/drawing/2014/main" id="{DFDD76FB-91E8-4A6E-9561-9D669C127E23}"/>
                </a:ext>
              </a:extLst>
            </p:cNvPr>
            <p:cNvSpPr/>
            <p:nvPr/>
          </p:nvSpPr>
          <p:spPr>
            <a:xfrm>
              <a:off x="11803375" y="4408944"/>
              <a:ext cx="301592" cy="452388"/>
            </a:xfrm>
            <a:custGeom>
              <a:avLst/>
              <a:gdLst>
                <a:gd name="connsiteX0" fmla="*/ 22619 w 301592"/>
                <a:gd name="connsiteY0" fmla="*/ 22619 h 452388"/>
                <a:gd name="connsiteX1" fmla="*/ 294053 w 301592"/>
                <a:gd name="connsiteY1" fmla="*/ 22619 h 452388"/>
                <a:gd name="connsiteX2" fmla="*/ 294053 w 301592"/>
                <a:gd name="connsiteY2" fmla="*/ 441833 h 452388"/>
                <a:gd name="connsiteX3" fmla="*/ 25635 w 301592"/>
                <a:gd name="connsiteY3" fmla="*/ 441833 h 452388"/>
              </a:gdLst>
              <a:ahLst/>
              <a:cxnLst>
                <a:cxn ang="0">
                  <a:pos x="connsiteX0" y="connsiteY0"/>
                </a:cxn>
                <a:cxn ang="0">
                  <a:pos x="connsiteX1" y="connsiteY1"/>
                </a:cxn>
                <a:cxn ang="0">
                  <a:pos x="connsiteX2" y="connsiteY2"/>
                </a:cxn>
                <a:cxn ang="0">
                  <a:pos x="connsiteX3" y="connsiteY3"/>
                </a:cxn>
              </a:cxnLst>
              <a:rect l="l" t="t" r="r" b="b"/>
              <a:pathLst>
                <a:path w="301592" h="452388">
                  <a:moveTo>
                    <a:pt x="22619" y="22619"/>
                  </a:moveTo>
                  <a:lnTo>
                    <a:pt x="294053" y="22619"/>
                  </a:lnTo>
                  <a:lnTo>
                    <a:pt x="294053" y="441833"/>
                  </a:lnTo>
                  <a:lnTo>
                    <a:pt x="25635" y="441833"/>
                  </a:lnTo>
                  <a:close/>
                </a:path>
              </a:pathLst>
            </a:custGeom>
            <a:solidFill>
              <a:schemeClr val="bg1">
                <a:lumMod val="95000"/>
                <a:alpha val="74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3" name="Freeform: Shape 202">
              <a:extLst>
                <a:ext uri="{FF2B5EF4-FFF2-40B4-BE49-F238E27FC236}">
                  <a16:creationId xmlns:a16="http://schemas.microsoft.com/office/drawing/2014/main" id="{C5A55F67-B0BB-4DF9-A636-96EF9F266F62}"/>
                </a:ext>
              </a:extLst>
            </p:cNvPr>
            <p:cNvSpPr/>
            <p:nvPr/>
          </p:nvSpPr>
          <p:spPr>
            <a:xfrm>
              <a:off x="11997902" y="4920143"/>
              <a:ext cx="187704" cy="381393"/>
            </a:xfrm>
            <a:custGeom>
              <a:avLst/>
              <a:gdLst>
                <a:gd name="connsiteX0" fmla="*/ 171908 w 187704"/>
                <a:gd name="connsiteY0" fmla="*/ 0 h 381393"/>
                <a:gd name="connsiteX1" fmla="*/ 187704 w 187704"/>
                <a:gd name="connsiteY1" fmla="*/ 17637 h 381393"/>
                <a:gd name="connsiteX2" fmla="*/ 187704 w 187704"/>
                <a:gd name="connsiteY2" fmla="*/ 381393 h 381393"/>
                <a:gd name="connsiteX3" fmla="*/ 0 w 187704"/>
                <a:gd name="connsiteY3" fmla="*/ 199052 h 381393"/>
              </a:gdLst>
              <a:ahLst/>
              <a:cxnLst>
                <a:cxn ang="0">
                  <a:pos x="connsiteX0" y="connsiteY0"/>
                </a:cxn>
                <a:cxn ang="0">
                  <a:pos x="connsiteX1" y="connsiteY1"/>
                </a:cxn>
                <a:cxn ang="0">
                  <a:pos x="connsiteX2" y="connsiteY2"/>
                </a:cxn>
                <a:cxn ang="0">
                  <a:pos x="connsiteX3" y="connsiteY3"/>
                </a:cxn>
              </a:cxnLst>
              <a:rect l="l" t="t" r="r" b="b"/>
              <a:pathLst>
                <a:path w="187704" h="381393">
                  <a:moveTo>
                    <a:pt x="171908" y="0"/>
                  </a:moveTo>
                  <a:lnTo>
                    <a:pt x="187704" y="17637"/>
                  </a:lnTo>
                  <a:lnTo>
                    <a:pt x="187704" y="381393"/>
                  </a:lnTo>
                  <a:lnTo>
                    <a:pt x="0" y="199052"/>
                  </a:lnTo>
                  <a:close/>
                </a:path>
              </a:pathLst>
            </a:custGeom>
            <a:solidFill>
              <a:schemeClr val="bg1">
                <a:lumMod val="85000"/>
                <a:alpha val="18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2" name="Freeform: Shape 211">
              <a:extLst>
                <a:ext uri="{FF2B5EF4-FFF2-40B4-BE49-F238E27FC236}">
                  <a16:creationId xmlns:a16="http://schemas.microsoft.com/office/drawing/2014/main" id="{34162349-E3B4-4E5D-BE6D-6BCEDF2FB031}"/>
                </a:ext>
              </a:extLst>
            </p:cNvPr>
            <p:cNvSpPr/>
            <p:nvPr/>
          </p:nvSpPr>
          <p:spPr>
            <a:xfrm>
              <a:off x="11808642" y="2971190"/>
              <a:ext cx="386401" cy="246311"/>
            </a:xfrm>
            <a:custGeom>
              <a:avLst/>
              <a:gdLst>
                <a:gd name="connsiteX0" fmla="*/ 213100 w 386401"/>
                <a:gd name="connsiteY0" fmla="*/ 0 h 246311"/>
                <a:gd name="connsiteX1" fmla="*/ 386401 w 386401"/>
                <a:gd name="connsiteY1" fmla="*/ 0 h 246311"/>
                <a:gd name="connsiteX2" fmla="*/ 386401 w 386401"/>
                <a:gd name="connsiteY2" fmla="*/ 246311 h 246311"/>
                <a:gd name="connsiteX3" fmla="*/ 0 w 386401"/>
                <a:gd name="connsiteY3" fmla="*/ 246311 h 246311"/>
              </a:gdLst>
              <a:ahLst/>
              <a:cxnLst>
                <a:cxn ang="0">
                  <a:pos x="connsiteX0" y="connsiteY0"/>
                </a:cxn>
                <a:cxn ang="0">
                  <a:pos x="connsiteX1" y="connsiteY1"/>
                </a:cxn>
                <a:cxn ang="0">
                  <a:pos x="connsiteX2" y="connsiteY2"/>
                </a:cxn>
                <a:cxn ang="0">
                  <a:pos x="connsiteX3" y="connsiteY3"/>
                </a:cxn>
              </a:cxnLst>
              <a:rect l="l" t="t" r="r" b="b"/>
              <a:pathLst>
                <a:path w="386401" h="246311">
                  <a:moveTo>
                    <a:pt x="213100" y="0"/>
                  </a:moveTo>
                  <a:lnTo>
                    <a:pt x="386401" y="0"/>
                  </a:lnTo>
                  <a:lnTo>
                    <a:pt x="386401" y="246311"/>
                  </a:lnTo>
                  <a:lnTo>
                    <a:pt x="0" y="246311"/>
                  </a:lnTo>
                  <a:close/>
                </a:path>
              </a:pathLst>
            </a:custGeom>
            <a:solidFill>
              <a:schemeClr val="bg1">
                <a:lumMod val="75000"/>
                <a:alpha val="28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6" name="Freeform: Shape 215">
              <a:extLst>
                <a:ext uri="{FF2B5EF4-FFF2-40B4-BE49-F238E27FC236}">
                  <a16:creationId xmlns:a16="http://schemas.microsoft.com/office/drawing/2014/main" id="{F08DA448-F2F9-47E6-8182-BE259B6E7736}"/>
                </a:ext>
              </a:extLst>
            </p:cNvPr>
            <p:cNvSpPr/>
            <p:nvPr/>
          </p:nvSpPr>
          <p:spPr>
            <a:xfrm>
              <a:off x="11744989" y="2594807"/>
              <a:ext cx="450054" cy="622694"/>
            </a:xfrm>
            <a:custGeom>
              <a:avLst/>
              <a:gdLst>
                <a:gd name="connsiteX0" fmla="*/ 351476 w 450054"/>
                <a:gd name="connsiteY0" fmla="*/ 0 h 622694"/>
                <a:gd name="connsiteX1" fmla="*/ 450054 w 450054"/>
                <a:gd name="connsiteY1" fmla="*/ 0 h 622694"/>
                <a:gd name="connsiteX2" fmla="*/ 450054 w 450054"/>
                <a:gd name="connsiteY2" fmla="*/ 172227 h 622694"/>
                <a:gd name="connsiteX3" fmla="*/ 63654 w 450054"/>
                <a:gd name="connsiteY3" fmla="*/ 622694 h 622694"/>
                <a:gd name="connsiteX4" fmla="*/ 0 w 450054"/>
                <a:gd name="connsiteY4" fmla="*/ 376384 h 622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054" h="622694">
                  <a:moveTo>
                    <a:pt x="351476" y="0"/>
                  </a:moveTo>
                  <a:lnTo>
                    <a:pt x="450054" y="0"/>
                  </a:lnTo>
                  <a:lnTo>
                    <a:pt x="450054" y="172227"/>
                  </a:lnTo>
                  <a:lnTo>
                    <a:pt x="63654" y="622694"/>
                  </a:lnTo>
                  <a:lnTo>
                    <a:pt x="0" y="376384"/>
                  </a:lnTo>
                  <a:close/>
                </a:path>
              </a:pathLst>
            </a:custGeom>
            <a:solidFill>
              <a:schemeClr val="bg1">
                <a:lumMod val="85000"/>
                <a:alpha val="21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4" name="Freeform: Shape 213">
              <a:extLst>
                <a:ext uri="{FF2B5EF4-FFF2-40B4-BE49-F238E27FC236}">
                  <a16:creationId xmlns:a16="http://schemas.microsoft.com/office/drawing/2014/main" id="{8C3C8EB4-D84A-4117-862A-A212216D5EFC}"/>
                </a:ext>
              </a:extLst>
            </p:cNvPr>
            <p:cNvSpPr/>
            <p:nvPr/>
          </p:nvSpPr>
          <p:spPr>
            <a:xfrm>
              <a:off x="12093697" y="2210121"/>
              <a:ext cx="101346" cy="384687"/>
            </a:xfrm>
            <a:custGeom>
              <a:avLst/>
              <a:gdLst>
                <a:gd name="connsiteX0" fmla="*/ 0 w 101346"/>
                <a:gd name="connsiteY0" fmla="*/ 0 h 384687"/>
                <a:gd name="connsiteX1" fmla="*/ 101346 w 101346"/>
                <a:gd name="connsiteY1" fmla="*/ 0 h 384687"/>
                <a:gd name="connsiteX2" fmla="*/ 101346 w 101346"/>
                <a:gd name="connsiteY2" fmla="*/ 384687 h 384687"/>
                <a:gd name="connsiteX3" fmla="*/ 2768 w 101346"/>
                <a:gd name="connsiteY3" fmla="*/ 384687 h 384687"/>
              </a:gdLst>
              <a:ahLst/>
              <a:cxnLst>
                <a:cxn ang="0">
                  <a:pos x="connsiteX0" y="connsiteY0"/>
                </a:cxn>
                <a:cxn ang="0">
                  <a:pos x="connsiteX1" y="connsiteY1"/>
                </a:cxn>
                <a:cxn ang="0">
                  <a:pos x="connsiteX2" y="connsiteY2"/>
                </a:cxn>
                <a:cxn ang="0">
                  <a:pos x="connsiteX3" y="connsiteY3"/>
                </a:cxn>
              </a:cxnLst>
              <a:rect l="l" t="t" r="r" b="b"/>
              <a:pathLst>
                <a:path w="101346" h="384687">
                  <a:moveTo>
                    <a:pt x="0" y="0"/>
                  </a:moveTo>
                  <a:lnTo>
                    <a:pt x="101346" y="0"/>
                  </a:lnTo>
                  <a:lnTo>
                    <a:pt x="101346" y="384687"/>
                  </a:lnTo>
                  <a:lnTo>
                    <a:pt x="2768" y="384687"/>
                  </a:lnTo>
                  <a:close/>
                </a:path>
              </a:pathLst>
            </a:custGeom>
            <a:solidFill>
              <a:schemeClr val="bg1">
                <a:lumMod val="95000"/>
                <a:alpha val="74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2" name="Group 31">
            <a:extLst>
              <a:ext uri="{FF2B5EF4-FFF2-40B4-BE49-F238E27FC236}">
                <a16:creationId xmlns:a16="http://schemas.microsoft.com/office/drawing/2014/main" id="{54BC9290-B149-4DAA-BF8A-A0445641BEFA}"/>
              </a:ext>
            </a:extLst>
          </p:cNvPr>
          <p:cNvGrpSpPr/>
          <p:nvPr/>
        </p:nvGrpSpPr>
        <p:grpSpPr>
          <a:xfrm>
            <a:off x="1369132" y="5083002"/>
            <a:ext cx="5585819" cy="635284"/>
            <a:chOff x="1368462" y="5083237"/>
            <a:chExt cx="5586611" cy="635374"/>
          </a:xfrm>
        </p:grpSpPr>
        <p:sp>
          <p:nvSpPr>
            <p:cNvPr id="13" name="Rectangle 12">
              <a:extLst>
                <a:ext uri="{FF2B5EF4-FFF2-40B4-BE49-F238E27FC236}">
                  <a16:creationId xmlns:a16="http://schemas.microsoft.com/office/drawing/2014/main" id="{98D83CD9-B7FC-4CE5-9248-FD1F384CF6E8}"/>
                </a:ext>
              </a:extLst>
            </p:cNvPr>
            <p:cNvSpPr/>
            <p:nvPr/>
          </p:nvSpPr>
          <p:spPr>
            <a:xfrm>
              <a:off x="3124234" y="5276129"/>
              <a:ext cx="3830839" cy="215475"/>
            </a:xfrm>
            <a:prstGeom prst="rect">
              <a:avLst/>
            </a:prstGeom>
          </p:spPr>
          <p:txBody>
            <a:bodyPr wrap="square" lIns="0" tIns="0" rIns="0" bIns="0">
              <a:spAutoFit/>
            </a:bodyPr>
            <a:lstStyle/>
            <a:p>
              <a:pPr marL="0" marR="0" lvl="0" indent="0" algn="l" defTabSz="913874" rtl="0" eaLnBrk="1" fontAlgn="auto" latinLnBrk="0" hangingPunct="1">
                <a:lnSpc>
                  <a:spcPct val="100000"/>
                </a:lnSpc>
                <a:spcBef>
                  <a:spcPts val="0"/>
                </a:spcBef>
                <a:spcAft>
                  <a:spcPts val="2400"/>
                </a:spcAft>
                <a:buClrTx/>
                <a:buSzTx/>
                <a:buFontTx/>
                <a:buNone/>
                <a:tabLst/>
                <a:defRPr/>
              </a:pPr>
              <a:r>
                <a:rPr kumimoji="0" lang="en-US" sz="1400" b="1" i="0" u="none" strike="noStrike" kern="0" cap="none" spc="0" normalizeH="0" baseline="0" noProof="0" dirty="0">
                  <a:ln>
                    <a:noFill/>
                  </a:ln>
                  <a:solidFill>
                    <a:srgbClr val="0078D7"/>
                  </a:solidFill>
                  <a:effectLst/>
                  <a:uLnTx/>
                  <a:uFillTx/>
                  <a:latin typeface="Segoe UI Semibold" charset="0"/>
                  <a:ea typeface="+mn-ea"/>
                  <a:cs typeface="Segoe UI Semibold" charset="0"/>
                </a:rPr>
                <a:t>Deploy and manage your models everywhere</a:t>
              </a:r>
            </a:p>
          </p:txBody>
        </p:sp>
        <p:cxnSp>
          <p:nvCxnSpPr>
            <p:cNvPr id="139" name="Straight Connector 138">
              <a:extLst>
                <a:ext uri="{FF2B5EF4-FFF2-40B4-BE49-F238E27FC236}">
                  <a16:creationId xmlns:a16="http://schemas.microsoft.com/office/drawing/2014/main" id="{C8DEAE4F-9D4B-4EEE-8144-4C026D9BF91C}"/>
                </a:ext>
              </a:extLst>
            </p:cNvPr>
            <p:cNvCxnSpPr/>
            <p:nvPr/>
          </p:nvCxnSpPr>
          <p:spPr>
            <a:xfrm>
              <a:off x="2844745" y="5115588"/>
              <a:ext cx="0" cy="603023"/>
            </a:xfrm>
            <a:prstGeom prst="line">
              <a:avLst/>
            </a:prstGeom>
            <a:ln w="12700" cap="rnd">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04" name="Group 203">
              <a:extLst>
                <a:ext uri="{FF2B5EF4-FFF2-40B4-BE49-F238E27FC236}">
                  <a16:creationId xmlns:a16="http://schemas.microsoft.com/office/drawing/2014/main" id="{872BC4A0-8319-401E-984B-0A99AFA22F02}"/>
                </a:ext>
              </a:extLst>
            </p:cNvPr>
            <p:cNvGrpSpPr/>
            <p:nvPr/>
          </p:nvGrpSpPr>
          <p:grpSpPr>
            <a:xfrm>
              <a:off x="1368462" y="5083237"/>
              <a:ext cx="1279589" cy="549204"/>
              <a:chOff x="1349791" y="3168457"/>
              <a:chExt cx="5679659" cy="2437728"/>
            </a:xfrm>
          </p:grpSpPr>
          <p:sp>
            <p:nvSpPr>
              <p:cNvPr id="205" name="Freeform: Shape 204">
                <a:extLst>
                  <a:ext uri="{FF2B5EF4-FFF2-40B4-BE49-F238E27FC236}">
                    <a16:creationId xmlns:a16="http://schemas.microsoft.com/office/drawing/2014/main" id="{384AE23C-D2BA-475C-8743-9A1558EF4334}"/>
                  </a:ext>
                </a:extLst>
              </p:cNvPr>
              <p:cNvSpPr/>
              <p:nvPr/>
            </p:nvSpPr>
            <p:spPr>
              <a:xfrm>
                <a:off x="4411612" y="4538106"/>
                <a:ext cx="2617838" cy="1068079"/>
              </a:xfrm>
              <a:custGeom>
                <a:avLst/>
                <a:gdLst>
                  <a:gd name="connsiteX0" fmla="*/ 1108234 w 1190625"/>
                  <a:gd name="connsiteY0" fmla="*/ 325991 h 485775"/>
                  <a:gd name="connsiteX1" fmla="*/ 1105376 w 1190625"/>
                  <a:gd name="connsiteY1" fmla="*/ 325991 h 485775"/>
                  <a:gd name="connsiteX2" fmla="*/ 992981 w 1190625"/>
                  <a:gd name="connsiteY2" fmla="*/ 126918 h 485775"/>
                  <a:gd name="connsiteX3" fmla="*/ 839629 w 1190625"/>
                  <a:gd name="connsiteY3" fmla="*/ 164066 h 485775"/>
                  <a:gd name="connsiteX4" fmla="*/ 578644 w 1190625"/>
                  <a:gd name="connsiteY4" fmla="*/ 14523 h 485775"/>
                  <a:gd name="connsiteX5" fmla="*/ 422434 w 1190625"/>
                  <a:gd name="connsiteY5" fmla="*/ 200261 h 485775"/>
                  <a:gd name="connsiteX6" fmla="*/ 416719 w 1190625"/>
                  <a:gd name="connsiteY6" fmla="*/ 199308 h 485775"/>
                  <a:gd name="connsiteX7" fmla="*/ 188119 w 1190625"/>
                  <a:gd name="connsiteY7" fmla="*/ 207881 h 485775"/>
                  <a:gd name="connsiteX8" fmla="*/ 153829 w 1190625"/>
                  <a:gd name="connsiteY8" fmla="*/ 265983 h 485775"/>
                  <a:gd name="connsiteX9" fmla="*/ 117634 w 1190625"/>
                  <a:gd name="connsiteY9" fmla="*/ 260268 h 485775"/>
                  <a:gd name="connsiteX10" fmla="*/ 7144 w 1190625"/>
                  <a:gd name="connsiteY10" fmla="*/ 365996 h 485775"/>
                  <a:gd name="connsiteX11" fmla="*/ 7144 w 1190625"/>
                  <a:gd name="connsiteY11" fmla="*/ 367901 h 485775"/>
                  <a:gd name="connsiteX12" fmla="*/ 116681 w 1190625"/>
                  <a:gd name="connsiteY12" fmla="*/ 481248 h 485775"/>
                  <a:gd name="connsiteX13" fmla="*/ 376714 w 1190625"/>
                  <a:gd name="connsiteY13" fmla="*/ 481248 h 485775"/>
                  <a:gd name="connsiteX14" fmla="*/ 397669 w 1190625"/>
                  <a:gd name="connsiteY14" fmla="*/ 481248 h 485775"/>
                  <a:gd name="connsiteX15" fmla="*/ 1107281 w 1190625"/>
                  <a:gd name="connsiteY15" fmla="*/ 481248 h 485775"/>
                  <a:gd name="connsiteX16" fmla="*/ 1185386 w 1190625"/>
                  <a:gd name="connsiteY16" fmla="*/ 405048 h 485775"/>
                  <a:gd name="connsiteX17" fmla="*/ 1109186 w 1190625"/>
                  <a:gd name="connsiteY17" fmla="*/ 326943 h 485775"/>
                  <a:gd name="connsiteX18" fmla="*/ 1108234 w 1190625"/>
                  <a:gd name="connsiteY18" fmla="*/ 325991 h 485775"/>
                  <a:gd name="connsiteX19" fmla="*/ 1108234 w 1190625"/>
                  <a:gd name="connsiteY19" fmla="*/ 32599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0625" h="485775">
                    <a:moveTo>
                      <a:pt x="1108234" y="325991"/>
                    </a:moveTo>
                    <a:cubicBezTo>
                      <a:pt x="1107281" y="325991"/>
                      <a:pt x="1106329" y="325991"/>
                      <a:pt x="1105376" y="325991"/>
                    </a:cubicBezTo>
                    <a:cubicBezTo>
                      <a:pt x="1129189" y="240266"/>
                      <a:pt x="1079659" y="150731"/>
                      <a:pt x="992981" y="126918"/>
                    </a:cubicBezTo>
                    <a:cubicBezTo>
                      <a:pt x="938689" y="111678"/>
                      <a:pt x="880586" y="125966"/>
                      <a:pt x="839629" y="164066"/>
                    </a:cubicBezTo>
                    <a:cubicBezTo>
                      <a:pt x="809149" y="50718"/>
                      <a:pt x="691991" y="-15957"/>
                      <a:pt x="578644" y="14523"/>
                    </a:cubicBezTo>
                    <a:cubicBezTo>
                      <a:pt x="492919" y="37383"/>
                      <a:pt x="431006" y="111678"/>
                      <a:pt x="422434" y="200261"/>
                    </a:cubicBezTo>
                    <a:cubicBezTo>
                      <a:pt x="420529" y="200261"/>
                      <a:pt x="418624" y="199308"/>
                      <a:pt x="416719" y="199308"/>
                    </a:cubicBezTo>
                    <a:cubicBezTo>
                      <a:pt x="350996" y="138348"/>
                      <a:pt x="249079" y="143111"/>
                      <a:pt x="188119" y="207881"/>
                    </a:cubicBezTo>
                    <a:cubicBezTo>
                      <a:pt x="172879" y="225026"/>
                      <a:pt x="160496" y="244076"/>
                      <a:pt x="153829" y="265983"/>
                    </a:cubicBezTo>
                    <a:cubicBezTo>
                      <a:pt x="142399" y="262173"/>
                      <a:pt x="130016" y="260268"/>
                      <a:pt x="117634" y="260268"/>
                    </a:cubicBezTo>
                    <a:cubicBezTo>
                      <a:pt x="57626" y="259316"/>
                      <a:pt x="8096" y="305988"/>
                      <a:pt x="7144" y="365996"/>
                    </a:cubicBezTo>
                    <a:cubicBezTo>
                      <a:pt x="7144" y="366948"/>
                      <a:pt x="7144" y="366948"/>
                      <a:pt x="7144" y="367901"/>
                    </a:cubicBezTo>
                    <a:cubicBezTo>
                      <a:pt x="7144" y="428861"/>
                      <a:pt x="55721" y="481248"/>
                      <a:pt x="116681" y="481248"/>
                    </a:cubicBezTo>
                    <a:lnTo>
                      <a:pt x="376714" y="481248"/>
                    </a:lnTo>
                    <a:cubicBezTo>
                      <a:pt x="383381" y="489821"/>
                      <a:pt x="391001" y="481248"/>
                      <a:pt x="397669" y="481248"/>
                    </a:cubicBezTo>
                    <a:lnTo>
                      <a:pt x="1107281" y="481248"/>
                    </a:lnTo>
                    <a:cubicBezTo>
                      <a:pt x="1150144" y="482201"/>
                      <a:pt x="1185386" y="447911"/>
                      <a:pt x="1185386" y="405048"/>
                    </a:cubicBezTo>
                    <a:cubicBezTo>
                      <a:pt x="1186339" y="362186"/>
                      <a:pt x="1152049" y="326943"/>
                      <a:pt x="1109186" y="326943"/>
                    </a:cubicBezTo>
                    <a:cubicBezTo>
                      <a:pt x="1109186" y="325991"/>
                      <a:pt x="1108234" y="325991"/>
                      <a:pt x="1108234" y="325991"/>
                    </a:cubicBezTo>
                    <a:lnTo>
                      <a:pt x="1108234" y="325991"/>
                    </a:lnTo>
                    <a:close/>
                  </a:path>
                </a:pathLst>
              </a:custGeom>
              <a:solidFill>
                <a:srgbClr val="CBEBF5">
                  <a:alpha val="80000"/>
                </a:srgb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6" name="Freeform: Shape 205">
                <a:extLst>
                  <a:ext uri="{FF2B5EF4-FFF2-40B4-BE49-F238E27FC236}">
                    <a16:creationId xmlns:a16="http://schemas.microsoft.com/office/drawing/2014/main" id="{AB456F5E-3E0F-4FC7-8C85-61053740555C}"/>
                  </a:ext>
                </a:extLst>
              </p:cNvPr>
              <p:cNvSpPr/>
              <p:nvPr/>
            </p:nvSpPr>
            <p:spPr>
              <a:xfrm>
                <a:off x="2008442" y="3914466"/>
                <a:ext cx="4251364" cy="1256563"/>
              </a:xfrm>
              <a:custGeom>
                <a:avLst/>
                <a:gdLst>
                  <a:gd name="connsiteX0" fmla="*/ 42863 w 1933575"/>
                  <a:gd name="connsiteY0" fmla="*/ 165766 h 571500"/>
                  <a:gd name="connsiteX1" fmla="*/ 1016317 w 1933575"/>
                  <a:gd name="connsiteY1" fmla="*/ 102901 h 571500"/>
                  <a:gd name="connsiteX2" fmla="*/ 1894523 w 1933575"/>
                  <a:gd name="connsiteY2" fmla="*/ 528668 h 571500"/>
                </a:gdLst>
                <a:ahLst/>
                <a:cxnLst>
                  <a:cxn ang="0">
                    <a:pos x="connsiteX0" y="connsiteY0"/>
                  </a:cxn>
                  <a:cxn ang="0">
                    <a:pos x="connsiteX1" y="connsiteY1"/>
                  </a:cxn>
                  <a:cxn ang="0">
                    <a:pos x="connsiteX2" y="connsiteY2"/>
                  </a:cxn>
                </a:cxnLst>
                <a:rect l="l" t="t" r="r" b="b"/>
                <a:pathLst>
                  <a:path w="1933575" h="571500">
                    <a:moveTo>
                      <a:pt x="42863" y="165766"/>
                    </a:moveTo>
                    <a:cubicBezTo>
                      <a:pt x="69532" y="30511"/>
                      <a:pt x="505778" y="2888"/>
                      <a:pt x="1016317" y="102901"/>
                    </a:cubicBezTo>
                    <a:cubicBezTo>
                      <a:pt x="1526858" y="202913"/>
                      <a:pt x="1921192" y="393413"/>
                      <a:pt x="1894523" y="528668"/>
                    </a:cubicBezTo>
                  </a:path>
                </a:pathLst>
              </a:custGeom>
              <a:noFill/>
              <a:ln w="57150" cap="flat">
                <a:solidFill>
                  <a:schemeClr val="accent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7" name="Freeform: Shape 206">
                <a:extLst>
                  <a:ext uri="{FF2B5EF4-FFF2-40B4-BE49-F238E27FC236}">
                    <a16:creationId xmlns:a16="http://schemas.microsoft.com/office/drawing/2014/main" id="{17D699B2-40AC-4E64-9681-0954147679B6}"/>
                  </a:ext>
                </a:extLst>
              </p:cNvPr>
              <p:cNvSpPr/>
              <p:nvPr/>
            </p:nvSpPr>
            <p:spPr>
              <a:xfrm>
                <a:off x="1349791" y="3168457"/>
                <a:ext cx="2617838" cy="1068079"/>
              </a:xfrm>
              <a:custGeom>
                <a:avLst/>
                <a:gdLst>
                  <a:gd name="connsiteX0" fmla="*/ 1106329 w 1190625"/>
                  <a:gd name="connsiteY0" fmla="*/ 325991 h 485775"/>
                  <a:gd name="connsiteX1" fmla="*/ 1103471 w 1190625"/>
                  <a:gd name="connsiteY1" fmla="*/ 325991 h 485775"/>
                  <a:gd name="connsiteX2" fmla="*/ 991076 w 1190625"/>
                  <a:gd name="connsiteY2" fmla="*/ 126918 h 485775"/>
                  <a:gd name="connsiteX3" fmla="*/ 837724 w 1190625"/>
                  <a:gd name="connsiteY3" fmla="*/ 164066 h 485775"/>
                  <a:gd name="connsiteX4" fmla="*/ 577691 w 1190625"/>
                  <a:gd name="connsiteY4" fmla="*/ 14523 h 485775"/>
                  <a:gd name="connsiteX5" fmla="*/ 421481 w 1190625"/>
                  <a:gd name="connsiteY5" fmla="*/ 200261 h 485775"/>
                  <a:gd name="connsiteX6" fmla="*/ 415766 w 1190625"/>
                  <a:gd name="connsiteY6" fmla="*/ 199308 h 485775"/>
                  <a:gd name="connsiteX7" fmla="*/ 187166 w 1190625"/>
                  <a:gd name="connsiteY7" fmla="*/ 207881 h 485775"/>
                  <a:gd name="connsiteX8" fmla="*/ 152876 w 1190625"/>
                  <a:gd name="connsiteY8" fmla="*/ 265983 h 485775"/>
                  <a:gd name="connsiteX9" fmla="*/ 116681 w 1190625"/>
                  <a:gd name="connsiteY9" fmla="*/ 260268 h 485775"/>
                  <a:gd name="connsiteX10" fmla="*/ 7144 w 1190625"/>
                  <a:gd name="connsiteY10" fmla="*/ 365996 h 485775"/>
                  <a:gd name="connsiteX11" fmla="*/ 7144 w 1190625"/>
                  <a:gd name="connsiteY11" fmla="*/ 367901 h 485775"/>
                  <a:gd name="connsiteX12" fmla="*/ 116681 w 1190625"/>
                  <a:gd name="connsiteY12" fmla="*/ 481248 h 485775"/>
                  <a:gd name="connsiteX13" fmla="*/ 376714 w 1190625"/>
                  <a:gd name="connsiteY13" fmla="*/ 481248 h 485775"/>
                  <a:gd name="connsiteX14" fmla="*/ 397669 w 1190625"/>
                  <a:gd name="connsiteY14" fmla="*/ 481248 h 485775"/>
                  <a:gd name="connsiteX15" fmla="*/ 1107281 w 1190625"/>
                  <a:gd name="connsiteY15" fmla="*/ 481248 h 485775"/>
                  <a:gd name="connsiteX16" fmla="*/ 1185386 w 1190625"/>
                  <a:gd name="connsiteY16" fmla="*/ 405048 h 485775"/>
                  <a:gd name="connsiteX17" fmla="*/ 1109186 w 1190625"/>
                  <a:gd name="connsiteY17" fmla="*/ 326943 h 485775"/>
                  <a:gd name="connsiteX18" fmla="*/ 1106329 w 1190625"/>
                  <a:gd name="connsiteY18" fmla="*/ 325991 h 485775"/>
                  <a:gd name="connsiteX19" fmla="*/ 1106329 w 1190625"/>
                  <a:gd name="connsiteY19" fmla="*/ 32599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0625" h="485775">
                    <a:moveTo>
                      <a:pt x="1106329" y="325991"/>
                    </a:moveTo>
                    <a:cubicBezTo>
                      <a:pt x="1105376" y="325991"/>
                      <a:pt x="1104424" y="325991"/>
                      <a:pt x="1103471" y="325991"/>
                    </a:cubicBezTo>
                    <a:cubicBezTo>
                      <a:pt x="1127284" y="240266"/>
                      <a:pt x="1077754" y="150731"/>
                      <a:pt x="991076" y="126918"/>
                    </a:cubicBezTo>
                    <a:cubicBezTo>
                      <a:pt x="936784" y="111678"/>
                      <a:pt x="878681" y="125966"/>
                      <a:pt x="837724" y="164066"/>
                    </a:cubicBezTo>
                    <a:cubicBezTo>
                      <a:pt x="808196" y="50718"/>
                      <a:pt x="691039" y="-15957"/>
                      <a:pt x="577691" y="14523"/>
                    </a:cubicBezTo>
                    <a:cubicBezTo>
                      <a:pt x="491966" y="37383"/>
                      <a:pt x="430054" y="111678"/>
                      <a:pt x="421481" y="200261"/>
                    </a:cubicBezTo>
                    <a:cubicBezTo>
                      <a:pt x="419576" y="200261"/>
                      <a:pt x="417671" y="199308"/>
                      <a:pt x="415766" y="199308"/>
                    </a:cubicBezTo>
                    <a:cubicBezTo>
                      <a:pt x="350044" y="138348"/>
                      <a:pt x="248126" y="143111"/>
                      <a:pt x="187166" y="207881"/>
                    </a:cubicBezTo>
                    <a:cubicBezTo>
                      <a:pt x="171926" y="225026"/>
                      <a:pt x="159544" y="244076"/>
                      <a:pt x="152876" y="265983"/>
                    </a:cubicBezTo>
                    <a:cubicBezTo>
                      <a:pt x="141446" y="262173"/>
                      <a:pt x="129064" y="260268"/>
                      <a:pt x="116681" y="260268"/>
                    </a:cubicBezTo>
                    <a:cubicBezTo>
                      <a:pt x="57626" y="259316"/>
                      <a:pt x="8096" y="305988"/>
                      <a:pt x="7144" y="365996"/>
                    </a:cubicBezTo>
                    <a:cubicBezTo>
                      <a:pt x="7144" y="366948"/>
                      <a:pt x="7144" y="366948"/>
                      <a:pt x="7144" y="367901"/>
                    </a:cubicBezTo>
                    <a:cubicBezTo>
                      <a:pt x="7144" y="428861"/>
                      <a:pt x="55721" y="481248"/>
                      <a:pt x="116681" y="481248"/>
                    </a:cubicBezTo>
                    <a:lnTo>
                      <a:pt x="376714" y="481248"/>
                    </a:lnTo>
                    <a:cubicBezTo>
                      <a:pt x="383381" y="489821"/>
                      <a:pt x="391001" y="481248"/>
                      <a:pt x="397669" y="481248"/>
                    </a:cubicBezTo>
                    <a:lnTo>
                      <a:pt x="1107281" y="481248"/>
                    </a:lnTo>
                    <a:cubicBezTo>
                      <a:pt x="1150144" y="482201"/>
                      <a:pt x="1185386" y="447911"/>
                      <a:pt x="1185386" y="405048"/>
                    </a:cubicBezTo>
                    <a:cubicBezTo>
                      <a:pt x="1185386" y="362186"/>
                      <a:pt x="1152049" y="326943"/>
                      <a:pt x="1109186" y="326943"/>
                    </a:cubicBezTo>
                    <a:cubicBezTo>
                      <a:pt x="1108234" y="325991"/>
                      <a:pt x="1107281" y="325991"/>
                      <a:pt x="1106329" y="325991"/>
                    </a:cubicBezTo>
                    <a:lnTo>
                      <a:pt x="1106329" y="325991"/>
                    </a:lnTo>
                    <a:close/>
                  </a:path>
                </a:pathLst>
              </a:custGeom>
              <a:solidFill>
                <a:srgbClr val="CBEBF5">
                  <a:alpha val="80000"/>
                </a:srgb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8" name="Freeform: Shape 207">
                <a:extLst>
                  <a:ext uri="{FF2B5EF4-FFF2-40B4-BE49-F238E27FC236}">
                    <a16:creationId xmlns:a16="http://schemas.microsoft.com/office/drawing/2014/main" id="{142059EC-5DB9-4607-AADF-DCB6BCDC15F0}"/>
                  </a:ext>
                </a:extLst>
              </p:cNvPr>
              <p:cNvSpPr/>
              <p:nvPr/>
            </p:nvSpPr>
            <p:spPr>
              <a:xfrm>
                <a:off x="3697468" y="3745946"/>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rgbClr val="804998"/>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9" name="Freeform: Shape 208">
                <a:extLst>
                  <a:ext uri="{FF2B5EF4-FFF2-40B4-BE49-F238E27FC236}">
                    <a16:creationId xmlns:a16="http://schemas.microsoft.com/office/drawing/2014/main" id="{3144498B-C6D2-4608-8D18-379319CF5E30}"/>
                  </a:ext>
                </a:extLst>
              </p:cNvPr>
              <p:cNvSpPr/>
              <p:nvPr/>
            </p:nvSpPr>
            <p:spPr>
              <a:xfrm>
                <a:off x="3356099" y="3752232"/>
                <a:ext cx="293198" cy="628279"/>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4769 w 133350"/>
                  <a:gd name="connsiteY14" fmla="*/ 229076 h 285750"/>
                  <a:gd name="connsiteX15" fmla="*/ 46196 w 133350"/>
                  <a:gd name="connsiteY15" fmla="*/ 227171 h 285750"/>
                  <a:gd name="connsiteX16" fmla="*/ 46196 w 133350"/>
                  <a:gd name="connsiteY16" fmla="*/ 58579 h 285750"/>
                  <a:gd name="connsiteX17" fmla="*/ 54769 w 133350"/>
                  <a:gd name="connsiteY17" fmla="*/ 56674 h 285750"/>
                  <a:gd name="connsiteX18" fmla="*/ 63341 w 133350"/>
                  <a:gd name="connsiteY18" fmla="*/ 54769 h 285750"/>
                  <a:gd name="connsiteX19" fmla="*/ 71914 w 133350"/>
                  <a:gd name="connsiteY19" fmla="*/ 52864 h 285750"/>
                  <a:gd name="connsiteX20" fmla="*/ 71914 w 133350"/>
                  <a:gd name="connsiteY20" fmla="*/ 236696 h 285750"/>
                  <a:gd name="connsiteX21" fmla="*/ 63341 w 133350"/>
                  <a:gd name="connsiteY21" fmla="*/ 234791 h 285750"/>
                  <a:gd name="connsiteX22" fmla="*/ 54769 w 133350"/>
                  <a:gd name="connsiteY22" fmla="*/ 229076 h 285750"/>
                  <a:gd name="connsiteX23" fmla="*/ 94774 w 133350"/>
                  <a:gd name="connsiteY23" fmla="*/ 242411 h 285750"/>
                  <a:gd name="connsiteX24" fmla="*/ 83344 w 133350"/>
                  <a:gd name="connsiteY24" fmla="*/ 237649 h 285750"/>
                  <a:gd name="connsiteX25" fmla="*/ 83344 w 133350"/>
                  <a:gd name="connsiteY25" fmla="*/ 47149 h 285750"/>
                  <a:gd name="connsiteX26" fmla="*/ 94774 w 133350"/>
                  <a:gd name="connsiteY26" fmla="*/ 45244 h 285750"/>
                  <a:gd name="connsiteX27" fmla="*/ 106204 w 133350"/>
                  <a:gd name="connsiteY27" fmla="*/ 40481 h 285750"/>
                  <a:gd name="connsiteX28" fmla="*/ 119539 w 133350"/>
                  <a:gd name="connsiteY28" fmla="*/ 35719 h 285750"/>
                  <a:gd name="connsiteX29" fmla="*/ 119539 w 133350"/>
                  <a:gd name="connsiteY29" fmla="*/ 249079 h 285750"/>
                  <a:gd name="connsiteX30" fmla="*/ 106204 w 133350"/>
                  <a:gd name="connsiteY30" fmla="*/ 244316 h 285750"/>
                  <a:gd name="connsiteX31" fmla="*/ 94774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4769" y="229076"/>
                    </a:moveTo>
                    <a:lnTo>
                      <a:pt x="46196" y="227171"/>
                    </a:lnTo>
                    <a:lnTo>
                      <a:pt x="46196" y="58579"/>
                    </a:lnTo>
                    <a:lnTo>
                      <a:pt x="54769" y="56674"/>
                    </a:lnTo>
                    <a:lnTo>
                      <a:pt x="63341" y="54769"/>
                    </a:lnTo>
                    <a:lnTo>
                      <a:pt x="71914" y="52864"/>
                    </a:lnTo>
                    <a:lnTo>
                      <a:pt x="71914" y="236696"/>
                    </a:lnTo>
                    <a:lnTo>
                      <a:pt x="63341" y="234791"/>
                    </a:lnTo>
                    <a:lnTo>
                      <a:pt x="54769" y="229076"/>
                    </a:lnTo>
                    <a:close/>
                    <a:moveTo>
                      <a:pt x="94774" y="242411"/>
                    </a:moveTo>
                    <a:lnTo>
                      <a:pt x="83344" y="237649"/>
                    </a:lnTo>
                    <a:lnTo>
                      <a:pt x="83344" y="47149"/>
                    </a:lnTo>
                    <a:lnTo>
                      <a:pt x="94774" y="45244"/>
                    </a:lnTo>
                    <a:lnTo>
                      <a:pt x="106204" y="40481"/>
                    </a:lnTo>
                    <a:lnTo>
                      <a:pt x="119539" y="35719"/>
                    </a:lnTo>
                    <a:lnTo>
                      <a:pt x="119539" y="249079"/>
                    </a:lnTo>
                    <a:lnTo>
                      <a:pt x="106204" y="244316"/>
                    </a:lnTo>
                    <a:lnTo>
                      <a:pt x="94774" y="242411"/>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1" name="Freeform: Shape 210">
                <a:extLst>
                  <a:ext uri="{FF2B5EF4-FFF2-40B4-BE49-F238E27FC236}">
                    <a16:creationId xmlns:a16="http://schemas.microsoft.com/office/drawing/2014/main" id="{B3A984C1-F389-484D-8C0B-A4D40C8F69B6}"/>
                  </a:ext>
                </a:extLst>
              </p:cNvPr>
              <p:cNvSpPr/>
              <p:nvPr/>
            </p:nvSpPr>
            <p:spPr>
              <a:xfrm>
                <a:off x="4579152" y="3745946"/>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rgbClr val="804998"/>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3" name="Freeform: Shape 212">
                <a:extLst>
                  <a:ext uri="{FF2B5EF4-FFF2-40B4-BE49-F238E27FC236}">
                    <a16:creationId xmlns:a16="http://schemas.microsoft.com/office/drawing/2014/main" id="{659302B0-FEA8-4A20-83A5-35EF316E03C8}"/>
                  </a:ext>
                </a:extLst>
              </p:cNvPr>
              <p:cNvSpPr/>
              <p:nvPr/>
            </p:nvSpPr>
            <p:spPr>
              <a:xfrm>
                <a:off x="4239880" y="3752232"/>
                <a:ext cx="293198" cy="628279"/>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29076 h 285750"/>
                  <a:gd name="connsiteX15" fmla="*/ 45244 w 133350"/>
                  <a:gd name="connsiteY15" fmla="*/ 227171 h 285750"/>
                  <a:gd name="connsiteX16" fmla="*/ 45244 w 133350"/>
                  <a:gd name="connsiteY16" fmla="*/ 58579 h 285750"/>
                  <a:gd name="connsiteX17" fmla="*/ 53816 w 133350"/>
                  <a:gd name="connsiteY17" fmla="*/ 56674 h 285750"/>
                  <a:gd name="connsiteX18" fmla="*/ 62389 w 133350"/>
                  <a:gd name="connsiteY18" fmla="*/ 54769 h 285750"/>
                  <a:gd name="connsiteX19" fmla="*/ 70961 w 133350"/>
                  <a:gd name="connsiteY19" fmla="*/ 52864 h 285750"/>
                  <a:gd name="connsiteX20" fmla="*/ 70961 w 133350"/>
                  <a:gd name="connsiteY20" fmla="*/ 236696 h 285750"/>
                  <a:gd name="connsiteX21" fmla="*/ 62389 w 133350"/>
                  <a:gd name="connsiteY21" fmla="*/ 234791 h 285750"/>
                  <a:gd name="connsiteX22" fmla="*/ 53816 w 133350"/>
                  <a:gd name="connsiteY22" fmla="*/ 229076 h 285750"/>
                  <a:gd name="connsiteX23" fmla="*/ 93821 w 133350"/>
                  <a:gd name="connsiteY23" fmla="*/ 242411 h 285750"/>
                  <a:gd name="connsiteX24" fmla="*/ 82391 w 133350"/>
                  <a:gd name="connsiteY24" fmla="*/ 237649 h 285750"/>
                  <a:gd name="connsiteX25" fmla="*/ 82391 w 133350"/>
                  <a:gd name="connsiteY25" fmla="*/ 47149 h 285750"/>
                  <a:gd name="connsiteX26" fmla="*/ 93821 w 133350"/>
                  <a:gd name="connsiteY26" fmla="*/ 45244 h 285750"/>
                  <a:gd name="connsiteX27" fmla="*/ 105251 w 133350"/>
                  <a:gd name="connsiteY27" fmla="*/ 40481 h 285750"/>
                  <a:gd name="connsiteX28" fmla="*/ 118586 w 133350"/>
                  <a:gd name="connsiteY28" fmla="*/ 35719 h 285750"/>
                  <a:gd name="connsiteX29" fmla="*/ 118586 w 133350"/>
                  <a:gd name="connsiteY29" fmla="*/ 249079 h 285750"/>
                  <a:gd name="connsiteX30" fmla="*/ 105251 w 133350"/>
                  <a:gd name="connsiteY30" fmla="*/ 244316 h 285750"/>
                  <a:gd name="connsiteX31" fmla="*/ 93821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29076"/>
                    </a:moveTo>
                    <a:lnTo>
                      <a:pt x="45244" y="227171"/>
                    </a:lnTo>
                    <a:lnTo>
                      <a:pt x="45244" y="58579"/>
                    </a:lnTo>
                    <a:lnTo>
                      <a:pt x="53816" y="56674"/>
                    </a:lnTo>
                    <a:lnTo>
                      <a:pt x="62389" y="54769"/>
                    </a:lnTo>
                    <a:lnTo>
                      <a:pt x="70961" y="52864"/>
                    </a:lnTo>
                    <a:lnTo>
                      <a:pt x="70961" y="236696"/>
                    </a:lnTo>
                    <a:lnTo>
                      <a:pt x="62389" y="234791"/>
                    </a:lnTo>
                    <a:lnTo>
                      <a:pt x="53816" y="229076"/>
                    </a:lnTo>
                    <a:close/>
                    <a:moveTo>
                      <a:pt x="93821" y="242411"/>
                    </a:moveTo>
                    <a:lnTo>
                      <a:pt x="82391" y="237649"/>
                    </a:lnTo>
                    <a:lnTo>
                      <a:pt x="82391" y="47149"/>
                    </a:lnTo>
                    <a:lnTo>
                      <a:pt x="93821" y="45244"/>
                    </a:lnTo>
                    <a:lnTo>
                      <a:pt x="105251" y="40481"/>
                    </a:lnTo>
                    <a:lnTo>
                      <a:pt x="118586" y="35719"/>
                    </a:lnTo>
                    <a:lnTo>
                      <a:pt x="118586" y="249079"/>
                    </a:lnTo>
                    <a:lnTo>
                      <a:pt x="105251" y="244316"/>
                    </a:lnTo>
                    <a:lnTo>
                      <a:pt x="93821" y="242411"/>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5" name="Freeform: Shape 214">
                <a:extLst>
                  <a:ext uri="{FF2B5EF4-FFF2-40B4-BE49-F238E27FC236}">
                    <a16:creationId xmlns:a16="http://schemas.microsoft.com/office/drawing/2014/main" id="{60DD0ED7-48EE-44C8-90DD-946937BBEF17}"/>
                  </a:ext>
                </a:extLst>
              </p:cNvPr>
              <p:cNvSpPr/>
              <p:nvPr/>
            </p:nvSpPr>
            <p:spPr>
              <a:xfrm>
                <a:off x="3697468" y="4958526"/>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rgbClr val="804998"/>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8" name="Freeform: Shape 217">
                <a:extLst>
                  <a:ext uri="{FF2B5EF4-FFF2-40B4-BE49-F238E27FC236}">
                    <a16:creationId xmlns:a16="http://schemas.microsoft.com/office/drawing/2014/main" id="{807B34CE-391D-4CCB-BFE4-71CC54E5E20D}"/>
                  </a:ext>
                </a:extLst>
              </p:cNvPr>
              <p:cNvSpPr/>
              <p:nvPr/>
            </p:nvSpPr>
            <p:spPr>
              <a:xfrm>
                <a:off x="3356099" y="4964810"/>
                <a:ext cx="293198" cy="628279"/>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4769 w 133350"/>
                  <a:gd name="connsiteY14" fmla="*/ 229076 h 285750"/>
                  <a:gd name="connsiteX15" fmla="*/ 46196 w 133350"/>
                  <a:gd name="connsiteY15" fmla="*/ 227171 h 285750"/>
                  <a:gd name="connsiteX16" fmla="*/ 46196 w 133350"/>
                  <a:gd name="connsiteY16" fmla="*/ 58579 h 285750"/>
                  <a:gd name="connsiteX17" fmla="*/ 54769 w 133350"/>
                  <a:gd name="connsiteY17" fmla="*/ 56674 h 285750"/>
                  <a:gd name="connsiteX18" fmla="*/ 63341 w 133350"/>
                  <a:gd name="connsiteY18" fmla="*/ 54769 h 285750"/>
                  <a:gd name="connsiteX19" fmla="*/ 71914 w 133350"/>
                  <a:gd name="connsiteY19" fmla="*/ 52864 h 285750"/>
                  <a:gd name="connsiteX20" fmla="*/ 71914 w 133350"/>
                  <a:gd name="connsiteY20" fmla="*/ 236696 h 285750"/>
                  <a:gd name="connsiteX21" fmla="*/ 63341 w 133350"/>
                  <a:gd name="connsiteY21" fmla="*/ 234791 h 285750"/>
                  <a:gd name="connsiteX22" fmla="*/ 54769 w 133350"/>
                  <a:gd name="connsiteY22" fmla="*/ 229076 h 285750"/>
                  <a:gd name="connsiteX23" fmla="*/ 94774 w 133350"/>
                  <a:gd name="connsiteY23" fmla="*/ 242411 h 285750"/>
                  <a:gd name="connsiteX24" fmla="*/ 83344 w 133350"/>
                  <a:gd name="connsiteY24" fmla="*/ 237649 h 285750"/>
                  <a:gd name="connsiteX25" fmla="*/ 83344 w 133350"/>
                  <a:gd name="connsiteY25" fmla="*/ 47149 h 285750"/>
                  <a:gd name="connsiteX26" fmla="*/ 94774 w 133350"/>
                  <a:gd name="connsiteY26" fmla="*/ 45244 h 285750"/>
                  <a:gd name="connsiteX27" fmla="*/ 106204 w 133350"/>
                  <a:gd name="connsiteY27" fmla="*/ 40481 h 285750"/>
                  <a:gd name="connsiteX28" fmla="*/ 119539 w 133350"/>
                  <a:gd name="connsiteY28" fmla="*/ 35719 h 285750"/>
                  <a:gd name="connsiteX29" fmla="*/ 119539 w 133350"/>
                  <a:gd name="connsiteY29" fmla="*/ 249079 h 285750"/>
                  <a:gd name="connsiteX30" fmla="*/ 106204 w 133350"/>
                  <a:gd name="connsiteY30" fmla="*/ 244316 h 285750"/>
                  <a:gd name="connsiteX31" fmla="*/ 94774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4769" y="229076"/>
                    </a:moveTo>
                    <a:lnTo>
                      <a:pt x="46196" y="227171"/>
                    </a:lnTo>
                    <a:lnTo>
                      <a:pt x="46196" y="58579"/>
                    </a:lnTo>
                    <a:lnTo>
                      <a:pt x="54769" y="56674"/>
                    </a:lnTo>
                    <a:lnTo>
                      <a:pt x="63341" y="54769"/>
                    </a:lnTo>
                    <a:lnTo>
                      <a:pt x="71914" y="52864"/>
                    </a:lnTo>
                    <a:lnTo>
                      <a:pt x="71914" y="236696"/>
                    </a:lnTo>
                    <a:lnTo>
                      <a:pt x="63341" y="234791"/>
                    </a:lnTo>
                    <a:lnTo>
                      <a:pt x="54769" y="229076"/>
                    </a:lnTo>
                    <a:close/>
                    <a:moveTo>
                      <a:pt x="94774" y="242411"/>
                    </a:moveTo>
                    <a:lnTo>
                      <a:pt x="83344" y="237649"/>
                    </a:lnTo>
                    <a:lnTo>
                      <a:pt x="83344" y="47149"/>
                    </a:lnTo>
                    <a:lnTo>
                      <a:pt x="94774" y="45244"/>
                    </a:lnTo>
                    <a:lnTo>
                      <a:pt x="106204" y="40481"/>
                    </a:lnTo>
                    <a:lnTo>
                      <a:pt x="119539" y="35719"/>
                    </a:lnTo>
                    <a:lnTo>
                      <a:pt x="119539" y="249079"/>
                    </a:lnTo>
                    <a:lnTo>
                      <a:pt x="106204" y="244316"/>
                    </a:lnTo>
                    <a:lnTo>
                      <a:pt x="94774" y="242411"/>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9" name="Freeform: Shape 218">
                <a:extLst>
                  <a:ext uri="{FF2B5EF4-FFF2-40B4-BE49-F238E27FC236}">
                    <a16:creationId xmlns:a16="http://schemas.microsoft.com/office/drawing/2014/main" id="{136BB401-F1D0-4873-8C08-B8DA672ABDEE}"/>
                  </a:ext>
                </a:extLst>
              </p:cNvPr>
              <p:cNvSpPr/>
              <p:nvPr/>
            </p:nvSpPr>
            <p:spPr>
              <a:xfrm>
                <a:off x="4579152" y="4958526"/>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rgbClr val="804998"/>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0" name="Freeform: Shape 219">
                <a:extLst>
                  <a:ext uri="{FF2B5EF4-FFF2-40B4-BE49-F238E27FC236}">
                    <a16:creationId xmlns:a16="http://schemas.microsoft.com/office/drawing/2014/main" id="{79EB0524-2660-4408-8E15-AF28D594AB0F}"/>
                  </a:ext>
                </a:extLst>
              </p:cNvPr>
              <p:cNvSpPr/>
              <p:nvPr/>
            </p:nvSpPr>
            <p:spPr>
              <a:xfrm>
                <a:off x="4239880" y="4964801"/>
                <a:ext cx="293198" cy="628279"/>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29076 h 285750"/>
                  <a:gd name="connsiteX15" fmla="*/ 45244 w 133350"/>
                  <a:gd name="connsiteY15" fmla="*/ 227171 h 285750"/>
                  <a:gd name="connsiteX16" fmla="*/ 45244 w 133350"/>
                  <a:gd name="connsiteY16" fmla="*/ 58579 h 285750"/>
                  <a:gd name="connsiteX17" fmla="*/ 53816 w 133350"/>
                  <a:gd name="connsiteY17" fmla="*/ 56674 h 285750"/>
                  <a:gd name="connsiteX18" fmla="*/ 62389 w 133350"/>
                  <a:gd name="connsiteY18" fmla="*/ 54769 h 285750"/>
                  <a:gd name="connsiteX19" fmla="*/ 70961 w 133350"/>
                  <a:gd name="connsiteY19" fmla="*/ 52864 h 285750"/>
                  <a:gd name="connsiteX20" fmla="*/ 70961 w 133350"/>
                  <a:gd name="connsiteY20" fmla="*/ 236696 h 285750"/>
                  <a:gd name="connsiteX21" fmla="*/ 62389 w 133350"/>
                  <a:gd name="connsiteY21" fmla="*/ 234791 h 285750"/>
                  <a:gd name="connsiteX22" fmla="*/ 53816 w 133350"/>
                  <a:gd name="connsiteY22" fmla="*/ 229076 h 285750"/>
                  <a:gd name="connsiteX23" fmla="*/ 93821 w 133350"/>
                  <a:gd name="connsiteY23" fmla="*/ 242411 h 285750"/>
                  <a:gd name="connsiteX24" fmla="*/ 83344 w 133350"/>
                  <a:gd name="connsiteY24" fmla="*/ 237649 h 285750"/>
                  <a:gd name="connsiteX25" fmla="*/ 83344 w 133350"/>
                  <a:gd name="connsiteY25" fmla="*/ 47149 h 285750"/>
                  <a:gd name="connsiteX26" fmla="*/ 94774 w 133350"/>
                  <a:gd name="connsiteY26" fmla="*/ 45244 h 285750"/>
                  <a:gd name="connsiteX27" fmla="*/ 106204 w 133350"/>
                  <a:gd name="connsiteY27" fmla="*/ 40481 h 285750"/>
                  <a:gd name="connsiteX28" fmla="*/ 119539 w 133350"/>
                  <a:gd name="connsiteY28" fmla="*/ 35719 h 285750"/>
                  <a:gd name="connsiteX29" fmla="*/ 119539 w 133350"/>
                  <a:gd name="connsiteY29" fmla="*/ 249079 h 285750"/>
                  <a:gd name="connsiteX30" fmla="*/ 106204 w 133350"/>
                  <a:gd name="connsiteY30" fmla="*/ 244316 h 285750"/>
                  <a:gd name="connsiteX31" fmla="*/ 93821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29076"/>
                    </a:moveTo>
                    <a:lnTo>
                      <a:pt x="45244" y="227171"/>
                    </a:lnTo>
                    <a:lnTo>
                      <a:pt x="45244" y="58579"/>
                    </a:lnTo>
                    <a:lnTo>
                      <a:pt x="53816" y="56674"/>
                    </a:lnTo>
                    <a:lnTo>
                      <a:pt x="62389" y="54769"/>
                    </a:lnTo>
                    <a:lnTo>
                      <a:pt x="70961" y="52864"/>
                    </a:lnTo>
                    <a:lnTo>
                      <a:pt x="70961" y="236696"/>
                    </a:lnTo>
                    <a:lnTo>
                      <a:pt x="62389" y="234791"/>
                    </a:lnTo>
                    <a:lnTo>
                      <a:pt x="53816" y="229076"/>
                    </a:lnTo>
                    <a:close/>
                    <a:moveTo>
                      <a:pt x="93821" y="242411"/>
                    </a:moveTo>
                    <a:lnTo>
                      <a:pt x="83344" y="237649"/>
                    </a:lnTo>
                    <a:lnTo>
                      <a:pt x="83344" y="47149"/>
                    </a:lnTo>
                    <a:lnTo>
                      <a:pt x="94774" y="45244"/>
                    </a:lnTo>
                    <a:lnTo>
                      <a:pt x="106204" y="40481"/>
                    </a:lnTo>
                    <a:lnTo>
                      <a:pt x="119539" y="35719"/>
                    </a:lnTo>
                    <a:lnTo>
                      <a:pt x="119539" y="249079"/>
                    </a:lnTo>
                    <a:lnTo>
                      <a:pt x="106204" y="244316"/>
                    </a:lnTo>
                    <a:lnTo>
                      <a:pt x="93821" y="242411"/>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1" name="Freeform: Shape 220">
                <a:extLst>
                  <a:ext uri="{FF2B5EF4-FFF2-40B4-BE49-F238E27FC236}">
                    <a16:creationId xmlns:a16="http://schemas.microsoft.com/office/drawing/2014/main" id="{1B1770C7-52AC-45D8-B19D-E876ED22BEF1}"/>
                  </a:ext>
                </a:extLst>
              </p:cNvPr>
              <p:cNvSpPr/>
              <p:nvPr/>
            </p:nvSpPr>
            <p:spPr>
              <a:xfrm>
                <a:off x="4170772" y="4353272"/>
                <a:ext cx="397910" cy="628279"/>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solidFill>
                <a:srgbClr val="804998"/>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2" name="Freeform: Shape 221">
                <a:extLst>
                  <a:ext uri="{FF2B5EF4-FFF2-40B4-BE49-F238E27FC236}">
                    <a16:creationId xmlns:a16="http://schemas.microsoft.com/office/drawing/2014/main" id="{E7073A9C-8FC9-4582-8054-C2D66C4DBE60}"/>
                  </a:ext>
                </a:extLst>
              </p:cNvPr>
              <p:cNvSpPr/>
              <p:nvPr/>
            </p:nvSpPr>
            <p:spPr>
              <a:xfrm>
                <a:off x="3825216" y="4353272"/>
                <a:ext cx="293198" cy="628279"/>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30981 h 285750"/>
                  <a:gd name="connsiteX15" fmla="*/ 45244 w 133350"/>
                  <a:gd name="connsiteY15" fmla="*/ 229076 h 285750"/>
                  <a:gd name="connsiteX16" fmla="*/ 45244 w 133350"/>
                  <a:gd name="connsiteY16" fmla="*/ 60484 h 285750"/>
                  <a:gd name="connsiteX17" fmla="*/ 53816 w 133350"/>
                  <a:gd name="connsiteY17" fmla="*/ 58579 h 285750"/>
                  <a:gd name="connsiteX18" fmla="*/ 62389 w 133350"/>
                  <a:gd name="connsiteY18" fmla="*/ 56674 h 285750"/>
                  <a:gd name="connsiteX19" fmla="*/ 70961 w 133350"/>
                  <a:gd name="connsiteY19" fmla="*/ 54769 h 285750"/>
                  <a:gd name="connsiteX20" fmla="*/ 70961 w 133350"/>
                  <a:gd name="connsiteY20" fmla="*/ 238601 h 285750"/>
                  <a:gd name="connsiteX21" fmla="*/ 62389 w 133350"/>
                  <a:gd name="connsiteY21" fmla="*/ 236696 h 285750"/>
                  <a:gd name="connsiteX22" fmla="*/ 53816 w 133350"/>
                  <a:gd name="connsiteY22" fmla="*/ 230981 h 285750"/>
                  <a:gd name="connsiteX23" fmla="*/ 94774 w 133350"/>
                  <a:gd name="connsiteY23" fmla="*/ 244316 h 285750"/>
                  <a:gd name="connsiteX24" fmla="*/ 83344 w 133350"/>
                  <a:gd name="connsiteY24" fmla="*/ 239554 h 285750"/>
                  <a:gd name="connsiteX25" fmla="*/ 83344 w 133350"/>
                  <a:gd name="connsiteY25" fmla="*/ 49054 h 285750"/>
                  <a:gd name="connsiteX26" fmla="*/ 94774 w 133350"/>
                  <a:gd name="connsiteY26" fmla="*/ 47149 h 285750"/>
                  <a:gd name="connsiteX27" fmla="*/ 106204 w 133350"/>
                  <a:gd name="connsiteY27" fmla="*/ 42386 h 285750"/>
                  <a:gd name="connsiteX28" fmla="*/ 119539 w 133350"/>
                  <a:gd name="connsiteY28" fmla="*/ 37624 h 285750"/>
                  <a:gd name="connsiteX29" fmla="*/ 119539 w 133350"/>
                  <a:gd name="connsiteY29" fmla="*/ 250984 h 285750"/>
                  <a:gd name="connsiteX30" fmla="*/ 106204 w 133350"/>
                  <a:gd name="connsiteY30" fmla="*/ 246221 h 285750"/>
                  <a:gd name="connsiteX31" fmla="*/ 94774 w 133350"/>
                  <a:gd name="connsiteY31" fmla="*/ 244316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30981"/>
                    </a:moveTo>
                    <a:lnTo>
                      <a:pt x="45244" y="229076"/>
                    </a:lnTo>
                    <a:lnTo>
                      <a:pt x="45244" y="60484"/>
                    </a:lnTo>
                    <a:lnTo>
                      <a:pt x="53816" y="58579"/>
                    </a:lnTo>
                    <a:lnTo>
                      <a:pt x="62389" y="56674"/>
                    </a:lnTo>
                    <a:lnTo>
                      <a:pt x="70961" y="54769"/>
                    </a:lnTo>
                    <a:lnTo>
                      <a:pt x="70961" y="238601"/>
                    </a:lnTo>
                    <a:lnTo>
                      <a:pt x="62389" y="236696"/>
                    </a:lnTo>
                    <a:lnTo>
                      <a:pt x="53816" y="230981"/>
                    </a:lnTo>
                    <a:close/>
                    <a:moveTo>
                      <a:pt x="94774" y="244316"/>
                    </a:moveTo>
                    <a:lnTo>
                      <a:pt x="83344" y="239554"/>
                    </a:lnTo>
                    <a:lnTo>
                      <a:pt x="83344" y="49054"/>
                    </a:lnTo>
                    <a:lnTo>
                      <a:pt x="94774" y="47149"/>
                    </a:lnTo>
                    <a:lnTo>
                      <a:pt x="106204" y="42386"/>
                    </a:lnTo>
                    <a:lnTo>
                      <a:pt x="119539" y="37624"/>
                    </a:lnTo>
                    <a:lnTo>
                      <a:pt x="119539" y="250984"/>
                    </a:lnTo>
                    <a:lnTo>
                      <a:pt x="106204" y="246221"/>
                    </a:lnTo>
                    <a:lnTo>
                      <a:pt x="94774" y="244316"/>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3" name="Freeform: Shape 222">
                <a:extLst>
                  <a:ext uri="{FF2B5EF4-FFF2-40B4-BE49-F238E27FC236}">
                    <a16:creationId xmlns:a16="http://schemas.microsoft.com/office/drawing/2014/main" id="{473A8346-4ED0-4F7D-A8DF-7751A200147C}"/>
                  </a:ext>
                </a:extLst>
              </p:cNvPr>
              <p:cNvSpPr/>
              <p:nvPr/>
            </p:nvSpPr>
            <p:spPr>
              <a:xfrm>
                <a:off x="3293270" y="4353272"/>
                <a:ext cx="397910" cy="628279"/>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solidFill>
                <a:srgbClr val="804998"/>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4" name="Freeform: Shape 223">
                <a:extLst>
                  <a:ext uri="{FF2B5EF4-FFF2-40B4-BE49-F238E27FC236}">
                    <a16:creationId xmlns:a16="http://schemas.microsoft.com/office/drawing/2014/main" id="{9EA22E87-5B72-4177-AF75-2ECF7F224B4A}"/>
                  </a:ext>
                </a:extLst>
              </p:cNvPr>
              <p:cNvSpPr/>
              <p:nvPr/>
            </p:nvSpPr>
            <p:spPr>
              <a:xfrm>
                <a:off x="2947718" y="4353272"/>
                <a:ext cx="293198" cy="628279"/>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30981 h 285750"/>
                  <a:gd name="connsiteX15" fmla="*/ 45244 w 133350"/>
                  <a:gd name="connsiteY15" fmla="*/ 229076 h 285750"/>
                  <a:gd name="connsiteX16" fmla="*/ 45244 w 133350"/>
                  <a:gd name="connsiteY16" fmla="*/ 60484 h 285750"/>
                  <a:gd name="connsiteX17" fmla="*/ 53816 w 133350"/>
                  <a:gd name="connsiteY17" fmla="*/ 58579 h 285750"/>
                  <a:gd name="connsiteX18" fmla="*/ 62389 w 133350"/>
                  <a:gd name="connsiteY18" fmla="*/ 56674 h 285750"/>
                  <a:gd name="connsiteX19" fmla="*/ 70961 w 133350"/>
                  <a:gd name="connsiteY19" fmla="*/ 54769 h 285750"/>
                  <a:gd name="connsiteX20" fmla="*/ 70961 w 133350"/>
                  <a:gd name="connsiteY20" fmla="*/ 238601 h 285750"/>
                  <a:gd name="connsiteX21" fmla="*/ 62389 w 133350"/>
                  <a:gd name="connsiteY21" fmla="*/ 236696 h 285750"/>
                  <a:gd name="connsiteX22" fmla="*/ 53816 w 133350"/>
                  <a:gd name="connsiteY22" fmla="*/ 230981 h 285750"/>
                  <a:gd name="connsiteX23" fmla="*/ 94774 w 133350"/>
                  <a:gd name="connsiteY23" fmla="*/ 244316 h 285750"/>
                  <a:gd name="connsiteX24" fmla="*/ 83344 w 133350"/>
                  <a:gd name="connsiteY24" fmla="*/ 239554 h 285750"/>
                  <a:gd name="connsiteX25" fmla="*/ 83344 w 133350"/>
                  <a:gd name="connsiteY25" fmla="*/ 49054 h 285750"/>
                  <a:gd name="connsiteX26" fmla="*/ 94774 w 133350"/>
                  <a:gd name="connsiteY26" fmla="*/ 47149 h 285750"/>
                  <a:gd name="connsiteX27" fmla="*/ 106204 w 133350"/>
                  <a:gd name="connsiteY27" fmla="*/ 42386 h 285750"/>
                  <a:gd name="connsiteX28" fmla="*/ 119539 w 133350"/>
                  <a:gd name="connsiteY28" fmla="*/ 37624 h 285750"/>
                  <a:gd name="connsiteX29" fmla="*/ 119539 w 133350"/>
                  <a:gd name="connsiteY29" fmla="*/ 250984 h 285750"/>
                  <a:gd name="connsiteX30" fmla="*/ 106204 w 133350"/>
                  <a:gd name="connsiteY30" fmla="*/ 246221 h 285750"/>
                  <a:gd name="connsiteX31" fmla="*/ 94774 w 133350"/>
                  <a:gd name="connsiteY31" fmla="*/ 244316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30981"/>
                    </a:moveTo>
                    <a:lnTo>
                      <a:pt x="45244" y="229076"/>
                    </a:lnTo>
                    <a:lnTo>
                      <a:pt x="45244" y="60484"/>
                    </a:lnTo>
                    <a:lnTo>
                      <a:pt x="53816" y="58579"/>
                    </a:lnTo>
                    <a:lnTo>
                      <a:pt x="62389" y="56674"/>
                    </a:lnTo>
                    <a:lnTo>
                      <a:pt x="70961" y="54769"/>
                    </a:lnTo>
                    <a:lnTo>
                      <a:pt x="70961" y="238601"/>
                    </a:lnTo>
                    <a:lnTo>
                      <a:pt x="62389" y="236696"/>
                    </a:lnTo>
                    <a:lnTo>
                      <a:pt x="53816" y="230981"/>
                    </a:lnTo>
                    <a:close/>
                    <a:moveTo>
                      <a:pt x="94774" y="244316"/>
                    </a:moveTo>
                    <a:lnTo>
                      <a:pt x="83344" y="239554"/>
                    </a:lnTo>
                    <a:lnTo>
                      <a:pt x="83344" y="49054"/>
                    </a:lnTo>
                    <a:lnTo>
                      <a:pt x="94774" y="47149"/>
                    </a:lnTo>
                    <a:lnTo>
                      <a:pt x="106204" y="42386"/>
                    </a:lnTo>
                    <a:lnTo>
                      <a:pt x="119539" y="37624"/>
                    </a:lnTo>
                    <a:lnTo>
                      <a:pt x="119539" y="250984"/>
                    </a:lnTo>
                    <a:lnTo>
                      <a:pt x="106204" y="246221"/>
                    </a:lnTo>
                    <a:lnTo>
                      <a:pt x="94774" y="244316"/>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5" name="Freeform: Shape 224">
                <a:extLst>
                  <a:ext uri="{FF2B5EF4-FFF2-40B4-BE49-F238E27FC236}">
                    <a16:creationId xmlns:a16="http://schemas.microsoft.com/office/drawing/2014/main" id="{B899B82C-A8EE-4A4F-809A-4A1A50FFA3F3}"/>
                  </a:ext>
                </a:extLst>
              </p:cNvPr>
              <p:cNvSpPr/>
              <p:nvPr/>
            </p:nvSpPr>
            <p:spPr>
              <a:xfrm>
                <a:off x="5037799" y="4353272"/>
                <a:ext cx="397910" cy="628279"/>
              </a:xfrm>
              <a:custGeom>
                <a:avLst/>
                <a:gdLst>
                  <a:gd name="connsiteX0" fmla="*/ 177641 w 180975"/>
                  <a:gd name="connsiteY0" fmla="*/ 217646 h 285750"/>
                  <a:gd name="connsiteX1" fmla="*/ 7144 w 180975"/>
                  <a:gd name="connsiteY1" fmla="*/ 282416 h 285750"/>
                  <a:gd name="connsiteX2" fmla="*/ 7144 w 180975"/>
                  <a:gd name="connsiteY2" fmla="*/ 7144 h 285750"/>
                  <a:gd name="connsiteX3" fmla="*/ 177641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7641" y="217646"/>
                    </a:moveTo>
                    <a:lnTo>
                      <a:pt x="7144" y="282416"/>
                    </a:lnTo>
                    <a:lnTo>
                      <a:pt x="7144" y="7144"/>
                    </a:lnTo>
                    <a:lnTo>
                      <a:pt x="177641" y="67151"/>
                    </a:lnTo>
                    <a:close/>
                  </a:path>
                </a:pathLst>
              </a:custGeom>
              <a:solidFill>
                <a:srgbClr val="804998"/>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6" name="Freeform: Shape 225">
                <a:extLst>
                  <a:ext uri="{FF2B5EF4-FFF2-40B4-BE49-F238E27FC236}">
                    <a16:creationId xmlns:a16="http://schemas.microsoft.com/office/drawing/2014/main" id="{A2C4EA52-940E-47B8-AA46-793428A4ED7D}"/>
                  </a:ext>
                </a:extLst>
              </p:cNvPr>
              <p:cNvSpPr/>
              <p:nvPr/>
            </p:nvSpPr>
            <p:spPr>
              <a:xfrm>
                <a:off x="3697468" y="3745937"/>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7" name="Freeform: Shape 226">
                <a:extLst>
                  <a:ext uri="{FF2B5EF4-FFF2-40B4-BE49-F238E27FC236}">
                    <a16:creationId xmlns:a16="http://schemas.microsoft.com/office/drawing/2014/main" id="{7345A46C-F582-478E-A240-3160F224782C}"/>
                  </a:ext>
                </a:extLst>
              </p:cNvPr>
              <p:cNvSpPr/>
              <p:nvPr/>
            </p:nvSpPr>
            <p:spPr>
              <a:xfrm>
                <a:off x="4579152" y="3745937"/>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8" name="Freeform: Shape 227">
                <a:extLst>
                  <a:ext uri="{FF2B5EF4-FFF2-40B4-BE49-F238E27FC236}">
                    <a16:creationId xmlns:a16="http://schemas.microsoft.com/office/drawing/2014/main" id="{FF986498-5289-4CD5-96E7-24F6D6B719F6}"/>
                  </a:ext>
                </a:extLst>
              </p:cNvPr>
              <p:cNvSpPr/>
              <p:nvPr/>
            </p:nvSpPr>
            <p:spPr>
              <a:xfrm>
                <a:off x="3697468" y="4958515"/>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9" name="Freeform: Shape 228">
                <a:extLst>
                  <a:ext uri="{FF2B5EF4-FFF2-40B4-BE49-F238E27FC236}">
                    <a16:creationId xmlns:a16="http://schemas.microsoft.com/office/drawing/2014/main" id="{9A69DB00-7581-4554-A921-712D36201867}"/>
                  </a:ext>
                </a:extLst>
              </p:cNvPr>
              <p:cNvSpPr/>
              <p:nvPr/>
            </p:nvSpPr>
            <p:spPr>
              <a:xfrm>
                <a:off x="4579152" y="4958515"/>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0" name="Freeform: Shape 229">
                <a:extLst>
                  <a:ext uri="{FF2B5EF4-FFF2-40B4-BE49-F238E27FC236}">
                    <a16:creationId xmlns:a16="http://schemas.microsoft.com/office/drawing/2014/main" id="{06E10264-B24B-4809-B5F1-53421A11968F}"/>
                  </a:ext>
                </a:extLst>
              </p:cNvPr>
              <p:cNvSpPr/>
              <p:nvPr/>
            </p:nvSpPr>
            <p:spPr>
              <a:xfrm>
                <a:off x="4170772" y="4353272"/>
                <a:ext cx="397910" cy="628279"/>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1" name="Freeform: Shape 230">
                <a:extLst>
                  <a:ext uri="{FF2B5EF4-FFF2-40B4-BE49-F238E27FC236}">
                    <a16:creationId xmlns:a16="http://schemas.microsoft.com/office/drawing/2014/main" id="{16659F10-7564-4B29-8BAE-B19C1511FECD}"/>
                  </a:ext>
                </a:extLst>
              </p:cNvPr>
              <p:cNvSpPr/>
              <p:nvPr/>
            </p:nvSpPr>
            <p:spPr>
              <a:xfrm>
                <a:off x="3293270" y="4353272"/>
                <a:ext cx="397910" cy="628279"/>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2" name="Freeform: Shape 231">
                <a:extLst>
                  <a:ext uri="{FF2B5EF4-FFF2-40B4-BE49-F238E27FC236}">
                    <a16:creationId xmlns:a16="http://schemas.microsoft.com/office/drawing/2014/main" id="{178C601C-0F55-4ED1-9474-82BD1364B740}"/>
                  </a:ext>
                </a:extLst>
              </p:cNvPr>
              <p:cNvSpPr/>
              <p:nvPr/>
            </p:nvSpPr>
            <p:spPr>
              <a:xfrm>
                <a:off x="5037799" y="4353272"/>
                <a:ext cx="397910" cy="628279"/>
              </a:xfrm>
              <a:custGeom>
                <a:avLst/>
                <a:gdLst>
                  <a:gd name="connsiteX0" fmla="*/ 177641 w 180975"/>
                  <a:gd name="connsiteY0" fmla="*/ 217646 h 285750"/>
                  <a:gd name="connsiteX1" fmla="*/ 7144 w 180975"/>
                  <a:gd name="connsiteY1" fmla="*/ 282416 h 285750"/>
                  <a:gd name="connsiteX2" fmla="*/ 7144 w 180975"/>
                  <a:gd name="connsiteY2" fmla="*/ 7144 h 285750"/>
                  <a:gd name="connsiteX3" fmla="*/ 177641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7641" y="217646"/>
                    </a:moveTo>
                    <a:lnTo>
                      <a:pt x="7144" y="282416"/>
                    </a:lnTo>
                    <a:lnTo>
                      <a:pt x="7144" y="7144"/>
                    </a:lnTo>
                    <a:lnTo>
                      <a:pt x="177641" y="67151"/>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3" name="Freeform: Shape 232">
                <a:extLst>
                  <a:ext uri="{FF2B5EF4-FFF2-40B4-BE49-F238E27FC236}">
                    <a16:creationId xmlns:a16="http://schemas.microsoft.com/office/drawing/2014/main" id="{BB7F4CF2-2037-4C5F-8B68-499CE10687A1}"/>
                  </a:ext>
                </a:extLst>
              </p:cNvPr>
              <p:cNvSpPr/>
              <p:nvPr/>
            </p:nvSpPr>
            <p:spPr>
              <a:xfrm>
                <a:off x="4692243" y="4353272"/>
                <a:ext cx="293198" cy="628279"/>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4769 w 133350"/>
                  <a:gd name="connsiteY14" fmla="*/ 230981 h 285750"/>
                  <a:gd name="connsiteX15" fmla="*/ 46196 w 133350"/>
                  <a:gd name="connsiteY15" fmla="*/ 229076 h 285750"/>
                  <a:gd name="connsiteX16" fmla="*/ 46196 w 133350"/>
                  <a:gd name="connsiteY16" fmla="*/ 60484 h 285750"/>
                  <a:gd name="connsiteX17" fmla="*/ 54769 w 133350"/>
                  <a:gd name="connsiteY17" fmla="*/ 58579 h 285750"/>
                  <a:gd name="connsiteX18" fmla="*/ 63341 w 133350"/>
                  <a:gd name="connsiteY18" fmla="*/ 56674 h 285750"/>
                  <a:gd name="connsiteX19" fmla="*/ 71914 w 133350"/>
                  <a:gd name="connsiteY19" fmla="*/ 54769 h 285750"/>
                  <a:gd name="connsiteX20" fmla="*/ 71914 w 133350"/>
                  <a:gd name="connsiteY20" fmla="*/ 238601 h 285750"/>
                  <a:gd name="connsiteX21" fmla="*/ 63341 w 133350"/>
                  <a:gd name="connsiteY21" fmla="*/ 236696 h 285750"/>
                  <a:gd name="connsiteX22" fmla="*/ 54769 w 133350"/>
                  <a:gd name="connsiteY22" fmla="*/ 230981 h 285750"/>
                  <a:gd name="connsiteX23" fmla="*/ 94774 w 133350"/>
                  <a:gd name="connsiteY23" fmla="*/ 244316 h 285750"/>
                  <a:gd name="connsiteX24" fmla="*/ 83344 w 133350"/>
                  <a:gd name="connsiteY24" fmla="*/ 239554 h 285750"/>
                  <a:gd name="connsiteX25" fmla="*/ 83344 w 133350"/>
                  <a:gd name="connsiteY25" fmla="*/ 49054 h 285750"/>
                  <a:gd name="connsiteX26" fmla="*/ 94774 w 133350"/>
                  <a:gd name="connsiteY26" fmla="*/ 47149 h 285750"/>
                  <a:gd name="connsiteX27" fmla="*/ 106204 w 133350"/>
                  <a:gd name="connsiteY27" fmla="*/ 42386 h 285750"/>
                  <a:gd name="connsiteX28" fmla="*/ 119539 w 133350"/>
                  <a:gd name="connsiteY28" fmla="*/ 37624 h 285750"/>
                  <a:gd name="connsiteX29" fmla="*/ 119539 w 133350"/>
                  <a:gd name="connsiteY29" fmla="*/ 250984 h 285750"/>
                  <a:gd name="connsiteX30" fmla="*/ 106204 w 133350"/>
                  <a:gd name="connsiteY30" fmla="*/ 246221 h 285750"/>
                  <a:gd name="connsiteX31" fmla="*/ 94774 w 133350"/>
                  <a:gd name="connsiteY31" fmla="*/ 244316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4769" y="230981"/>
                    </a:moveTo>
                    <a:lnTo>
                      <a:pt x="46196" y="229076"/>
                    </a:lnTo>
                    <a:lnTo>
                      <a:pt x="46196" y="60484"/>
                    </a:lnTo>
                    <a:lnTo>
                      <a:pt x="54769" y="58579"/>
                    </a:lnTo>
                    <a:lnTo>
                      <a:pt x="63341" y="56674"/>
                    </a:lnTo>
                    <a:lnTo>
                      <a:pt x="71914" y="54769"/>
                    </a:lnTo>
                    <a:lnTo>
                      <a:pt x="71914" y="238601"/>
                    </a:lnTo>
                    <a:lnTo>
                      <a:pt x="63341" y="236696"/>
                    </a:lnTo>
                    <a:lnTo>
                      <a:pt x="54769" y="230981"/>
                    </a:lnTo>
                    <a:close/>
                    <a:moveTo>
                      <a:pt x="94774" y="244316"/>
                    </a:moveTo>
                    <a:lnTo>
                      <a:pt x="83344" y="239554"/>
                    </a:lnTo>
                    <a:lnTo>
                      <a:pt x="83344" y="49054"/>
                    </a:lnTo>
                    <a:lnTo>
                      <a:pt x="94774" y="47149"/>
                    </a:lnTo>
                    <a:lnTo>
                      <a:pt x="106204" y="42386"/>
                    </a:lnTo>
                    <a:lnTo>
                      <a:pt x="119539" y="37624"/>
                    </a:lnTo>
                    <a:lnTo>
                      <a:pt x="119539" y="250984"/>
                    </a:lnTo>
                    <a:lnTo>
                      <a:pt x="106204" y="246221"/>
                    </a:lnTo>
                    <a:lnTo>
                      <a:pt x="94774" y="244316"/>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4" name="Freeform: Shape 233">
                <a:extLst>
                  <a:ext uri="{FF2B5EF4-FFF2-40B4-BE49-F238E27FC236}">
                    <a16:creationId xmlns:a16="http://schemas.microsoft.com/office/drawing/2014/main" id="{EF3E1B17-4732-47E9-AB38-0288DE5A965F}"/>
                  </a:ext>
                </a:extLst>
              </p:cNvPr>
              <p:cNvSpPr/>
              <p:nvPr/>
            </p:nvSpPr>
            <p:spPr>
              <a:xfrm>
                <a:off x="2005632" y="4184679"/>
                <a:ext cx="4251364" cy="1256561"/>
              </a:xfrm>
              <a:custGeom>
                <a:avLst/>
                <a:gdLst>
                  <a:gd name="connsiteX0" fmla="*/ 1895800 w 1933575"/>
                  <a:gd name="connsiteY0" fmla="*/ 405765 h 571500"/>
                  <a:gd name="connsiteX1" fmla="*/ 922345 w 1933575"/>
                  <a:gd name="connsiteY1" fmla="*/ 468630 h 571500"/>
                  <a:gd name="connsiteX2" fmla="*/ 44139 w 1933575"/>
                  <a:gd name="connsiteY2" fmla="*/ 42863 h 571500"/>
                </a:gdLst>
                <a:ahLst/>
                <a:cxnLst>
                  <a:cxn ang="0">
                    <a:pos x="connsiteX0" y="connsiteY0"/>
                  </a:cxn>
                  <a:cxn ang="0">
                    <a:pos x="connsiteX1" y="connsiteY1"/>
                  </a:cxn>
                  <a:cxn ang="0">
                    <a:pos x="connsiteX2" y="connsiteY2"/>
                  </a:cxn>
                </a:cxnLst>
                <a:rect l="l" t="t" r="r" b="b"/>
                <a:pathLst>
                  <a:path w="1933575" h="571500">
                    <a:moveTo>
                      <a:pt x="1895800" y="405765"/>
                    </a:moveTo>
                    <a:cubicBezTo>
                      <a:pt x="1869130" y="541020"/>
                      <a:pt x="1432885" y="568643"/>
                      <a:pt x="922345" y="468630"/>
                    </a:cubicBezTo>
                    <a:cubicBezTo>
                      <a:pt x="411805" y="368618"/>
                      <a:pt x="17469" y="178118"/>
                      <a:pt x="44139" y="42863"/>
                    </a:cubicBezTo>
                  </a:path>
                </a:pathLst>
              </a:custGeom>
              <a:noFill/>
              <a:ln w="57150" cap="flat">
                <a:solidFill>
                  <a:schemeClr val="accent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5" name="Freeform: Shape 234">
                <a:extLst>
                  <a:ext uri="{FF2B5EF4-FFF2-40B4-BE49-F238E27FC236}">
                    <a16:creationId xmlns:a16="http://schemas.microsoft.com/office/drawing/2014/main" id="{7DEB6BE4-0563-481B-8F9E-20B220582801}"/>
                  </a:ext>
                </a:extLst>
              </p:cNvPr>
              <p:cNvSpPr/>
              <p:nvPr/>
            </p:nvSpPr>
            <p:spPr>
              <a:xfrm>
                <a:off x="5092248" y="5176315"/>
                <a:ext cx="523566" cy="272253"/>
              </a:xfrm>
              <a:custGeom>
                <a:avLst/>
                <a:gdLst>
                  <a:gd name="connsiteX0" fmla="*/ 136684 w 238125"/>
                  <a:gd name="connsiteY0" fmla="*/ 122396 h 123825"/>
                  <a:gd name="connsiteX1" fmla="*/ 7144 w 238125"/>
                  <a:gd name="connsiteY1" fmla="*/ 39529 h 123825"/>
                  <a:gd name="connsiteX2" fmla="*/ 123349 w 238125"/>
                  <a:gd name="connsiteY2" fmla="*/ 21431 h 123825"/>
                  <a:gd name="connsiteX3" fmla="*/ 226219 w 238125"/>
                  <a:gd name="connsiteY3" fmla="*/ 7144 h 123825"/>
                  <a:gd name="connsiteX4" fmla="*/ 239554 w 238125"/>
                  <a:gd name="connsiteY4" fmla="*/ 108109 h 123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5" h="123825">
                    <a:moveTo>
                      <a:pt x="136684" y="122396"/>
                    </a:moveTo>
                    <a:lnTo>
                      <a:pt x="7144" y="39529"/>
                    </a:lnTo>
                    <a:lnTo>
                      <a:pt x="123349" y="21431"/>
                    </a:lnTo>
                    <a:lnTo>
                      <a:pt x="226219" y="7144"/>
                    </a:lnTo>
                    <a:lnTo>
                      <a:pt x="239554" y="108109"/>
                    </a:lnTo>
                    <a:close/>
                  </a:path>
                </a:pathLst>
              </a:custGeom>
              <a:solidFill>
                <a:srgbClr val="D83B01">
                  <a:alpha val="60000"/>
                </a:srgb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6" name="Freeform: Shape 235">
                <a:extLst>
                  <a:ext uri="{FF2B5EF4-FFF2-40B4-BE49-F238E27FC236}">
                    <a16:creationId xmlns:a16="http://schemas.microsoft.com/office/drawing/2014/main" id="{98388732-64AC-4E5B-84F2-0E268E359366}"/>
                  </a:ext>
                </a:extLst>
              </p:cNvPr>
              <p:cNvSpPr/>
              <p:nvPr/>
            </p:nvSpPr>
            <p:spPr>
              <a:xfrm>
                <a:off x="5119472" y="5176315"/>
                <a:ext cx="502626" cy="293198"/>
              </a:xfrm>
              <a:custGeom>
                <a:avLst/>
                <a:gdLst>
                  <a:gd name="connsiteX0" fmla="*/ 79534 w 228600"/>
                  <a:gd name="connsiteY0" fmla="*/ 25241 h 133350"/>
                  <a:gd name="connsiteX1" fmla="*/ 7144 w 228600"/>
                  <a:gd name="connsiteY1" fmla="*/ 134779 h 133350"/>
                  <a:gd name="connsiteX2" fmla="*/ 124301 w 228600"/>
                  <a:gd name="connsiteY2" fmla="*/ 122396 h 133350"/>
                  <a:gd name="connsiteX3" fmla="*/ 227171 w 228600"/>
                  <a:gd name="connsiteY3" fmla="*/ 108109 h 133350"/>
                  <a:gd name="connsiteX4" fmla="*/ 213836 w 228600"/>
                  <a:gd name="connsiteY4" fmla="*/ 7144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133350">
                    <a:moveTo>
                      <a:pt x="79534" y="25241"/>
                    </a:moveTo>
                    <a:lnTo>
                      <a:pt x="7144" y="134779"/>
                    </a:lnTo>
                    <a:lnTo>
                      <a:pt x="124301" y="122396"/>
                    </a:lnTo>
                    <a:lnTo>
                      <a:pt x="227171" y="108109"/>
                    </a:lnTo>
                    <a:lnTo>
                      <a:pt x="213836" y="7144"/>
                    </a:lnTo>
                    <a:close/>
                  </a:path>
                </a:pathLst>
              </a:custGeom>
              <a:solidFill>
                <a:srgbClr val="DD5900">
                  <a:alpha val="70000"/>
                </a:srgb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7" name="Freeform: Shape 236">
                <a:extLst>
                  <a:ext uri="{FF2B5EF4-FFF2-40B4-BE49-F238E27FC236}">
                    <a16:creationId xmlns:a16="http://schemas.microsoft.com/office/drawing/2014/main" id="{B04F06CE-52FA-4136-ACC9-AA18135B25BC}"/>
                  </a:ext>
                </a:extLst>
              </p:cNvPr>
              <p:cNvSpPr/>
              <p:nvPr/>
            </p:nvSpPr>
            <p:spPr>
              <a:xfrm>
                <a:off x="5027329" y="5176315"/>
                <a:ext cx="607339" cy="272253"/>
              </a:xfrm>
              <a:custGeom>
                <a:avLst/>
                <a:gdLst>
                  <a:gd name="connsiteX0" fmla="*/ 121444 w 276225"/>
                  <a:gd name="connsiteY0" fmla="*/ 25241 h 123825"/>
                  <a:gd name="connsiteX1" fmla="*/ 7144 w 276225"/>
                  <a:gd name="connsiteY1" fmla="*/ 95726 h 123825"/>
                  <a:gd name="connsiteX2" fmla="*/ 166211 w 276225"/>
                  <a:gd name="connsiteY2" fmla="*/ 122396 h 123825"/>
                  <a:gd name="connsiteX3" fmla="*/ 269081 w 276225"/>
                  <a:gd name="connsiteY3" fmla="*/ 108109 h 123825"/>
                  <a:gd name="connsiteX4" fmla="*/ 255746 w 276225"/>
                  <a:gd name="connsiteY4" fmla="*/ 7144 h 123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225" h="123825">
                    <a:moveTo>
                      <a:pt x="121444" y="25241"/>
                    </a:moveTo>
                    <a:lnTo>
                      <a:pt x="7144" y="95726"/>
                    </a:lnTo>
                    <a:lnTo>
                      <a:pt x="166211" y="122396"/>
                    </a:lnTo>
                    <a:lnTo>
                      <a:pt x="269081" y="108109"/>
                    </a:lnTo>
                    <a:lnTo>
                      <a:pt x="255746" y="7144"/>
                    </a:lnTo>
                    <a:close/>
                  </a:path>
                </a:pathLst>
              </a:custGeom>
              <a:solidFill>
                <a:srgbClr val="EAE42D">
                  <a:alpha val="70000"/>
                </a:srgb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8" name="Freeform: Shape 237">
                <a:extLst>
                  <a:ext uri="{FF2B5EF4-FFF2-40B4-BE49-F238E27FC236}">
                    <a16:creationId xmlns:a16="http://schemas.microsoft.com/office/drawing/2014/main" id="{FA981314-88FA-4760-BDAB-6908508DD63B}"/>
                  </a:ext>
                </a:extLst>
              </p:cNvPr>
              <p:cNvSpPr/>
              <p:nvPr/>
            </p:nvSpPr>
            <p:spPr>
              <a:xfrm>
                <a:off x="5278642" y="5111370"/>
                <a:ext cx="314141" cy="125656"/>
              </a:xfrm>
              <a:custGeom>
                <a:avLst/>
                <a:gdLst>
                  <a:gd name="connsiteX0" fmla="*/ 7144 w 142875"/>
                  <a:gd name="connsiteY0" fmla="*/ 54769 h 57150"/>
                  <a:gd name="connsiteX1" fmla="*/ 21431 w 142875"/>
                  <a:gd name="connsiteY1" fmla="*/ 7144 h 57150"/>
                  <a:gd name="connsiteX2" fmla="*/ 141446 w 142875"/>
                  <a:gd name="connsiteY2" fmla="*/ 36671 h 57150"/>
                </a:gdLst>
                <a:ahLst/>
                <a:cxnLst>
                  <a:cxn ang="0">
                    <a:pos x="connsiteX0" y="connsiteY0"/>
                  </a:cxn>
                  <a:cxn ang="0">
                    <a:pos x="connsiteX1" y="connsiteY1"/>
                  </a:cxn>
                  <a:cxn ang="0">
                    <a:pos x="connsiteX2" y="connsiteY2"/>
                  </a:cxn>
                </a:cxnLst>
                <a:rect l="l" t="t" r="r" b="b"/>
                <a:pathLst>
                  <a:path w="142875" h="57150">
                    <a:moveTo>
                      <a:pt x="7144" y="54769"/>
                    </a:moveTo>
                    <a:lnTo>
                      <a:pt x="21431" y="7144"/>
                    </a:lnTo>
                    <a:lnTo>
                      <a:pt x="141446" y="36671"/>
                    </a:lnTo>
                    <a:close/>
                  </a:path>
                </a:pathLst>
              </a:custGeom>
              <a:solidFill>
                <a:srgbClr val="022050"/>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9" name="Freeform: Shape 238">
                <a:extLst>
                  <a:ext uri="{FF2B5EF4-FFF2-40B4-BE49-F238E27FC236}">
                    <a16:creationId xmlns:a16="http://schemas.microsoft.com/office/drawing/2014/main" id="{46852A02-A5DA-431F-9976-867444E2320C}"/>
                  </a:ext>
                </a:extLst>
              </p:cNvPr>
              <p:cNvSpPr/>
              <p:nvPr/>
            </p:nvSpPr>
            <p:spPr>
              <a:xfrm>
                <a:off x="5307962" y="5398277"/>
                <a:ext cx="314141" cy="146597"/>
              </a:xfrm>
              <a:custGeom>
                <a:avLst/>
                <a:gdLst>
                  <a:gd name="connsiteX0" fmla="*/ 7144 w 142875"/>
                  <a:gd name="connsiteY0" fmla="*/ 25241 h 66675"/>
                  <a:gd name="connsiteX1" fmla="*/ 32861 w 142875"/>
                  <a:gd name="connsiteY1" fmla="*/ 68104 h 66675"/>
                  <a:gd name="connsiteX2" fmla="*/ 141446 w 142875"/>
                  <a:gd name="connsiteY2" fmla="*/ 7144 h 66675"/>
                </a:gdLst>
                <a:ahLst/>
                <a:cxnLst>
                  <a:cxn ang="0">
                    <a:pos x="connsiteX0" y="connsiteY0"/>
                  </a:cxn>
                  <a:cxn ang="0">
                    <a:pos x="connsiteX1" y="connsiteY1"/>
                  </a:cxn>
                  <a:cxn ang="0">
                    <a:pos x="connsiteX2" y="connsiteY2"/>
                  </a:cxn>
                </a:cxnLst>
                <a:rect l="l" t="t" r="r" b="b"/>
                <a:pathLst>
                  <a:path w="142875" h="66675">
                    <a:moveTo>
                      <a:pt x="7144" y="25241"/>
                    </a:moveTo>
                    <a:lnTo>
                      <a:pt x="32861" y="68104"/>
                    </a:lnTo>
                    <a:lnTo>
                      <a:pt x="141446" y="7144"/>
                    </a:lnTo>
                    <a:close/>
                  </a:path>
                </a:pathLst>
              </a:custGeom>
              <a:solidFill>
                <a:srgbClr val="022050"/>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0" name="Freeform: Shape 239">
                <a:extLst>
                  <a:ext uri="{FF2B5EF4-FFF2-40B4-BE49-F238E27FC236}">
                    <a16:creationId xmlns:a16="http://schemas.microsoft.com/office/drawing/2014/main" id="{527215B1-C524-47B4-A413-DA4B88F9510E}"/>
                  </a:ext>
                </a:extLst>
              </p:cNvPr>
              <p:cNvSpPr/>
              <p:nvPr/>
            </p:nvSpPr>
            <p:spPr>
              <a:xfrm>
                <a:off x="5343565" y="5153246"/>
                <a:ext cx="502628" cy="188484"/>
              </a:xfrm>
              <a:custGeom>
                <a:avLst/>
                <a:gdLst>
                  <a:gd name="connsiteX0" fmla="*/ 14764 w 228600"/>
                  <a:gd name="connsiteY0" fmla="*/ 80486 h 85725"/>
                  <a:gd name="connsiteX1" fmla="*/ 7144 w 228600"/>
                  <a:gd name="connsiteY1" fmla="*/ 21431 h 85725"/>
                  <a:gd name="connsiteX2" fmla="*/ 215741 w 228600"/>
                  <a:gd name="connsiteY2" fmla="*/ 7144 h 85725"/>
                  <a:gd name="connsiteX3" fmla="*/ 222409 w 228600"/>
                  <a:gd name="connsiteY3" fmla="*/ 53816 h 85725"/>
                </a:gdLst>
                <a:ahLst/>
                <a:cxnLst>
                  <a:cxn ang="0">
                    <a:pos x="connsiteX0" y="connsiteY0"/>
                  </a:cxn>
                  <a:cxn ang="0">
                    <a:pos x="connsiteX1" y="connsiteY1"/>
                  </a:cxn>
                  <a:cxn ang="0">
                    <a:pos x="connsiteX2" y="connsiteY2"/>
                  </a:cxn>
                  <a:cxn ang="0">
                    <a:pos x="connsiteX3" y="connsiteY3"/>
                  </a:cxn>
                </a:cxnLst>
                <a:rect l="l" t="t" r="r" b="b"/>
                <a:pathLst>
                  <a:path w="228600" h="85725">
                    <a:moveTo>
                      <a:pt x="14764" y="80486"/>
                    </a:moveTo>
                    <a:lnTo>
                      <a:pt x="7144" y="21431"/>
                    </a:lnTo>
                    <a:lnTo>
                      <a:pt x="215741" y="7144"/>
                    </a:lnTo>
                    <a:lnTo>
                      <a:pt x="222409" y="53816"/>
                    </a:lnTo>
                    <a:close/>
                  </a:path>
                </a:pathLst>
              </a:custGeom>
              <a:solidFill>
                <a:srgbClr val="354D73"/>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1" name="Freeform: Shape 240">
                <a:extLst>
                  <a:ext uri="{FF2B5EF4-FFF2-40B4-BE49-F238E27FC236}">
                    <a16:creationId xmlns:a16="http://schemas.microsoft.com/office/drawing/2014/main" id="{C8070A25-66F9-4144-BF8B-57A87C48B303}"/>
                  </a:ext>
                </a:extLst>
              </p:cNvPr>
              <p:cNvSpPr/>
              <p:nvPr/>
            </p:nvSpPr>
            <p:spPr>
              <a:xfrm>
                <a:off x="5802208" y="5153213"/>
                <a:ext cx="188485" cy="125656"/>
              </a:xfrm>
              <a:custGeom>
                <a:avLst/>
                <a:gdLst>
                  <a:gd name="connsiteX0" fmla="*/ 13811 w 85725"/>
                  <a:gd name="connsiteY0" fmla="*/ 53816 h 57150"/>
                  <a:gd name="connsiteX1" fmla="*/ 7144 w 85725"/>
                  <a:gd name="connsiteY1" fmla="*/ 7144 h 57150"/>
                  <a:gd name="connsiteX2" fmla="*/ 87154 w 85725"/>
                  <a:gd name="connsiteY2" fmla="*/ 43339 h 57150"/>
                </a:gdLst>
                <a:ahLst/>
                <a:cxnLst>
                  <a:cxn ang="0">
                    <a:pos x="connsiteX0" y="connsiteY0"/>
                  </a:cxn>
                  <a:cxn ang="0">
                    <a:pos x="connsiteX1" y="connsiteY1"/>
                  </a:cxn>
                  <a:cxn ang="0">
                    <a:pos x="connsiteX2" y="connsiteY2"/>
                  </a:cxn>
                </a:cxnLst>
                <a:rect l="l" t="t" r="r" b="b"/>
                <a:pathLst>
                  <a:path w="85725" h="57150">
                    <a:moveTo>
                      <a:pt x="13811" y="53816"/>
                    </a:moveTo>
                    <a:lnTo>
                      <a:pt x="7144" y="7144"/>
                    </a:lnTo>
                    <a:lnTo>
                      <a:pt x="87154" y="43339"/>
                    </a:lnTo>
                    <a:close/>
                  </a:path>
                </a:pathLst>
              </a:custGeom>
              <a:solidFill>
                <a:srgbClr val="022050"/>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2" name="Freeform: Shape 241">
                <a:extLst>
                  <a:ext uri="{FF2B5EF4-FFF2-40B4-BE49-F238E27FC236}">
                    <a16:creationId xmlns:a16="http://schemas.microsoft.com/office/drawing/2014/main" id="{8A39AEDA-7626-45A5-9311-C4A42912F177}"/>
                  </a:ext>
                </a:extLst>
              </p:cNvPr>
              <p:cNvSpPr/>
              <p:nvPr/>
            </p:nvSpPr>
            <p:spPr>
              <a:xfrm>
                <a:off x="5360319" y="5255827"/>
                <a:ext cx="481683" cy="209423"/>
              </a:xfrm>
              <a:custGeom>
                <a:avLst/>
                <a:gdLst>
                  <a:gd name="connsiteX0" fmla="*/ 7144 w 219075"/>
                  <a:gd name="connsiteY0" fmla="*/ 33814 h 95250"/>
                  <a:gd name="connsiteX1" fmla="*/ 15716 w 219075"/>
                  <a:gd name="connsiteY1" fmla="*/ 92869 h 95250"/>
                  <a:gd name="connsiteX2" fmla="*/ 220504 w 219075"/>
                  <a:gd name="connsiteY2" fmla="*/ 52864 h 95250"/>
                  <a:gd name="connsiteX3" fmla="*/ 214789 w 219075"/>
                  <a:gd name="connsiteY3" fmla="*/ 7144 h 95250"/>
                </a:gdLst>
                <a:ahLst/>
                <a:cxnLst>
                  <a:cxn ang="0">
                    <a:pos x="connsiteX0" y="connsiteY0"/>
                  </a:cxn>
                  <a:cxn ang="0">
                    <a:pos x="connsiteX1" y="connsiteY1"/>
                  </a:cxn>
                  <a:cxn ang="0">
                    <a:pos x="connsiteX2" y="connsiteY2"/>
                  </a:cxn>
                  <a:cxn ang="0">
                    <a:pos x="connsiteX3" y="connsiteY3"/>
                  </a:cxn>
                </a:cxnLst>
                <a:rect l="l" t="t" r="r" b="b"/>
                <a:pathLst>
                  <a:path w="219075" h="95250">
                    <a:moveTo>
                      <a:pt x="7144" y="33814"/>
                    </a:moveTo>
                    <a:lnTo>
                      <a:pt x="15716" y="92869"/>
                    </a:lnTo>
                    <a:lnTo>
                      <a:pt x="220504" y="52864"/>
                    </a:lnTo>
                    <a:lnTo>
                      <a:pt x="214789" y="7144"/>
                    </a:lnTo>
                    <a:close/>
                  </a:path>
                </a:pathLst>
              </a:custGeom>
              <a:solidFill>
                <a:srgbClr val="354D73"/>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3" name="Freeform: Shape 242">
                <a:extLst>
                  <a:ext uri="{FF2B5EF4-FFF2-40B4-BE49-F238E27FC236}">
                    <a16:creationId xmlns:a16="http://schemas.microsoft.com/office/drawing/2014/main" id="{2B397CDC-16CE-4400-97C9-8F1BA37AE124}"/>
                  </a:ext>
                </a:extLst>
              </p:cNvPr>
              <p:cNvSpPr/>
              <p:nvPr/>
            </p:nvSpPr>
            <p:spPr>
              <a:xfrm>
                <a:off x="5816878" y="5232829"/>
                <a:ext cx="188485" cy="146597"/>
              </a:xfrm>
              <a:custGeom>
                <a:avLst/>
                <a:gdLst>
                  <a:gd name="connsiteX0" fmla="*/ 7144 w 85725"/>
                  <a:gd name="connsiteY0" fmla="*/ 17621 h 66675"/>
                  <a:gd name="connsiteX1" fmla="*/ 12859 w 85725"/>
                  <a:gd name="connsiteY1" fmla="*/ 63341 h 66675"/>
                  <a:gd name="connsiteX2" fmla="*/ 80486 w 85725"/>
                  <a:gd name="connsiteY2" fmla="*/ 7144 h 66675"/>
                </a:gdLst>
                <a:ahLst/>
                <a:cxnLst>
                  <a:cxn ang="0">
                    <a:pos x="connsiteX0" y="connsiteY0"/>
                  </a:cxn>
                  <a:cxn ang="0">
                    <a:pos x="connsiteX1" y="connsiteY1"/>
                  </a:cxn>
                  <a:cxn ang="0">
                    <a:pos x="connsiteX2" y="connsiteY2"/>
                  </a:cxn>
                </a:cxnLst>
                <a:rect l="l" t="t" r="r" b="b"/>
                <a:pathLst>
                  <a:path w="85725" h="66675">
                    <a:moveTo>
                      <a:pt x="7144" y="17621"/>
                    </a:moveTo>
                    <a:lnTo>
                      <a:pt x="12859" y="63341"/>
                    </a:lnTo>
                    <a:lnTo>
                      <a:pt x="80486" y="7144"/>
                    </a:lnTo>
                    <a:close/>
                  </a:path>
                </a:pathLst>
              </a:custGeom>
              <a:solidFill>
                <a:srgbClr val="022050"/>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4" name="Freeform: Shape 243">
                <a:extLst>
                  <a:ext uri="{FF2B5EF4-FFF2-40B4-BE49-F238E27FC236}">
                    <a16:creationId xmlns:a16="http://schemas.microsoft.com/office/drawing/2014/main" id="{2B793C8C-105B-4A20-AF2F-16F609B70B3E}"/>
                  </a:ext>
                </a:extLst>
              </p:cNvPr>
              <p:cNvSpPr/>
              <p:nvPr/>
            </p:nvSpPr>
            <p:spPr>
              <a:xfrm>
                <a:off x="5224197" y="5257966"/>
                <a:ext cx="356027" cy="104711"/>
              </a:xfrm>
              <a:custGeom>
                <a:avLst/>
                <a:gdLst>
                  <a:gd name="connsiteX0" fmla="*/ 7144 w 161925"/>
                  <a:gd name="connsiteY0" fmla="*/ 43339 h 47625"/>
                  <a:gd name="connsiteX1" fmla="*/ 37624 w 161925"/>
                  <a:gd name="connsiteY1" fmla="*/ 7144 h 47625"/>
                  <a:gd name="connsiteX2" fmla="*/ 155734 w 161925"/>
                  <a:gd name="connsiteY2" fmla="*/ 23336 h 47625"/>
                </a:gdLst>
                <a:ahLst/>
                <a:cxnLst>
                  <a:cxn ang="0">
                    <a:pos x="connsiteX0" y="connsiteY0"/>
                  </a:cxn>
                  <a:cxn ang="0">
                    <a:pos x="connsiteX1" y="connsiteY1"/>
                  </a:cxn>
                  <a:cxn ang="0">
                    <a:pos x="connsiteX2" y="connsiteY2"/>
                  </a:cxn>
                </a:cxnLst>
                <a:rect l="l" t="t" r="r" b="b"/>
                <a:pathLst>
                  <a:path w="161925" h="47625">
                    <a:moveTo>
                      <a:pt x="7144" y="43339"/>
                    </a:moveTo>
                    <a:lnTo>
                      <a:pt x="37624" y="7144"/>
                    </a:lnTo>
                    <a:lnTo>
                      <a:pt x="155734" y="23336"/>
                    </a:lnTo>
                    <a:close/>
                  </a:path>
                </a:pathLst>
              </a:custGeom>
              <a:solidFill>
                <a:srgbClr val="022050"/>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5" name="Freeform: Shape 244">
                <a:extLst>
                  <a:ext uri="{FF2B5EF4-FFF2-40B4-BE49-F238E27FC236}">
                    <a16:creationId xmlns:a16="http://schemas.microsoft.com/office/drawing/2014/main" id="{1664074D-548A-4088-800E-92FB306F971F}"/>
                  </a:ext>
                </a:extLst>
              </p:cNvPr>
              <p:cNvSpPr/>
              <p:nvPr/>
            </p:nvSpPr>
            <p:spPr>
              <a:xfrm>
                <a:off x="5224197" y="5293625"/>
                <a:ext cx="356027" cy="125656"/>
              </a:xfrm>
              <a:custGeom>
                <a:avLst/>
                <a:gdLst>
                  <a:gd name="connsiteX0" fmla="*/ 7144 w 161925"/>
                  <a:gd name="connsiteY0" fmla="*/ 26194 h 57150"/>
                  <a:gd name="connsiteX1" fmla="*/ 45244 w 161925"/>
                  <a:gd name="connsiteY1" fmla="*/ 52864 h 57150"/>
                  <a:gd name="connsiteX2" fmla="*/ 155734 w 161925"/>
                  <a:gd name="connsiteY2" fmla="*/ 7144 h 57150"/>
                </a:gdLst>
                <a:ahLst/>
                <a:cxnLst>
                  <a:cxn ang="0">
                    <a:pos x="connsiteX0" y="connsiteY0"/>
                  </a:cxn>
                  <a:cxn ang="0">
                    <a:pos x="connsiteX1" y="connsiteY1"/>
                  </a:cxn>
                  <a:cxn ang="0">
                    <a:pos x="connsiteX2" y="connsiteY2"/>
                  </a:cxn>
                </a:cxnLst>
                <a:rect l="l" t="t" r="r" b="b"/>
                <a:pathLst>
                  <a:path w="161925" h="57150">
                    <a:moveTo>
                      <a:pt x="7144" y="26194"/>
                    </a:moveTo>
                    <a:lnTo>
                      <a:pt x="45244" y="52864"/>
                    </a:lnTo>
                    <a:lnTo>
                      <a:pt x="155734" y="7144"/>
                    </a:lnTo>
                    <a:close/>
                  </a:path>
                </a:pathLst>
              </a:custGeom>
              <a:solidFill>
                <a:srgbClr val="022050"/>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sp>
        <p:nvSpPr>
          <p:cNvPr id="153" name="Rectangle 152">
            <a:extLst>
              <a:ext uri="{FF2B5EF4-FFF2-40B4-BE49-F238E27FC236}">
                <a16:creationId xmlns:a16="http://schemas.microsoft.com/office/drawing/2014/main" id="{3378CD5A-7D97-4906-893C-76BCF20F15E6}"/>
              </a:ext>
            </a:extLst>
          </p:cNvPr>
          <p:cNvSpPr/>
          <p:nvPr/>
        </p:nvSpPr>
        <p:spPr bwMode="auto">
          <a:xfrm>
            <a:off x="7467180" y="5407628"/>
            <a:ext cx="3017092"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rPr>
              <a:t>Tool agnostic Python SDK</a:t>
            </a:r>
          </a:p>
        </p:txBody>
      </p:sp>
    </p:spTree>
    <p:extLst>
      <p:ext uri="{BB962C8B-B14F-4D97-AF65-F5344CB8AC3E}">
        <p14:creationId xmlns:p14="http://schemas.microsoft.com/office/powerpoint/2010/main" val="35381412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95"/>
                                        </p:tgtEl>
                                        <p:attrNameLst>
                                          <p:attrName>style.visibility</p:attrName>
                                        </p:attrNameLst>
                                      </p:cBhvr>
                                      <p:to>
                                        <p:strVal val="visible"/>
                                      </p:to>
                                    </p:set>
                                    <p:animEffect transition="in" filter="fade">
                                      <p:cBhvr>
                                        <p:cTn id="25" dur="500"/>
                                        <p:tgtEl>
                                          <p:spTgt spid="95"/>
                                        </p:tgtEl>
                                      </p:cBhvr>
                                    </p:animEffect>
                                  </p:childTnLst>
                                </p:cTn>
                              </p:par>
                              <p:par>
                                <p:cTn id="26" presetID="10" presetClass="entr" presetSubtype="0" fill="hold" nodeType="withEffect">
                                  <p:stCondLst>
                                    <p:cond delay="0"/>
                                  </p:stCondLst>
                                  <p:childTnLst>
                                    <p:set>
                                      <p:cBhvr>
                                        <p:cTn id="27" dur="1" fill="hold">
                                          <p:stCondLst>
                                            <p:cond delay="0"/>
                                          </p:stCondLst>
                                        </p:cTn>
                                        <p:tgtEl>
                                          <p:spTgt spid="96"/>
                                        </p:tgtEl>
                                        <p:attrNameLst>
                                          <p:attrName>style.visibility</p:attrName>
                                        </p:attrNameLst>
                                      </p:cBhvr>
                                      <p:to>
                                        <p:strVal val="visible"/>
                                      </p:to>
                                    </p:set>
                                    <p:animEffect transition="in" filter="fade">
                                      <p:cBhvr>
                                        <p:cTn id="28"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96DDBC4-D523-4012-B10B-5D86458F9884}"/>
              </a:ext>
            </a:extLst>
          </p:cNvPr>
          <p:cNvSpPr>
            <a:spLocks noGrp="1"/>
          </p:cNvSpPr>
          <p:nvPr>
            <p:ph type="title"/>
          </p:nvPr>
        </p:nvSpPr>
        <p:spPr>
          <a:xfrm>
            <a:off x="1593671" y="3586942"/>
            <a:ext cx="9004658" cy="828148"/>
          </a:xfrm>
        </p:spPr>
        <p:txBody>
          <a:bodyPr anchor="ctr"/>
          <a:lstStyle/>
          <a:p>
            <a:pPr algn="ctr"/>
            <a:r>
              <a:rPr lang="en-US" dirty="0"/>
              <a:t>Automated machine learning</a:t>
            </a:r>
          </a:p>
        </p:txBody>
      </p:sp>
      <p:grpSp>
        <p:nvGrpSpPr>
          <p:cNvPr id="5" name="Group 4">
            <a:extLst>
              <a:ext uri="{FF2B5EF4-FFF2-40B4-BE49-F238E27FC236}">
                <a16:creationId xmlns:a16="http://schemas.microsoft.com/office/drawing/2014/main" id="{5725A2C8-9704-514C-A56C-D5B15A87D0FE}"/>
              </a:ext>
            </a:extLst>
          </p:cNvPr>
          <p:cNvGrpSpPr/>
          <p:nvPr/>
        </p:nvGrpSpPr>
        <p:grpSpPr>
          <a:xfrm>
            <a:off x="5388502" y="2147901"/>
            <a:ext cx="1414996" cy="1123157"/>
            <a:chOff x="4223626" y="2353385"/>
            <a:chExt cx="1173971" cy="931848"/>
          </a:xfrm>
        </p:grpSpPr>
        <p:grpSp>
          <p:nvGrpSpPr>
            <p:cNvPr id="6" name="Group 5">
              <a:extLst>
                <a:ext uri="{FF2B5EF4-FFF2-40B4-BE49-F238E27FC236}">
                  <a16:creationId xmlns:a16="http://schemas.microsoft.com/office/drawing/2014/main" id="{32B248E1-D684-8F49-A820-F2C65837B4E4}"/>
                </a:ext>
              </a:extLst>
            </p:cNvPr>
            <p:cNvGrpSpPr/>
            <p:nvPr/>
          </p:nvGrpSpPr>
          <p:grpSpPr>
            <a:xfrm>
              <a:off x="4273550" y="2402418"/>
              <a:ext cx="1079500" cy="840315"/>
              <a:chOff x="4273550" y="2402418"/>
              <a:chExt cx="1079500" cy="840315"/>
            </a:xfrm>
          </p:grpSpPr>
          <p:cxnSp>
            <p:nvCxnSpPr>
              <p:cNvPr id="15" name="Straight Connector 14">
                <a:extLst>
                  <a:ext uri="{FF2B5EF4-FFF2-40B4-BE49-F238E27FC236}">
                    <a16:creationId xmlns:a16="http://schemas.microsoft.com/office/drawing/2014/main" id="{A95E64BC-0BFE-0E44-A9CE-2D6482AF8641}"/>
                  </a:ext>
                </a:extLst>
              </p:cNvPr>
              <p:cNvCxnSpPr>
                <a:cxnSpLocks/>
              </p:cNvCxnSpPr>
              <p:nvPr/>
            </p:nvCxnSpPr>
            <p:spPr>
              <a:xfrm>
                <a:off x="4997450" y="2413000"/>
                <a:ext cx="355600" cy="232833"/>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 name="Straight Connector 15">
                <a:extLst>
                  <a:ext uri="{FF2B5EF4-FFF2-40B4-BE49-F238E27FC236}">
                    <a16:creationId xmlns:a16="http://schemas.microsoft.com/office/drawing/2014/main" id="{65CF55B8-06F9-DF47-B04A-6CFBF1AE2889}"/>
                  </a:ext>
                </a:extLst>
              </p:cNvPr>
              <p:cNvCxnSpPr>
                <a:cxnSpLocks/>
              </p:cNvCxnSpPr>
              <p:nvPr/>
            </p:nvCxnSpPr>
            <p:spPr>
              <a:xfrm>
                <a:off x="4997450" y="2413000"/>
                <a:ext cx="296333" cy="721783"/>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7" name="Straight Connector 16">
                <a:extLst>
                  <a:ext uri="{FF2B5EF4-FFF2-40B4-BE49-F238E27FC236}">
                    <a16:creationId xmlns:a16="http://schemas.microsoft.com/office/drawing/2014/main" id="{AA0A3CDC-A6D9-E74F-9380-44E9395F34FC}"/>
                  </a:ext>
                </a:extLst>
              </p:cNvPr>
              <p:cNvCxnSpPr>
                <a:cxnSpLocks/>
              </p:cNvCxnSpPr>
              <p:nvPr/>
            </p:nvCxnSpPr>
            <p:spPr>
              <a:xfrm flipV="1">
                <a:off x="4762500" y="3143250"/>
                <a:ext cx="520700" cy="86783"/>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8" name="Straight Connector 17">
                <a:extLst>
                  <a:ext uri="{FF2B5EF4-FFF2-40B4-BE49-F238E27FC236}">
                    <a16:creationId xmlns:a16="http://schemas.microsoft.com/office/drawing/2014/main" id="{F06365D7-6E28-AE4C-9E62-C842364A95D8}"/>
                  </a:ext>
                </a:extLst>
              </p:cNvPr>
              <p:cNvCxnSpPr>
                <a:cxnSpLocks/>
              </p:cNvCxnSpPr>
              <p:nvPr/>
            </p:nvCxnSpPr>
            <p:spPr>
              <a:xfrm flipV="1">
                <a:off x="5039783" y="2641600"/>
                <a:ext cx="300567" cy="241300"/>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 name="Straight Connector 18">
                <a:extLst>
                  <a:ext uri="{FF2B5EF4-FFF2-40B4-BE49-F238E27FC236}">
                    <a16:creationId xmlns:a16="http://schemas.microsoft.com/office/drawing/2014/main" id="{C57EF3EB-CCBD-BB42-9A38-2B4D023C5539}"/>
                  </a:ext>
                </a:extLst>
              </p:cNvPr>
              <p:cNvCxnSpPr>
                <a:cxnSpLocks/>
              </p:cNvCxnSpPr>
              <p:nvPr/>
            </p:nvCxnSpPr>
            <p:spPr>
              <a:xfrm flipV="1">
                <a:off x="4413250" y="2413001"/>
                <a:ext cx="571500" cy="126999"/>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 name="Straight Connector 19">
                <a:extLst>
                  <a:ext uri="{FF2B5EF4-FFF2-40B4-BE49-F238E27FC236}">
                    <a16:creationId xmlns:a16="http://schemas.microsoft.com/office/drawing/2014/main" id="{B3DC11BA-6C68-744E-90A0-E93DC87F2249}"/>
                  </a:ext>
                </a:extLst>
              </p:cNvPr>
              <p:cNvCxnSpPr>
                <a:cxnSpLocks/>
              </p:cNvCxnSpPr>
              <p:nvPr/>
            </p:nvCxnSpPr>
            <p:spPr>
              <a:xfrm flipV="1">
                <a:off x="4703233" y="2450099"/>
                <a:ext cx="251425" cy="248651"/>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1" name="Straight Connector 20">
                <a:extLst>
                  <a:ext uri="{FF2B5EF4-FFF2-40B4-BE49-F238E27FC236}">
                    <a16:creationId xmlns:a16="http://schemas.microsoft.com/office/drawing/2014/main" id="{BF2FD355-0DD5-6347-8583-22DEDC7A67AE}"/>
                  </a:ext>
                </a:extLst>
              </p:cNvPr>
              <p:cNvCxnSpPr>
                <a:cxnSpLocks/>
              </p:cNvCxnSpPr>
              <p:nvPr/>
            </p:nvCxnSpPr>
            <p:spPr>
              <a:xfrm flipV="1">
                <a:off x="4762500" y="2402418"/>
                <a:ext cx="232833" cy="821265"/>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2" name="Straight Connector 21">
                <a:extLst>
                  <a:ext uri="{FF2B5EF4-FFF2-40B4-BE49-F238E27FC236}">
                    <a16:creationId xmlns:a16="http://schemas.microsoft.com/office/drawing/2014/main" id="{B54D5BEE-ED87-0F4A-91F4-F589C52F3FFA}"/>
                  </a:ext>
                </a:extLst>
              </p:cNvPr>
              <p:cNvCxnSpPr>
                <a:cxnSpLocks/>
              </p:cNvCxnSpPr>
              <p:nvPr/>
            </p:nvCxnSpPr>
            <p:spPr>
              <a:xfrm flipH="1" flipV="1">
                <a:off x="4273550" y="2984500"/>
                <a:ext cx="495300" cy="251883"/>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3" name="Straight Connector 22">
                <a:extLst>
                  <a:ext uri="{FF2B5EF4-FFF2-40B4-BE49-F238E27FC236}">
                    <a16:creationId xmlns:a16="http://schemas.microsoft.com/office/drawing/2014/main" id="{775B5FD0-E472-774D-8457-251D5C31DEFD}"/>
                  </a:ext>
                </a:extLst>
              </p:cNvPr>
              <p:cNvCxnSpPr>
                <a:cxnSpLocks/>
              </p:cNvCxnSpPr>
              <p:nvPr/>
            </p:nvCxnSpPr>
            <p:spPr>
              <a:xfrm flipH="1" flipV="1">
                <a:off x="4417483" y="2537884"/>
                <a:ext cx="647700" cy="338666"/>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 name="Straight Connector 23">
                <a:extLst>
                  <a:ext uri="{FF2B5EF4-FFF2-40B4-BE49-F238E27FC236}">
                    <a16:creationId xmlns:a16="http://schemas.microsoft.com/office/drawing/2014/main" id="{79BE64EB-1B1D-734F-91BA-A2C994661A20}"/>
                  </a:ext>
                </a:extLst>
              </p:cNvPr>
              <p:cNvCxnSpPr>
                <a:cxnSpLocks/>
              </p:cNvCxnSpPr>
              <p:nvPr/>
            </p:nvCxnSpPr>
            <p:spPr>
              <a:xfrm flipV="1">
                <a:off x="4277783" y="2874433"/>
                <a:ext cx="770467" cy="107950"/>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 name="Straight Connector 24">
                <a:extLst>
                  <a:ext uri="{FF2B5EF4-FFF2-40B4-BE49-F238E27FC236}">
                    <a16:creationId xmlns:a16="http://schemas.microsoft.com/office/drawing/2014/main" id="{AAAEFE72-548A-2E43-BB04-B5A224779E14}"/>
                  </a:ext>
                </a:extLst>
              </p:cNvPr>
              <p:cNvCxnSpPr>
                <a:cxnSpLocks/>
              </p:cNvCxnSpPr>
              <p:nvPr/>
            </p:nvCxnSpPr>
            <p:spPr>
              <a:xfrm flipH="1" flipV="1">
                <a:off x="4413250" y="2531533"/>
                <a:ext cx="353483" cy="698500"/>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6" name="Straight Connector 25">
                <a:extLst>
                  <a:ext uri="{FF2B5EF4-FFF2-40B4-BE49-F238E27FC236}">
                    <a16:creationId xmlns:a16="http://schemas.microsoft.com/office/drawing/2014/main" id="{46620B28-E1A8-0145-B566-BB6FB62D4072}"/>
                  </a:ext>
                </a:extLst>
              </p:cNvPr>
              <p:cNvCxnSpPr>
                <a:cxnSpLocks/>
              </p:cNvCxnSpPr>
              <p:nvPr/>
            </p:nvCxnSpPr>
            <p:spPr>
              <a:xfrm flipH="1" flipV="1">
                <a:off x="4715933" y="2698750"/>
                <a:ext cx="50800" cy="543983"/>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7" name="Straight Connector 26">
                <a:extLst>
                  <a:ext uri="{FF2B5EF4-FFF2-40B4-BE49-F238E27FC236}">
                    <a16:creationId xmlns:a16="http://schemas.microsoft.com/office/drawing/2014/main" id="{3D90210E-CA50-2949-8BA1-D02C7702496A}"/>
                  </a:ext>
                </a:extLst>
              </p:cNvPr>
              <p:cNvCxnSpPr>
                <a:cxnSpLocks/>
              </p:cNvCxnSpPr>
              <p:nvPr/>
            </p:nvCxnSpPr>
            <p:spPr>
              <a:xfrm flipH="1" flipV="1">
                <a:off x="5052483" y="2899834"/>
                <a:ext cx="234950" cy="218016"/>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 name="Straight Connector 27">
                <a:extLst>
                  <a:ext uri="{FF2B5EF4-FFF2-40B4-BE49-F238E27FC236}">
                    <a16:creationId xmlns:a16="http://schemas.microsoft.com/office/drawing/2014/main" id="{00A598E5-D697-AC4F-907C-88735AEF8062}"/>
                  </a:ext>
                </a:extLst>
              </p:cNvPr>
              <p:cNvCxnSpPr>
                <a:cxnSpLocks/>
              </p:cNvCxnSpPr>
              <p:nvPr/>
            </p:nvCxnSpPr>
            <p:spPr>
              <a:xfrm flipV="1">
                <a:off x="4762500" y="2876550"/>
                <a:ext cx="292101" cy="340783"/>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7" name="Oval 19">
              <a:extLst>
                <a:ext uri="{FF2B5EF4-FFF2-40B4-BE49-F238E27FC236}">
                  <a16:creationId xmlns:a16="http://schemas.microsoft.com/office/drawing/2014/main" id="{A515C96F-58BF-ED47-88CE-CA70963A1F2C}"/>
                </a:ext>
              </a:extLst>
            </p:cNvPr>
            <p:cNvSpPr>
              <a:spLocks noChangeArrowheads="1"/>
            </p:cNvSpPr>
            <p:nvPr/>
          </p:nvSpPr>
          <p:spPr bwMode="auto">
            <a:xfrm>
              <a:off x="4938065" y="2353385"/>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a:ea typeface="+mn-ea"/>
                <a:cs typeface="+mn-cs"/>
              </a:endParaRPr>
            </a:p>
          </p:txBody>
        </p:sp>
        <p:sp useBgFill="1">
          <p:nvSpPr>
            <p:cNvPr id="8" name="Oval 19">
              <a:extLst>
                <a:ext uri="{FF2B5EF4-FFF2-40B4-BE49-F238E27FC236}">
                  <a16:creationId xmlns:a16="http://schemas.microsoft.com/office/drawing/2014/main" id="{7425EA27-1C1A-CA4B-B840-2589BC42C205}"/>
                </a:ext>
              </a:extLst>
            </p:cNvPr>
            <p:cNvSpPr>
              <a:spLocks noChangeArrowheads="1"/>
            </p:cNvSpPr>
            <p:nvPr/>
          </p:nvSpPr>
          <p:spPr bwMode="auto">
            <a:xfrm>
              <a:off x="5284290" y="2582712"/>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a:ea typeface="+mn-ea"/>
                <a:cs typeface="+mn-cs"/>
              </a:endParaRPr>
            </a:p>
          </p:txBody>
        </p:sp>
        <p:sp useBgFill="1">
          <p:nvSpPr>
            <p:cNvPr id="9" name="Oval 19">
              <a:extLst>
                <a:ext uri="{FF2B5EF4-FFF2-40B4-BE49-F238E27FC236}">
                  <a16:creationId xmlns:a16="http://schemas.microsoft.com/office/drawing/2014/main" id="{170B9D61-514A-E34C-B4BC-91D1F4FD6C15}"/>
                </a:ext>
              </a:extLst>
            </p:cNvPr>
            <p:cNvSpPr>
              <a:spLocks noChangeArrowheads="1"/>
            </p:cNvSpPr>
            <p:nvPr/>
          </p:nvSpPr>
          <p:spPr bwMode="auto">
            <a:xfrm>
              <a:off x="4992571" y="2824202"/>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a:ea typeface="+mn-ea"/>
                <a:cs typeface="+mn-cs"/>
              </a:endParaRPr>
            </a:p>
          </p:txBody>
        </p:sp>
        <p:sp useBgFill="1">
          <p:nvSpPr>
            <p:cNvPr id="10" name="Oval 19">
              <a:extLst>
                <a:ext uri="{FF2B5EF4-FFF2-40B4-BE49-F238E27FC236}">
                  <a16:creationId xmlns:a16="http://schemas.microsoft.com/office/drawing/2014/main" id="{E1691540-0A1F-D841-9621-83573E1931E1}"/>
                </a:ext>
              </a:extLst>
            </p:cNvPr>
            <p:cNvSpPr>
              <a:spLocks noChangeArrowheads="1"/>
            </p:cNvSpPr>
            <p:nvPr/>
          </p:nvSpPr>
          <p:spPr bwMode="auto">
            <a:xfrm>
              <a:off x="5227637" y="3071688"/>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a:ea typeface="+mn-ea"/>
                <a:cs typeface="+mn-cs"/>
              </a:endParaRPr>
            </a:p>
          </p:txBody>
        </p:sp>
        <p:sp useBgFill="1">
          <p:nvSpPr>
            <p:cNvPr id="11" name="Oval 19">
              <a:extLst>
                <a:ext uri="{FF2B5EF4-FFF2-40B4-BE49-F238E27FC236}">
                  <a16:creationId xmlns:a16="http://schemas.microsoft.com/office/drawing/2014/main" id="{0EAA5D1A-B071-5C4F-BCC6-1E54C8D4D3EF}"/>
                </a:ext>
              </a:extLst>
            </p:cNvPr>
            <p:cNvSpPr>
              <a:spLocks noChangeArrowheads="1"/>
            </p:cNvSpPr>
            <p:nvPr/>
          </p:nvSpPr>
          <p:spPr bwMode="auto">
            <a:xfrm>
              <a:off x="4703544" y="3171926"/>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a:ea typeface="+mn-ea"/>
                <a:cs typeface="+mn-cs"/>
              </a:endParaRPr>
            </a:p>
          </p:txBody>
        </p:sp>
        <p:sp useBgFill="1">
          <p:nvSpPr>
            <p:cNvPr id="12" name="Oval 19">
              <a:extLst>
                <a:ext uri="{FF2B5EF4-FFF2-40B4-BE49-F238E27FC236}">
                  <a16:creationId xmlns:a16="http://schemas.microsoft.com/office/drawing/2014/main" id="{650B2524-0148-CD43-B9BE-D8BB98FE6141}"/>
                </a:ext>
              </a:extLst>
            </p:cNvPr>
            <p:cNvSpPr>
              <a:spLocks noChangeArrowheads="1"/>
            </p:cNvSpPr>
            <p:nvPr/>
          </p:nvSpPr>
          <p:spPr bwMode="auto">
            <a:xfrm>
              <a:off x="4223626" y="2924064"/>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a:ea typeface="+mn-ea"/>
                <a:cs typeface="+mn-cs"/>
              </a:endParaRPr>
            </a:p>
          </p:txBody>
        </p:sp>
        <p:sp useBgFill="1">
          <p:nvSpPr>
            <p:cNvPr id="13" name="Oval 19">
              <a:extLst>
                <a:ext uri="{FF2B5EF4-FFF2-40B4-BE49-F238E27FC236}">
                  <a16:creationId xmlns:a16="http://schemas.microsoft.com/office/drawing/2014/main" id="{DE0C8D3D-B686-7A40-B416-38267A1DE390}"/>
                </a:ext>
              </a:extLst>
            </p:cNvPr>
            <p:cNvSpPr>
              <a:spLocks noChangeArrowheads="1"/>
            </p:cNvSpPr>
            <p:nvPr/>
          </p:nvSpPr>
          <p:spPr bwMode="auto">
            <a:xfrm>
              <a:off x="4655543" y="2638231"/>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a:ea typeface="+mn-ea"/>
                <a:cs typeface="+mn-cs"/>
              </a:endParaRPr>
            </a:p>
          </p:txBody>
        </p:sp>
        <p:sp useBgFill="1">
          <p:nvSpPr>
            <p:cNvPr id="14" name="Oval 19">
              <a:extLst>
                <a:ext uri="{FF2B5EF4-FFF2-40B4-BE49-F238E27FC236}">
                  <a16:creationId xmlns:a16="http://schemas.microsoft.com/office/drawing/2014/main" id="{F12ACFC8-4B29-A149-954C-89F50C36C236}"/>
                </a:ext>
              </a:extLst>
            </p:cNvPr>
            <p:cNvSpPr>
              <a:spLocks noChangeArrowheads="1"/>
            </p:cNvSpPr>
            <p:nvPr/>
          </p:nvSpPr>
          <p:spPr bwMode="auto">
            <a:xfrm>
              <a:off x="4363387" y="2482918"/>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388948271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168F540-B516-4595-99BE-669BAE43E877}"/>
              </a:ext>
            </a:extLst>
          </p:cNvPr>
          <p:cNvSpPr/>
          <p:nvPr/>
        </p:nvSpPr>
        <p:spPr bwMode="auto">
          <a:xfrm>
            <a:off x="736343" y="2780242"/>
            <a:ext cx="1775612" cy="21046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leage</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ondition</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ar brand</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Year of make</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Regulations</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7" name="Rectangle 6">
            <a:extLst>
              <a:ext uri="{FF2B5EF4-FFF2-40B4-BE49-F238E27FC236}">
                <a16:creationId xmlns:a16="http://schemas.microsoft.com/office/drawing/2014/main" id="{6EA458CC-0786-48FB-A64B-B427CE24316B}"/>
              </a:ext>
            </a:extLst>
          </p:cNvPr>
          <p:cNvSpPr/>
          <p:nvPr/>
        </p:nvSpPr>
        <p:spPr bwMode="auto">
          <a:xfrm>
            <a:off x="5577549" y="2780243"/>
            <a:ext cx="1371450" cy="17506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1</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2</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3</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4</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9" name="Rectangle 8">
            <a:extLst>
              <a:ext uri="{FF2B5EF4-FFF2-40B4-BE49-F238E27FC236}">
                <a16:creationId xmlns:a16="http://schemas.microsoft.com/office/drawing/2014/main" id="{8613D47F-F817-488D-A5C9-E311626DB096}"/>
              </a:ext>
            </a:extLst>
          </p:cNvPr>
          <p:cNvSpPr/>
          <p:nvPr/>
        </p:nvSpPr>
        <p:spPr bwMode="auto">
          <a:xfrm>
            <a:off x="3085138" y="2780242"/>
            <a:ext cx="2281267" cy="21046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Gradient Boosted  </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arest Neighbors </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SVM</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Bayesian Regression</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GBM </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11" name="Rectangle 10">
            <a:extLst>
              <a:ext uri="{FF2B5EF4-FFF2-40B4-BE49-F238E27FC236}">
                <a16:creationId xmlns:a16="http://schemas.microsoft.com/office/drawing/2014/main" id="{E605D490-EE66-4928-8D25-10151ED50C5B}"/>
              </a:ext>
            </a:extLst>
          </p:cNvPr>
          <p:cNvSpPr/>
          <p:nvPr/>
        </p:nvSpPr>
        <p:spPr bwMode="auto">
          <a:xfrm>
            <a:off x="736343" y="2827305"/>
            <a:ext cx="1859308" cy="2991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Mileage</a:t>
            </a:r>
          </a:p>
        </p:txBody>
      </p:sp>
      <p:sp>
        <p:nvSpPr>
          <p:cNvPr id="12" name="Rectangle 11">
            <a:extLst>
              <a:ext uri="{FF2B5EF4-FFF2-40B4-BE49-F238E27FC236}">
                <a16:creationId xmlns:a16="http://schemas.microsoft.com/office/drawing/2014/main" id="{839EEEBE-474C-4A48-8C83-5F1694ABB77B}"/>
              </a:ext>
            </a:extLst>
          </p:cNvPr>
          <p:cNvSpPr/>
          <p:nvPr/>
        </p:nvSpPr>
        <p:spPr bwMode="auto">
          <a:xfrm>
            <a:off x="3085139" y="2802669"/>
            <a:ext cx="2083918" cy="3411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27428" rIns="91427" bIns="4571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Segoe UI Semibold" panose="020B0702040204020203" pitchFamily="34" charset="0"/>
              </a:rPr>
              <a:t>Gradient Boosted</a:t>
            </a:r>
          </a:p>
        </p:txBody>
      </p:sp>
      <p:sp>
        <p:nvSpPr>
          <p:cNvPr id="13" name="Rectangle 12">
            <a:extLst>
              <a:ext uri="{FF2B5EF4-FFF2-40B4-BE49-F238E27FC236}">
                <a16:creationId xmlns:a16="http://schemas.microsoft.com/office/drawing/2014/main" id="{6D24F1C5-AFA1-4EB9-B62D-87EF246C2E29}"/>
              </a:ext>
            </a:extLst>
          </p:cNvPr>
          <p:cNvSpPr/>
          <p:nvPr/>
        </p:nvSpPr>
        <p:spPr bwMode="auto">
          <a:xfrm>
            <a:off x="5577550" y="2780243"/>
            <a:ext cx="1669425" cy="17506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riterion</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oss</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n Samples Split</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n Samples Leaf</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Others</a:t>
            </a:r>
          </a:p>
        </p:txBody>
      </p:sp>
      <p:grpSp>
        <p:nvGrpSpPr>
          <p:cNvPr id="14" name="Group 13">
            <a:extLst>
              <a:ext uri="{FF2B5EF4-FFF2-40B4-BE49-F238E27FC236}">
                <a16:creationId xmlns:a16="http://schemas.microsoft.com/office/drawing/2014/main" id="{EB7F8B3D-BA5D-451F-A1DB-80D9356B9AD0}"/>
              </a:ext>
            </a:extLst>
          </p:cNvPr>
          <p:cNvGrpSpPr/>
          <p:nvPr/>
        </p:nvGrpSpPr>
        <p:grpSpPr>
          <a:xfrm>
            <a:off x="7294889" y="2893389"/>
            <a:ext cx="1450408" cy="146982"/>
            <a:chOff x="8120217" y="3558128"/>
            <a:chExt cx="1940664" cy="147003"/>
          </a:xfrm>
        </p:grpSpPr>
        <p:cxnSp>
          <p:nvCxnSpPr>
            <p:cNvPr id="15" name="Straight Connector 14">
              <a:extLst>
                <a:ext uri="{FF2B5EF4-FFF2-40B4-BE49-F238E27FC236}">
                  <a16:creationId xmlns:a16="http://schemas.microsoft.com/office/drawing/2014/main" id="{36E66D7F-221D-4A0D-A9EC-9E8497E2AEA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F721B48-8884-4907-8896-F0A5619E29E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570DBDBC-C4D7-4D6E-9975-A40CD248796E}"/>
                </a:ext>
              </a:extLst>
            </p:cNvPr>
            <p:cNvGrpSpPr/>
            <p:nvPr/>
          </p:nvGrpSpPr>
          <p:grpSpPr>
            <a:xfrm>
              <a:off x="8335846" y="3593256"/>
              <a:ext cx="1509402" cy="111875"/>
              <a:chOff x="8335846" y="3498555"/>
              <a:chExt cx="1509402" cy="206573"/>
            </a:xfrm>
          </p:grpSpPr>
          <p:cxnSp>
            <p:nvCxnSpPr>
              <p:cNvPr id="18" name="Straight Connector 17">
                <a:extLst>
                  <a:ext uri="{FF2B5EF4-FFF2-40B4-BE49-F238E27FC236}">
                    <a16:creationId xmlns:a16="http://schemas.microsoft.com/office/drawing/2014/main" id="{33F4E9F9-A7BB-417B-B7D8-44E513C1E35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4471F8A-A6FF-478F-B21C-16B27F79EA1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7BD7BAD-A456-4CDA-AAF2-5B28F66CF7AC}"/>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93968D-4ED1-4D98-BC02-7CE789FA38B2}"/>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F79CF59-778A-4310-9EAA-73FC5193DBEB}"/>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5C58FA-21CF-4D4E-8F85-D218ABD5DBD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307C462-2E34-4B78-AF4D-6D93FF61EB7D}"/>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82B236-4337-4E82-BF42-5F3BF652CD0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AE3E6691-849A-42CE-B310-226C974D8545}"/>
              </a:ext>
            </a:extLst>
          </p:cNvPr>
          <p:cNvGrpSpPr/>
          <p:nvPr/>
        </p:nvGrpSpPr>
        <p:grpSpPr>
          <a:xfrm>
            <a:off x="7294889" y="3241041"/>
            <a:ext cx="1450408" cy="146978"/>
            <a:chOff x="8120217" y="3558128"/>
            <a:chExt cx="1940664" cy="146999"/>
          </a:xfrm>
        </p:grpSpPr>
        <p:cxnSp>
          <p:nvCxnSpPr>
            <p:cNvPr id="27" name="Straight Connector 26">
              <a:extLst>
                <a:ext uri="{FF2B5EF4-FFF2-40B4-BE49-F238E27FC236}">
                  <a16:creationId xmlns:a16="http://schemas.microsoft.com/office/drawing/2014/main" id="{4A2AADB1-5ACB-4B06-8960-DA5B2CBA957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971EAF7-2482-48BE-B9D1-ED930A7D5255}"/>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1B140EAB-319E-4A3D-BADD-1487F2A8610F}"/>
                </a:ext>
              </a:extLst>
            </p:cNvPr>
            <p:cNvGrpSpPr/>
            <p:nvPr/>
          </p:nvGrpSpPr>
          <p:grpSpPr>
            <a:xfrm>
              <a:off x="8335846" y="3592140"/>
              <a:ext cx="1509402" cy="112986"/>
              <a:chOff x="8335846" y="3496504"/>
              <a:chExt cx="1509402" cy="208625"/>
            </a:xfrm>
          </p:grpSpPr>
          <p:cxnSp>
            <p:nvCxnSpPr>
              <p:cNvPr id="31" name="Straight Connector 30">
                <a:extLst>
                  <a:ext uri="{FF2B5EF4-FFF2-40B4-BE49-F238E27FC236}">
                    <a16:creationId xmlns:a16="http://schemas.microsoft.com/office/drawing/2014/main" id="{E00BEBDB-ED9F-4CF4-86F8-6932A394656B}"/>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85136C-A8BF-418A-AC51-79F632211548}"/>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D7CE1A0-DB70-4794-98EC-7F2367C9D90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E2E449-5E21-4074-AE06-FFA79787AFB8}"/>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7693B8E-21A1-4B6A-B15E-5563F05446D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8085440-B678-4A53-91EA-F68A0F5D3ABF}"/>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CADAF9-6666-4671-8DF5-6C4B0902B046}"/>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39F7B7-30CE-40EC-BD52-084CB961FCF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42862650-122D-478D-A643-4F78F1CFC9AD}"/>
              </a:ext>
            </a:extLst>
          </p:cNvPr>
          <p:cNvGrpSpPr/>
          <p:nvPr/>
        </p:nvGrpSpPr>
        <p:grpSpPr>
          <a:xfrm>
            <a:off x="7294889" y="3588690"/>
            <a:ext cx="1450408" cy="146979"/>
            <a:chOff x="8120217" y="3558128"/>
            <a:chExt cx="1940664" cy="147000"/>
          </a:xfrm>
        </p:grpSpPr>
        <p:cxnSp>
          <p:nvCxnSpPr>
            <p:cNvPr id="41" name="Straight Connector 40">
              <a:extLst>
                <a:ext uri="{FF2B5EF4-FFF2-40B4-BE49-F238E27FC236}">
                  <a16:creationId xmlns:a16="http://schemas.microsoft.com/office/drawing/2014/main" id="{9D607C2D-C5DF-442D-8A48-59D656A91493}"/>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DA20C60-AB0F-478B-8CA7-BFE6B3F9DBD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D0211F3B-8C0B-4A97-9EA8-D67A0CB21FF3}"/>
                </a:ext>
              </a:extLst>
            </p:cNvPr>
            <p:cNvGrpSpPr/>
            <p:nvPr/>
          </p:nvGrpSpPr>
          <p:grpSpPr>
            <a:xfrm>
              <a:off x="8335846" y="3593752"/>
              <a:ext cx="1509402" cy="111376"/>
              <a:chOff x="8335846" y="3499477"/>
              <a:chExt cx="1509402" cy="205652"/>
            </a:xfrm>
          </p:grpSpPr>
          <p:cxnSp>
            <p:nvCxnSpPr>
              <p:cNvPr id="45" name="Straight Connector 44">
                <a:extLst>
                  <a:ext uri="{FF2B5EF4-FFF2-40B4-BE49-F238E27FC236}">
                    <a16:creationId xmlns:a16="http://schemas.microsoft.com/office/drawing/2014/main" id="{7F1B9279-5D72-436B-AA70-8DE4EE1BA9C3}"/>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EFC06FA-2399-48C8-B905-D7338CDD3CDC}"/>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B3B114-19EA-47E8-BE1A-AABBCF4D4F21}"/>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817593F-BEB3-4069-B7AD-0436D92788C8}"/>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A67F6FE-9B8F-4A1B-A058-5414093A731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9F0A976-453B-463F-91D6-0C611B815CBC}"/>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565DDC2-7B47-4B83-A0FB-2DC7C7C8BC1B}"/>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D3691DC-B356-4D59-99E2-0970AE2C758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B4CEA875-FCA7-44FB-A4C6-37F4D145A96D}"/>
              </a:ext>
            </a:extLst>
          </p:cNvPr>
          <p:cNvGrpSpPr/>
          <p:nvPr/>
        </p:nvGrpSpPr>
        <p:grpSpPr>
          <a:xfrm>
            <a:off x="7294889" y="3936339"/>
            <a:ext cx="1450408" cy="146981"/>
            <a:chOff x="8120217" y="3558128"/>
            <a:chExt cx="1940664" cy="147002"/>
          </a:xfrm>
        </p:grpSpPr>
        <p:cxnSp>
          <p:nvCxnSpPr>
            <p:cNvPr id="54" name="Straight Connector 53">
              <a:extLst>
                <a:ext uri="{FF2B5EF4-FFF2-40B4-BE49-F238E27FC236}">
                  <a16:creationId xmlns:a16="http://schemas.microsoft.com/office/drawing/2014/main" id="{B967AD7B-F52F-4B1F-B557-CDADFF492C20}"/>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E85ECC0-806C-4FB5-AAC3-F83E14B7B51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1E82DF8A-9DA7-42CE-A9D7-D153E0037A75}"/>
                </a:ext>
              </a:extLst>
            </p:cNvPr>
            <p:cNvGrpSpPr/>
            <p:nvPr/>
          </p:nvGrpSpPr>
          <p:grpSpPr>
            <a:xfrm>
              <a:off x="8335846" y="3595364"/>
              <a:ext cx="1509402" cy="109766"/>
              <a:chOff x="8335846" y="3502450"/>
              <a:chExt cx="1509402" cy="202679"/>
            </a:xfrm>
          </p:grpSpPr>
          <p:cxnSp>
            <p:nvCxnSpPr>
              <p:cNvPr id="57" name="Straight Connector 56">
                <a:extLst>
                  <a:ext uri="{FF2B5EF4-FFF2-40B4-BE49-F238E27FC236}">
                    <a16:creationId xmlns:a16="http://schemas.microsoft.com/office/drawing/2014/main" id="{B49411CB-20CD-4961-BCEF-F473BF9DE50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03961EE-4D11-41B0-A80C-6F74F6E972D2}"/>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EB82067-4994-4ABF-9DFE-E6EDD20ACAD8}"/>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3EC73D7-0229-49D8-9310-B919F1C32BD2}"/>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EB320E5-A7E5-43E0-B8AA-F97D163948B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048D1FB-D453-418E-825B-CD0FE7434ECD}"/>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29C819F-C82D-4546-96FF-9F6354F14FA0}"/>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438182D-82AE-4512-8139-D435A9D2FB23}"/>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66" name="Isosceles Triangle 65">
            <a:extLst>
              <a:ext uri="{FF2B5EF4-FFF2-40B4-BE49-F238E27FC236}">
                <a16:creationId xmlns:a16="http://schemas.microsoft.com/office/drawing/2014/main" id="{B0DD8EC6-0046-4274-B5A9-B81B57C48785}"/>
              </a:ext>
            </a:extLst>
          </p:cNvPr>
          <p:cNvSpPr/>
          <p:nvPr/>
        </p:nvSpPr>
        <p:spPr bwMode="auto">
          <a:xfrm>
            <a:off x="7227677" y="2948939"/>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Isosceles Triangle 66">
            <a:extLst>
              <a:ext uri="{FF2B5EF4-FFF2-40B4-BE49-F238E27FC236}">
                <a16:creationId xmlns:a16="http://schemas.microsoft.com/office/drawing/2014/main" id="{B25060C6-9AA8-42B4-9FAE-2F09F4C71448}"/>
              </a:ext>
            </a:extLst>
          </p:cNvPr>
          <p:cNvSpPr/>
          <p:nvPr/>
        </p:nvSpPr>
        <p:spPr bwMode="auto">
          <a:xfrm>
            <a:off x="7227677" y="3296590"/>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Isosceles Triangle 67">
            <a:extLst>
              <a:ext uri="{FF2B5EF4-FFF2-40B4-BE49-F238E27FC236}">
                <a16:creationId xmlns:a16="http://schemas.microsoft.com/office/drawing/2014/main" id="{3DD55A1A-0126-4F4B-8DAB-7170E3312892}"/>
              </a:ext>
            </a:extLst>
          </p:cNvPr>
          <p:cNvSpPr/>
          <p:nvPr/>
        </p:nvSpPr>
        <p:spPr bwMode="auto">
          <a:xfrm>
            <a:off x="7227677" y="3644241"/>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D4F56831-466C-490B-994D-C4E766A67456}"/>
              </a:ext>
            </a:extLst>
          </p:cNvPr>
          <p:cNvSpPr/>
          <p:nvPr/>
        </p:nvSpPr>
        <p:spPr bwMode="auto">
          <a:xfrm>
            <a:off x="7227677" y="3991890"/>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8073F30B-1B75-468A-9E11-233BEF8B686E}"/>
              </a:ext>
            </a:extLst>
          </p:cNvPr>
          <p:cNvSpPr/>
          <p:nvPr/>
        </p:nvSpPr>
        <p:spPr bwMode="auto">
          <a:xfrm>
            <a:off x="9571195" y="3743405"/>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74" name="TextBox 73">
            <a:extLst>
              <a:ext uri="{FF2B5EF4-FFF2-40B4-BE49-F238E27FC236}">
                <a16:creationId xmlns:a16="http://schemas.microsoft.com/office/drawing/2014/main" id="{5819BF1A-393F-4DC0-AAFF-F23D33A65562}"/>
              </a:ext>
            </a:extLst>
          </p:cNvPr>
          <p:cNvSpPr txBox="1"/>
          <p:nvPr/>
        </p:nvSpPr>
        <p:spPr>
          <a:xfrm>
            <a:off x="9610712" y="4218228"/>
            <a:ext cx="574115" cy="240609"/>
          </a:xfrm>
          <a:prstGeom prst="rect">
            <a:avLst/>
          </a:prstGeom>
          <a:noFill/>
        </p:spPr>
        <p:txBody>
          <a:bodyPr wrap="none" lIns="91427" tIns="45713" rIns="91427" bIns="45713"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a:ea typeface="+mn-ea"/>
                <a:cs typeface="+mn-cs"/>
              </a:rPr>
              <a:t>Model</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110" y="2767743"/>
            <a:ext cx="323873" cy="2410248"/>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0" name="Group 99">
            <a:extLst>
              <a:ext uri="{FF2B5EF4-FFF2-40B4-BE49-F238E27FC236}">
                <a16:creationId xmlns:a16="http://schemas.microsoft.com/office/drawing/2014/main" id="{DE726EF7-D1FA-4062-B4C5-9B6733D5C31E}"/>
              </a:ext>
            </a:extLst>
          </p:cNvPr>
          <p:cNvGrpSpPr/>
          <p:nvPr/>
        </p:nvGrpSpPr>
        <p:grpSpPr>
          <a:xfrm>
            <a:off x="2470274" y="2268209"/>
            <a:ext cx="7251453" cy="346521"/>
            <a:chOff x="735582" y="2268043"/>
            <a:chExt cx="7252482" cy="346570"/>
          </a:xfrm>
        </p:grpSpPr>
        <p:sp>
          <p:nvSpPr>
            <p:cNvPr id="101" name="Rectangle 100">
              <a:extLst>
                <a:ext uri="{FF2B5EF4-FFF2-40B4-BE49-F238E27FC236}">
                  <a16:creationId xmlns:a16="http://schemas.microsoft.com/office/drawing/2014/main" id="{324E18D1-6B94-4650-90E2-157E1950682B}"/>
                </a:ext>
              </a:extLst>
            </p:cNvPr>
            <p:cNvSpPr/>
            <p:nvPr/>
          </p:nvSpPr>
          <p:spPr bwMode="auto">
            <a:xfrm>
              <a:off x="3084709" y="2268043"/>
              <a:ext cx="2211940" cy="346570"/>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102" name="Rectangle 101">
              <a:extLst>
                <a:ext uri="{FF2B5EF4-FFF2-40B4-BE49-F238E27FC236}">
                  <a16:creationId xmlns:a16="http://schemas.microsoft.com/office/drawing/2014/main" id="{A3A8272B-7B63-4A7D-A68B-04789BD8FA46}"/>
                </a:ext>
              </a:extLst>
            </p:cNvPr>
            <p:cNvSpPr/>
            <p:nvPr/>
          </p:nvSpPr>
          <p:spPr bwMode="auto">
            <a:xfrm>
              <a:off x="5577476" y="2268043"/>
              <a:ext cx="2410588" cy="346570"/>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103" name="Rectangle 102">
              <a:extLst>
                <a:ext uri="{FF2B5EF4-FFF2-40B4-BE49-F238E27FC236}">
                  <a16:creationId xmlns:a16="http://schemas.microsoft.com/office/drawing/2014/main" id="{10198808-CC0B-495A-81F7-CAE7F8DC4458}"/>
                </a:ext>
              </a:extLst>
            </p:cNvPr>
            <p:cNvSpPr/>
            <p:nvPr/>
          </p:nvSpPr>
          <p:spPr bwMode="auto">
            <a:xfrm>
              <a:off x="735582" y="2268043"/>
              <a:ext cx="2068299" cy="346570"/>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grpSp>
      <p:sp>
        <p:nvSpPr>
          <p:cNvPr id="104" name="Rectangle 103">
            <a:extLst>
              <a:ext uri="{FF2B5EF4-FFF2-40B4-BE49-F238E27FC236}">
                <a16:creationId xmlns:a16="http://schemas.microsoft.com/office/drawing/2014/main" id="{D0CF168F-2132-4758-BFE1-832832D1F6AC}"/>
              </a:ext>
            </a:extLst>
          </p:cNvPr>
          <p:cNvSpPr/>
          <p:nvPr/>
        </p:nvSpPr>
        <p:spPr bwMode="auto">
          <a:xfrm>
            <a:off x="736343" y="3527090"/>
            <a:ext cx="1859308" cy="2991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105" name="Rectangle 104">
            <a:extLst>
              <a:ext uri="{FF2B5EF4-FFF2-40B4-BE49-F238E27FC236}">
                <a16:creationId xmlns:a16="http://schemas.microsoft.com/office/drawing/2014/main" id="{FD25B7A3-F9AD-4257-871B-494A13D668C1}"/>
              </a:ext>
            </a:extLst>
          </p:cNvPr>
          <p:cNvSpPr/>
          <p:nvPr/>
        </p:nvSpPr>
        <p:spPr bwMode="auto">
          <a:xfrm>
            <a:off x="736343" y="3877336"/>
            <a:ext cx="1859308" cy="2991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grpSp>
        <p:nvGrpSpPr>
          <p:cNvPr id="70" name="Group 69">
            <a:extLst>
              <a:ext uri="{FF2B5EF4-FFF2-40B4-BE49-F238E27FC236}">
                <a16:creationId xmlns:a16="http://schemas.microsoft.com/office/drawing/2014/main" id="{14AA2959-6F4C-429A-A8AB-CE521F9CDFEF}"/>
              </a:ext>
            </a:extLst>
          </p:cNvPr>
          <p:cNvGrpSpPr/>
          <p:nvPr/>
        </p:nvGrpSpPr>
        <p:grpSpPr>
          <a:xfrm>
            <a:off x="7294889" y="4281249"/>
            <a:ext cx="1450408" cy="146981"/>
            <a:chOff x="8120217" y="3558128"/>
            <a:chExt cx="1940664" cy="147002"/>
          </a:xfrm>
        </p:grpSpPr>
        <p:cxnSp>
          <p:nvCxnSpPr>
            <p:cNvPr id="71" name="Straight Connector 70">
              <a:extLst>
                <a:ext uri="{FF2B5EF4-FFF2-40B4-BE49-F238E27FC236}">
                  <a16:creationId xmlns:a16="http://schemas.microsoft.com/office/drawing/2014/main" id="{E7EC2C52-1819-4767-80A1-A75A6DFB7A8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6190086-0E14-456D-A3EA-699EEEB26E5F}"/>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0DCDE0FC-AFB8-4AF2-968D-59AABFF9ADE3}"/>
                </a:ext>
              </a:extLst>
            </p:cNvPr>
            <p:cNvGrpSpPr/>
            <p:nvPr/>
          </p:nvGrpSpPr>
          <p:grpSpPr>
            <a:xfrm>
              <a:off x="8335846" y="3595364"/>
              <a:ext cx="1509402" cy="109766"/>
              <a:chOff x="8335846" y="3502450"/>
              <a:chExt cx="1509402" cy="202679"/>
            </a:xfrm>
          </p:grpSpPr>
          <p:cxnSp>
            <p:nvCxnSpPr>
              <p:cNvPr id="77" name="Straight Connector 76">
                <a:extLst>
                  <a:ext uri="{FF2B5EF4-FFF2-40B4-BE49-F238E27FC236}">
                    <a16:creationId xmlns:a16="http://schemas.microsoft.com/office/drawing/2014/main" id="{09E16FAD-08D0-4E8C-A18F-711C4CEECCC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F158C30-719E-4C2C-825D-490990D26729}"/>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BE32757-C701-41B2-9C72-E2617C77806E}"/>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94D0AAB6-5B96-4A7F-B240-D048BDFF71DF}"/>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900AE66-D293-4436-84A1-E503410EDAC9}"/>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B70103E5-57E3-4E59-ACBC-F5BC090D690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D410592-BE65-46FC-BB57-A316F21EA63C}"/>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53C2D859-5A03-4D3C-BFBF-A8976DC67BE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85" name="Isosceles Triangle 84">
            <a:extLst>
              <a:ext uri="{FF2B5EF4-FFF2-40B4-BE49-F238E27FC236}">
                <a16:creationId xmlns:a16="http://schemas.microsoft.com/office/drawing/2014/main" id="{F6F4027C-0511-46B4-9511-0BB75D5B785C}"/>
              </a:ext>
            </a:extLst>
          </p:cNvPr>
          <p:cNvSpPr/>
          <p:nvPr/>
        </p:nvSpPr>
        <p:spPr bwMode="auto">
          <a:xfrm>
            <a:off x="7227677" y="4336801"/>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3FF32116-3720-4960-BE05-75E1CD6A5103}"/>
              </a:ext>
            </a:extLst>
          </p:cNvPr>
          <p:cNvSpPr>
            <a:spLocks noGrp="1"/>
          </p:cNvSpPr>
          <p:nvPr>
            <p:ph type="title"/>
          </p:nvPr>
        </p:nvSpPr>
        <p:spPr/>
        <p:txBody>
          <a:bodyPr/>
          <a:lstStyle/>
          <a:p>
            <a:r>
              <a:rPr lang="en-US" spc="-147" dirty="0"/>
              <a:t>Model creation is typically a time consuming process </a:t>
            </a:r>
          </a:p>
        </p:txBody>
      </p:sp>
    </p:spTree>
    <p:extLst>
      <p:ext uri="{BB962C8B-B14F-4D97-AF65-F5344CB8AC3E}">
        <p14:creationId xmlns:p14="http://schemas.microsoft.com/office/powerpoint/2010/main" val="2689337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0 4.44444E-6 L -0.14232 4.44444E-6 " pathEditMode="relative" rAng="0" ptsTypes="AA">
                                      <p:cBhvr>
                                        <p:cTn id="6" dur="1000" fill="hold"/>
                                        <p:tgtEl>
                                          <p:spTgt spid="100"/>
                                        </p:tgtEl>
                                        <p:attrNameLst>
                                          <p:attrName>ppt_x</p:attrName>
                                          <p:attrName>ppt_y</p:attrName>
                                        </p:attrNameLst>
                                      </p:cBhvr>
                                      <p:rCtr x="-7122" y="0"/>
                                    </p:animMotion>
                                  </p:childTnLst>
                                </p:cTn>
                              </p:par>
                            </p:childTnLst>
                          </p:cTn>
                        </p:par>
                        <p:par>
                          <p:cTn id="7" fill="hold">
                            <p:stCondLst>
                              <p:cond delay="1000"/>
                            </p:stCondLst>
                            <p:childTnLst>
                              <p:par>
                                <p:cTn id="8" presetID="22" presetClass="entr" presetSubtype="1" fill="hold" grpId="0" nodeType="after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up)">
                                      <p:cBhvr>
                                        <p:cTn id="10" dur="500"/>
                                        <p:tgtEl>
                                          <p:spTgt spid="6"/>
                                        </p:tgtEl>
                                      </p:cBhvr>
                                    </p:animEffect>
                                  </p:childTnLst>
                                </p:cTn>
                              </p:par>
                              <p:par>
                                <p:cTn id="11" presetID="22" presetClass="entr" presetSubtype="1" fill="hold" grpId="0" nodeType="withEffect">
                                  <p:stCondLst>
                                    <p:cond delay="250"/>
                                  </p:stCondLst>
                                  <p:childTnLst>
                                    <p:set>
                                      <p:cBhvr>
                                        <p:cTn id="12" dur="1" fill="hold">
                                          <p:stCondLst>
                                            <p:cond delay="0"/>
                                          </p:stCondLst>
                                        </p:cTn>
                                        <p:tgtEl>
                                          <p:spTgt spid="9"/>
                                        </p:tgtEl>
                                        <p:attrNameLst>
                                          <p:attrName>style.visibility</p:attrName>
                                        </p:attrNameLst>
                                      </p:cBhvr>
                                      <p:to>
                                        <p:strVal val="visible"/>
                                      </p:to>
                                    </p:set>
                                    <p:animEffect transition="in" filter="wipe(up)">
                                      <p:cBhvr>
                                        <p:cTn id="13" dur="500"/>
                                        <p:tgtEl>
                                          <p:spTgt spid="9"/>
                                        </p:tgtEl>
                                      </p:cBhvr>
                                    </p:animEffect>
                                  </p:childTnLst>
                                </p:cTn>
                              </p:par>
                              <p:par>
                                <p:cTn id="14" presetID="22" presetClass="entr" presetSubtype="1" fill="hold" grpId="0" nodeType="withEffect">
                                  <p:stCondLst>
                                    <p:cond delay="5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4"/>
                                        </p:tgtEl>
                                        <p:attrNameLst>
                                          <p:attrName>style.visibility</p:attrName>
                                        </p:attrNameLst>
                                      </p:cBhvr>
                                      <p:to>
                                        <p:strVal val="visible"/>
                                      </p:to>
                                    </p:set>
                                    <p:animEffect transition="in" filter="fade">
                                      <p:cBhvr>
                                        <p:cTn id="21" dur="500"/>
                                        <p:tgtEl>
                                          <p:spTgt spid="104"/>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105"/>
                                        </p:tgtEl>
                                        <p:attrNameLst>
                                          <p:attrName>style.visibility</p:attrName>
                                        </p:attrNameLst>
                                      </p:cBhvr>
                                      <p:to>
                                        <p:strVal val="visible"/>
                                      </p:to>
                                    </p:set>
                                    <p:animEffect transition="in" filter="fade">
                                      <p:cBhvr>
                                        <p:cTn id="29" dur="500"/>
                                        <p:tgtEl>
                                          <p:spTgt spid="105"/>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10" presetClass="exit" presetSubtype="0" fill="hold" grpId="1" nodeType="withEffect">
                                  <p:stCondLst>
                                    <p:cond delay="500"/>
                                  </p:stCondLst>
                                  <p:childTnLst>
                                    <p:animEffect transition="out" filter="fade">
                                      <p:cBhvr>
                                        <p:cTn id="39" dur="500"/>
                                        <p:tgtEl>
                                          <p:spTgt spid="7"/>
                                        </p:tgtEl>
                                      </p:cBhvr>
                                    </p:animEffect>
                                    <p:set>
                                      <p:cBhvr>
                                        <p:cTn id="40" dur="1" fill="hold">
                                          <p:stCondLst>
                                            <p:cond delay="499"/>
                                          </p:stCondLst>
                                        </p:cTn>
                                        <p:tgtEl>
                                          <p:spTgt spid="7"/>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nodeType="click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wipe(left)">
                                      <p:cBhvr>
                                        <p:cTn id="45" dur="500"/>
                                        <p:tgtEl>
                                          <p:spTgt spid="14"/>
                                        </p:tgtEl>
                                      </p:cBhvr>
                                    </p:animEffect>
                                  </p:childTnLst>
                                </p:cTn>
                              </p:par>
                              <p:par>
                                <p:cTn id="46" presetID="22" presetClass="entr" presetSubtype="8" fill="hold" nodeType="with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wipe(left)">
                                      <p:cBhvr>
                                        <p:cTn id="48" dur="500"/>
                                        <p:tgtEl>
                                          <p:spTgt spid="26"/>
                                        </p:tgtEl>
                                      </p:cBhvr>
                                    </p:animEffect>
                                  </p:childTnLst>
                                </p:cTn>
                              </p:par>
                              <p:par>
                                <p:cTn id="49" presetID="22" presetClass="entr" presetSubtype="8" fill="hold" nodeType="withEffect">
                                  <p:stCondLst>
                                    <p:cond delay="0"/>
                                  </p:stCondLst>
                                  <p:childTnLst>
                                    <p:set>
                                      <p:cBhvr>
                                        <p:cTn id="50" dur="1" fill="hold">
                                          <p:stCondLst>
                                            <p:cond delay="0"/>
                                          </p:stCondLst>
                                        </p:cTn>
                                        <p:tgtEl>
                                          <p:spTgt spid="40"/>
                                        </p:tgtEl>
                                        <p:attrNameLst>
                                          <p:attrName>style.visibility</p:attrName>
                                        </p:attrNameLst>
                                      </p:cBhvr>
                                      <p:to>
                                        <p:strVal val="visible"/>
                                      </p:to>
                                    </p:set>
                                    <p:animEffect transition="in" filter="wipe(left)">
                                      <p:cBhvr>
                                        <p:cTn id="51" dur="500"/>
                                        <p:tgtEl>
                                          <p:spTgt spid="40"/>
                                        </p:tgtEl>
                                      </p:cBhvr>
                                    </p:animEffect>
                                  </p:childTnLst>
                                </p:cTn>
                              </p:par>
                              <p:par>
                                <p:cTn id="52" presetID="22" presetClass="entr" presetSubtype="8" fill="hold" nodeType="withEffect">
                                  <p:stCondLst>
                                    <p:cond delay="0"/>
                                  </p:stCondLst>
                                  <p:childTnLst>
                                    <p:set>
                                      <p:cBhvr>
                                        <p:cTn id="53" dur="1" fill="hold">
                                          <p:stCondLst>
                                            <p:cond delay="0"/>
                                          </p:stCondLst>
                                        </p:cTn>
                                        <p:tgtEl>
                                          <p:spTgt spid="53"/>
                                        </p:tgtEl>
                                        <p:attrNameLst>
                                          <p:attrName>style.visibility</p:attrName>
                                        </p:attrNameLst>
                                      </p:cBhvr>
                                      <p:to>
                                        <p:strVal val="visible"/>
                                      </p:to>
                                    </p:set>
                                    <p:animEffect transition="in" filter="wipe(left)">
                                      <p:cBhvr>
                                        <p:cTn id="54" dur="500"/>
                                        <p:tgtEl>
                                          <p:spTgt spid="53"/>
                                        </p:tgtEl>
                                      </p:cBhvr>
                                    </p:animEffect>
                                  </p:childTnLst>
                                </p:cTn>
                              </p:par>
                              <p:par>
                                <p:cTn id="55" presetID="22" presetClass="entr" presetSubtype="8" fill="hold" nodeType="withEffect">
                                  <p:stCondLst>
                                    <p:cond delay="0"/>
                                  </p:stCondLst>
                                  <p:childTnLst>
                                    <p:set>
                                      <p:cBhvr>
                                        <p:cTn id="56" dur="1" fill="hold">
                                          <p:stCondLst>
                                            <p:cond delay="0"/>
                                          </p:stCondLst>
                                        </p:cTn>
                                        <p:tgtEl>
                                          <p:spTgt spid="70"/>
                                        </p:tgtEl>
                                        <p:attrNameLst>
                                          <p:attrName>style.visibility</p:attrName>
                                        </p:attrNameLst>
                                      </p:cBhvr>
                                      <p:to>
                                        <p:strVal val="visible"/>
                                      </p:to>
                                    </p:set>
                                    <p:animEffect transition="in" filter="wipe(left)">
                                      <p:cBhvr>
                                        <p:cTn id="57" dur="500"/>
                                        <p:tgtEl>
                                          <p:spTgt spid="70"/>
                                        </p:tgtEl>
                                      </p:cBhvr>
                                    </p:animEffect>
                                  </p:childTnLst>
                                </p:cTn>
                              </p:par>
                              <p:par>
                                <p:cTn id="58" presetID="10" presetClass="entr" presetSubtype="0" fill="hold" grpId="0" nodeType="withEffect">
                                  <p:stCondLst>
                                    <p:cond delay="250"/>
                                  </p:stCondLst>
                                  <p:childTnLst>
                                    <p:set>
                                      <p:cBhvr>
                                        <p:cTn id="59" dur="1" fill="hold">
                                          <p:stCondLst>
                                            <p:cond delay="0"/>
                                          </p:stCondLst>
                                        </p:cTn>
                                        <p:tgtEl>
                                          <p:spTgt spid="66"/>
                                        </p:tgtEl>
                                        <p:attrNameLst>
                                          <p:attrName>style.visibility</p:attrName>
                                        </p:attrNameLst>
                                      </p:cBhvr>
                                      <p:to>
                                        <p:strVal val="visible"/>
                                      </p:to>
                                    </p:set>
                                    <p:animEffect transition="in" filter="fade">
                                      <p:cBhvr>
                                        <p:cTn id="60" dur="250"/>
                                        <p:tgtEl>
                                          <p:spTgt spid="66"/>
                                        </p:tgtEl>
                                      </p:cBhvr>
                                    </p:animEffect>
                                  </p:childTnLst>
                                </p:cTn>
                              </p:par>
                              <p:par>
                                <p:cTn id="61" presetID="10" presetClass="entr" presetSubtype="0" fill="hold" grpId="0" nodeType="withEffect">
                                  <p:stCondLst>
                                    <p:cond delay="250"/>
                                  </p:stCondLst>
                                  <p:childTnLst>
                                    <p:set>
                                      <p:cBhvr>
                                        <p:cTn id="62" dur="1" fill="hold">
                                          <p:stCondLst>
                                            <p:cond delay="0"/>
                                          </p:stCondLst>
                                        </p:cTn>
                                        <p:tgtEl>
                                          <p:spTgt spid="67"/>
                                        </p:tgtEl>
                                        <p:attrNameLst>
                                          <p:attrName>style.visibility</p:attrName>
                                        </p:attrNameLst>
                                      </p:cBhvr>
                                      <p:to>
                                        <p:strVal val="visible"/>
                                      </p:to>
                                    </p:set>
                                    <p:animEffect transition="in" filter="fade">
                                      <p:cBhvr>
                                        <p:cTn id="63" dur="250"/>
                                        <p:tgtEl>
                                          <p:spTgt spid="67"/>
                                        </p:tgtEl>
                                      </p:cBhvr>
                                    </p:animEffect>
                                  </p:childTnLst>
                                </p:cTn>
                              </p:par>
                              <p:par>
                                <p:cTn id="64" presetID="10" presetClass="entr" presetSubtype="0" fill="hold" grpId="0" nodeType="withEffect">
                                  <p:stCondLst>
                                    <p:cond delay="250"/>
                                  </p:stCondLst>
                                  <p:childTnLst>
                                    <p:set>
                                      <p:cBhvr>
                                        <p:cTn id="65" dur="1" fill="hold">
                                          <p:stCondLst>
                                            <p:cond delay="0"/>
                                          </p:stCondLst>
                                        </p:cTn>
                                        <p:tgtEl>
                                          <p:spTgt spid="68"/>
                                        </p:tgtEl>
                                        <p:attrNameLst>
                                          <p:attrName>style.visibility</p:attrName>
                                        </p:attrNameLst>
                                      </p:cBhvr>
                                      <p:to>
                                        <p:strVal val="visible"/>
                                      </p:to>
                                    </p:set>
                                    <p:animEffect transition="in" filter="fade">
                                      <p:cBhvr>
                                        <p:cTn id="66" dur="250"/>
                                        <p:tgtEl>
                                          <p:spTgt spid="68"/>
                                        </p:tgtEl>
                                      </p:cBhvr>
                                    </p:animEffect>
                                  </p:childTnLst>
                                </p:cTn>
                              </p:par>
                              <p:par>
                                <p:cTn id="67" presetID="10" presetClass="entr" presetSubtype="0" fill="hold" grpId="0" nodeType="withEffect">
                                  <p:stCondLst>
                                    <p:cond delay="250"/>
                                  </p:stCondLst>
                                  <p:childTnLst>
                                    <p:set>
                                      <p:cBhvr>
                                        <p:cTn id="68" dur="1" fill="hold">
                                          <p:stCondLst>
                                            <p:cond delay="0"/>
                                          </p:stCondLst>
                                        </p:cTn>
                                        <p:tgtEl>
                                          <p:spTgt spid="69"/>
                                        </p:tgtEl>
                                        <p:attrNameLst>
                                          <p:attrName>style.visibility</p:attrName>
                                        </p:attrNameLst>
                                      </p:cBhvr>
                                      <p:to>
                                        <p:strVal val="visible"/>
                                      </p:to>
                                    </p:set>
                                    <p:animEffect transition="in" filter="fade">
                                      <p:cBhvr>
                                        <p:cTn id="69" dur="250"/>
                                        <p:tgtEl>
                                          <p:spTgt spid="69"/>
                                        </p:tgtEl>
                                      </p:cBhvr>
                                    </p:animEffect>
                                  </p:childTnLst>
                                </p:cTn>
                              </p:par>
                              <p:par>
                                <p:cTn id="70" presetID="10" presetClass="entr" presetSubtype="0" fill="hold" grpId="0" nodeType="withEffect">
                                  <p:stCondLst>
                                    <p:cond delay="250"/>
                                  </p:stCondLst>
                                  <p:childTnLst>
                                    <p:set>
                                      <p:cBhvr>
                                        <p:cTn id="71" dur="1" fill="hold">
                                          <p:stCondLst>
                                            <p:cond delay="0"/>
                                          </p:stCondLst>
                                        </p:cTn>
                                        <p:tgtEl>
                                          <p:spTgt spid="85"/>
                                        </p:tgtEl>
                                        <p:attrNameLst>
                                          <p:attrName>style.visibility</p:attrName>
                                        </p:attrNameLst>
                                      </p:cBhvr>
                                      <p:to>
                                        <p:strVal val="visible"/>
                                      </p:to>
                                    </p:set>
                                    <p:animEffect transition="in" filter="fade">
                                      <p:cBhvr>
                                        <p:cTn id="72" dur="250"/>
                                        <p:tgtEl>
                                          <p:spTgt spid="85"/>
                                        </p:tgtEl>
                                      </p:cBhvr>
                                    </p:animEffect>
                                  </p:childTnLst>
                                </p:cTn>
                              </p:par>
                            </p:childTnLst>
                          </p:cTn>
                        </p:par>
                        <p:par>
                          <p:cTn id="73" fill="hold">
                            <p:stCondLst>
                              <p:cond delay="500"/>
                            </p:stCondLst>
                            <p:childTnLst>
                              <p:par>
                                <p:cTn id="74" presetID="63" presetClass="path" presetSubtype="0" accel="24000" decel="50000" fill="hold" grpId="1" nodeType="afterEffect">
                                  <p:stCondLst>
                                    <p:cond delay="0"/>
                                  </p:stCondLst>
                                  <p:childTnLst>
                                    <p:animMotion origin="layout" path="M 2.5E-6 -4.07407E-6 L 0.09245 -4.07407E-6 " pathEditMode="relative" rAng="0" ptsTypes="AA">
                                      <p:cBhvr>
                                        <p:cTn id="75" dur="750" fill="hold"/>
                                        <p:tgtEl>
                                          <p:spTgt spid="66"/>
                                        </p:tgtEl>
                                        <p:attrNameLst>
                                          <p:attrName>ppt_x</p:attrName>
                                          <p:attrName>ppt_y</p:attrName>
                                        </p:attrNameLst>
                                      </p:cBhvr>
                                      <p:rCtr x="4622" y="0"/>
                                    </p:animMotion>
                                  </p:childTnLst>
                                </p:cTn>
                              </p:par>
                              <p:par>
                                <p:cTn id="76" presetID="63" presetClass="path" presetSubtype="0" accel="24000" decel="50000" fill="hold" grpId="1" nodeType="withEffect">
                                  <p:stCondLst>
                                    <p:cond delay="0"/>
                                  </p:stCondLst>
                                  <p:childTnLst>
                                    <p:animMotion origin="layout" path="M 2.5E-6 -7.40741E-7 L 0.03958 -7.40741E-7 " pathEditMode="relative" rAng="0" ptsTypes="AA">
                                      <p:cBhvr>
                                        <p:cTn id="77" dur="750" fill="hold"/>
                                        <p:tgtEl>
                                          <p:spTgt spid="67"/>
                                        </p:tgtEl>
                                        <p:attrNameLst>
                                          <p:attrName>ppt_x</p:attrName>
                                          <p:attrName>ppt_y</p:attrName>
                                        </p:attrNameLst>
                                      </p:cBhvr>
                                      <p:rCtr x="1979" y="0"/>
                                    </p:animMotion>
                                  </p:childTnLst>
                                </p:cTn>
                              </p:par>
                              <p:par>
                                <p:cTn id="78" presetID="63" presetClass="path" presetSubtype="0" accel="24000" decel="50000" fill="hold" grpId="1" nodeType="withEffect">
                                  <p:stCondLst>
                                    <p:cond delay="0"/>
                                  </p:stCondLst>
                                  <p:childTnLst>
                                    <p:animMotion origin="layout" path="M 2.5E-6 2.59259E-6 L 0.05286 2.59259E-6 " pathEditMode="relative" rAng="0" ptsTypes="AA">
                                      <p:cBhvr>
                                        <p:cTn id="79" dur="750" fill="hold"/>
                                        <p:tgtEl>
                                          <p:spTgt spid="68"/>
                                        </p:tgtEl>
                                        <p:attrNameLst>
                                          <p:attrName>ppt_x</p:attrName>
                                          <p:attrName>ppt_y</p:attrName>
                                        </p:attrNameLst>
                                      </p:cBhvr>
                                      <p:rCtr x="2643" y="0"/>
                                    </p:animMotion>
                                  </p:childTnLst>
                                </p:cTn>
                              </p:par>
                              <p:par>
                                <p:cTn id="80" presetID="63" presetClass="path" presetSubtype="0" accel="24000" decel="50000" fill="hold" grpId="1" nodeType="withEffect">
                                  <p:stCondLst>
                                    <p:cond delay="0"/>
                                  </p:stCondLst>
                                  <p:childTnLst>
                                    <p:animMotion origin="layout" path="M 2.5E-6 -4.07407E-6 L 0.02643 -4.07407E-6 " pathEditMode="relative" rAng="0" ptsTypes="AA">
                                      <p:cBhvr>
                                        <p:cTn id="81" dur="750" fill="hold"/>
                                        <p:tgtEl>
                                          <p:spTgt spid="69"/>
                                        </p:tgtEl>
                                        <p:attrNameLst>
                                          <p:attrName>ppt_x</p:attrName>
                                          <p:attrName>ppt_y</p:attrName>
                                        </p:attrNameLst>
                                      </p:cBhvr>
                                      <p:rCtr x="1315" y="0"/>
                                    </p:animMotion>
                                  </p:childTnLst>
                                </p:cTn>
                              </p:par>
                              <p:par>
                                <p:cTn id="82" presetID="63" presetClass="path" presetSubtype="0" accel="24000" decel="50000" fill="hold" grpId="1" nodeType="withEffect">
                                  <p:stCondLst>
                                    <p:cond delay="0"/>
                                  </p:stCondLst>
                                  <p:childTnLst>
                                    <p:animMotion origin="layout" path="M 2.5E-6 -3.7037E-7 L 0.07916 -3.7037E-7 " pathEditMode="relative" rAng="0" ptsTypes="AA">
                                      <p:cBhvr>
                                        <p:cTn id="83" dur="750" fill="hold"/>
                                        <p:tgtEl>
                                          <p:spTgt spid="85"/>
                                        </p:tgtEl>
                                        <p:attrNameLst>
                                          <p:attrName>ppt_x</p:attrName>
                                          <p:attrName>ppt_y</p:attrName>
                                        </p:attrNameLst>
                                      </p:cBhvr>
                                      <p:rCtr x="3958" y="0"/>
                                    </p:animMotion>
                                  </p:childTnLst>
                                </p:cTn>
                              </p:par>
                            </p:childTnLst>
                          </p:cTn>
                        </p:par>
                        <p:par>
                          <p:cTn id="84" fill="hold">
                            <p:stCondLst>
                              <p:cond delay="1250"/>
                            </p:stCondLst>
                            <p:childTnLst>
                              <p:par>
                                <p:cTn id="85" presetID="12" presetClass="entr" presetSubtype="8" fill="hold" grpId="0" nodeType="afterEffect">
                                  <p:stCondLst>
                                    <p:cond delay="0"/>
                                  </p:stCondLst>
                                  <p:childTnLst>
                                    <p:set>
                                      <p:cBhvr>
                                        <p:cTn id="86" dur="1" fill="hold">
                                          <p:stCondLst>
                                            <p:cond delay="0"/>
                                          </p:stCondLst>
                                        </p:cTn>
                                        <p:tgtEl>
                                          <p:spTgt spid="75"/>
                                        </p:tgtEl>
                                        <p:attrNameLst>
                                          <p:attrName>style.visibility</p:attrName>
                                        </p:attrNameLst>
                                      </p:cBhvr>
                                      <p:to>
                                        <p:strVal val="visible"/>
                                      </p:to>
                                    </p:set>
                                    <p:anim calcmode="lin" valueType="num">
                                      <p:cBhvr additive="base">
                                        <p:cTn id="87" dur="500"/>
                                        <p:tgtEl>
                                          <p:spTgt spid="75"/>
                                        </p:tgtEl>
                                        <p:attrNameLst>
                                          <p:attrName>ppt_x</p:attrName>
                                        </p:attrNameLst>
                                      </p:cBhvr>
                                      <p:tavLst>
                                        <p:tav tm="0">
                                          <p:val>
                                            <p:strVal val="#ppt_x-#ppt_w*1.125000"/>
                                          </p:val>
                                        </p:tav>
                                        <p:tav tm="100000">
                                          <p:val>
                                            <p:strVal val="#ppt_x"/>
                                          </p:val>
                                        </p:tav>
                                      </p:tavLst>
                                    </p:anim>
                                    <p:animEffect transition="in" filter="wipe(right)">
                                      <p:cBhvr>
                                        <p:cTn id="88" dur="500"/>
                                        <p:tgtEl>
                                          <p:spTgt spid="75"/>
                                        </p:tgtEl>
                                      </p:cBhvr>
                                    </p:animEffect>
                                  </p:childTnLst>
                                </p:cTn>
                              </p:par>
                            </p:childTnLst>
                          </p:cTn>
                        </p:par>
                        <p:par>
                          <p:cTn id="89" fill="hold">
                            <p:stCondLst>
                              <p:cond delay="1750"/>
                            </p:stCondLst>
                            <p:childTnLst>
                              <p:par>
                                <p:cTn id="90" presetID="22" presetClass="entr" presetSubtype="8" fill="hold" grpId="0" nodeType="afterEffect">
                                  <p:stCondLst>
                                    <p:cond delay="0"/>
                                  </p:stCondLst>
                                  <p:childTnLst>
                                    <p:set>
                                      <p:cBhvr>
                                        <p:cTn id="91" dur="1" fill="hold">
                                          <p:stCondLst>
                                            <p:cond delay="0"/>
                                          </p:stCondLst>
                                        </p:cTn>
                                        <p:tgtEl>
                                          <p:spTgt spid="73"/>
                                        </p:tgtEl>
                                        <p:attrNameLst>
                                          <p:attrName>style.visibility</p:attrName>
                                        </p:attrNameLst>
                                      </p:cBhvr>
                                      <p:to>
                                        <p:strVal val="visible"/>
                                      </p:to>
                                    </p:set>
                                    <p:animEffect transition="in" filter="wipe(left)">
                                      <p:cBhvr>
                                        <p:cTn id="92" dur="500"/>
                                        <p:tgtEl>
                                          <p:spTgt spid="73"/>
                                        </p:tgtEl>
                                      </p:cBhvr>
                                    </p:animEffect>
                                  </p:childTnLst>
                                </p:cTn>
                              </p:par>
                              <p:par>
                                <p:cTn id="93" presetID="22" presetClass="entr" presetSubtype="8" fill="hold" grpId="0" nodeType="withEffect">
                                  <p:stCondLst>
                                    <p:cond delay="0"/>
                                  </p:stCondLst>
                                  <p:childTnLst>
                                    <p:set>
                                      <p:cBhvr>
                                        <p:cTn id="94" dur="1" fill="hold">
                                          <p:stCondLst>
                                            <p:cond delay="0"/>
                                          </p:stCondLst>
                                        </p:cTn>
                                        <p:tgtEl>
                                          <p:spTgt spid="74"/>
                                        </p:tgtEl>
                                        <p:attrNameLst>
                                          <p:attrName>style.visibility</p:attrName>
                                        </p:attrNameLst>
                                      </p:cBhvr>
                                      <p:to>
                                        <p:strVal val="visible"/>
                                      </p:to>
                                    </p:set>
                                    <p:animEffect transition="in" filter="wipe(left)">
                                      <p:cBhvr>
                                        <p:cTn id="95"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7" grpId="1"/>
      <p:bldP spid="9" grpId="0"/>
      <p:bldP spid="11" grpId="0" animBg="1"/>
      <p:bldP spid="12" grpId="0" animBg="1"/>
      <p:bldP spid="13" grpId="0"/>
      <p:bldP spid="66" grpId="0" animBg="1"/>
      <p:bldP spid="66" grpId="1" animBg="1"/>
      <p:bldP spid="67" grpId="0" animBg="1"/>
      <p:bldP spid="67" grpId="1" animBg="1"/>
      <p:bldP spid="68" grpId="0" animBg="1"/>
      <p:bldP spid="68" grpId="1" animBg="1"/>
      <p:bldP spid="69" grpId="0" animBg="1"/>
      <p:bldP spid="69" grpId="1" animBg="1"/>
      <p:bldP spid="73" grpId="0" animBg="1"/>
      <p:bldP spid="74" grpId="0"/>
      <p:bldP spid="75" grpId="0" animBg="1"/>
      <p:bldP spid="104" grpId="0" animBg="1"/>
      <p:bldP spid="105" grpId="0" animBg="1"/>
      <p:bldP spid="85" grpId="0" animBg="1"/>
      <p:bldP spid="85"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E85050E8-530B-48B8-8D30-6B4189AAC40C}"/>
              </a:ext>
            </a:extLst>
          </p:cNvPr>
          <p:cNvSpPr/>
          <p:nvPr/>
        </p:nvSpPr>
        <p:spPr bwMode="auto">
          <a:xfrm>
            <a:off x="3085136" y="2268209"/>
            <a:ext cx="2211626" cy="346521"/>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42" name="Rectangle 41">
            <a:extLst>
              <a:ext uri="{FF2B5EF4-FFF2-40B4-BE49-F238E27FC236}">
                <a16:creationId xmlns:a16="http://schemas.microsoft.com/office/drawing/2014/main" id="{8DFBE1EA-D672-4BA2-8AC5-8F9258F9AE8E}"/>
              </a:ext>
            </a:extLst>
          </p:cNvPr>
          <p:cNvSpPr/>
          <p:nvPr/>
        </p:nvSpPr>
        <p:spPr bwMode="auto">
          <a:xfrm>
            <a:off x="5577549" y="2268209"/>
            <a:ext cx="2410247" cy="346521"/>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29" name="Rectangle 28">
            <a:extLst>
              <a:ext uri="{FF2B5EF4-FFF2-40B4-BE49-F238E27FC236}">
                <a16:creationId xmlns:a16="http://schemas.microsoft.com/office/drawing/2014/main" id="{22EE7413-F083-4FA4-B233-0BE9A60054A1}"/>
              </a:ext>
            </a:extLst>
          </p:cNvPr>
          <p:cNvSpPr/>
          <p:nvPr/>
        </p:nvSpPr>
        <p:spPr bwMode="auto">
          <a:xfrm>
            <a:off x="736344" y="2268209"/>
            <a:ext cx="2068005" cy="346521"/>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sp>
        <p:nvSpPr>
          <p:cNvPr id="6" name="Rectangle 5">
            <a:extLst>
              <a:ext uri="{FF2B5EF4-FFF2-40B4-BE49-F238E27FC236}">
                <a16:creationId xmlns:a16="http://schemas.microsoft.com/office/drawing/2014/main" id="{1168F540-B516-4595-99BE-669BAE43E877}"/>
              </a:ext>
            </a:extLst>
          </p:cNvPr>
          <p:cNvSpPr/>
          <p:nvPr/>
        </p:nvSpPr>
        <p:spPr bwMode="auto">
          <a:xfrm>
            <a:off x="736343" y="2780243"/>
            <a:ext cx="1775612" cy="21371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leage</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ondition</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ar brand</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Year of make</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Regulations</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9" name="Rectangle 8">
            <a:extLst>
              <a:ext uri="{FF2B5EF4-FFF2-40B4-BE49-F238E27FC236}">
                <a16:creationId xmlns:a16="http://schemas.microsoft.com/office/drawing/2014/main" id="{8613D47F-F817-488D-A5C9-E311626DB096}"/>
              </a:ext>
            </a:extLst>
          </p:cNvPr>
          <p:cNvSpPr/>
          <p:nvPr/>
        </p:nvSpPr>
        <p:spPr bwMode="auto">
          <a:xfrm>
            <a:off x="3085138" y="2780243"/>
            <a:ext cx="2281267" cy="21371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Gradient Boosted  </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arest Neighbors </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SGD</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Bayesian Regression</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GBM </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12" name="Rectangle 11">
            <a:extLst>
              <a:ext uri="{FF2B5EF4-FFF2-40B4-BE49-F238E27FC236}">
                <a16:creationId xmlns:a16="http://schemas.microsoft.com/office/drawing/2014/main" id="{839EEEBE-474C-4A48-8C83-5F1694ABB77B}"/>
              </a:ext>
            </a:extLst>
          </p:cNvPr>
          <p:cNvSpPr/>
          <p:nvPr/>
        </p:nvSpPr>
        <p:spPr bwMode="auto">
          <a:xfrm>
            <a:off x="3085139" y="3156537"/>
            <a:ext cx="2083918" cy="3382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rPr>
              <a:t>Nearest Neighbors</a:t>
            </a:r>
          </a:p>
        </p:txBody>
      </p:sp>
      <p:sp>
        <p:nvSpPr>
          <p:cNvPr id="13" name="Rectangle 12">
            <a:extLst>
              <a:ext uri="{FF2B5EF4-FFF2-40B4-BE49-F238E27FC236}">
                <a16:creationId xmlns:a16="http://schemas.microsoft.com/office/drawing/2014/main" id="{6D24F1C5-AFA1-4EB9-B62D-87EF246C2E29}"/>
              </a:ext>
            </a:extLst>
          </p:cNvPr>
          <p:cNvSpPr/>
          <p:nvPr/>
        </p:nvSpPr>
        <p:spPr bwMode="auto">
          <a:xfrm>
            <a:off x="5577550" y="2780243"/>
            <a:ext cx="1669425" cy="17776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mn-ea"/>
                <a:cs typeface="Segoe UI Semibold" panose="020B0702040204020203" pitchFamily="34" charset="0"/>
              </a:rPr>
              <a:t>Criterion</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mn-ea"/>
                <a:cs typeface="Segoe UI Semibold" panose="020B0702040204020203" pitchFamily="34" charset="0"/>
              </a:rPr>
              <a:t>Loss</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mn-ea"/>
                <a:cs typeface="Segoe UI Semibold" panose="020B0702040204020203" pitchFamily="34" charset="0"/>
              </a:rPr>
              <a:t>Min Samples Split</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mn-ea"/>
                <a:cs typeface="Segoe UI Semibold" panose="020B0702040204020203" pitchFamily="34" charset="0"/>
              </a:rPr>
              <a:t>Min Samples Leaf</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mn-ea"/>
                <a:cs typeface="Segoe UI Semibold" panose="020B0702040204020203" pitchFamily="34" charset="0"/>
              </a:rPr>
              <a:t>XYZ</a:t>
            </a:r>
          </a:p>
        </p:txBody>
      </p:sp>
      <p:grpSp>
        <p:nvGrpSpPr>
          <p:cNvPr id="14" name="Group 13">
            <a:extLst>
              <a:ext uri="{FF2B5EF4-FFF2-40B4-BE49-F238E27FC236}">
                <a16:creationId xmlns:a16="http://schemas.microsoft.com/office/drawing/2014/main" id="{EB7F8B3D-BA5D-451F-A1DB-80D9356B9AD0}"/>
              </a:ext>
            </a:extLst>
          </p:cNvPr>
          <p:cNvGrpSpPr/>
          <p:nvPr/>
        </p:nvGrpSpPr>
        <p:grpSpPr>
          <a:xfrm>
            <a:off x="7294889" y="2917699"/>
            <a:ext cx="1450408" cy="146982"/>
            <a:chOff x="8120217" y="3558128"/>
            <a:chExt cx="1940664" cy="147003"/>
          </a:xfrm>
        </p:grpSpPr>
        <p:cxnSp>
          <p:nvCxnSpPr>
            <p:cNvPr id="15" name="Straight Connector 14">
              <a:extLst>
                <a:ext uri="{FF2B5EF4-FFF2-40B4-BE49-F238E27FC236}">
                  <a16:creationId xmlns:a16="http://schemas.microsoft.com/office/drawing/2014/main" id="{36E66D7F-221D-4A0D-A9EC-9E8497E2AEA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F721B48-8884-4907-8896-F0A5619E29E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570DBDBC-C4D7-4D6E-9975-A40CD248796E}"/>
                </a:ext>
              </a:extLst>
            </p:cNvPr>
            <p:cNvGrpSpPr/>
            <p:nvPr/>
          </p:nvGrpSpPr>
          <p:grpSpPr>
            <a:xfrm>
              <a:off x="8335846" y="3593256"/>
              <a:ext cx="1509402" cy="111875"/>
              <a:chOff x="8335846" y="3498555"/>
              <a:chExt cx="1509402" cy="206573"/>
            </a:xfrm>
          </p:grpSpPr>
          <p:cxnSp>
            <p:nvCxnSpPr>
              <p:cNvPr id="18" name="Straight Connector 17">
                <a:extLst>
                  <a:ext uri="{FF2B5EF4-FFF2-40B4-BE49-F238E27FC236}">
                    <a16:creationId xmlns:a16="http://schemas.microsoft.com/office/drawing/2014/main" id="{33F4E9F9-A7BB-417B-B7D8-44E513C1E35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4471F8A-A6FF-478F-B21C-16B27F79EA1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7BD7BAD-A456-4CDA-AAF2-5B28F66CF7AC}"/>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93968D-4ED1-4D98-BC02-7CE789FA38B2}"/>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F79CF59-778A-4310-9EAA-73FC5193DBEB}"/>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5C58FA-21CF-4D4E-8F85-D218ABD5DBD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307C462-2E34-4B78-AF4D-6D93FF61EB7D}"/>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82B236-4337-4E82-BF42-5F3BF652CD0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AE3E6691-849A-42CE-B310-226C974D8545}"/>
              </a:ext>
            </a:extLst>
          </p:cNvPr>
          <p:cNvGrpSpPr/>
          <p:nvPr/>
        </p:nvGrpSpPr>
        <p:grpSpPr>
          <a:xfrm>
            <a:off x="7294889" y="3257248"/>
            <a:ext cx="1450408" cy="146978"/>
            <a:chOff x="8120217" y="3558128"/>
            <a:chExt cx="1940664" cy="146999"/>
          </a:xfrm>
        </p:grpSpPr>
        <p:cxnSp>
          <p:nvCxnSpPr>
            <p:cNvPr id="27" name="Straight Connector 26">
              <a:extLst>
                <a:ext uri="{FF2B5EF4-FFF2-40B4-BE49-F238E27FC236}">
                  <a16:creationId xmlns:a16="http://schemas.microsoft.com/office/drawing/2014/main" id="{4A2AADB1-5ACB-4B06-8960-DA5B2CBA957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971EAF7-2482-48BE-B9D1-ED930A7D5255}"/>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1B140EAB-319E-4A3D-BADD-1487F2A8610F}"/>
                </a:ext>
              </a:extLst>
            </p:cNvPr>
            <p:cNvGrpSpPr/>
            <p:nvPr/>
          </p:nvGrpSpPr>
          <p:grpSpPr>
            <a:xfrm>
              <a:off x="8335846" y="3592140"/>
              <a:ext cx="1509402" cy="112986"/>
              <a:chOff x="8335846" y="3496504"/>
              <a:chExt cx="1509402" cy="208625"/>
            </a:xfrm>
          </p:grpSpPr>
          <p:cxnSp>
            <p:nvCxnSpPr>
              <p:cNvPr id="31" name="Straight Connector 30">
                <a:extLst>
                  <a:ext uri="{FF2B5EF4-FFF2-40B4-BE49-F238E27FC236}">
                    <a16:creationId xmlns:a16="http://schemas.microsoft.com/office/drawing/2014/main" id="{E00BEBDB-ED9F-4CF4-86F8-6932A394656B}"/>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85136C-A8BF-418A-AC51-79F632211548}"/>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D7CE1A0-DB70-4794-98EC-7F2367C9D90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E2E449-5E21-4074-AE06-FFA79787AFB8}"/>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7693B8E-21A1-4B6A-B15E-5563F05446D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8085440-B678-4A53-91EA-F68A0F5D3ABF}"/>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CADAF9-6666-4671-8DF5-6C4B0902B046}"/>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39F7B7-30CE-40EC-BD52-084CB961FCF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42862650-122D-478D-A643-4F78F1CFC9AD}"/>
              </a:ext>
            </a:extLst>
          </p:cNvPr>
          <p:cNvGrpSpPr/>
          <p:nvPr/>
        </p:nvGrpSpPr>
        <p:grpSpPr>
          <a:xfrm>
            <a:off x="7294889" y="3596793"/>
            <a:ext cx="1450408" cy="146979"/>
            <a:chOff x="8120217" y="3558128"/>
            <a:chExt cx="1940664" cy="147000"/>
          </a:xfrm>
        </p:grpSpPr>
        <p:cxnSp>
          <p:nvCxnSpPr>
            <p:cNvPr id="41" name="Straight Connector 40">
              <a:extLst>
                <a:ext uri="{FF2B5EF4-FFF2-40B4-BE49-F238E27FC236}">
                  <a16:creationId xmlns:a16="http://schemas.microsoft.com/office/drawing/2014/main" id="{9D607C2D-C5DF-442D-8A48-59D656A91493}"/>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DA20C60-AB0F-478B-8CA7-BFE6B3F9DBD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D0211F3B-8C0B-4A97-9EA8-D67A0CB21FF3}"/>
                </a:ext>
              </a:extLst>
            </p:cNvPr>
            <p:cNvGrpSpPr/>
            <p:nvPr/>
          </p:nvGrpSpPr>
          <p:grpSpPr>
            <a:xfrm>
              <a:off x="8335846" y="3593752"/>
              <a:ext cx="1509402" cy="111376"/>
              <a:chOff x="8335846" y="3499477"/>
              <a:chExt cx="1509402" cy="205652"/>
            </a:xfrm>
          </p:grpSpPr>
          <p:cxnSp>
            <p:nvCxnSpPr>
              <p:cNvPr id="45" name="Straight Connector 44">
                <a:extLst>
                  <a:ext uri="{FF2B5EF4-FFF2-40B4-BE49-F238E27FC236}">
                    <a16:creationId xmlns:a16="http://schemas.microsoft.com/office/drawing/2014/main" id="{7F1B9279-5D72-436B-AA70-8DE4EE1BA9C3}"/>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EFC06FA-2399-48C8-B905-D7338CDD3CDC}"/>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B3B114-19EA-47E8-BE1A-AABBCF4D4F21}"/>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817593F-BEB3-4069-B7AD-0436D92788C8}"/>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A67F6FE-9B8F-4A1B-A058-5414093A731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9F0A976-453B-463F-91D6-0C611B815CBC}"/>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565DDC2-7B47-4B83-A0FB-2DC7C7C8BC1B}"/>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D3691DC-B356-4D59-99E2-0970AE2C758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B4CEA875-FCA7-44FB-A4C6-37F4D145A96D}"/>
              </a:ext>
            </a:extLst>
          </p:cNvPr>
          <p:cNvGrpSpPr/>
          <p:nvPr/>
        </p:nvGrpSpPr>
        <p:grpSpPr>
          <a:xfrm>
            <a:off x="7294889" y="3936339"/>
            <a:ext cx="1450408" cy="146981"/>
            <a:chOff x="8120217" y="3558128"/>
            <a:chExt cx="1940664" cy="147002"/>
          </a:xfrm>
        </p:grpSpPr>
        <p:cxnSp>
          <p:nvCxnSpPr>
            <p:cNvPr id="54" name="Straight Connector 53">
              <a:extLst>
                <a:ext uri="{FF2B5EF4-FFF2-40B4-BE49-F238E27FC236}">
                  <a16:creationId xmlns:a16="http://schemas.microsoft.com/office/drawing/2014/main" id="{B967AD7B-F52F-4B1F-B557-CDADFF492C20}"/>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E85ECC0-806C-4FB5-AAC3-F83E14B7B51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1E82DF8A-9DA7-42CE-A9D7-D153E0037A75}"/>
                </a:ext>
              </a:extLst>
            </p:cNvPr>
            <p:cNvGrpSpPr/>
            <p:nvPr/>
          </p:nvGrpSpPr>
          <p:grpSpPr>
            <a:xfrm>
              <a:off x="8335846" y="3595364"/>
              <a:ext cx="1509402" cy="109766"/>
              <a:chOff x="8335846" y="3502450"/>
              <a:chExt cx="1509402" cy="202679"/>
            </a:xfrm>
          </p:grpSpPr>
          <p:cxnSp>
            <p:nvCxnSpPr>
              <p:cNvPr id="57" name="Straight Connector 56">
                <a:extLst>
                  <a:ext uri="{FF2B5EF4-FFF2-40B4-BE49-F238E27FC236}">
                    <a16:creationId xmlns:a16="http://schemas.microsoft.com/office/drawing/2014/main" id="{B49411CB-20CD-4961-BCEF-F473BF9DE50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03961EE-4D11-41B0-A80C-6F74F6E972D2}"/>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EB82067-4994-4ABF-9DFE-E6EDD20ACAD8}"/>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3EC73D7-0229-49D8-9310-B919F1C32BD2}"/>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EB320E5-A7E5-43E0-B8AA-F97D163948B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048D1FB-D453-418E-825B-CD0FE7434ECD}"/>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29C819F-C82D-4546-96FF-9F6354F14FA0}"/>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438182D-82AE-4512-8139-D435A9D2FB23}"/>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66" name="Isosceles Triangle 65">
            <a:extLst>
              <a:ext uri="{FF2B5EF4-FFF2-40B4-BE49-F238E27FC236}">
                <a16:creationId xmlns:a16="http://schemas.microsoft.com/office/drawing/2014/main" id="{B0DD8EC6-0046-4274-B5A9-B81B57C48785}"/>
              </a:ext>
            </a:extLst>
          </p:cNvPr>
          <p:cNvSpPr/>
          <p:nvPr/>
        </p:nvSpPr>
        <p:spPr bwMode="auto">
          <a:xfrm>
            <a:off x="8354410" y="2973253"/>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Isosceles Triangle 66">
            <a:extLst>
              <a:ext uri="{FF2B5EF4-FFF2-40B4-BE49-F238E27FC236}">
                <a16:creationId xmlns:a16="http://schemas.microsoft.com/office/drawing/2014/main" id="{B25060C6-9AA8-42B4-9FAE-2F09F4C71448}"/>
              </a:ext>
            </a:extLst>
          </p:cNvPr>
          <p:cNvSpPr/>
          <p:nvPr/>
        </p:nvSpPr>
        <p:spPr bwMode="auto">
          <a:xfrm>
            <a:off x="7712682" y="3312800"/>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Isosceles Triangle 67">
            <a:extLst>
              <a:ext uri="{FF2B5EF4-FFF2-40B4-BE49-F238E27FC236}">
                <a16:creationId xmlns:a16="http://schemas.microsoft.com/office/drawing/2014/main" id="{3DD55A1A-0126-4F4B-8DAB-7170E3312892}"/>
              </a:ext>
            </a:extLst>
          </p:cNvPr>
          <p:cNvSpPr/>
          <p:nvPr/>
        </p:nvSpPr>
        <p:spPr bwMode="auto">
          <a:xfrm>
            <a:off x="7863541" y="3652346"/>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D4F56831-466C-490B-994D-C4E766A67456}"/>
              </a:ext>
            </a:extLst>
          </p:cNvPr>
          <p:cNvSpPr/>
          <p:nvPr/>
        </p:nvSpPr>
        <p:spPr bwMode="auto">
          <a:xfrm>
            <a:off x="7542422" y="3991893"/>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8073F30B-1B75-468A-9E11-233BEF8B686E}"/>
              </a:ext>
            </a:extLst>
          </p:cNvPr>
          <p:cNvSpPr/>
          <p:nvPr/>
        </p:nvSpPr>
        <p:spPr bwMode="auto">
          <a:xfrm>
            <a:off x="9571195" y="3743405"/>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74" name="TextBox 73">
            <a:extLst>
              <a:ext uri="{FF2B5EF4-FFF2-40B4-BE49-F238E27FC236}">
                <a16:creationId xmlns:a16="http://schemas.microsoft.com/office/drawing/2014/main" id="{5819BF1A-393F-4DC0-AAFF-F23D33A65562}"/>
              </a:ext>
            </a:extLst>
          </p:cNvPr>
          <p:cNvSpPr txBox="1"/>
          <p:nvPr/>
        </p:nvSpPr>
        <p:spPr>
          <a:xfrm>
            <a:off x="9615493" y="4225153"/>
            <a:ext cx="564552" cy="237743"/>
          </a:xfrm>
          <a:prstGeom prst="rect">
            <a:avLst/>
          </a:prstGeom>
          <a:noFill/>
        </p:spPr>
        <p:txBody>
          <a:bodyPr wrap="none" lIns="91427" tIns="45713" rIns="91427" bIns="45713"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8D4"/>
                </a:solidFill>
                <a:effectLst/>
                <a:uLnTx/>
                <a:uFillTx/>
                <a:latin typeface="Segoe UI"/>
                <a:ea typeface="+mn-ea"/>
                <a:cs typeface="+mn-cs"/>
              </a:rPr>
              <a:t>Model</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110" y="2767743"/>
            <a:ext cx="323873" cy="2410248"/>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77B495D5-2B30-4AA1-AA98-F45B619A2F83}"/>
              </a:ext>
            </a:extLst>
          </p:cNvPr>
          <p:cNvGrpSpPr/>
          <p:nvPr/>
        </p:nvGrpSpPr>
        <p:grpSpPr>
          <a:xfrm>
            <a:off x="589045" y="5680087"/>
            <a:ext cx="8659839" cy="667278"/>
            <a:chOff x="837631" y="5844617"/>
            <a:chExt cx="9792001" cy="667372"/>
          </a:xfrm>
        </p:grpSpPr>
        <p:cxnSp>
          <p:nvCxnSpPr>
            <p:cNvPr id="78" name="Connector: Elbow 77">
              <a:extLst>
                <a:ext uri="{FF2B5EF4-FFF2-40B4-BE49-F238E27FC236}">
                  <a16:creationId xmlns:a16="http://schemas.microsoft.com/office/drawing/2014/main" id="{CD9E5583-191B-46A7-89A0-4970E92444FC}"/>
                </a:ext>
              </a:extLst>
            </p:cNvPr>
            <p:cNvCxnSpPr>
              <a:cxnSpLocks/>
            </p:cNvCxnSpPr>
            <p:nvPr/>
          </p:nvCxnSpPr>
          <p:spPr>
            <a:xfrm rot="5400000">
              <a:off x="5727282" y="954966"/>
              <a:ext cx="12700" cy="9792001"/>
            </a:xfrm>
            <a:prstGeom prst="bentConnector3">
              <a:avLst>
                <a:gd name="adj1" fmla="val 2170835"/>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619FF23F-887C-46B1-9898-6C2E0700A7A2}"/>
                </a:ext>
              </a:extLst>
            </p:cNvPr>
            <p:cNvSpPr/>
            <p:nvPr/>
          </p:nvSpPr>
          <p:spPr bwMode="auto">
            <a:xfrm>
              <a:off x="4652842" y="6221910"/>
              <a:ext cx="2161581" cy="290079"/>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Iterate</a:t>
              </a:r>
            </a:p>
          </p:txBody>
        </p:sp>
      </p:grpSp>
      <p:sp>
        <p:nvSpPr>
          <p:cNvPr id="80" name="Rectangle 79">
            <a:extLst>
              <a:ext uri="{FF2B5EF4-FFF2-40B4-BE49-F238E27FC236}">
                <a16:creationId xmlns:a16="http://schemas.microsoft.com/office/drawing/2014/main" id="{6C1DA2B4-1C0E-4041-B2C8-AE1DBE888000}"/>
              </a:ext>
            </a:extLst>
          </p:cNvPr>
          <p:cNvSpPr/>
          <p:nvPr/>
        </p:nvSpPr>
        <p:spPr bwMode="auto">
          <a:xfrm>
            <a:off x="9571195" y="3751822"/>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83" name="Rectangle 82">
            <a:extLst>
              <a:ext uri="{FF2B5EF4-FFF2-40B4-BE49-F238E27FC236}">
                <a16:creationId xmlns:a16="http://schemas.microsoft.com/office/drawing/2014/main" id="{766313DE-E1C9-40AE-938F-A49589B1BBD4}"/>
              </a:ext>
            </a:extLst>
          </p:cNvPr>
          <p:cNvSpPr/>
          <p:nvPr/>
        </p:nvSpPr>
        <p:spPr bwMode="auto">
          <a:xfrm>
            <a:off x="3085139" y="2805555"/>
            <a:ext cx="2083918" cy="3382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rPr>
              <a:t>Gradient Boosted</a:t>
            </a:r>
          </a:p>
        </p:txBody>
      </p:sp>
      <p:sp>
        <p:nvSpPr>
          <p:cNvPr id="84" name="Rectangle 83">
            <a:extLst>
              <a:ext uri="{FF2B5EF4-FFF2-40B4-BE49-F238E27FC236}">
                <a16:creationId xmlns:a16="http://schemas.microsoft.com/office/drawing/2014/main" id="{92192048-1443-47D3-9B5E-3646ED6B16D2}"/>
              </a:ext>
            </a:extLst>
          </p:cNvPr>
          <p:cNvSpPr/>
          <p:nvPr/>
        </p:nvSpPr>
        <p:spPr bwMode="auto">
          <a:xfrm>
            <a:off x="5577550" y="2780243"/>
            <a:ext cx="1669425" cy="17776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mn-ea"/>
                <a:cs typeface="Segoe UI Semibold" panose="020B0702040204020203" pitchFamily="34" charset="0"/>
              </a:rPr>
              <a:t>N </a:t>
            </a: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ighbors</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Weights</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etric</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ZYX</a:t>
            </a:r>
          </a:p>
        </p:txBody>
      </p:sp>
      <p:grpSp>
        <p:nvGrpSpPr>
          <p:cNvPr id="97" name="Group 96">
            <a:extLst>
              <a:ext uri="{FF2B5EF4-FFF2-40B4-BE49-F238E27FC236}">
                <a16:creationId xmlns:a16="http://schemas.microsoft.com/office/drawing/2014/main" id="{A5076285-431D-44B4-824C-4F8DF6C6B7A4}"/>
              </a:ext>
            </a:extLst>
          </p:cNvPr>
          <p:cNvGrpSpPr/>
          <p:nvPr/>
        </p:nvGrpSpPr>
        <p:grpSpPr>
          <a:xfrm>
            <a:off x="736983" y="2829465"/>
            <a:ext cx="1859308" cy="1349172"/>
            <a:chOff x="887982" y="2979620"/>
            <a:chExt cx="1859572" cy="1349364"/>
          </a:xfrm>
          <a:solidFill>
            <a:schemeClr val="tx2"/>
          </a:solidFill>
        </p:grpSpPr>
        <p:sp>
          <p:nvSpPr>
            <p:cNvPr id="98" name="Rectangle 97">
              <a:extLst>
                <a:ext uri="{FF2B5EF4-FFF2-40B4-BE49-F238E27FC236}">
                  <a16:creationId xmlns:a16="http://schemas.microsoft.com/office/drawing/2014/main" id="{2DB19555-5C4A-423A-81BC-6D0081323C7C}"/>
                </a:ext>
              </a:extLst>
            </p:cNvPr>
            <p:cNvSpPr/>
            <p:nvPr/>
          </p:nvSpPr>
          <p:spPr bwMode="auto">
            <a:xfrm>
              <a:off x="887982" y="2979620"/>
              <a:ext cx="1859572" cy="2991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rPr>
                <a:t>Mileage</a:t>
              </a:r>
            </a:p>
          </p:txBody>
        </p:sp>
        <p:sp>
          <p:nvSpPr>
            <p:cNvPr id="99" name="Rectangle 98">
              <a:extLst>
                <a:ext uri="{FF2B5EF4-FFF2-40B4-BE49-F238E27FC236}">
                  <a16:creationId xmlns:a16="http://schemas.microsoft.com/office/drawing/2014/main" id="{71FE8245-9253-4C95-833E-F8CE7A73D919}"/>
                </a:ext>
              </a:extLst>
            </p:cNvPr>
            <p:cNvSpPr/>
            <p:nvPr/>
          </p:nvSpPr>
          <p:spPr bwMode="auto">
            <a:xfrm>
              <a:off x="887982" y="3679504"/>
              <a:ext cx="1859572" cy="2991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103" name="Rectangle 102">
              <a:extLst>
                <a:ext uri="{FF2B5EF4-FFF2-40B4-BE49-F238E27FC236}">
                  <a16:creationId xmlns:a16="http://schemas.microsoft.com/office/drawing/2014/main" id="{A5C9A6E2-03E2-4179-B9E9-43BE2661A750}"/>
                </a:ext>
              </a:extLst>
            </p:cNvPr>
            <p:cNvSpPr/>
            <p:nvPr/>
          </p:nvSpPr>
          <p:spPr bwMode="auto">
            <a:xfrm>
              <a:off x="887982" y="4029800"/>
              <a:ext cx="1859572" cy="2991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grpSp>
      <p:grpSp>
        <p:nvGrpSpPr>
          <p:cNvPr id="82" name="Group 81">
            <a:extLst>
              <a:ext uri="{FF2B5EF4-FFF2-40B4-BE49-F238E27FC236}">
                <a16:creationId xmlns:a16="http://schemas.microsoft.com/office/drawing/2014/main" id="{112BEC75-D81D-4186-8772-659189043A0B}"/>
              </a:ext>
            </a:extLst>
          </p:cNvPr>
          <p:cNvGrpSpPr/>
          <p:nvPr/>
        </p:nvGrpSpPr>
        <p:grpSpPr>
          <a:xfrm>
            <a:off x="736983" y="3179358"/>
            <a:ext cx="1859308" cy="999280"/>
            <a:chOff x="887982" y="3329562"/>
            <a:chExt cx="1859572" cy="999422"/>
          </a:xfrm>
          <a:solidFill>
            <a:schemeClr val="tx2"/>
          </a:solidFill>
        </p:grpSpPr>
        <p:sp>
          <p:nvSpPr>
            <p:cNvPr id="87" name="Rectangle 86">
              <a:extLst>
                <a:ext uri="{FF2B5EF4-FFF2-40B4-BE49-F238E27FC236}">
                  <a16:creationId xmlns:a16="http://schemas.microsoft.com/office/drawing/2014/main" id="{893B809B-6138-4491-82C4-842FA4297CF5}"/>
                </a:ext>
              </a:extLst>
            </p:cNvPr>
            <p:cNvSpPr/>
            <p:nvPr/>
          </p:nvSpPr>
          <p:spPr bwMode="auto">
            <a:xfrm>
              <a:off x="887982" y="3679504"/>
              <a:ext cx="1859572" cy="2991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88" name="Rectangle 87">
              <a:extLst>
                <a:ext uri="{FF2B5EF4-FFF2-40B4-BE49-F238E27FC236}">
                  <a16:creationId xmlns:a16="http://schemas.microsoft.com/office/drawing/2014/main" id="{F10017AA-64D2-4E65-84D5-C84A8DD03586}"/>
                </a:ext>
              </a:extLst>
            </p:cNvPr>
            <p:cNvSpPr/>
            <p:nvPr/>
          </p:nvSpPr>
          <p:spPr bwMode="auto">
            <a:xfrm>
              <a:off x="887982" y="4029800"/>
              <a:ext cx="1859572" cy="2991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sp>
          <p:nvSpPr>
            <p:cNvPr id="89" name="Rectangle 88">
              <a:extLst>
                <a:ext uri="{FF2B5EF4-FFF2-40B4-BE49-F238E27FC236}">
                  <a16:creationId xmlns:a16="http://schemas.microsoft.com/office/drawing/2014/main" id="{EF5445C5-73C5-489C-9D10-B4969B450FE9}"/>
                </a:ext>
              </a:extLst>
            </p:cNvPr>
            <p:cNvSpPr/>
            <p:nvPr/>
          </p:nvSpPr>
          <p:spPr bwMode="auto">
            <a:xfrm>
              <a:off x="887982" y="3329562"/>
              <a:ext cx="1859572" cy="2991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rPr>
                <a:t>Condition</a:t>
              </a:r>
            </a:p>
          </p:txBody>
        </p:sp>
      </p:grpSp>
      <p:grpSp>
        <p:nvGrpSpPr>
          <p:cNvPr id="81" name="Group 80">
            <a:extLst>
              <a:ext uri="{FF2B5EF4-FFF2-40B4-BE49-F238E27FC236}">
                <a16:creationId xmlns:a16="http://schemas.microsoft.com/office/drawing/2014/main" id="{ACF85DC9-5BD9-4A30-A0F4-9AD7F813FBBF}"/>
              </a:ext>
            </a:extLst>
          </p:cNvPr>
          <p:cNvGrpSpPr/>
          <p:nvPr/>
        </p:nvGrpSpPr>
        <p:grpSpPr>
          <a:xfrm>
            <a:off x="7294889" y="4281249"/>
            <a:ext cx="1450408" cy="146981"/>
            <a:chOff x="8120217" y="3558128"/>
            <a:chExt cx="1940664" cy="147002"/>
          </a:xfrm>
        </p:grpSpPr>
        <p:cxnSp>
          <p:nvCxnSpPr>
            <p:cNvPr id="86" name="Straight Connector 85">
              <a:extLst>
                <a:ext uri="{FF2B5EF4-FFF2-40B4-BE49-F238E27FC236}">
                  <a16:creationId xmlns:a16="http://schemas.microsoft.com/office/drawing/2014/main" id="{FD831044-E06F-46BE-B791-C4588AA8B0FD}"/>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673CF05-855A-42F6-B8B4-6815B4183A8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70EB13C6-CB43-4DFB-ACBA-BA73ADB8BA5A}"/>
                </a:ext>
              </a:extLst>
            </p:cNvPr>
            <p:cNvGrpSpPr/>
            <p:nvPr/>
          </p:nvGrpSpPr>
          <p:grpSpPr>
            <a:xfrm>
              <a:off x="8335846" y="3595364"/>
              <a:ext cx="1509402" cy="109766"/>
              <a:chOff x="8335846" y="3502450"/>
              <a:chExt cx="1509402" cy="202679"/>
            </a:xfrm>
          </p:grpSpPr>
          <p:cxnSp>
            <p:nvCxnSpPr>
              <p:cNvPr id="92" name="Straight Connector 91">
                <a:extLst>
                  <a:ext uri="{FF2B5EF4-FFF2-40B4-BE49-F238E27FC236}">
                    <a16:creationId xmlns:a16="http://schemas.microsoft.com/office/drawing/2014/main" id="{36177D08-0A16-4664-BCEF-F8466BAA5189}"/>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8327A26-4063-4476-A929-43C18A757171}"/>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135E53D-F0C8-4E22-A844-588BEFBD230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87D8D64-1156-4C04-AC90-9AFA7DFFD56F}"/>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1925A22-FA2D-4017-A757-00855BF459B8}"/>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FF5EC524-7BB5-43E7-8A12-AB79994538B1}"/>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4FFD033-D313-436C-B4DD-4B40BA2517DF}"/>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B6C3F520-E24D-45F8-8BA0-3C8FC04BB182}"/>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104" name="Isosceles Triangle 103">
            <a:extLst>
              <a:ext uri="{FF2B5EF4-FFF2-40B4-BE49-F238E27FC236}">
                <a16:creationId xmlns:a16="http://schemas.microsoft.com/office/drawing/2014/main" id="{6445037D-370B-4B1F-84C2-A80D4B35AC29}"/>
              </a:ext>
            </a:extLst>
          </p:cNvPr>
          <p:cNvSpPr/>
          <p:nvPr/>
        </p:nvSpPr>
        <p:spPr bwMode="auto">
          <a:xfrm>
            <a:off x="8193254" y="4336801"/>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5" name="Group 104">
            <a:extLst>
              <a:ext uri="{FF2B5EF4-FFF2-40B4-BE49-F238E27FC236}">
                <a16:creationId xmlns:a16="http://schemas.microsoft.com/office/drawing/2014/main" id="{6C391238-5F66-4C8A-A304-CCDA94D8567D}"/>
              </a:ext>
            </a:extLst>
          </p:cNvPr>
          <p:cNvGrpSpPr/>
          <p:nvPr/>
        </p:nvGrpSpPr>
        <p:grpSpPr>
          <a:xfrm>
            <a:off x="9347929" y="1743237"/>
            <a:ext cx="2808891" cy="3976883"/>
            <a:chOff x="9351516" y="1586752"/>
            <a:chExt cx="2809289" cy="4133694"/>
          </a:xfrm>
        </p:grpSpPr>
        <p:sp>
          <p:nvSpPr>
            <p:cNvPr id="106" name="Rectangle 105">
              <a:extLst>
                <a:ext uri="{FF2B5EF4-FFF2-40B4-BE49-F238E27FC236}">
                  <a16:creationId xmlns:a16="http://schemas.microsoft.com/office/drawing/2014/main" id="{5D4D48D9-5A7A-4EB7-896A-2AA61BE32CEE}"/>
                </a:ext>
              </a:extLst>
            </p:cNvPr>
            <p:cNvSpPr/>
            <p:nvPr/>
          </p:nvSpPr>
          <p:spPr bwMode="auto">
            <a:xfrm>
              <a:off x="9615066" y="1756590"/>
              <a:ext cx="2298048" cy="324332"/>
            </a:xfrm>
            <a:prstGeom prst="rect">
              <a:avLst/>
            </a:prstGeom>
            <a:solidFill>
              <a:schemeClr val="bg1"/>
            </a:solidFill>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Track</a:t>
              </a:r>
            </a:p>
          </p:txBody>
        </p:sp>
        <p:sp>
          <p:nvSpPr>
            <p:cNvPr id="107" name="Isosceles Triangle 31">
              <a:extLst>
                <a:ext uri="{FF2B5EF4-FFF2-40B4-BE49-F238E27FC236}">
                  <a16:creationId xmlns:a16="http://schemas.microsoft.com/office/drawing/2014/main" id="{9B155A72-72D4-4E6F-BBCB-2606C125CBB3}"/>
                </a:ext>
              </a:extLst>
            </p:cNvPr>
            <p:cNvSpPr/>
            <p:nvPr/>
          </p:nvSpPr>
          <p:spPr>
            <a:xfrm>
              <a:off x="9351516" y="1586752"/>
              <a:ext cx="2809289" cy="551139"/>
            </a:xfrm>
            <a:custGeom>
              <a:avLst/>
              <a:gdLst>
                <a:gd name="connsiteX0" fmla="*/ 0 w 3934939"/>
                <a:gd name="connsiteY0" fmla="*/ 384890 h 384890"/>
                <a:gd name="connsiteX1" fmla="*/ 1967470 w 3934939"/>
                <a:gd name="connsiteY1" fmla="*/ 0 h 384890"/>
                <a:gd name="connsiteX2" fmla="*/ 3934939 w 3934939"/>
                <a:gd name="connsiteY2" fmla="*/ 384890 h 384890"/>
                <a:gd name="connsiteX3" fmla="*/ 0 w 3934939"/>
                <a:gd name="connsiteY3" fmla="*/ 384890 h 384890"/>
                <a:gd name="connsiteX0" fmla="*/ 0 w 3934939"/>
                <a:gd name="connsiteY0" fmla="*/ 384890 h 469590"/>
                <a:gd name="connsiteX1" fmla="*/ 1967470 w 3934939"/>
                <a:gd name="connsiteY1" fmla="*/ 0 h 469590"/>
                <a:gd name="connsiteX2" fmla="*/ 3934939 w 3934939"/>
                <a:gd name="connsiteY2" fmla="*/ 384890 h 469590"/>
                <a:gd name="connsiteX3" fmla="*/ 2070893 w 3934939"/>
                <a:gd name="connsiteY3" fmla="*/ 469590 h 469590"/>
                <a:gd name="connsiteX4" fmla="*/ 0 w 3934939"/>
                <a:gd name="connsiteY4" fmla="*/ 384890 h 469590"/>
                <a:gd name="connsiteX0" fmla="*/ 2070893 w 3934939"/>
                <a:gd name="connsiteY0" fmla="*/ 469590 h 561030"/>
                <a:gd name="connsiteX1" fmla="*/ 0 w 3934939"/>
                <a:gd name="connsiteY1" fmla="*/ 384890 h 561030"/>
                <a:gd name="connsiteX2" fmla="*/ 1967470 w 3934939"/>
                <a:gd name="connsiteY2" fmla="*/ 0 h 561030"/>
                <a:gd name="connsiteX3" fmla="*/ 3934939 w 3934939"/>
                <a:gd name="connsiteY3" fmla="*/ 384890 h 561030"/>
                <a:gd name="connsiteX4" fmla="*/ 2162333 w 3934939"/>
                <a:gd name="connsiteY4" fmla="*/ 561030 h 561030"/>
                <a:gd name="connsiteX0" fmla="*/ 0 w 3934939"/>
                <a:gd name="connsiteY0" fmla="*/ 384890 h 561030"/>
                <a:gd name="connsiteX1" fmla="*/ 1967470 w 3934939"/>
                <a:gd name="connsiteY1" fmla="*/ 0 h 561030"/>
                <a:gd name="connsiteX2" fmla="*/ 3934939 w 3934939"/>
                <a:gd name="connsiteY2" fmla="*/ 384890 h 561030"/>
                <a:gd name="connsiteX3" fmla="*/ 2162333 w 3934939"/>
                <a:gd name="connsiteY3" fmla="*/ 561030 h 561030"/>
                <a:gd name="connsiteX0" fmla="*/ 0 w 3934939"/>
                <a:gd name="connsiteY0" fmla="*/ 384890 h 384890"/>
                <a:gd name="connsiteX1" fmla="*/ 1967470 w 3934939"/>
                <a:gd name="connsiteY1" fmla="*/ 0 h 384890"/>
                <a:gd name="connsiteX2" fmla="*/ 3934939 w 3934939"/>
                <a:gd name="connsiteY2" fmla="*/ 384890 h 384890"/>
              </a:gdLst>
              <a:ahLst/>
              <a:cxnLst>
                <a:cxn ang="0">
                  <a:pos x="connsiteX0" y="connsiteY0"/>
                </a:cxn>
                <a:cxn ang="0">
                  <a:pos x="connsiteX1" y="connsiteY1"/>
                </a:cxn>
                <a:cxn ang="0">
                  <a:pos x="connsiteX2" y="connsiteY2"/>
                </a:cxn>
              </a:cxnLst>
              <a:rect l="l" t="t" r="r" b="b"/>
              <a:pathLst>
                <a:path w="3934939" h="384890">
                  <a:moveTo>
                    <a:pt x="0" y="384890"/>
                  </a:moveTo>
                  <a:lnTo>
                    <a:pt x="1967470" y="0"/>
                  </a:lnTo>
                  <a:lnTo>
                    <a:pt x="3934939" y="384890"/>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8" name="Rectangle 5">
              <a:extLst>
                <a:ext uri="{FF2B5EF4-FFF2-40B4-BE49-F238E27FC236}">
                  <a16:creationId xmlns:a16="http://schemas.microsoft.com/office/drawing/2014/main" id="{FA011F11-7DEF-420F-9BFE-D4EEF17942EB}"/>
                </a:ext>
              </a:extLst>
            </p:cNvPr>
            <p:cNvSpPr/>
            <p:nvPr/>
          </p:nvSpPr>
          <p:spPr bwMode="auto">
            <a:xfrm>
              <a:off x="9457198" y="2113387"/>
              <a:ext cx="2609823" cy="3607059"/>
            </a:xfrm>
            <a:custGeom>
              <a:avLst/>
              <a:gdLst>
                <a:gd name="connsiteX0" fmla="*/ 0 w 1703540"/>
                <a:gd name="connsiteY0" fmla="*/ 0 h 1703540"/>
                <a:gd name="connsiteX1" fmla="*/ 1703540 w 1703540"/>
                <a:gd name="connsiteY1" fmla="*/ 0 h 1703540"/>
                <a:gd name="connsiteX2" fmla="*/ 1703540 w 1703540"/>
                <a:gd name="connsiteY2" fmla="*/ 1703540 h 1703540"/>
                <a:gd name="connsiteX3" fmla="*/ 0 w 1703540"/>
                <a:gd name="connsiteY3" fmla="*/ 1703540 h 1703540"/>
                <a:gd name="connsiteX4" fmla="*/ 0 w 1703540"/>
                <a:gd name="connsiteY4" fmla="*/ 0 h 1703540"/>
                <a:gd name="connsiteX0" fmla="*/ 1703540 w 1703540"/>
                <a:gd name="connsiteY0" fmla="*/ 0 h 1703540"/>
                <a:gd name="connsiteX1" fmla="*/ 1703540 w 1703540"/>
                <a:gd name="connsiteY1" fmla="*/ 1703540 h 1703540"/>
                <a:gd name="connsiteX2" fmla="*/ 0 w 1703540"/>
                <a:gd name="connsiteY2" fmla="*/ 1703540 h 1703540"/>
                <a:gd name="connsiteX3" fmla="*/ 91440 w 1703540"/>
                <a:gd name="connsiteY3" fmla="*/ 91440 h 1703540"/>
                <a:gd name="connsiteX0" fmla="*/ 1715339 w 1715339"/>
                <a:gd name="connsiteY0" fmla="*/ 0 h 1703540"/>
                <a:gd name="connsiteX1" fmla="*/ 1715339 w 1715339"/>
                <a:gd name="connsiteY1" fmla="*/ 1703540 h 1703540"/>
                <a:gd name="connsiteX2" fmla="*/ 11799 w 1715339"/>
                <a:gd name="connsiteY2" fmla="*/ 1703540 h 1703540"/>
                <a:gd name="connsiteX3" fmla="*/ 0 w 1715339"/>
                <a:gd name="connsiteY3" fmla="*/ 91440 h 1703540"/>
                <a:gd name="connsiteX0" fmla="*/ 1707965 w 1707965"/>
                <a:gd name="connsiteY0" fmla="*/ 0 h 1703540"/>
                <a:gd name="connsiteX1" fmla="*/ 1707965 w 1707965"/>
                <a:gd name="connsiteY1" fmla="*/ 1703540 h 1703540"/>
                <a:gd name="connsiteX2" fmla="*/ 4425 w 1707965"/>
                <a:gd name="connsiteY2" fmla="*/ 1703540 h 1703540"/>
                <a:gd name="connsiteX3" fmla="*/ 0 w 1707965"/>
                <a:gd name="connsiteY3" fmla="*/ 32447 h 1703540"/>
                <a:gd name="connsiteX0" fmla="*/ 1715339 w 1715339"/>
                <a:gd name="connsiteY0" fmla="*/ 19172 h 1722712"/>
                <a:gd name="connsiteX1" fmla="*/ 1715339 w 1715339"/>
                <a:gd name="connsiteY1" fmla="*/ 1722712 h 1722712"/>
                <a:gd name="connsiteX2" fmla="*/ 11799 w 1715339"/>
                <a:gd name="connsiteY2" fmla="*/ 1722712 h 1722712"/>
                <a:gd name="connsiteX3" fmla="*/ 0 w 1715339"/>
                <a:gd name="connsiteY3" fmla="*/ 0 h 1722712"/>
                <a:gd name="connsiteX0" fmla="*/ 1707965 w 1707965"/>
                <a:gd name="connsiteY0" fmla="*/ 0 h 1703540"/>
                <a:gd name="connsiteX1" fmla="*/ 1707965 w 1707965"/>
                <a:gd name="connsiteY1" fmla="*/ 1703540 h 1703540"/>
                <a:gd name="connsiteX2" fmla="*/ 4425 w 1707965"/>
                <a:gd name="connsiteY2" fmla="*/ 1703540 h 1703540"/>
                <a:gd name="connsiteX3" fmla="*/ 0 w 1707965"/>
                <a:gd name="connsiteY3" fmla="*/ 10325 h 1703540"/>
                <a:gd name="connsiteX0" fmla="*/ 1703540 w 1703540"/>
                <a:gd name="connsiteY0" fmla="*/ 5816 h 1709356"/>
                <a:gd name="connsiteX1" fmla="*/ 1703540 w 1703540"/>
                <a:gd name="connsiteY1" fmla="*/ 1709356 h 1709356"/>
                <a:gd name="connsiteX2" fmla="*/ 0 w 1703540"/>
                <a:gd name="connsiteY2" fmla="*/ 1709356 h 1709356"/>
                <a:gd name="connsiteX3" fmla="*/ 706 w 1703540"/>
                <a:gd name="connsiteY3" fmla="*/ 0 h 1709356"/>
              </a:gdLst>
              <a:ahLst/>
              <a:cxnLst>
                <a:cxn ang="0">
                  <a:pos x="connsiteX0" y="connsiteY0"/>
                </a:cxn>
                <a:cxn ang="0">
                  <a:pos x="connsiteX1" y="connsiteY1"/>
                </a:cxn>
                <a:cxn ang="0">
                  <a:pos x="connsiteX2" y="connsiteY2"/>
                </a:cxn>
                <a:cxn ang="0">
                  <a:pos x="connsiteX3" y="connsiteY3"/>
                </a:cxn>
              </a:cxnLst>
              <a:rect l="l" t="t" r="r" b="b"/>
              <a:pathLst>
                <a:path w="1703540" h="1709356">
                  <a:moveTo>
                    <a:pt x="1703540" y="5816"/>
                  </a:moveTo>
                  <a:lnTo>
                    <a:pt x="1703540" y="1709356"/>
                  </a:lnTo>
                  <a:lnTo>
                    <a:pt x="0" y="1709356"/>
                  </a:lnTo>
                  <a:cubicBezTo>
                    <a:pt x="0" y="1141509"/>
                    <a:pt x="706" y="0"/>
                    <a:pt x="706" y="0"/>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Segoe UI"/>
                <a:ea typeface="+mn-ea"/>
                <a:cs typeface="+mn-cs"/>
              </a:endParaRPr>
            </a:p>
          </p:txBody>
        </p:sp>
      </p:grpSp>
      <p:sp>
        <p:nvSpPr>
          <p:cNvPr id="110" name="Title 2">
            <a:extLst>
              <a:ext uri="{FF2B5EF4-FFF2-40B4-BE49-F238E27FC236}">
                <a16:creationId xmlns:a16="http://schemas.microsoft.com/office/drawing/2014/main" id="{2A3300AA-C68C-4791-9919-C2EF9113C4F1}"/>
              </a:ext>
            </a:extLst>
          </p:cNvPr>
          <p:cNvSpPr>
            <a:spLocks noGrp="1"/>
          </p:cNvSpPr>
          <p:nvPr>
            <p:ph type="title"/>
          </p:nvPr>
        </p:nvSpPr>
        <p:spPr>
          <a:xfrm>
            <a:off x="426424" y="302995"/>
            <a:ext cx="11354135" cy="757914"/>
          </a:xfrm>
        </p:spPr>
        <p:txBody>
          <a:bodyPr/>
          <a:lstStyle/>
          <a:p>
            <a:r>
              <a:rPr lang="en-US" sz="3725" dirty="0"/>
              <a:t>Model creation is typically a time consuming process</a:t>
            </a:r>
          </a:p>
        </p:txBody>
      </p:sp>
    </p:spTree>
    <p:extLst>
      <p:ext uri="{BB962C8B-B14F-4D97-AF65-F5344CB8AC3E}">
        <p14:creationId xmlns:p14="http://schemas.microsoft.com/office/powerpoint/2010/main" val="2931966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right)">
                                      <p:cBhvr>
                                        <p:cTn id="7" dur="1000"/>
                                        <p:tgtEl>
                                          <p:spTgt spid="77"/>
                                        </p:tgtEl>
                                      </p:cBhvr>
                                    </p:animEffect>
                                  </p:childTnLst>
                                </p:cTn>
                              </p:par>
                              <p:par>
                                <p:cTn id="8" presetID="42" presetClass="path" presetSubtype="0" accel="50000" decel="50000" fill="hold" grpId="0" nodeType="withEffect">
                                  <p:stCondLst>
                                    <p:cond delay="0"/>
                                  </p:stCondLst>
                                  <p:childTnLst>
                                    <p:animMotion origin="layout" path="M 1.04167E-6 4.44444E-6 L 0.14284 -0.20348 " pathEditMode="relative" rAng="0" ptsTypes="AA">
                                      <p:cBhvr>
                                        <p:cTn id="9" dur="750" fill="hold"/>
                                        <p:tgtEl>
                                          <p:spTgt spid="80"/>
                                        </p:tgtEl>
                                        <p:attrNameLst>
                                          <p:attrName>ppt_x</p:attrName>
                                          <p:attrName>ppt_y</p:attrName>
                                        </p:attrNameLst>
                                      </p:cBhvr>
                                      <p:rCtr x="7135" y="-10185"/>
                                    </p:animMotion>
                                  </p:childTnLst>
                                </p:cTn>
                              </p:par>
                              <p:par>
                                <p:cTn id="10" presetID="1" presetClass="entr" presetSubtype="0" fill="hold" nodeType="withEffect">
                                  <p:stCondLst>
                                    <p:cond delay="0"/>
                                  </p:stCondLst>
                                  <p:childTnLst>
                                    <p:set>
                                      <p:cBhvr>
                                        <p:cTn id="11" dur="1" fill="hold">
                                          <p:stCondLst>
                                            <p:cond delay="0"/>
                                          </p:stCondLst>
                                        </p:cTn>
                                        <p:tgtEl>
                                          <p:spTgt spid="105"/>
                                        </p:tgtEl>
                                        <p:attrNameLst>
                                          <p:attrName>style.visibility</p:attrName>
                                        </p:attrNameLst>
                                      </p:cBhvr>
                                      <p:to>
                                        <p:strVal val="visible"/>
                                      </p:to>
                                    </p:set>
                                  </p:childTnLst>
                                </p:cTn>
                              </p:par>
                            </p:childTnLst>
                          </p:cTn>
                        </p:par>
                        <p:par>
                          <p:cTn id="12" fill="hold">
                            <p:stCondLst>
                              <p:cond delay="1000"/>
                            </p:stCondLst>
                            <p:childTnLst>
                              <p:par>
                                <p:cTn id="13" presetID="10" presetClass="entr" presetSubtype="0" fill="hold" nodeType="afterEffect">
                                  <p:stCondLst>
                                    <p:cond delay="250"/>
                                  </p:stCondLst>
                                  <p:childTnLst>
                                    <p:set>
                                      <p:cBhvr>
                                        <p:cTn id="14" dur="1" fill="hold">
                                          <p:stCondLst>
                                            <p:cond delay="0"/>
                                          </p:stCondLst>
                                        </p:cTn>
                                        <p:tgtEl>
                                          <p:spTgt spid="82"/>
                                        </p:tgtEl>
                                        <p:attrNameLst>
                                          <p:attrName>style.visibility</p:attrName>
                                        </p:attrNameLst>
                                      </p:cBhvr>
                                      <p:to>
                                        <p:strVal val="visible"/>
                                      </p:to>
                                    </p:set>
                                    <p:animEffect transition="in" filter="fade">
                                      <p:cBhvr>
                                        <p:cTn id="15" dur="500"/>
                                        <p:tgtEl>
                                          <p:spTgt spid="82"/>
                                        </p:tgtEl>
                                      </p:cBhvr>
                                    </p:animEffect>
                                  </p:childTnLst>
                                </p:cTn>
                              </p:par>
                            </p:childTnLst>
                          </p:cTn>
                        </p:par>
                        <p:par>
                          <p:cTn id="16" fill="hold">
                            <p:stCondLst>
                              <p:cond delay="1750"/>
                            </p:stCondLst>
                            <p:childTnLst>
                              <p:par>
                                <p:cTn id="17" presetID="22" presetClass="entr" presetSubtype="1" fill="hold" grpId="0"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wipe(up)">
                                      <p:cBhvr>
                                        <p:cTn id="19" dur="500"/>
                                        <p:tgtEl>
                                          <p:spTgt spid="12"/>
                                        </p:tgtEl>
                                      </p:cBhvr>
                                    </p:animEffect>
                                  </p:childTnLst>
                                </p:cTn>
                              </p:par>
                              <p:par>
                                <p:cTn id="20" presetID="22" presetClass="exit" presetSubtype="1" fill="hold" grpId="0" nodeType="withEffect">
                                  <p:stCondLst>
                                    <p:cond delay="0"/>
                                  </p:stCondLst>
                                  <p:childTnLst>
                                    <p:animEffect transition="out" filter="wipe(up)">
                                      <p:cBhvr>
                                        <p:cTn id="21" dur="500"/>
                                        <p:tgtEl>
                                          <p:spTgt spid="83"/>
                                        </p:tgtEl>
                                      </p:cBhvr>
                                    </p:animEffect>
                                    <p:set>
                                      <p:cBhvr>
                                        <p:cTn id="22" dur="1" fill="hold">
                                          <p:stCondLst>
                                            <p:cond delay="499"/>
                                          </p:stCondLst>
                                        </p:cTn>
                                        <p:tgtEl>
                                          <p:spTgt spid="83"/>
                                        </p:tgtEl>
                                        <p:attrNameLst>
                                          <p:attrName>style.visibility</p:attrName>
                                        </p:attrNameLst>
                                      </p:cBhvr>
                                      <p:to>
                                        <p:strVal val="hidden"/>
                                      </p:to>
                                    </p:set>
                                  </p:childTnLst>
                                </p:cTn>
                              </p:par>
                              <p:par>
                                <p:cTn id="23" presetID="10" presetClass="entr" presetSubtype="0" fill="hold" grpId="0" nodeType="withEffect">
                                  <p:stCondLst>
                                    <p:cond delay="0"/>
                                  </p:stCondLst>
                                  <p:childTnLst>
                                    <p:set>
                                      <p:cBhvr>
                                        <p:cTn id="24" dur="1" fill="hold">
                                          <p:stCondLst>
                                            <p:cond delay="0"/>
                                          </p:stCondLst>
                                        </p:cTn>
                                        <p:tgtEl>
                                          <p:spTgt spid="84"/>
                                        </p:tgtEl>
                                        <p:attrNameLst>
                                          <p:attrName>style.visibility</p:attrName>
                                        </p:attrNameLst>
                                      </p:cBhvr>
                                      <p:to>
                                        <p:strVal val="visible"/>
                                      </p:to>
                                    </p:set>
                                    <p:animEffect transition="in" filter="fade">
                                      <p:cBhvr>
                                        <p:cTn id="25" dur="500"/>
                                        <p:tgtEl>
                                          <p:spTgt spid="84"/>
                                        </p:tgtEl>
                                      </p:cBhvr>
                                    </p:animEffect>
                                  </p:childTnLst>
                                </p:cTn>
                              </p:par>
                              <p:par>
                                <p:cTn id="26" presetID="10" presetClass="exit" presetSubtype="0" fill="hold" grpId="0" nodeType="withEffect">
                                  <p:stCondLst>
                                    <p:cond delay="0"/>
                                  </p:stCondLst>
                                  <p:childTnLst>
                                    <p:animEffect transition="out" filter="fade">
                                      <p:cBhvr>
                                        <p:cTn id="27" dur="500"/>
                                        <p:tgtEl>
                                          <p:spTgt spid="13"/>
                                        </p:tgtEl>
                                      </p:cBhvr>
                                    </p:animEffect>
                                    <p:set>
                                      <p:cBhvr>
                                        <p:cTn id="28" dur="1" fill="hold">
                                          <p:stCondLst>
                                            <p:cond delay="499"/>
                                          </p:stCondLst>
                                        </p:cTn>
                                        <p:tgtEl>
                                          <p:spTgt spid="13"/>
                                        </p:tgtEl>
                                        <p:attrNameLst>
                                          <p:attrName>style.visibility</p:attrName>
                                        </p:attrNameLst>
                                      </p:cBhvr>
                                      <p:to>
                                        <p:strVal val="hidden"/>
                                      </p:to>
                                    </p:set>
                                  </p:childTnLst>
                                </p:cTn>
                              </p:par>
                            </p:childTnLst>
                          </p:cTn>
                        </p:par>
                        <p:par>
                          <p:cTn id="29" fill="hold">
                            <p:stCondLst>
                              <p:cond delay="2250"/>
                            </p:stCondLst>
                            <p:childTnLst>
                              <p:par>
                                <p:cTn id="30" presetID="63" presetClass="path" presetSubtype="0" accel="24000" decel="50000" fill="hold" grpId="0" nodeType="afterEffect">
                                  <p:stCondLst>
                                    <p:cond delay="0"/>
                                  </p:stCondLst>
                                  <p:childTnLst>
                                    <p:animMotion origin="layout" path="M 4.58333E-6 3.7037E-6 L -0.05287 3.7037E-6 " pathEditMode="relative" rAng="0" ptsTypes="AA">
                                      <p:cBhvr>
                                        <p:cTn id="31" dur="750" fill="hold"/>
                                        <p:tgtEl>
                                          <p:spTgt spid="66"/>
                                        </p:tgtEl>
                                        <p:attrNameLst>
                                          <p:attrName>ppt_x</p:attrName>
                                          <p:attrName>ppt_y</p:attrName>
                                        </p:attrNameLst>
                                      </p:cBhvr>
                                      <p:rCtr x="-2643" y="0"/>
                                    </p:animMotion>
                                  </p:childTnLst>
                                </p:cTn>
                              </p:par>
                              <p:par>
                                <p:cTn id="32" presetID="63" presetClass="path" presetSubtype="0" accel="24000" decel="50000" fill="hold" grpId="0" nodeType="withEffect">
                                  <p:stCondLst>
                                    <p:cond delay="0"/>
                                  </p:stCondLst>
                                  <p:childTnLst>
                                    <p:animMotion origin="layout" path="M -1.25E-6 -3.33333E-6 L 0.07904 -3.33333E-6 " pathEditMode="relative" rAng="0" ptsTypes="AA">
                                      <p:cBhvr>
                                        <p:cTn id="33" dur="750" fill="hold"/>
                                        <p:tgtEl>
                                          <p:spTgt spid="67"/>
                                        </p:tgtEl>
                                        <p:attrNameLst>
                                          <p:attrName>ppt_x</p:attrName>
                                          <p:attrName>ppt_y</p:attrName>
                                        </p:attrNameLst>
                                      </p:cBhvr>
                                      <p:rCtr x="3945" y="0"/>
                                    </p:animMotion>
                                  </p:childTnLst>
                                </p:cTn>
                              </p:par>
                              <p:par>
                                <p:cTn id="34" presetID="63" presetClass="path" presetSubtype="0" accel="50000" decel="50000" fill="hold" grpId="0" nodeType="withEffect">
                                  <p:stCondLst>
                                    <p:cond delay="0"/>
                                  </p:stCondLst>
                                  <p:childTnLst>
                                    <p:animMotion origin="layout" path="M -1.04167E-6 -3.7037E-7 L 0.0138 -3.7037E-7 " pathEditMode="relative" rAng="0" ptsTypes="AA">
                                      <p:cBhvr>
                                        <p:cTn id="35" dur="750" fill="hold"/>
                                        <p:tgtEl>
                                          <p:spTgt spid="68"/>
                                        </p:tgtEl>
                                        <p:attrNameLst>
                                          <p:attrName>ppt_x</p:attrName>
                                          <p:attrName>ppt_y</p:attrName>
                                        </p:attrNameLst>
                                      </p:cBhvr>
                                      <p:rCtr x="690" y="0"/>
                                    </p:animMotion>
                                  </p:childTnLst>
                                </p:cTn>
                              </p:par>
                              <p:par>
                                <p:cTn id="36" presetID="63" presetClass="path" presetSubtype="0" accel="24000" decel="50000" fill="hold" grpId="0" nodeType="withEffect">
                                  <p:stCondLst>
                                    <p:cond delay="0"/>
                                  </p:stCondLst>
                                  <p:childTnLst>
                                    <p:animMotion origin="layout" path="M 1.25E-6 2.59259E-6 L 0.06667 2.59259E-6 " pathEditMode="relative" rAng="0" ptsTypes="AA">
                                      <p:cBhvr>
                                        <p:cTn id="37" dur="750" fill="hold"/>
                                        <p:tgtEl>
                                          <p:spTgt spid="69"/>
                                        </p:tgtEl>
                                        <p:attrNameLst>
                                          <p:attrName>ppt_x</p:attrName>
                                          <p:attrName>ppt_y</p:attrName>
                                        </p:attrNameLst>
                                      </p:cBhvr>
                                      <p:rCtr x="3333" y="0"/>
                                    </p:animMotion>
                                  </p:childTnLst>
                                </p:cTn>
                              </p:par>
                              <p:par>
                                <p:cTn id="38" presetID="63" presetClass="path" presetSubtype="0" accel="24000" decel="50000" fill="hold" grpId="0" nodeType="withEffect">
                                  <p:stCondLst>
                                    <p:cond delay="0"/>
                                  </p:stCondLst>
                                  <p:childTnLst>
                                    <p:animMotion origin="layout" path="M -4.16667E-6 -3.7037E-7 L 0.02709 -3.7037E-7 " pathEditMode="relative" rAng="0" ptsTypes="AA">
                                      <p:cBhvr>
                                        <p:cTn id="39" dur="750" fill="hold"/>
                                        <p:tgtEl>
                                          <p:spTgt spid="104"/>
                                        </p:tgtEl>
                                        <p:attrNameLst>
                                          <p:attrName>ppt_x</p:attrName>
                                          <p:attrName>ppt_y</p:attrName>
                                        </p:attrNameLst>
                                      </p:cBhvr>
                                      <p:rCtr x="1354" y="0"/>
                                    </p:animMotion>
                                  </p:childTnLst>
                                </p:cTn>
                              </p:par>
                            </p:childTnLst>
                          </p:cTn>
                        </p:par>
                        <p:par>
                          <p:cTn id="40" fill="hold">
                            <p:stCondLst>
                              <p:cond delay="3000"/>
                            </p:stCondLst>
                            <p:childTnLst>
                              <p:par>
                                <p:cTn id="41" presetID="22" presetClass="entr" presetSubtype="8" fill="hold" grpId="0" nodeType="afterEffect">
                                  <p:stCondLst>
                                    <p:cond delay="0"/>
                                  </p:stCondLst>
                                  <p:childTnLst>
                                    <p:set>
                                      <p:cBhvr>
                                        <p:cTn id="42" dur="1" fill="hold">
                                          <p:stCondLst>
                                            <p:cond delay="0"/>
                                          </p:stCondLst>
                                        </p:cTn>
                                        <p:tgtEl>
                                          <p:spTgt spid="73"/>
                                        </p:tgtEl>
                                        <p:attrNameLst>
                                          <p:attrName>style.visibility</p:attrName>
                                        </p:attrNameLst>
                                      </p:cBhvr>
                                      <p:to>
                                        <p:strVal val="visible"/>
                                      </p:to>
                                    </p:set>
                                    <p:animEffect transition="in" filter="wipe(left)">
                                      <p:cBhvr>
                                        <p:cTn id="43" dur="500"/>
                                        <p:tgtEl>
                                          <p:spTgt spid="73"/>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74"/>
                                        </p:tgtEl>
                                        <p:attrNameLst>
                                          <p:attrName>style.visibility</p:attrName>
                                        </p:attrNameLst>
                                      </p:cBhvr>
                                      <p:to>
                                        <p:strVal val="visible"/>
                                      </p:to>
                                    </p:set>
                                    <p:animEffect transition="in" filter="wipe(left)">
                                      <p:cBhvr>
                                        <p:cTn id="46"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p:bldP spid="66" grpId="0" animBg="1"/>
      <p:bldP spid="67" grpId="0" animBg="1"/>
      <p:bldP spid="68" grpId="0" animBg="1"/>
      <p:bldP spid="69" grpId="0" animBg="1"/>
      <p:bldP spid="73" grpId="0" animBg="1"/>
      <p:bldP spid="74" grpId="0"/>
      <p:bldP spid="80" grpId="0" animBg="1"/>
      <p:bldP spid="83" grpId="0" animBg="1"/>
      <p:bldP spid="84" grpId="0"/>
      <p:bldP spid="104"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1" name="Group 100">
            <a:extLst>
              <a:ext uri="{FF2B5EF4-FFF2-40B4-BE49-F238E27FC236}">
                <a16:creationId xmlns:a16="http://schemas.microsoft.com/office/drawing/2014/main" id="{1723F3D2-CF5C-4E0F-B5F8-9554765B6632}"/>
              </a:ext>
            </a:extLst>
          </p:cNvPr>
          <p:cNvGrpSpPr/>
          <p:nvPr/>
        </p:nvGrpSpPr>
        <p:grpSpPr>
          <a:xfrm>
            <a:off x="9347929" y="1743237"/>
            <a:ext cx="2808891" cy="3976883"/>
            <a:chOff x="9351516" y="1586752"/>
            <a:chExt cx="2809289" cy="4133694"/>
          </a:xfrm>
        </p:grpSpPr>
        <p:sp>
          <p:nvSpPr>
            <p:cNvPr id="102" name="Rectangle 101">
              <a:extLst>
                <a:ext uri="{FF2B5EF4-FFF2-40B4-BE49-F238E27FC236}">
                  <a16:creationId xmlns:a16="http://schemas.microsoft.com/office/drawing/2014/main" id="{1DC305BE-7241-4195-A554-7A2500E5064F}"/>
                </a:ext>
              </a:extLst>
            </p:cNvPr>
            <p:cNvSpPr/>
            <p:nvPr/>
          </p:nvSpPr>
          <p:spPr bwMode="auto">
            <a:xfrm>
              <a:off x="9615066" y="1756590"/>
              <a:ext cx="2298048" cy="324332"/>
            </a:xfrm>
            <a:prstGeom prst="rect">
              <a:avLst/>
            </a:prstGeom>
            <a:solidFill>
              <a:schemeClr val="bg1"/>
            </a:solidFill>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Track</a:t>
              </a:r>
            </a:p>
          </p:txBody>
        </p:sp>
        <p:sp>
          <p:nvSpPr>
            <p:cNvPr id="103" name="Isosceles Triangle 31">
              <a:extLst>
                <a:ext uri="{FF2B5EF4-FFF2-40B4-BE49-F238E27FC236}">
                  <a16:creationId xmlns:a16="http://schemas.microsoft.com/office/drawing/2014/main" id="{63F6F932-A16A-49F2-ADC7-512149872DD7}"/>
                </a:ext>
              </a:extLst>
            </p:cNvPr>
            <p:cNvSpPr/>
            <p:nvPr/>
          </p:nvSpPr>
          <p:spPr>
            <a:xfrm>
              <a:off x="9351516" y="1586752"/>
              <a:ext cx="2809289" cy="551139"/>
            </a:xfrm>
            <a:custGeom>
              <a:avLst/>
              <a:gdLst>
                <a:gd name="connsiteX0" fmla="*/ 0 w 3934939"/>
                <a:gd name="connsiteY0" fmla="*/ 384890 h 384890"/>
                <a:gd name="connsiteX1" fmla="*/ 1967470 w 3934939"/>
                <a:gd name="connsiteY1" fmla="*/ 0 h 384890"/>
                <a:gd name="connsiteX2" fmla="*/ 3934939 w 3934939"/>
                <a:gd name="connsiteY2" fmla="*/ 384890 h 384890"/>
                <a:gd name="connsiteX3" fmla="*/ 0 w 3934939"/>
                <a:gd name="connsiteY3" fmla="*/ 384890 h 384890"/>
                <a:gd name="connsiteX0" fmla="*/ 0 w 3934939"/>
                <a:gd name="connsiteY0" fmla="*/ 384890 h 469590"/>
                <a:gd name="connsiteX1" fmla="*/ 1967470 w 3934939"/>
                <a:gd name="connsiteY1" fmla="*/ 0 h 469590"/>
                <a:gd name="connsiteX2" fmla="*/ 3934939 w 3934939"/>
                <a:gd name="connsiteY2" fmla="*/ 384890 h 469590"/>
                <a:gd name="connsiteX3" fmla="*/ 2070893 w 3934939"/>
                <a:gd name="connsiteY3" fmla="*/ 469590 h 469590"/>
                <a:gd name="connsiteX4" fmla="*/ 0 w 3934939"/>
                <a:gd name="connsiteY4" fmla="*/ 384890 h 469590"/>
                <a:gd name="connsiteX0" fmla="*/ 2070893 w 3934939"/>
                <a:gd name="connsiteY0" fmla="*/ 469590 h 561030"/>
                <a:gd name="connsiteX1" fmla="*/ 0 w 3934939"/>
                <a:gd name="connsiteY1" fmla="*/ 384890 h 561030"/>
                <a:gd name="connsiteX2" fmla="*/ 1967470 w 3934939"/>
                <a:gd name="connsiteY2" fmla="*/ 0 h 561030"/>
                <a:gd name="connsiteX3" fmla="*/ 3934939 w 3934939"/>
                <a:gd name="connsiteY3" fmla="*/ 384890 h 561030"/>
                <a:gd name="connsiteX4" fmla="*/ 2162333 w 3934939"/>
                <a:gd name="connsiteY4" fmla="*/ 561030 h 561030"/>
                <a:gd name="connsiteX0" fmla="*/ 0 w 3934939"/>
                <a:gd name="connsiteY0" fmla="*/ 384890 h 561030"/>
                <a:gd name="connsiteX1" fmla="*/ 1967470 w 3934939"/>
                <a:gd name="connsiteY1" fmla="*/ 0 h 561030"/>
                <a:gd name="connsiteX2" fmla="*/ 3934939 w 3934939"/>
                <a:gd name="connsiteY2" fmla="*/ 384890 h 561030"/>
                <a:gd name="connsiteX3" fmla="*/ 2162333 w 3934939"/>
                <a:gd name="connsiteY3" fmla="*/ 561030 h 561030"/>
                <a:gd name="connsiteX0" fmla="*/ 0 w 3934939"/>
                <a:gd name="connsiteY0" fmla="*/ 384890 h 384890"/>
                <a:gd name="connsiteX1" fmla="*/ 1967470 w 3934939"/>
                <a:gd name="connsiteY1" fmla="*/ 0 h 384890"/>
                <a:gd name="connsiteX2" fmla="*/ 3934939 w 3934939"/>
                <a:gd name="connsiteY2" fmla="*/ 384890 h 384890"/>
              </a:gdLst>
              <a:ahLst/>
              <a:cxnLst>
                <a:cxn ang="0">
                  <a:pos x="connsiteX0" y="connsiteY0"/>
                </a:cxn>
                <a:cxn ang="0">
                  <a:pos x="connsiteX1" y="connsiteY1"/>
                </a:cxn>
                <a:cxn ang="0">
                  <a:pos x="connsiteX2" y="connsiteY2"/>
                </a:cxn>
              </a:cxnLst>
              <a:rect l="l" t="t" r="r" b="b"/>
              <a:pathLst>
                <a:path w="3934939" h="384890">
                  <a:moveTo>
                    <a:pt x="0" y="384890"/>
                  </a:moveTo>
                  <a:lnTo>
                    <a:pt x="1967470" y="0"/>
                  </a:lnTo>
                  <a:lnTo>
                    <a:pt x="3934939" y="384890"/>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Rectangle 5">
              <a:extLst>
                <a:ext uri="{FF2B5EF4-FFF2-40B4-BE49-F238E27FC236}">
                  <a16:creationId xmlns:a16="http://schemas.microsoft.com/office/drawing/2014/main" id="{3BE1C11A-A25A-46BF-86FF-8577B49536F2}"/>
                </a:ext>
              </a:extLst>
            </p:cNvPr>
            <p:cNvSpPr/>
            <p:nvPr/>
          </p:nvSpPr>
          <p:spPr bwMode="auto">
            <a:xfrm>
              <a:off x="9457198" y="2113387"/>
              <a:ext cx="2609823" cy="3607059"/>
            </a:xfrm>
            <a:custGeom>
              <a:avLst/>
              <a:gdLst>
                <a:gd name="connsiteX0" fmla="*/ 0 w 1703540"/>
                <a:gd name="connsiteY0" fmla="*/ 0 h 1703540"/>
                <a:gd name="connsiteX1" fmla="*/ 1703540 w 1703540"/>
                <a:gd name="connsiteY1" fmla="*/ 0 h 1703540"/>
                <a:gd name="connsiteX2" fmla="*/ 1703540 w 1703540"/>
                <a:gd name="connsiteY2" fmla="*/ 1703540 h 1703540"/>
                <a:gd name="connsiteX3" fmla="*/ 0 w 1703540"/>
                <a:gd name="connsiteY3" fmla="*/ 1703540 h 1703540"/>
                <a:gd name="connsiteX4" fmla="*/ 0 w 1703540"/>
                <a:gd name="connsiteY4" fmla="*/ 0 h 1703540"/>
                <a:gd name="connsiteX0" fmla="*/ 1703540 w 1703540"/>
                <a:gd name="connsiteY0" fmla="*/ 0 h 1703540"/>
                <a:gd name="connsiteX1" fmla="*/ 1703540 w 1703540"/>
                <a:gd name="connsiteY1" fmla="*/ 1703540 h 1703540"/>
                <a:gd name="connsiteX2" fmla="*/ 0 w 1703540"/>
                <a:gd name="connsiteY2" fmla="*/ 1703540 h 1703540"/>
                <a:gd name="connsiteX3" fmla="*/ 91440 w 1703540"/>
                <a:gd name="connsiteY3" fmla="*/ 91440 h 1703540"/>
                <a:gd name="connsiteX0" fmla="*/ 1715339 w 1715339"/>
                <a:gd name="connsiteY0" fmla="*/ 0 h 1703540"/>
                <a:gd name="connsiteX1" fmla="*/ 1715339 w 1715339"/>
                <a:gd name="connsiteY1" fmla="*/ 1703540 h 1703540"/>
                <a:gd name="connsiteX2" fmla="*/ 11799 w 1715339"/>
                <a:gd name="connsiteY2" fmla="*/ 1703540 h 1703540"/>
                <a:gd name="connsiteX3" fmla="*/ 0 w 1715339"/>
                <a:gd name="connsiteY3" fmla="*/ 91440 h 1703540"/>
                <a:gd name="connsiteX0" fmla="*/ 1707965 w 1707965"/>
                <a:gd name="connsiteY0" fmla="*/ 0 h 1703540"/>
                <a:gd name="connsiteX1" fmla="*/ 1707965 w 1707965"/>
                <a:gd name="connsiteY1" fmla="*/ 1703540 h 1703540"/>
                <a:gd name="connsiteX2" fmla="*/ 4425 w 1707965"/>
                <a:gd name="connsiteY2" fmla="*/ 1703540 h 1703540"/>
                <a:gd name="connsiteX3" fmla="*/ 0 w 1707965"/>
                <a:gd name="connsiteY3" fmla="*/ 32447 h 1703540"/>
                <a:gd name="connsiteX0" fmla="*/ 1715339 w 1715339"/>
                <a:gd name="connsiteY0" fmla="*/ 19172 h 1722712"/>
                <a:gd name="connsiteX1" fmla="*/ 1715339 w 1715339"/>
                <a:gd name="connsiteY1" fmla="*/ 1722712 h 1722712"/>
                <a:gd name="connsiteX2" fmla="*/ 11799 w 1715339"/>
                <a:gd name="connsiteY2" fmla="*/ 1722712 h 1722712"/>
                <a:gd name="connsiteX3" fmla="*/ 0 w 1715339"/>
                <a:gd name="connsiteY3" fmla="*/ 0 h 1722712"/>
                <a:gd name="connsiteX0" fmla="*/ 1707965 w 1707965"/>
                <a:gd name="connsiteY0" fmla="*/ 0 h 1703540"/>
                <a:gd name="connsiteX1" fmla="*/ 1707965 w 1707965"/>
                <a:gd name="connsiteY1" fmla="*/ 1703540 h 1703540"/>
                <a:gd name="connsiteX2" fmla="*/ 4425 w 1707965"/>
                <a:gd name="connsiteY2" fmla="*/ 1703540 h 1703540"/>
                <a:gd name="connsiteX3" fmla="*/ 0 w 1707965"/>
                <a:gd name="connsiteY3" fmla="*/ 10325 h 1703540"/>
                <a:gd name="connsiteX0" fmla="*/ 1703540 w 1703540"/>
                <a:gd name="connsiteY0" fmla="*/ 5816 h 1709356"/>
                <a:gd name="connsiteX1" fmla="*/ 1703540 w 1703540"/>
                <a:gd name="connsiteY1" fmla="*/ 1709356 h 1709356"/>
                <a:gd name="connsiteX2" fmla="*/ 0 w 1703540"/>
                <a:gd name="connsiteY2" fmla="*/ 1709356 h 1709356"/>
                <a:gd name="connsiteX3" fmla="*/ 706 w 1703540"/>
                <a:gd name="connsiteY3" fmla="*/ 0 h 1709356"/>
              </a:gdLst>
              <a:ahLst/>
              <a:cxnLst>
                <a:cxn ang="0">
                  <a:pos x="connsiteX0" y="connsiteY0"/>
                </a:cxn>
                <a:cxn ang="0">
                  <a:pos x="connsiteX1" y="connsiteY1"/>
                </a:cxn>
                <a:cxn ang="0">
                  <a:pos x="connsiteX2" y="connsiteY2"/>
                </a:cxn>
                <a:cxn ang="0">
                  <a:pos x="connsiteX3" y="connsiteY3"/>
                </a:cxn>
              </a:cxnLst>
              <a:rect l="l" t="t" r="r" b="b"/>
              <a:pathLst>
                <a:path w="1703540" h="1709356">
                  <a:moveTo>
                    <a:pt x="1703540" y="5816"/>
                  </a:moveTo>
                  <a:lnTo>
                    <a:pt x="1703540" y="1709356"/>
                  </a:lnTo>
                  <a:lnTo>
                    <a:pt x="0" y="1709356"/>
                  </a:lnTo>
                  <a:cubicBezTo>
                    <a:pt x="0" y="1141509"/>
                    <a:pt x="706" y="0"/>
                    <a:pt x="706" y="0"/>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Segoe UI"/>
                <a:ea typeface="+mn-ea"/>
                <a:cs typeface="+mn-cs"/>
              </a:endParaRPr>
            </a:p>
          </p:txBody>
        </p:sp>
      </p:grpSp>
      <p:grpSp>
        <p:nvGrpSpPr>
          <p:cNvPr id="2" name="Group 1">
            <a:extLst>
              <a:ext uri="{FF2B5EF4-FFF2-40B4-BE49-F238E27FC236}">
                <a16:creationId xmlns:a16="http://schemas.microsoft.com/office/drawing/2014/main" id="{BD8AE1ED-2270-4A61-B841-2FB66EFCD65D}"/>
              </a:ext>
            </a:extLst>
          </p:cNvPr>
          <p:cNvGrpSpPr/>
          <p:nvPr/>
        </p:nvGrpSpPr>
        <p:grpSpPr>
          <a:xfrm>
            <a:off x="5884476" y="3044591"/>
            <a:ext cx="1450408" cy="1505168"/>
            <a:chOff x="5884446" y="3044537"/>
            <a:chExt cx="1450614" cy="1505382"/>
          </a:xfrm>
        </p:grpSpPr>
        <p:grpSp>
          <p:nvGrpSpPr>
            <p:cNvPr id="37" name="Group 36">
              <a:extLst>
                <a:ext uri="{FF2B5EF4-FFF2-40B4-BE49-F238E27FC236}">
                  <a16:creationId xmlns:a16="http://schemas.microsoft.com/office/drawing/2014/main" id="{A995BB77-5A05-41A6-9266-9ADBB2F88266}"/>
                </a:ext>
              </a:extLst>
            </p:cNvPr>
            <p:cNvGrpSpPr/>
            <p:nvPr/>
          </p:nvGrpSpPr>
          <p:grpSpPr>
            <a:xfrm>
              <a:off x="5884446" y="3044537"/>
              <a:ext cx="1450614" cy="147003"/>
              <a:chOff x="8120217" y="3558128"/>
              <a:chExt cx="1940664" cy="147003"/>
            </a:xfrm>
          </p:grpSpPr>
          <p:cxnSp>
            <p:nvCxnSpPr>
              <p:cNvPr id="38" name="Straight Connector 37">
                <a:extLst>
                  <a:ext uri="{FF2B5EF4-FFF2-40B4-BE49-F238E27FC236}">
                    <a16:creationId xmlns:a16="http://schemas.microsoft.com/office/drawing/2014/main" id="{A2C03983-943E-4E59-8383-78832CD2E20F}"/>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CFA1416-A1B0-46EB-AA53-BA421B3A6A62}"/>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63FEEBB4-CF81-4A62-A145-6BB88C917CEF}"/>
                  </a:ext>
                </a:extLst>
              </p:cNvPr>
              <p:cNvGrpSpPr/>
              <p:nvPr/>
            </p:nvGrpSpPr>
            <p:grpSpPr>
              <a:xfrm>
                <a:off x="8335846" y="3593256"/>
                <a:ext cx="1509402" cy="111875"/>
                <a:chOff x="8335846" y="3498555"/>
                <a:chExt cx="1509402" cy="206573"/>
              </a:xfrm>
            </p:grpSpPr>
            <p:cxnSp>
              <p:nvCxnSpPr>
                <p:cNvPr id="41" name="Straight Connector 40">
                  <a:extLst>
                    <a:ext uri="{FF2B5EF4-FFF2-40B4-BE49-F238E27FC236}">
                      <a16:creationId xmlns:a16="http://schemas.microsoft.com/office/drawing/2014/main" id="{ABE1743D-D1F2-43E7-B341-1A20A333C275}"/>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C39D94C-F515-4933-9AF5-4B2CFA4290EE}"/>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EC3DB11-A16E-4FA3-81C1-F37D64614F79}"/>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901AC9C-3A65-48E6-8B46-C286C1AB0A94}"/>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F4013FE-06AA-432A-B791-C38C54872705}"/>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40B3E34-315A-43D8-AA4B-023448EFED5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BC5764D-496A-4C25-8E2B-2168EE748EB2}"/>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3933A55-06DD-421E-8217-539D482A68B2}"/>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0" name="Group 49">
              <a:extLst>
                <a:ext uri="{FF2B5EF4-FFF2-40B4-BE49-F238E27FC236}">
                  <a16:creationId xmlns:a16="http://schemas.microsoft.com/office/drawing/2014/main" id="{FBC36DC7-6421-41AA-90FB-4B930E7F7699}"/>
                </a:ext>
              </a:extLst>
            </p:cNvPr>
            <p:cNvGrpSpPr/>
            <p:nvPr/>
          </p:nvGrpSpPr>
          <p:grpSpPr>
            <a:xfrm>
              <a:off x="5884446" y="3384135"/>
              <a:ext cx="1450614" cy="146999"/>
              <a:chOff x="8120217" y="3558128"/>
              <a:chExt cx="1940664" cy="146999"/>
            </a:xfrm>
          </p:grpSpPr>
          <p:cxnSp>
            <p:nvCxnSpPr>
              <p:cNvPr id="51" name="Straight Connector 50">
                <a:extLst>
                  <a:ext uri="{FF2B5EF4-FFF2-40B4-BE49-F238E27FC236}">
                    <a16:creationId xmlns:a16="http://schemas.microsoft.com/office/drawing/2014/main" id="{FF018632-D3DD-4FB4-B439-BA2DE4ECF3EB}"/>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DA117C8-247D-4054-83E9-865713E71A63}"/>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2349FF8E-577E-498D-AB2F-B28E2E1BD54A}"/>
                  </a:ext>
                </a:extLst>
              </p:cNvPr>
              <p:cNvGrpSpPr/>
              <p:nvPr/>
            </p:nvGrpSpPr>
            <p:grpSpPr>
              <a:xfrm>
                <a:off x="8335846" y="3592140"/>
                <a:ext cx="1509402" cy="112986"/>
                <a:chOff x="8335846" y="3496504"/>
                <a:chExt cx="1509402" cy="208625"/>
              </a:xfrm>
            </p:grpSpPr>
            <p:cxnSp>
              <p:nvCxnSpPr>
                <p:cNvPr id="54" name="Straight Connector 53">
                  <a:extLst>
                    <a:ext uri="{FF2B5EF4-FFF2-40B4-BE49-F238E27FC236}">
                      <a16:creationId xmlns:a16="http://schemas.microsoft.com/office/drawing/2014/main" id="{2EC5FF38-6339-4622-9F80-B1FD5D7DAF8A}"/>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F03DFD5-DB55-4A40-9412-5171EF8D1835}"/>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4710521-9101-48D4-90EE-618C4FDE2EF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CBB89D8-D9DB-4D62-8272-8D713528E36F}"/>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B6CD139-D39D-4878-9E28-BE0C2BD8C6E2}"/>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4A0DD67-A763-48FD-A81D-8F04147AB311}"/>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2CEBA28-FAC1-4C37-B381-EAB4830EBCE2}"/>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1FEE2D7-34CB-46DC-B3D8-70A182BA7CB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62" name="Group 61">
              <a:extLst>
                <a:ext uri="{FF2B5EF4-FFF2-40B4-BE49-F238E27FC236}">
                  <a16:creationId xmlns:a16="http://schemas.microsoft.com/office/drawing/2014/main" id="{269E9AA7-0CA8-482A-999E-DCB9FD2B890B}"/>
                </a:ext>
              </a:extLst>
            </p:cNvPr>
            <p:cNvGrpSpPr/>
            <p:nvPr/>
          </p:nvGrpSpPr>
          <p:grpSpPr>
            <a:xfrm>
              <a:off x="5884446" y="3723729"/>
              <a:ext cx="1450614" cy="147000"/>
              <a:chOff x="8120217" y="3558128"/>
              <a:chExt cx="1940664" cy="147000"/>
            </a:xfrm>
          </p:grpSpPr>
          <p:cxnSp>
            <p:nvCxnSpPr>
              <p:cNvPr id="63" name="Straight Connector 62">
                <a:extLst>
                  <a:ext uri="{FF2B5EF4-FFF2-40B4-BE49-F238E27FC236}">
                    <a16:creationId xmlns:a16="http://schemas.microsoft.com/office/drawing/2014/main" id="{91AFD085-E71F-4890-99A1-521333659CB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EB1AE87-2B7B-44E9-BF9F-8CCF029CD1DD}"/>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4C0965D2-43FB-4D0F-81E7-FA62C2F0C0D3}"/>
                  </a:ext>
                </a:extLst>
              </p:cNvPr>
              <p:cNvGrpSpPr/>
              <p:nvPr/>
            </p:nvGrpSpPr>
            <p:grpSpPr>
              <a:xfrm>
                <a:off x="8335846" y="3593752"/>
                <a:ext cx="1509402" cy="111376"/>
                <a:chOff x="8335846" y="3499477"/>
                <a:chExt cx="1509402" cy="205652"/>
              </a:xfrm>
            </p:grpSpPr>
            <p:cxnSp>
              <p:nvCxnSpPr>
                <p:cNvPr id="67" name="Straight Connector 66">
                  <a:extLst>
                    <a:ext uri="{FF2B5EF4-FFF2-40B4-BE49-F238E27FC236}">
                      <a16:creationId xmlns:a16="http://schemas.microsoft.com/office/drawing/2014/main" id="{EC94363D-8C74-40A0-BFCB-17F1AD4F0698}"/>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A890D25-18AF-44F6-9B6F-D4F4487FF2C3}"/>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138C371-61A1-42C9-B4A2-79F976A960C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4EF16B2-A7B8-470E-9C44-CDF47811A560}"/>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FA23ABB0-200B-48EE-A948-E4F8F37FB747}"/>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6385DD5-FF34-4167-BBD4-00747FF75FC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7FC391A-47BA-4E02-8135-A6E71A404ACC}"/>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BD4B48A-796E-4BBD-B449-EA0E46FBC60F}"/>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76" name="Group 75">
              <a:extLst>
                <a:ext uri="{FF2B5EF4-FFF2-40B4-BE49-F238E27FC236}">
                  <a16:creationId xmlns:a16="http://schemas.microsoft.com/office/drawing/2014/main" id="{F8B8793F-DC9E-4FC7-AD81-64D579C99EDC}"/>
                </a:ext>
              </a:extLst>
            </p:cNvPr>
            <p:cNvGrpSpPr/>
            <p:nvPr/>
          </p:nvGrpSpPr>
          <p:grpSpPr>
            <a:xfrm>
              <a:off x="5884446" y="4063323"/>
              <a:ext cx="1450614" cy="147002"/>
              <a:chOff x="8120217" y="3558128"/>
              <a:chExt cx="1940664" cy="147002"/>
            </a:xfrm>
          </p:grpSpPr>
          <p:cxnSp>
            <p:nvCxnSpPr>
              <p:cNvPr id="82" name="Straight Connector 81">
                <a:extLst>
                  <a:ext uri="{FF2B5EF4-FFF2-40B4-BE49-F238E27FC236}">
                    <a16:creationId xmlns:a16="http://schemas.microsoft.com/office/drawing/2014/main" id="{491D9C4E-1A37-4B3D-B6C5-63A81C2A777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289FCC8D-A8D9-4D95-AA3D-2EFCC67F6C29}"/>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A9BFA321-5756-42FA-874C-3A83531A87B3}"/>
                  </a:ext>
                </a:extLst>
              </p:cNvPr>
              <p:cNvGrpSpPr/>
              <p:nvPr/>
            </p:nvGrpSpPr>
            <p:grpSpPr>
              <a:xfrm>
                <a:off x="8335846" y="3595364"/>
                <a:ext cx="1509402" cy="109766"/>
                <a:chOff x="8335846" y="3502450"/>
                <a:chExt cx="1509402" cy="202679"/>
              </a:xfrm>
            </p:grpSpPr>
            <p:cxnSp>
              <p:nvCxnSpPr>
                <p:cNvPr id="85" name="Straight Connector 84">
                  <a:extLst>
                    <a:ext uri="{FF2B5EF4-FFF2-40B4-BE49-F238E27FC236}">
                      <a16:creationId xmlns:a16="http://schemas.microsoft.com/office/drawing/2014/main" id="{65AD5B74-1B00-45C4-B604-AAA31870CB40}"/>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C850950-BA30-47D6-9490-154EC1104819}"/>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92F841C-1B25-438E-9FF8-005F5F97D41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C7ACCF32-A9CE-483B-95B1-4F68EBFC981D}"/>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4FB3800-9155-4E5F-AF1E-F3128455126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602CA657-BE4B-4048-9C8A-8BB682F42557}"/>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9F36F5E-8B54-4B75-BCF9-C1D53DF4BE74}"/>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D904617-8559-4E41-BC9D-3E4881C0D03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5" name="Group 104">
              <a:extLst>
                <a:ext uri="{FF2B5EF4-FFF2-40B4-BE49-F238E27FC236}">
                  <a16:creationId xmlns:a16="http://schemas.microsoft.com/office/drawing/2014/main" id="{4264AE4F-C5AC-4148-B274-D99ABD4D60D6}"/>
                </a:ext>
              </a:extLst>
            </p:cNvPr>
            <p:cNvGrpSpPr/>
            <p:nvPr/>
          </p:nvGrpSpPr>
          <p:grpSpPr>
            <a:xfrm>
              <a:off x="5884446" y="4402917"/>
              <a:ext cx="1450614" cy="147002"/>
              <a:chOff x="8120217" y="3558128"/>
              <a:chExt cx="1940664" cy="147002"/>
            </a:xfrm>
          </p:grpSpPr>
          <p:cxnSp>
            <p:nvCxnSpPr>
              <p:cNvPr id="106" name="Straight Connector 105">
                <a:extLst>
                  <a:ext uri="{FF2B5EF4-FFF2-40B4-BE49-F238E27FC236}">
                    <a16:creationId xmlns:a16="http://schemas.microsoft.com/office/drawing/2014/main" id="{BEFF23A2-946C-4BAD-8E6B-7812762ACDD5}"/>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F9B64E9A-3596-4F19-9B91-6E0E6F82DF0F}"/>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8" name="Group 107">
                <a:extLst>
                  <a:ext uri="{FF2B5EF4-FFF2-40B4-BE49-F238E27FC236}">
                    <a16:creationId xmlns:a16="http://schemas.microsoft.com/office/drawing/2014/main" id="{AEF420FF-3ED7-4F4B-848D-720ED8C39485}"/>
                  </a:ext>
                </a:extLst>
              </p:cNvPr>
              <p:cNvGrpSpPr/>
              <p:nvPr/>
            </p:nvGrpSpPr>
            <p:grpSpPr>
              <a:xfrm>
                <a:off x="8335846" y="3595364"/>
                <a:ext cx="1509402" cy="109766"/>
                <a:chOff x="8335846" y="3502450"/>
                <a:chExt cx="1509402" cy="202679"/>
              </a:xfrm>
            </p:grpSpPr>
            <p:cxnSp>
              <p:nvCxnSpPr>
                <p:cNvPr id="112" name="Straight Connector 111">
                  <a:extLst>
                    <a:ext uri="{FF2B5EF4-FFF2-40B4-BE49-F238E27FC236}">
                      <a16:creationId xmlns:a16="http://schemas.microsoft.com/office/drawing/2014/main" id="{D6AF544E-ADDF-4260-8FBC-56810DB4448D}"/>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C9177729-9337-4D34-946B-DFE4481F5E4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8B5F39E7-EF92-481F-B897-34DA903E2595}"/>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73BDB3AA-CDE0-4C62-B51C-DC1F3A0E5CC8}"/>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67783E9-C504-4723-9867-5BFA3F01AFD6}"/>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48A591B9-6BAE-442B-9699-3B4856913C0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8AEBBB1-E1D2-423E-8C80-D660D7BF9FC7}"/>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82DBB156-D4D6-4F2B-BB8D-63740E75D9C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sp>
        <p:nvSpPr>
          <p:cNvPr id="136" name="Rectangle 135">
            <a:extLst>
              <a:ext uri="{FF2B5EF4-FFF2-40B4-BE49-F238E27FC236}">
                <a16:creationId xmlns:a16="http://schemas.microsoft.com/office/drawing/2014/main" id="{B876C16E-02E3-49C5-B773-9B262EC0EB00}"/>
              </a:ext>
            </a:extLst>
          </p:cNvPr>
          <p:cNvSpPr/>
          <p:nvPr/>
        </p:nvSpPr>
        <p:spPr bwMode="auto">
          <a:xfrm>
            <a:off x="3090561" y="2809595"/>
            <a:ext cx="2078488" cy="3201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7" name="Rectangle 146">
            <a:extLst>
              <a:ext uri="{FF2B5EF4-FFF2-40B4-BE49-F238E27FC236}">
                <a16:creationId xmlns:a16="http://schemas.microsoft.com/office/drawing/2014/main" id="{AF6BECDC-1136-474D-AD57-07C750BD7A6D}"/>
              </a:ext>
            </a:extLst>
          </p:cNvPr>
          <p:cNvSpPr/>
          <p:nvPr/>
        </p:nvSpPr>
        <p:spPr bwMode="auto">
          <a:xfrm>
            <a:off x="3090561" y="3511931"/>
            <a:ext cx="2078488" cy="3292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8" name="Rectangle 147">
            <a:extLst>
              <a:ext uri="{FF2B5EF4-FFF2-40B4-BE49-F238E27FC236}">
                <a16:creationId xmlns:a16="http://schemas.microsoft.com/office/drawing/2014/main" id="{781F9281-CBE0-4766-9CEB-2F25D7221217}"/>
              </a:ext>
            </a:extLst>
          </p:cNvPr>
          <p:cNvSpPr/>
          <p:nvPr/>
        </p:nvSpPr>
        <p:spPr bwMode="auto">
          <a:xfrm>
            <a:off x="3090561" y="3867686"/>
            <a:ext cx="2078488" cy="3292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9" name="Rectangle 148">
            <a:extLst>
              <a:ext uri="{FF2B5EF4-FFF2-40B4-BE49-F238E27FC236}">
                <a16:creationId xmlns:a16="http://schemas.microsoft.com/office/drawing/2014/main" id="{446FD518-64A8-443E-85DA-D36BBF1E57EC}"/>
              </a:ext>
            </a:extLst>
          </p:cNvPr>
          <p:cNvSpPr/>
          <p:nvPr/>
        </p:nvSpPr>
        <p:spPr bwMode="auto">
          <a:xfrm>
            <a:off x="3090561" y="4223443"/>
            <a:ext cx="2078488" cy="3292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50" name="Rectangle 149">
            <a:extLst>
              <a:ext uri="{FF2B5EF4-FFF2-40B4-BE49-F238E27FC236}">
                <a16:creationId xmlns:a16="http://schemas.microsoft.com/office/drawing/2014/main" id="{76003EBD-BBD0-43A8-ACD9-097C9F3C2F52}"/>
              </a:ext>
            </a:extLst>
          </p:cNvPr>
          <p:cNvSpPr/>
          <p:nvPr/>
        </p:nvSpPr>
        <p:spPr bwMode="auto">
          <a:xfrm>
            <a:off x="3090561" y="3156174"/>
            <a:ext cx="2078488" cy="3292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33" name="Rectangle 32">
            <a:extLst>
              <a:ext uri="{FF2B5EF4-FFF2-40B4-BE49-F238E27FC236}">
                <a16:creationId xmlns:a16="http://schemas.microsoft.com/office/drawing/2014/main" id="{E85050E8-530B-48B8-8D30-6B4189AAC40C}"/>
              </a:ext>
            </a:extLst>
          </p:cNvPr>
          <p:cNvSpPr/>
          <p:nvPr/>
        </p:nvSpPr>
        <p:spPr bwMode="auto">
          <a:xfrm>
            <a:off x="3085136" y="2268209"/>
            <a:ext cx="2211626" cy="346521"/>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42" name="Rectangle 41">
            <a:extLst>
              <a:ext uri="{FF2B5EF4-FFF2-40B4-BE49-F238E27FC236}">
                <a16:creationId xmlns:a16="http://schemas.microsoft.com/office/drawing/2014/main" id="{8DFBE1EA-D672-4BA2-8AC5-8F9258F9AE8E}"/>
              </a:ext>
            </a:extLst>
          </p:cNvPr>
          <p:cNvSpPr/>
          <p:nvPr/>
        </p:nvSpPr>
        <p:spPr bwMode="auto">
          <a:xfrm>
            <a:off x="5577549" y="2268209"/>
            <a:ext cx="2410247" cy="346521"/>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29" name="Rectangle 28">
            <a:extLst>
              <a:ext uri="{FF2B5EF4-FFF2-40B4-BE49-F238E27FC236}">
                <a16:creationId xmlns:a16="http://schemas.microsoft.com/office/drawing/2014/main" id="{22EE7413-F083-4FA4-B233-0BE9A60054A1}"/>
              </a:ext>
            </a:extLst>
          </p:cNvPr>
          <p:cNvSpPr/>
          <p:nvPr/>
        </p:nvSpPr>
        <p:spPr bwMode="auto">
          <a:xfrm>
            <a:off x="736344" y="2268209"/>
            <a:ext cx="2068005" cy="346521"/>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110" y="2767743"/>
            <a:ext cx="323873" cy="2410248"/>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6C1DA2B4-1C0E-4041-B2C8-AE1DBE888000}"/>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81" name="Rectangle 80">
            <a:extLst>
              <a:ext uri="{FF2B5EF4-FFF2-40B4-BE49-F238E27FC236}">
                <a16:creationId xmlns:a16="http://schemas.microsoft.com/office/drawing/2014/main" id="{5843B82D-D9A4-4766-8C2A-684A866EB0F0}"/>
              </a:ext>
            </a:extLst>
          </p:cNvPr>
          <p:cNvSpPr/>
          <p:nvPr/>
        </p:nvSpPr>
        <p:spPr bwMode="auto">
          <a:xfrm>
            <a:off x="11309461" y="2353971"/>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90" name="Rectangle 89">
            <a:extLst>
              <a:ext uri="{FF2B5EF4-FFF2-40B4-BE49-F238E27FC236}">
                <a16:creationId xmlns:a16="http://schemas.microsoft.com/office/drawing/2014/main" id="{9E12CE79-1D28-42FF-A8D2-F17C5397AD4B}"/>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91" name="Rectangle 90">
            <a:extLst>
              <a:ext uri="{FF2B5EF4-FFF2-40B4-BE49-F238E27FC236}">
                <a16:creationId xmlns:a16="http://schemas.microsoft.com/office/drawing/2014/main" id="{2C0B2D7F-DABA-4CF5-986F-41239206EBA7}"/>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123" name="Rectangle 122">
            <a:extLst>
              <a:ext uri="{FF2B5EF4-FFF2-40B4-BE49-F238E27FC236}">
                <a16:creationId xmlns:a16="http://schemas.microsoft.com/office/drawing/2014/main" id="{C138F34D-E681-4EC2-A776-620ACB5B2ADA}"/>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5%</a:t>
            </a:r>
          </a:p>
        </p:txBody>
      </p:sp>
      <p:sp>
        <p:nvSpPr>
          <p:cNvPr id="137" name="Rectangle 136">
            <a:extLst>
              <a:ext uri="{FF2B5EF4-FFF2-40B4-BE49-F238E27FC236}">
                <a16:creationId xmlns:a16="http://schemas.microsoft.com/office/drawing/2014/main" id="{C2BBE4FC-909C-4345-B6B7-CD98E0800549}"/>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138" name="Rectangle 137">
            <a:extLst>
              <a:ext uri="{FF2B5EF4-FFF2-40B4-BE49-F238E27FC236}">
                <a16:creationId xmlns:a16="http://schemas.microsoft.com/office/drawing/2014/main" id="{E5DC31E9-1B38-490E-97B1-396F5BC8BD37}"/>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65%</a:t>
            </a:r>
          </a:p>
        </p:txBody>
      </p:sp>
      <p:sp>
        <p:nvSpPr>
          <p:cNvPr id="139" name="Rectangle 138">
            <a:extLst>
              <a:ext uri="{FF2B5EF4-FFF2-40B4-BE49-F238E27FC236}">
                <a16:creationId xmlns:a16="http://schemas.microsoft.com/office/drawing/2014/main" id="{38AE8513-E5E7-4164-8B0A-DCBE47A37897}"/>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95%</a:t>
            </a:r>
          </a:p>
        </p:txBody>
      </p:sp>
      <p:sp>
        <p:nvSpPr>
          <p:cNvPr id="140" name="Rectangle 139">
            <a:extLst>
              <a:ext uri="{FF2B5EF4-FFF2-40B4-BE49-F238E27FC236}">
                <a16:creationId xmlns:a16="http://schemas.microsoft.com/office/drawing/2014/main" id="{B6105E7D-98D4-444D-AAC0-1B90A43BA286}"/>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5%</a:t>
            </a:r>
          </a:p>
        </p:txBody>
      </p:sp>
      <p:sp>
        <p:nvSpPr>
          <p:cNvPr id="141" name="Rectangle 140">
            <a:extLst>
              <a:ext uri="{FF2B5EF4-FFF2-40B4-BE49-F238E27FC236}">
                <a16:creationId xmlns:a16="http://schemas.microsoft.com/office/drawing/2014/main" id="{35207BB3-4EC0-47BD-9F49-6F6AC0CE2C82}"/>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10%</a:t>
            </a:r>
          </a:p>
        </p:txBody>
      </p:sp>
      <p:sp>
        <p:nvSpPr>
          <p:cNvPr id="142" name="Rectangle 141">
            <a:extLst>
              <a:ext uri="{FF2B5EF4-FFF2-40B4-BE49-F238E27FC236}">
                <a16:creationId xmlns:a16="http://schemas.microsoft.com/office/drawing/2014/main" id="{A5FBACE0-802F-4F71-94F2-248DEFE1A4CA}"/>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5%</a:t>
            </a:r>
          </a:p>
        </p:txBody>
      </p:sp>
      <p:sp>
        <p:nvSpPr>
          <p:cNvPr id="143" name="Rectangle 142">
            <a:extLst>
              <a:ext uri="{FF2B5EF4-FFF2-40B4-BE49-F238E27FC236}">
                <a16:creationId xmlns:a16="http://schemas.microsoft.com/office/drawing/2014/main" id="{2EE1EEEC-9147-48AC-AA51-F7D7C757720A}"/>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0%</a:t>
            </a:r>
          </a:p>
        </p:txBody>
      </p:sp>
      <p:sp>
        <p:nvSpPr>
          <p:cNvPr id="144" name="Rectangle 143">
            <a:extLst>
              <a:ext uri="{FF2B5EF4-FFF2-40B4-BE49-F238E27FC236}">
                <a16:creationId xmlns:a16="http://schemas.microsoft.com/office/drawing/2014/main" id="{715BD311-5C47-4D16-84A4-CDE3875B2E28}"/>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45" name="Rectangle 144">
            <a:extLst>
              <a:ext uri="{FF2B5EF4-FFF2-40B4-BE49-F238E27FC236}">
                <a16:creationId xmlns:a16="http://schemas.microsoft.com/office/drawing/2014/main" id="{5FCC3BB9-011E-43E2-8A6D-CF0B434AEC47}"/>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146" name="Rectangle 145">
            <a:extLst>
              <a:ext uri="{FF2B5EF4-FFF2-40B4-BE49-F238E27FC236}">
                <a16:creationId xmlns:a16="http://schemas.microsoft.com/office/drawing/2014/main" id="{2E0AC568-B569-4102-91A1-BD4739EF7142}"/>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15%</a:t>
            </a:r>
          </a:p>
        </p:txBody>
      </p:sp>
      <p:grpSp>
        <p:nvGrpSpPr>
          <p:cNvPr id="26" name="Group 25">
            <a:extLst>
              <a:ext uri="{FF2B5EF4-FFF2-40B4-BE49-F238E27FC236}">
                <a16:creationId xmlns:a16="http://schemas.microsoft.com/office/drawing/2014/main" id="{630C095D-36FC-4EBB-8DEE-D3469ACDD9BD}"/>
              </a:ext>
            </a:extLst>
          </p:cNvPr>
          <p:cNvGrpSpPr/>
          <p:nvPr/>
        </p:nvGrpSpPr>
        <p:grpSpPr>
          <a:xfrm>
            <a:off x="589045" y="5680087"/>
            <a:ext cx="8659839" cy="667278"/>
            <a:chOff x="837631" y="5844617"/>
            <a:chExt cx="9792001" cy="667372"/>
          </a:xfrm>
        </p:grpSpPr>
        <p:cxnSp>
          <p:nvCxnSpPr>
            <p:cNvPr id="27" name="Connector: Elbow 26">
              <a:extLst>
                <a:ext uri="{FF2B5EF4-FFF2-40B4-BE49-F238E27FC236}">
                  <a16:creationId xmlns:a16="http://schemas.microsoft.com/office/drawing/2014/main" id="{D6DBBF17-7678-4E03-A750-D716BF7D3406}"/>
                </a:ext>
              </a:extLst>
            </p:cNvPr>
            <p:cNvCxnSpPr>
              <a:cxnSpLocks/>
            </p:cNvCxnSpPr>
            <p:nvPr/>
          </p:nvCxnSpPr>
          <p:spPr>
            <a:xfrm rot="5400000">
              <a:off x="5727282" y="954966"/>
              <a:ext cx="12700" cy="9792001"/>
            </a:xfrm>
            <a:prstGeom prst="bentConnector3">
              <a:avLst>
                <a:gd name="adj1" fmla="val 2170835"/>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29C9708C-5222-4249-BB52-52E83A8D83AC}"/>
                </a:ext>
              </a:extLst>
            </p:cNvPr>
            <p:cNvSpPr/>
            <p:nvPr/>
          </p:nvSpPr>
          <p:spPr bwMode="auto">
            <a:xfrm>
              <a:off x="4719049" y="6221910"/>
              <a:ext cx="2029169" cy="290079"/>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Iterate</a:t>
              </a:r>
            </a:p>
          </p:txBody>
        </p:sp>
      </p:grpSp>
      <p:sp>
        <p:nvSpPr>
          <p:cNvPr id="121" name="Title 2">
            <a:extLst>
              <a:ext uri="{FF2B5EF4-FFF2-40B4-BE49-F238E27FC236}">
                <a16:creationId xmlns:a16="http://schemas.microsoft.com/office/drawing/2014/main" id="{D98C01AE-6997-4978-8653-72449A6C28F4}"/>
              </a:ext>
            </a:extLst>
          </p:cNvPr>
          <p:cNvSpPr txBox="1">
            <a:spLocks/>
          </p:cNvSpPr>
          <p:nvPr/>
        </p:nvSpPr>
        <p:spPr>
          <a:xfrm>
            <a:off x="589044" y="457622"/>
            <a:ext cx="11016957" cy="1107839"/>
          </a:xfrm>
          <a:prstGeom prst="rect">
            <a:avLst/>
          </a:prstGeom>
        </p:spPr>
        <p:txBody>
          <a:bodyPr vert="horz" wrap="square" lIns="0" tIns="164569" rIns="0" bIns="0" rtlCol="0" anchor="t">
            <a:noAutofit/>
          </a:bodyPr>
          <a:lst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725" b="0" i="0" u="none" strike="noStrike" kern="1200" cap="none" spc="-147" normalizeH="0" baseline="0" noProof="0" dirty="0">
                <a:ln w="3175">
                  <a:noFill/>
                </a:ln>
                <a:solidFill>
                  <a:srgbClr val="000000"/>
                </a:solidFill>
                <a:effectLst/>
                <a:uLnTx/>
                <a:uFillTx/>
                <a:latin typeface="Segoe UI Semibold"/>
                <a:ea typeface="+mn-ea"/>
                <a:cs typeface="Segoe UI" pitchFamily="34" charset="0"/>
              </a:rPr>
              <a:t>Model creation is typically a time consuming process</a:t>
            </a:r>
          </a:p>
        </p:txBody>
      </p:sp>
      <p:sp>
        <p:nvSpPr>
          <p:cNvPr id="98" name="Isosceles Triangle 97">
            <a:extLst>
              <a:ext uri="{FF2B5EF4-FFF2-40B4-BE49-F238E27FC236}">
                <a16:creationId xmlns:a16="http://schemas.microsoft.com/office/drawing/2014/main" id="{FE4ADEB3-BA1A-4527-97B6-E7A5905F8282}"/>
              </a:ext>
            </a:extLst>
          </p:cNvPr>
          <p:cNvSpPr/>
          <p:nvPr/>
        </p:nvSpPr>
        <p:spPr bwMode="auto">
          <a:xfrm>
            <a:off x="6293842" y="4119124"/>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Isosceles Triangle 110">
            <a:extLst>
              <a:ext uri="{FF2B5EF4-FFF2-40B4-BE49-F238E27FC236}">
                <a16:creationId xmlns:a16="http://schemas.microsoft.com/office/drawing/2014/main" id="{DC995B4C-717D-4215-9C84-59A63A08436E}"/>
              </a:ext>
            </a:extLst>
          </p:cNvPr>
          <p:cNvSpPr/>
          <p:nvPr/>
        </p:nvSpPr>
        <p:spPr bwMode="auto">
          <a:xfrm>
            <a:off x="6460526" y="3779917"/>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Isosceles Triangle 123">
            <a:extLst>
              <a:ext uri="{FF2B5EF4-FFF2-40B4-BE49-F238E27FC236}">
                <a16:creationId xmlns:a16="http://schemas.microsoft.com/office/drawing/2014/main" id="{D97260E6-C543-4A04-8701-4A7AD6348720}"/>
              </a:ext>
            </a:extLst>
          </p:cNvPr>
          <p:cNvSpPr/>
          <p:nvPr/>
        </p:nvSpPr>
        <p:spPr bwMode="auto">
          <a:xfrm>
            <a:off x="6943997" y="3101504"/>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Isosceles Triangle 124">
            <a:extLst>
              <a:ext uri="{FF2B5EF4-FFF2-40B4-BE49-F238E27FC236}">
                <a16:creationId xmlns:a16="http://schemas.microsoft.com/office/drawing/2014/main" id="{084B5AF6-26A2-4842-A41A-6E0C87018759}"/>
              </a:ext>
            </a:extLst>
          </p:cNvPr>
          <p:cNvSpPr/>
          <p:nvPr/>
        </p:nvSpPr>
        <p:spPr bwMode="auto">
          <a:xfrm>
            <a:off x="7103798" y="3440710"/>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Rectangle 163">
            <a:extLst>
              <a:ext uri="{FF2B5EF4-FFF2-40B4-BE49-F238E27FC236}">
                <a16:creationId xmlns:a16="http://schemas.microsoft.com/office/drawing/2014/main" id="{7ADB0596-0969-46D3-8F50-F5A45D799A8E}"/>
              </a:ext>
            </a:extLst>
          </p:cNvPr>
          <p:cNvSpPr/>
          <p:nvPr/>
        </p:nvSpPr>
        <p:spPr bwMode="auto">
          <a:xfrm>
            <a:off x="736983" y="4229034"/>
            <a:ext cx="1859308" cy="2991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1" name="Rectangle 170">
            <a:extLst>
              <a:ext uri="{FF2B5EF4-FFF2-40B4-BE49-F238E27FC236}">
                <a16:creationId xmlns:a16="http://schemas.microsoft.com/office/drawing/2014/main" id="{FA033DC2-8489-4D03-B39C-76377D071DF5}"/>
              </a:ext>
            </a:extLst>
          </p:cNvPr>
          <p:cNvSpPr/>
          <p:nvPr/>
        </p:nvSpPr>
        <p:spPr bwMode="auto">
          <a:xfrm>
            <a:off x="736983" y="3179358"/>
            <a:ext cx="1859308" cy="2991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3" name="Rectangle 172">
            <a:extLst>
              <a:ext uri="{FF2B5EF4-FFF2-40B4-BE49-F238E27FC236}">
                <a16:creationId xmlns:a16="http://schemas.microsoft.com/office/drawing/2014/main" id="{7465687A-7138-457A-AD69-9EA44E77B92B}"/>
              </a:ext>
            </a:extLst>
          </p:cNvPr>
          <p:cNvSpPr/>
          <p:nvPr/>
        </p:nvSpPr>
        <p:spPr bwMode="auto">
          <a:xfrm>
            <a:off x="736983" y="2829465"/>
            <a:ext cx="1859308" cy="2991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4" name="Rectangle 173">
            <a:extLst>
              <a:ext uri="{FF2B5EF4-FFF2-40B4-BE49-F238E27FC236}">
                <a16:creationId xmlns:a16="http://schemas.microsoft.com/office/drawing/2014/main" id="{3ECF9070-C95C-4AEE-9B8E-522305BBBDAB}"/>
              </a:ext>
            </a:extLst>
          </p:cNvPr>
          <p:cNvSpPr/>
          <p:nvPr/>
        </p:nvSpPr>
        <p:spPr bwMode="auto">
          <a:xfrm>
            <a:off x="736983" y="3529250"/>
            <a:ext cx="1859308" cy="2991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5" name="Rectangle 174">
            <a:extLst>
              <a:ext uri="{FF2B5EF4-FFF2-40B4-BE49-F238E27FC236}">
                <a16:creationId xmlns:a16="http://schemas.microsoft.com/office/drawing/2014/main" id="{AEFA5C18-DBD6-420E-8D38-357F8C70808D}"/>
              </a:ext>
            </a:extLst>
          </p:cNvPr>
          <p:cNvSpPr/>
          <p:nvPr/>
        </p:nvSpPr>
        <p:spPr bwMode="auto">
          <a:xfrm>
            <a:off x="736983" y="3879142"/>
            <a:ext cx="1859308" cy="2991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20" name="Isosceles Triangle 119">
            <a:extLst>
              <a:ext uri="{FF2B5EF4-FFF2-40B4-BE49-F238E27FC236}">
                <a16:creationId xmlns:a16="http://schemas.microsoft.com/office/drawing/2014/main" id="{064EFD16-9865-43CE-AAC0-7320880D3E2A}"/>
              </a:ext>
            </a:extLst>
          </p:cNvPr>
          <p:cNvSpPr/>
          <p:nvPr/>
        </p:nvSpPr>
        <p:spPr bwMode="auto">
          <a:xfrm>
            <a:off x="6779836" y="4458329"/>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81447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afterEffect">
                                  <p:stCondLst>
                                    <p:cond delay="0"/>
                                  </p:stCondLst>
                                  <p:childTnLst>
                                    <p:animMotion origin="layout" path="M 1.04167E-6 -2.59259E-6 L 0.14284 -0.10347 " pathEditMode="relative" rAng="0" ptsTypes="AA">
                                      <p:cBhvr>
                                        <p:cTn id="6" dur="150" fill="hold"/>
                                        <p:tgtEl>
                                          <p:spTgt spid="80"/>
                                        </p:tgtEl>
                                        <p:attrNameLst>
                                          <p:attrName>ppt_x</p:attrName>
                                          <p:attrName>ppt_y</p:attrName>
                                        </p:attrNameLst>
                                      </p:cBhvr>
                                      <p:rCtr x="7135" y="-5185"/>
                                    </p:animMotion>
                                  </p:childTnLst>
                                </p:cTn>
                              </p:par>
                              <p:par>
                                <p:cTn id="7" presetID="12" presetClass="entr" presetSubtype="8" fill="hold" grpId="1" nodeType="withEffect">
                                  <p:stCondLst>
                                    <p:cond delay="100"/>
                                  </p:stCondLst>
                                  <p:childTnLst>
                                    <p:set>
                                      <p:cBhvr>
                                        <p:cTn id="8" dur="1" fill="hold">
                                          <p:stCondLst>
                                            <p:cond delay="0"/>
                                          </p:stCondLst>
                                        </p:cTn>
                                        <p:tgtEl>
                                          <p:spTgt spid="90"/>
                                        </p:tgtEl>
                                        <p:attrNameLst>
                                          <p:attrName>style.visibility</p:attrName>
                                        </p:attrNameLst>
                                      </p:cBhvr>
                                      <p:to>
                                        <p:strVal val="visible"/>
                                      </p:to>
                                    </p:set>
                                    <p:anim calcmode="lin" valueType="num">
                                      <p:cBhvr additive="base">
                                        <p:cTn id="9" dur="80"/>
                                        <p:tgtEl>
                                          <p:spTgt spid="90"/>
                                        </p:tgtEl>
                                        <p:attrNameLst>
                                          <p:attrName>ppt_x</p:attrName>
                                        </p:attrNameLst>
                                      </p:cBhvr>
                                      <p:tavLst>
                                        <p:tav tm="0">
                                          <p:val>
                                            <p:strVal val="#ppt_x-#ppt_w*1.125000"/>
                                          </p:val>
                                        </p:tav>
                                        <p:tav tm="100000">
                                          <p:val>
                                            <p:strVal val="#ppt_x"/>
                                          </p:val>
                                        </p:tav>
                                      </p:tavLst>
                                    </p:anim>
                                    <p:animEffect transition="in" filter="wipe(right)">
                                      <p:cBhvr>
                                        <p:cTn id="10" dur="80"/>
                                        <p:tgtEl>
                                          <p:spTgt spid="90"/>
                                        </p:tgtEl>
                                      </p:cBhvr>
                                    </p:animEffect>
                                  </p:childTnLst>
                                </p:cTn>
                              </p:par>
                              <p:par>
                                <p:cTn id="11" presetID="10" presetClass="exit" presetSubtype="0" fill="hold" grpId="1" nodeType="withEffect">
                                  <p:stCondLst>
                                    <p:cond delay="100"/>
                                  </p:stCondLst>
                                  <p:childTnLst>
                                    <p:animEffect transition="out" filter="fade">
                                      <p:cBhvr>
                                        <p:cTn id="12" dur="150"/>
                                        <p:tgtEl>
                                          <p:spTgt spid="136"/>
                                        </p:tgtEl>
                                      </p:cBhvr>
                                    </p:animEffect>
                                    <p:set>
                                      <p:cBhvr>
                                        <p:cTn id="13" dur="1" fill="hold">
                                          <p:stCondLst>
                                            <p:cond delay="149"/>
                                          </p:stCondLst>
                                        </p:cTn>
                                        <p:tgtEl>
                                          <p:spTgt spid="136"/>
                                        </p:tgtEl>
                                        <p:attrNameLst>
                                          <p:attrName>style.visibility</p:attrName>
                                        </p:attrNameLst>
                                      </p:cBhvr>
                                      <p:to>
                                        <p:strVal val="hidden"/>
                                      </p:to>
                                    </p:set>
                                  </p:childTnLst>
                                </p:cTn>
                              </p:par>
                              <p:par>
                                <p:cTn id="14" presetID="10" presetClass="entr" presetSubtype="0" fill="hold" grpId="0" nodeType="withEffect">
                                  <p:stCondLst>
                                    <p:cond delay="100"/>
                                  </p:stCondLst>
                                  <p:childTnLst>
                                    <p:set>
                                      <p:cBhvr>
                                        <p:cTn id="15" dur="1" fill="hold">
                                          <p:stCondLst>
                                            <p:cond delay="0"/>
                                          </p:stCondLst>
                                        </p:cTn>
                                        <p:tgtEl>
                                          <p:spTgt spid="147"/>
                                        </p:tgtEl>
                                        <p:attrNameLst>
                                          <p:attrName>style.visibility</p:attrName>
                                        </p:attrNameLst>
                                      </p:cBhvr>
                                      <p:to>
                                        <p:strVal val="visible"/>
                                      </p:to>
                                    </p:set>
                                    <p:animEffect transition="in" filter="fade">
                                      <p:cBhvr>
                                        <p:cTn id="16" dur="150"/>
                                        <p:tgtEl>
                                          <p:spTgt spid="147"/>
                                        </p:tgtEl>
                                      </p:cBhvr>
                                    </p:animEffect>
                                  </p:childTnLst>
                                </p:cTn>
                              </p:par>
                              <p:par>
                                <p:cTn id="17" presetID="42" presetClass="path" presetSubtype="0" accel="50000" decel="50000" fill="hold" grpId="0" nodeType="withEffect">
                                  <p:stCondLst>
                                    <p:cond delay="100"/>
                                  </p:stCondLst>
                                  <p:childTnLst>
                                    <p:animMotion origin="layout" path="M 1.04167E-6 -2.59259E-6 L 0.14284 -2.59259E-6 " pathEditMode="relative" rAng="0" ptsTypes="AA">
                                      <p:cBhvr>
                                        <p:cTn id="18" dur="150" fill="hold"/>
                                        <p:tgtEl>
                                          <p:spTgt spid="90"/>
                                        </p:tgtEl>
                                        <p:attrNameLst>
                                          <p:attrName>ppt_x</p:attrName>
                                          <p:attrName>ppt_y</p:attrName>
                                        </p:attrNameLst>
                                      </p:cBhvr>
                                      <p:rCtr x="7135" y="0"/>
                                    </p:animMotion>
                                  </p:childTnLst>
                                </p:cTn>
                              </p:par>
                              <p:par>
                                <p:cTn id="19" presetID="22" presetClass="entr" presetSubtype="1" fill="hold" grpId="0" nodeType="withEffect">
                                  <p:stCondLst>
                                    <p:cond delay="100"/>
                                  </p:stCondLst>
                                  <p:childTnLst>
                                    <p:set>
                                      <p:cBhvr>
                                        <p:cTn id="20" dur="1" fill="hold">
                                          <p:stCondLst>
                                            <p:cond delay="0"/>
                                          </p:stCondLst>
                                        </p:cTn>
                                        <p:tgtEl>
                                          <p:spTgt spid="175"/>
                                        </p:tgtEl>
                                        <p:attrNameLst>
                                          <p:attrName>style.visibility</p:attrName>
                                        </p:attrNameLst>
                                      </p:cBhvr>
                                      <p:to>
                                        <p:strVal val="visible"/>
                                      </p:to>
                                    </p:set>
                                    <p:animEffect transition="in" filter="wipe(up)">
                                      <p:cBhvr>
                                        <p:cTn id="21" dur="150"/>
                                        <p:tgtEl>
                                          <p:spTgt spid="175"/>
                                        </p:tgtEl>
                                      </p:cBhvr>
                                    </p:animEffect>
                                  </p:childTnLst>
                                </p:cTn>
                              </p:par>
                              <p:par>
                                <p:cTn id="22" presetID="22" presetClass="entr" presetSubtype="1" fill="hold" grpId="0" nodeType="withEffect">
                                  <p:stCondLst>
                                    <p:cond delay="100"/>
                                  </p:stCondLst>
                                  <p:childTnLst>
                                    <p:set>
                                      <p:cBhvr>
                                        <p:cTn id="23" dur="1" fill="hold">
                                          <p:stCondLst>
                                            <p:cond delay="0"/>
                                          </p:stCondLst>
                                        </p:cTn>
                                        <p:tgtEl>
                                          <p:spTgt spid="164"/>
                                        </p:tgtEl>
                                        <p:attrNameLst>
                                          <p:attrName>style.visibility</p:attrName>
                                        </p:attrNameLst>
                                      </p:cBhvr>
                                      <p:to>
                                        <p:strVal val="visible"/>
                                      </p:to>
                                    </p:set>
                                    <p:animEffect transition="in" filter="wipe(up)">
                                      <p:cBhvr>
                                        <p:cTn id="24" dur="150"/>
                                        <p:tgtEl>
                                          <p:spTgt spid="164"/>
                                        </p:tgtEl>
                                      </p:cBhvr>
                                    </p:animEffect>
                                  </p:childTnLst>
                                </p:cTn>
                              </p:par>
                              <p:par>
                                <p:cTn id="25" presetID="22" presetClass="exit" presetSubtype="1" fill="hold" grpId="0" nodeType="withEffect">
                                  <p:stCondLst>
                                    <p:cond delay="100"/>
                                  </p:stCondLst>
                                  <p:childTnLst>
                                    <p:animEffect transition="out" filter="wipe(up)">
                                      <p:cBhvr>
                                        <p:cTn id="26" dur="150"/>
                                        <p:tgtEl>
                                          <p:spTgt spid="173"/>
                                        </p:tgtEl>
                                      </p:cBhvr>
                                    </p:animEffect>
                                    <p:set>
                                      <p:cBhvr>
                                        <p:cTn id="27" dur="1" fill="hold">
                                          <p:stCondLst>
                                            <p:cond delay="149"/>
                                          </p:stCondLst>
                                        </p:cTn>
                                        <p:tgtEl>
                                          <p:spTgt spid="173"/>
                                        </p:tgtEl>
                                        <p:attrNameLst>
                                          <p:attrName>style.visibility</p:attrName>
                                        </p:attrNameLst>
                                      </p:cBhvr>
                                      <p:to>
                                        <p:strVal val="hidden"/>
                                      </p:to>
                                    </p:set>
                                  </p:childTnLst>
                                </p:cTn>
                              </p:par>
                              <p:par>
                                <p:cTn id="28" presetID="12" presetClass="entr" presetSubtype="8" fill="hold" grpId="1" nodeType="withEffect">
                                  <p:stCondLst>
                                    <p:cond delay="200"/>
                                  </p:stCondLst>
                                  <p:childTnLst>
                                    <p:set>
                                      <p:cBhvr>
                                        <p:cTn id="29" dur="1" fill="hold">
                                          <p:stCondLst>
                                            <p:cond delay="0"/>
                                          </p:stCondLst>
                                        </p:cTn>
                                        <p:tgtEl>
                                          <p:spTgt spid="123"/>
                                        </p:tgtEl>
                                        <p:attrNameLst>
                                          <p:attrName>style.visibility</p:attrName>
                                        </p:attrNameLst>
                                      </p:cBhvr>
                                      <p:to>
                                        <p:strVal val="visible"/>
                                      </p:to>
                                    </p:set>
                                    <p:anim calcmode="lin" valueType="num">
                                      <p:cBhvr additive="base">
                                        <p:cTn id="30" dur="80"/>
                                        <p:tgtEl>
                                          <p:spTgt spid="123"/>
                                        </p:tgtEl>
                                        <p:attrNameLst>
                                          <p:attrName>ppt_x</p:attrName>
                                        </p:attrNameLst>
                                      </p:cBhvr>
                                      <p:tavLst>
                                        <p:tav tm="0">
                                          <p:val>
                                            <p:strVal val="#ppt_x-#ppt_w*1.125000"/>
                                          </p:val>
                                        </p:tav>
                                        <p:tav tm="100000">
                                          <p:val>
                                            <p:strVal val="#ppt_x"/>
                                          </p:val>
                                        </p:tav>
                                      </p:tavLst>
                                    </p:anim>
                                    <p:animEffect transition="in" filter="wipe(right)">
                                      <p:cBhvr>
                                        <p:cTn id="31" dur="80"/>
                                        <p:tgtEl>
                                          <p:spTgt spid="123"/>
                                        </p:tgtEl>
                                      </p:cBhvr>
                                    </p:animEffect>
                                  </p:childTnLst>
                                </p:cTn>
                              </p:par>
                              <p:par>
                                <p:cTn id="32" presetID="10" presetClass="exit" presetSubtype="0" fill="hold" grpId="5" nodeType="withEffect">
                                  <p:stCondLst>
                                    <p:cond delay="200"/>
                                  </p:stCondLst>
                                  <p:childTnLst>
                                    <p:animEffect transition="out" filter="fade">
                                      <p:cBhvr>
                                        <p:cTn id="33" dur="150"/>
                                        <p:tgtEl>
                                          <p:spTgt spid="147"/>
                                        </p:tgtEl>
                                      </p:cBhvr>
                                    </p:animEffect>
                                    <p:set>
                                      <p:cBhvr>
                                        <p:cTn id="34" dur="1" fill="hold">
                                          <p:stCondLst>
                                            <p:cond delay="149"/>
                                          </p:stCondLst>
                                        </p:cTn>
                                        <p:tgtEl>
                                          <p:spTgt spid="147"/>
                                        </p:tgtEl>
                                        <p:attrNameLst>
                                          <p:attrName>style.visibility</p:attrName>
                                        </p:attrNameLst>
                                      </p:cBhvr>
                                      <p:to>
                                        <p:strVal val="hidden"/>
                                      </p:to>
                                    </p:set>
                                  </p:childTnLst>
                                </p:cTn>
                              </p:par>
                              <p:par>
                                <p:cTn id="35" presetID="10" presetClass="entr" presetSubtype="0" fill="hold" grpId="0" nodeType="withEffect">
                                  <p:stCondLst>
                                    <p:cond delay="200"/>
                                  </p:stCondLst>
                                  <p:childTnLst>
                                    <p:set>
                                      <p:cBhvr>
                                        <p:cTn id="36" dur="1" fill="hold">
                                          <p:stCondLst>
                                            <p:cond delay="0"/>
                                          </p:stCondLst>
                                        </p:cTn>
                                        <p:tgtEl>
                                          <p:spTgt spid="150"/>
                                        </p:tgtEl>
                                        <p:attrNameLst>
                                          <p:attrName>style.visibility</p:attrName>
                                        </p:attrNameLst>
                                      </p:cBhvr>
                                      <p:to>
                                        <p:strVal val="visible"/>
                                      </p:to>
                                    </p:set>
                                    <p:animEffect transition="in" filter="fade">
                                      <p:cBhvr>
                                        <p:cTn id="37" dur="150"/>
                                        <p:tgtEl>
                                          <p:spTgt spid="150"/>
                                        </p:tgtEl>
                                      </p:cBhvr>
                                    </p:animEffect>
                                  </p:childTnLst>
                                </p:cTn>
                              </p:par>
                              <p:par>
                                <p:cTn id="38" presetID="42" presetClass="path" presetSubtype="0" accel="50000" decel="50000" fill="hold" grpId="0" nodeType="withEffect">
                                  <p:stCondLst>
                                    <p:cond delay="200"/>
                                  </p:stCondLst>
                                  <p:childTnLst>
                                    <p:animMotion origin="layout" path="M 1.04167E-6 -2.59259E-6 L 0.1431 0.10139 " pathEditMode="relative" rAng="0" ptsTypes="AA">
                                      <p:cBhvr>
                                        <p:cTn id="39" dur="150" fill="hold"/>
                                        <p:tgtEl>
                                          <p:spTgt spid="123"/>
                                        </p:tgtEl>
                                        <p:attrNameLst>
                                          <p:attrName>ppt_x</p:attrName>
                                          <p:attrName>ppt_y</p:attrName>
                                        </p:attrNameLst>
                                      </p:cBhvr>
                                      <p:rCtr x="7148" y="5069"/>
                                    </p:animMotion>
                                  </p:childTnLst>
                                </p:cTn>
                              </p:par>
                              <p:par>
                                <p:cTn id="40" presetID="22" presetClass="exit" presetSubtype="4" fill="hold" grpId="1" nodeType="withEffect">
                                  <p:stCondLst>
                                    <p:cond delay="200"/>
                                  </p:stCondLst>
                                  <p:childTnLst>
                                    <p:animEffect transition="out" filter="wipe(down)">
                                      <p:cBhvr>
                                        <p:cTn id="41" dur="150"/>
                                        <p:tgtEl>
                                          <p:spTgt spid="164"/>
                                        </p:tgtEl>
                                      </p:cBhvr>
                                    </p:animEffect>
                                    <p:set>
                                      <p:cBhvr>
                                        <p:cTn id="42" dur="1" fill="hold">
                                          <p:stCondLst>
                                            <p:cond delay="149"/>
                                          </p:stCondLst>
                                        </p:cTn>
                                        <p:tgtEl>
                                          <p:spTgt spid="164"/>
                                        </p:tgtEl>
                                        <p:attrNameLst>
                                          <p:attrName>style.visibility</p:attrName>
                                        </p:attrNameLst>
                                      </p:cBhvr>
                                      <p:to>
                                        <p:strVal val="hidden"/>
                                      </p:to>
                                    </p:set>
                                  </p:childTnLst>
                                </p:cTn>
                              </p:par>
                              <p:par>
                                <p:cTn id="43" presetID="12" presetClass="entr" presetSubtype="8" fill="hold" grpId="1" nodeType="withEffect">
                                  <p:stCondLst>
                                    <p:cond delay="300"/>
                                  </p:stCondLst>
                                  <p:childTnLst>
                                    <p:set>
                                      <p:cBhvr>
                                        <p:cTn id="44" dur="1" fill="hold">
                                          <p:stCondLst>
                                            <p:cond delay="0"/>
                                          </p:stCondLst>
                                        </p:cTn>
                                        <p:tgtEl>
                                          <p:spTgt spid="91"/>
                                        </p:tgtEl>
                                        <p:attrNameLst>
                                          <p:attrName>style.visibility</p:attrName>
                                        </p:attrNameLst>
                                      </p:cBhvr>
                                      <p:to>
                                        <p:strVal val="visible"/>
                                      </p:to>
                                    </p:set>
                                    <p:anim calcmode="lin" valueType="num">
                                      <p:cBhvr additive="base">
                                        <p:cTn id="45" dur="80"/>
                                        <p:tgtEl>
                                          <p:spTgt spid="91"/>
                                        </p:tgtEl>
                                        <p:attrNameLst>
                                          <p:attrName>ppt_x</p:attrName>
                                        </p:attrNameLst>
                                      </p:cBhvr>
                                      <p:tavLst>
                                        <p:tav tm="0">
                                          <p:val>
                                            <p:strVal val="#ppt_x-#ppt_w*1.125000"/>
                                          </p:val>
                                        </p:tav>
                                        <p:tav tm="100000">
                                          <p:val>
                                            <p:strVal val="#ppt_x"/>
                                          </p:val>
                                        </p:tav>
                                      </p:tavLst>
                                    </p:anim>
                                    <p:animEffect transition="in" filter="wipe(right)">
                                      <p:cBhvr>
                                        <p:cTn id="46" dur="80"/>
                                        <p:tgtEl>
                                          <p:spTgt spid="91"/>
                                        </p:tgtEl>
                                      </p:cBhvr>
                                    </p:animEffect>
                                  </p:childTnLst>
                                </p:cTn>
                              </p:par>
                              <p:par>
                                <p:cTn id="47" presetID="10" presetClass="exit" presetSubtype="0" fill="hold" grpId="5" nodeType="withEffect">
                                  <p:stCondLst>
                                    <p:cond delay="300"/>
                                  </p:stCondLst>
                                  <p:childTnLst>
                                    <p:animEffect transition="out" filter="fade">
                                      <p:cBhvr>
                                        <p:cTn id="48" dur="150"/>
                                        <p:tgtEl>
                                          <p:spTgt spid="150"/>
                                        </p:tgtEl>
                                      </p:cBhvr>
                                    </p:animEffect>
                                    <p:set>
                                      <p:cBhvr>
                                        <p:cTn id="49" dur="1" fill="hold">
                                          <p:stCondLst>
                                            <p:cond delay="149"/>
                                          </p:stCondLst>
                                        </p:cTn>
                                        <p:tgtEl>
                                          <p:spTgt spid="150"/>
                                        </p:tgtEl>
                                        <p:attrNameLst>
                                          <p:attrName>style.visibility</p:attrName>
                                        </p:attrNameLst>
                                      </p:cBhvr>
                                      <p:to>
                                        <p:strVal val="hidden"/>
                                      </p:to>
                                    </p:set>
                                  </p:childTnLst>
                                </p:cTn>
                              </p:par>
                              <p:par>
                                <p:cTn id="50" presetID="10" presetClass="entr" presetSubtype="0" fill="hold" grpId="0" nodeType="withEffect">
                                  <p:stCondLst>
                                    <p:cond delay="300"/>
                                  </p:stCondLst>
                                  <p:childTnLst>
                                    <p:set>
                                      <p:cBhvr>
                                        <p:cTn id="51" dur="1" fill="hold">
                                          <p:stCondLst>
                                            <p:cond delay="0"/>
                                          </p:stCondLst>
                                        </p:cTn>
                                        <p:tgtEl>
                                          <p:spTgt spid="148"/>
                                        </p:tgtEl>
                                        <p:attrNameLst>
                                          <p:attrName>style.visibility</p:attrName>
                                        </p:attrNameLst>
                                      </p:cBhvr>
                                      <p:to>
                                        <p:strVal val="visible"/>
                                      </p:to>
                                    </p:set>
                                    <p:animEffect transition="in" filter="fade">
                                      <p:cBhvr>
                                        <p:cTn id="52" dur="150"/>
                                        <p:tgtEl>
                                          <p:spTgt spid="148"/>
                                        </p:tgtEl>
                                      </p:cBhvr>
                                    </p:animEffect>
                                  </p:childTnLst>
                                </p:cTn>
                              </p:par>
                              <p:par>
                                <p:cTn id="53" presetID="42" presetClass="path" presetSubtype="0" accel="50000" decel="50000" fill="hold" grpId="0" nodeType="withEffect">
                                  <p:stCondLst>
                                    <p:cond delay="300"/>
                                  </p:stCondLst>
                                  <p:childTnLst>
                                    <p:animMotion origin="layout" path="M 1.04167E-6 -2.59259E-6 L 0.14219 0.20301 " pathEditMode="relative" rAng="0" ptsTypes="AA">
                                      <p:cBhvr>
                                        <p:cTn id="54" dur="150" fill="hold"/>
                                        <p:tgtEl>
                                          <p:spTgt spid="91"/>
                                        </p:tgtEl>
                                        <p:attrNameLst>
                                          <p:attrName>ppt_x</p:attrName>
                                          <p:attrName>ppt_y</p:attrName>
                                        </p:attrNameLst>
                                      </p:cBhvr>
                                      <p:rCtr x="7109" y="10139"/>
                                    </p:animMotion>
                                  </p:childTnLst>
                                </p:cTn>
                              </p:par>
                              <p:par>
                                <p:cTn id="55" presetID="22" presetClass="entr" presetSubtype="4" fill="hold" grpId="1" nodeType="withEffect">
                                  <p:stCondLst>
                                    <p:cond delay="300"/>
                                  </p:stCondLst>
                                  <p:childTnLst>
                                    <p:set>
                                      <p:cBhvr>
                                        <p:cTn id="56" dur="1" fill="hold">
                                          <p:stCondLst>
                                            <p:cond delay="0"/>
                                          </p:stCondLst>
                                        </p:cTn>
                                        <p:tgtEl>
                                          <p:spTgt spid="173"/>
                                        </p:tgtEl>
                                        <p:attrNameLst>
                                          <p:attrName>style.visibility</p:attrName>
                                        </p:attrNameLst>
                                      </p:cBhvr>
                                      <p:to>
                                        <p:strVal val="visible"/>
                                      </p:to>
                                    </p:set>
                                    <p:animEffect transition="in" filter="wipe(down)">
                                      <p:cBhvr>
                                        <p:cTn id="57" dur="150"/>
                                        <p:tgtEl>
                                          <p:spTgt spid="173"/>
                                        </p:tgtEl>
                                      </p:cBhvr>
                                    </p:animEffect>
                                  </p:childTnLst>
                                </p:cTn>
                              </p:par>
                              <p:par>
                                <p:cTn id="58" presetID="12" presetClass="entr" presetSubtype="8" fill="hold" grpId="1" nodeType="withEffect">
                                  <p:stCondLst>
                                    <p:cond delay="400"/>
                                  </p:stCondLst>
                                  <p:childTnLst>
                                    <p:set>
                                      <p:cBhvr>
                                        <p:cTn id="59" dur="1" fill="hold">
                                          <p:stCondLst>
                                            <p:cond delay="0"/>
                                          </p:stCondLst>
                                        </p:cTn>
                                        <p:tgtEl>
                                          <p:spTgt spid="137"/>
                                        </p:tgtEl>
                                        <p:attrNameLst>
                                          <p:attrName>style.visibility</p:attrName>
                                        </p:attrNameLst>
                                      </p:cBhvr>
                                      <p:to>
                                        <p:strVal val="visible"/>
                                      </p:to>
                                    </p:set>
                                    <p:anim calcmode="lin" valueType="num">
                                      <p:cBhvr additive="base">
                                        <p:cTn id="60" dur="80"/>
                                        <p:tgtEl>
                                          <p:spTgt spid="137"/>
                                        </p:tgtEl>
                                        <p:attrNameLst>
                                          <p:attrName>ppt_x</p:attrName>
                                        </p:attrNameLst>
                                      </p:cBhvr>
                                      <p:tavLst>
                                        <p:tav tm="0">
                                          <p:val>
                                            <p:strVal val="#ppt_x-#ppt_w*1.125000"/>
                                          </p:val>
                                        </p:tav>
                                        <p:tav tm="100000">
                                          <p:val>
                                            <p:strVal val="#ppt_x"/>
                                          </p:val>
                                        </p:tav>
                                      </p:tavLst>
                                    </p:anim>
                                    <p:animEffect transition="in" filter="wipe(right)">
                                      <p:cBhvr>
                                        <p:cTn id="61" dur="80"/>
                                        <p:tgtEl>
                                          <p:spTgt spid="137"/>
                                        </p:tgtEl>
                                      </p:cBhvr>
                                    </p:animEffect>
                                  </p:childTnLst>
                                </p:cTn>
                              </p:par>
                              <p:par>
                                <p:cTn id="62" presetID="10" presetClass="exit" presetSubtype="0" fill="hold" grpId="3" nodeType="withEffect">
                                  <p:stCondLst>
                                    <p:cond delay="400"/>
                                  </p:stCondLst>
                                  <p:childTnLst>
                                    <p:animEffect transition="out" filter="fade">
                                      <p:cBhvr>
                                        <p:cTn id="63" dur="150"/>
                                        <p:tgtEl>
                                          <p:spTgt spid="148"/>
                                        </p:tgtEl>
                                      </p:cBhvr>
                                    </p:animEffect>
                                    <p:set>
                                      <p:cBhvr>
                                        <p:cTn id="64" dur="1" fill="hold">
                                          <p:stCondLst>
                                            <p:cond delay="149"/>
                                          </p:stCondLst>
                                        </p:cTn>
                                        <p:tgtEl>
                                          <p:spTgt spid="148"/>
                                        </p:tgtEl>
                                        <p:attrNameLst>
                                          <p:attrName>style.visibility</p:attrName>
                                        </p:attrNameLst>
                                      </p:cBhvr>
                                      <p:to>
                                        <p:strVal val="hidden"/>
                                      </p:to>
                                    </p:set>
                                  </p:childTnLst>
                                </p:cTn>
                              </p:par>
                              <p:par>
                                <p:cTn id="65" presetID="10" presetClass="entr" presetSubtype="0" fill="hold" grpId="1" nodeType="withEffect">
                                  <p:stCondLst>
                                    <p:cond delay="400"/>
                                  </p:stCondLst>
                                  <p:childTnLst>
                                    <p:set>
                                      <p:cBhvr>
                                        <p:cTn id="66" dur="1" fill="hold">
                                          <p:stCondLst>
                                            <p:cond delay="0"/>
                                          </p:stCondLst>
                                        </p:cTn>
                                        <p:tgtEl>
                                          <p:spTgt spid="147"/>
                                        </p:tgtEl>
                                        <p:attrNameLst>
                                          <p:attrName>style.visibility</p:attrName>
                                        </p:attrNameLst>
                                      </p:cBhvr>
                                      <p:to>
                                        <p:strVal val="visible"/>
                                      </p:to>
                                    </p:set>
                                    <p:animEffect transition="in" filter="fade">
                                      <p:cBhvr>
                                        <p:cTn id="67" dur="150"/>
                                        <p:tgtEl>
                                          <p:spTgt spid="147"/>
                                        </p:tgtEl>
                                      </p:cBhvr>
                                    </p:animEffect>
                                  </p:childTnLst>
                                </p:cTn>
                              </p:par>
                              <p:par>
                                <p:cTn id="68" presetID="42" presetClass="path" presetSubtype="0" accel="50000" decel="50000" fill="hold" grpId="0" nodeType="withEffect">
                                  <p:stCondLst>
                                    <p:cond delay="400"/>
                                  </p:stCondLst>
                                  <p:childTnLst>
                                    <p:animMotion origin="layout" path="M 1.04167E-6 -2.59259E-6 L 0.07161 -0.2037 " pathEditMode="relative" rAng="0" ptsTypes="AA">
                                      <p:cBhvr>
                                        <p:cTn id="69" dur="150" fill="hold"/>
                                        <p:tgtEl>
                                          <p:spTgt spid="137"/>
                                        </p:tgtEl>
                                        <p:attrNameLst>
                                          <p:attrName>ppt_x</p:attrName>
                                          <p:attrName>ppt_y</p:attrName>
                                        </p:attrNameLst>
                                      </p:cBhvr>
                                      <p:rCtr x="3581" y="-10185"/>
                                    </p:animMotion>
                                  </p:childTnLst>
                                </p:cTn>
                              </p:par>
                              <p:par>
                                <p:cTn id="70" presetID="22" presetClass="exit" presetSubtype="1" fill="hold" grpId="0" nodeType="withEffect">
                                  <p:stCondLst>
                                    <p:cond delay="400"/>
                                  </p:stCondLst>
                                  <p:childTnLst>
                                    <p:animEffect transition="out" filter="wipe(up)">
                                      <p:cBhvr>
                                        <p:cTn id="71" dur="150"/>
                                        <p:tgtEl>
                                          <p:spTgt spid="171"/>
                                        </p:tgtEl>
                                      </p:cBhvr>
                                    </p:animEffect>
                                    <p:set>
                                      <p:cBhvr>
                                        <p:cTn id="72" dur="1" fill="hold">
                                          <p:stCondLst>
                                            <p:cond delay="149"/>
                                          </p:stCondLst>
                                        </p:cTn>
                                        <p:tgtEl>
                                          <p:spTgt spid="171"/>
                                        </p:tgtEl>
                                        <p:attrNameLst>
                                          <p:attrName>style.visibility</p:attrName>
                                        </p:attrNameLst>
                                      </p:cBhvr>
                                      <p:to>
                                        <p:strVal val="hidden"/>
                                      </p:to>
                                    </p:set>
                                  </p:childTnLst>
                                </p:cTn>
                              </p:par>
                              <p:par>
                                <p:cTn id="73" presetID="12" presetClass="entr" presetSubtype="8" fill="hold" grpId="1" nodeType="withEffect">
                                  <p:stCondLst>
                                    <p:cond delay="500"/>
                                  </p:stCondLst>
                                  <p:childTnLst>
                                    <p:set>
                                      <p:cBhvr>
                                        <p:cTn id="74" dur="1" fill="hold">
                                          <p:stCondLst>
                                            <p:cond delay="0"/>
                                          </p:stCondLst>
                                        </p:cTn>
                                        <p:tgtEl>
                                          <p:spTgt spid="138"/>
                                        </p:tgtEl>
                                        <p:attrNameLst>
                                          <p:attrName>style.visibility</p:attrName>
                                        </p:attrNameLst>
                                      </p:cBhvr>
                                      <p:to>
                                        <p:strVal val="visible"/>
                                      </p:to>
                                    </p:set>
                                    <p:anim calcmode="lin" valueType="num">
                                      <p:cBhvr additive="base">
                                        <p:cTn id="75" dur="80"/>
                                        <p:tgtEl>
                                          <p:spTgt spid="138"/>
                                        </p:tgtEl>
                                        <p:attrNameLst>
                                          <p:attrName>ppt_x</p:attrName>
                                        </p:attrNameLst>
                                      </p:cBhvr>
                                      <p:tavLst>
                                        <p:tav tm="0">
                                          <p:val>
                                            <p:strVal val="#ppt_x-#ppt_w*1.125000"/>
                                          </p:val>
                                        </p:tav>
                                        <p:tav tm="100000">
                                          <p:val>
                                            <p:strVal val="#ppt_x"/>
                                          </p:val>
                                        </p:tav>
                                      </p:tavLst>
                                    </p:anim>
                                    <p:animEffect transition="in" filter="wipe(right)">
                                      <p:cBhvr>
                                        <p:cTn id="76" dur="80"/>
                                        <p:tgtEl>
                                          <p:spTgt spid="138"/>
                                        </p:tgtEl>
                                      </p:cBhvr>
                                    </p:animEffect>
                                  </p:childTnLst>
                                </p:cTn>
                              </p:par>
                              <p:par>
                                <p:cTn id="77" presetID="10" presetClass="exit" presetSubtype="0" fill="hold" grpId="3" nodeType="withEffect">
                                  <p:stCondLst>
                                    <p:cond delay="500"/>
                                  </p:stCondLst>
                                  <p:childTnLst>
                                    <p:animEffect transition="out" filter="fade">
                                      <p:cBhvr>
                                        <p:cTn id="78" dur="150"/>
                                        <p:tgtEl>
                                          <p:spTgt spid="147"/>
                                        </p:tgtEl>
                                      </p:cBhvr>
                                    </p:animEffect>
                                    <p:set>
                                      <p:cBhvr>
                                        <p:cTn id="79" dur="1" fill="hold">
                                          <p:stCondLst>
                                            <p:cond delay="149"/>
                                          </p:stCondLst>
                                        </p:cTn>
                                        <p:tgtEl>
                                          <p:spTgt spid="147"/>
                                        </p:tgtEl>
                                        <p:attrNameLst>
                                          <p:attrName>style.visibility</p:attrName>
                                        </p:attrNameLst>
                                      </p:cBhvr>
                                      <p:to>
                                        <p:strVal val="hidden"/>
                                      </p:to>
                                    </p:set>
                                  </p:childTnLst>
                                </p:cTn>
                              </p:par>
                              <p:par>
                                <p:cTn id="80" presetID="10" presetClass="entr" presetSubtype="0" fill="hold" grpId="0" nodeType="withEffect">
                                  <p:stCondLst>
                                    <p:cond delay="500"/>
                                  </p:stCondLst>
                                  <p:childTnLst>
                                    <p:set>
                                      <p:cBhvr>
                                        <p:cTn id="81" dur="1" fill="hold">
                                          <p:stCondLst>
                                            <p:cond delay="0"/>
                                          </p:stCondLst>
                                        </p:cTn>
                                        <p:tgtEl>
                                          <p:spTgt spid="149"/>
                                        </p:tgtEl>
                                        <p:attrNameLst>
                                          <p:attrName>style.visibility</p:attrName>
                                        </p:attrNameLst>
                                      </p:cBhvr>
                                      <p:to>
                                        <p:strVal val="visible"/>
                                      </p:to>
                                    </p:set>
                                    <p:animEffect transition="in" filter="fade">
                                      <p:cBhvr>
                                        <p:cTn id="82" dur="150"/>
                                        <p:tgtEl>
                                          <p:spTgt spid="149"/>
                                        </p:tgtEl>
                                      </p:cBhvr>
                                    </p:animEffect>
                                  </p:childTnLst>
                                </p:cTn>
                              </p:par>
                              <p:par>
                                <p:cTn id="83" presetID="42" presetClass="path" presetSubtype="0" accel="50000" decel="50000" fill="hold" grpId="0" nodeType="withEffect">
                                  <p:stCondLst>
                                    <p:cond delay="500"/>
                                  </p:stCondLst>
                                  <p:childTnLst>
                                    <p:animMotion origin="layout" path="M 1.04167E-6 -2.59259E-6 L 0.07161 -0.10185 " pathEditMode="relative" rAng="0" ptsTypes="AA">
                                      <p:cBhvr>
                                        <p:cTn id="84" dur="150" fill="hold"/>
                                        <p:tgtEl>
                                          <p:spTgt spid="138"/>
                                        </p:tgtEl>
                                        <p:attrNameLst>
                                          <p:attrName>ppt_x</p:attrName>
                                          <p:attrName>ppt_y</p:attrName>
                                        </p:attrNameLst>
                                      </p:cBhvr>
                                      <p:rCtr x="3581" y="-5093"/>
                                    </p:animMotion>
                                  </p:childTnLst>
                                </p:cTn>
                              </p:par>
                              <p:par>
                                <p:cTn id="85" presetID="22" presetClass="entr" presetSubtype="1" fill="hold" grpId="2" nodeType="withEffect">
                                  <p:stCondLst>
                                    <p:cond delay="500"/>
                                  </p:stCondLst>
                                  <p:childTnLst>
                                    <p:set>
                                      <p:cBhvr>
                                        <p:cTn id="86" dur="1" fill="hold">
                                          <p:stCondLst>
                                            <p:cond delay="0"/>
                                          </p:stCondLst>
                                        </p:cTn>
                                        <p:tgtEl>
                                          <p:spTgt spid="164"/>
                                        </p:tgtEl>
                                        <p:attrNameLst>
                                          <p:attrName>style.visibility</p:attrName>
                                        </p:attrNameLst>
                                      </p:cBhvr>
                                      <p:to>
                                        <p:strVal val="visible"/>
                                      </p:to>
                                    </p:set>
                                    <p:animEffect transition="in" filter="wipe(up)">
                                      <p:cBhvr>
                                        <p:cTn id="87" dur="150"/>
                                        <p:tgtEl>
                                          <p:spTgt spid="164"/>
                                        </p:tgtEl>
                                      </p:cBhvr>
                                    </p:animEffect>
                                  </p:childTnLst>
                                </p:cTn>
                              </p:par>
                              <p:par>
                                <p:cTn id="88" presetID="12" presetClass="entr" presetSubtype="8" fill="hold" grpId="1" nodeType="withEffect">
                                  <p:stCondLst>
                                    <p:cond delay="600"/>
                                  </p:stCondLst>
                                  <p:childTnLst>
                                    <p:set>
                                      <p:cBhvr>
                                        <p:cTn id="89" dur="1" fill="hold">
                                          <p:stCondLst>
                                            <p:cond delay="0"/>
                                          </p:stCondLst>
                                        </p:cTn>
                                        <p:tgtEl>
                                          <p:spTgt spid="139"/>
                                        </p:tgtEl>
                                        <p:attrNameLst>
                                          <p:attrName>style.visibility</p:attrName>
                                        </p:attrNameLst>
                                      </p:cBhvr>
                                      <p:to>
                                        <p:strVal val="visible"/>
                                      </p:to>
                                    </p:set>
                                    <p:anim calcmode="lin" valueType="num">
                                      <p:cBhvr additive="base">
                                        <p:cTn id="90" dur="80"/>
                                        <p:tgtEl>
                                          <p:spTgt spid="139"/>
                                        </p:tgtEl>
                                        <p:attrNameLst>
                                          <p:attrName>ppt_x</p:attrName>
                                        </p:attrNameLst>
                                      </p:cBhvr>
                                      <p:tavLst>
                                        <p:tav tm="0">
                                          <p:val>
                                            <p:strVal val="#ppt_x-#ppt_w*1.125000"/>
                                          </p:val>
                                        </p:tav>
                                        <p:tav tm="100000">
                                          <p:val>
                                            <p:strVal val="#ppt_x"/>
                                          </p:val>
                                        </p:tav>
                                      </p:tavLst>
                                    </p:anim>
                                    <p:animEffect transition="in" filter="wipe(right)">
                                      <p:cBhvr>
                                        <p:cTn id="91" dur="80"/>
                                        <p:tgtEl>
                                          <p:spTgt spid="139"/>
                                        </p:tgtEl>
                                      </p:cBhvr>
                                    </p:animEffect>
                                  </p:childTnLst>
                                </p:cTn>
                              </p:par>
                              <p:par>
                                <p:cTn id="92" presetID="10" presetClass="exit" presetSubtype="0" fill="hold" grpId="3" nodeType="withEffect">
                                  <p:stCondLst>
                                    <p:cond delay="600"/>
                                  </p:stCondLst>
                                  <p:childTnLst>
                                    <p:animEffect transition="out" filter="fade">
                                      <p:cBhvr>
                                        <p:cTn id="93" dur="150"/>
                                        <p:tgtEl>
                                          <p:spTgt spid="149"/>
                                        </p:tgtEl>
                                      </p:cBhvr>
                                    </p:animEffect>
                                    <p:set>
                                      <p:cBhvr>
                                        <p:cTn id="94" dur="1" fill="hold">
                                          <p:stCondLst>
                                            <p:cond delay="149"/>
                                          </p:stCondLst>
                                        </p:cTn>
                                        <p:tgtEl>
                                          <p:spTgt spid="149"/>
                                        </p:tgtEl>
                                        <p:attrNameLst>
                                          <p:attrName>style.visibility</p:attrName>
                                        </p:attrNameLst>
                                      </p:cBhvr>
                                      <p:to>
                                        <p:strVal val="hidden"/>
                                      </p:to>
                                    </p:set>
                                  </p:childTnLst>
                                </p:cTn>
                              </p:par>
                              <p:par>
                                <p:cTn id="95" presetID="10" presetClass="entr" presetSubtype="0" fill="hold" grpId="0" nodeType="withEffect">
                                  <p:stCondLst>
                                    <p:cond delay="600"/>
                                  </p:stCondLst>
                                  <p:childTnLst>
                                    <p:set>
                                      <p:cBhvr>
                                        <p:cTn id="96" dur="1" fill="hold">
                                          <p:stCondLst>
                                            <p:cond delay="0"/>
                                          </p:stCondLst>
                                        </p:cTn>
                                        <p:tgtEl>
                                          <p:spTgt spid="136"/>
                                        </p:tgtEl>
                                        <p:attrNameLst>
                                          <p:attrName>style.visibility</p:attrName>
                                        </p:attrNameLst>
                                      </p:cBhvr>
                                      <p:to>
                                        <p:strVal val="visible"/>
                                      </p:to>
                                    </p:set>
                                    <p:animEffect transition="in" filter="fade">
                                      <p:cBhvr>
                                        <p:cTn id="97" dur="150"/>
                                        <p:tgtEl>
                                          <p:spTgt spid="136"/>
                                        </p:tgtEl>
                                      </p:cBhvr>
                                    </p:animEffect>
                                  </p:childTnLst>
                                </p:cTn>
                              </p:par>
                              <p:par>
                                <p:cTn id="98" presetID="42" presetClass="path" presetSubtype="0" accel="50000" decel="50000" fill="hold" grpId="0" nodeType="withEffect">
                                  <p:stCondLst>
                                    <p:cond delay="600"/>
                                  </p:stCondLst>
                                  <p:childTnLst>
                                    <p:animMotion origin="layout" path="M 1.04167E-6 -2.59259E-6 L 0.07135 -0.00023 " pathEditMode="relative" rAng="0" ptsTypes="AA">
                                      <p:cBhvr>
                                        <p:cTn id="99" dur="150" fill="hold"/>
                                        <p:tgtEl>
                                          <p:spTgt spid="139"/>
                                        </p:tgtEl>
                                        <p:attrNameLst>
                                          <p:attrName>ppt_x</p:attrName>
                                          <p:attrName>ppt_y</p:attrName>
                                        </p:attrNameLst>
                                      </p:cBhvr>
                                      <p:rCtr x="3568" y="-23"/>
                                    </p:animMotion>
                                  </p:childTnLst>
                                </p:cTn>
                              </p:par>
                              <p:par>
                                <p:cTn id="100" presetID="22" presetClass="entr" presetSubtype="4" fill="hold" grpId="1" nodeType="withEffect">
                                  <p:stCondLst>
                                    <p:cond delay="600"/>
                                  </p:stCondLst>
                                  <p:childTnLst>
                                    <p:set>
                                      <p:cBhvr>
                                        <p:cTn id="101" dur="1" fill="hold">
                                          <p:stCondLst>
                                            <p:cond delay="0"/>
                                          </p:stCondLst>
                                        </p:cTn>
                                        <p:tgtEl>
                                          <p:spTgt spid="171"/>
                                        </p:tgtEl>
                                        <p:attrNameLst>
                                          <p:attrName>style.visibility</p:attrName>
                                        </p:attrNameLst>
                                      </p:cBhvr>
                                      <p:to>
                                        <p:strVal val="visible"/>
                                      </p:to>
                                    </p:set>
                                    <p:animEffect transition="in" filter="wipe(down)">
                                      <p:cBhvr>
                                        <p:cTn id="102" dur="150"/>
                                        <p:tgtEl>
                                          <p:spTgt spid="171"/>
                                        </p:tgtEl>
                                      </p:cBhvr>
                                    </p:animEffect>
                                  </p:childTnLst>
                                </p:cTn>
                              </p:par>
                              <p:par>
                                <p:cTn id="103" presetID="22" presetClass="exit" presetSubtype="1" fill="hold" grpId="2" nodeType="withEffect">
                                  <p:stCondLst>
                                    <p:cond delay="600"/>
                                  </p:stCondLst>
                                  <p:childTnLst>
                                    <p:animEffect transition="out" filter="wipe(up)">
                                      <p:cBhvr>
                                        <p:cTn id="104" dur="150"/>
                                        <p:tgtEl>
                                          <p:spTgt spid="173"/>
                                        </p:tgtEl>
                                      </p:cBhvr>
                                    </p:animEffect>
                                    <p:set>
                                      <p:cBhvr>
                                        <p:cTn id="105" dur="1" fill="hold">
                                          <p:stCondLst>
                                            <p:cond delay="149"/>
                                          </p:stCondLst>
                                        </p:cTn>
                                        <p:tgtEl>
                                          <p:spTgt spid="173"/>
                                        </p:tgtEl>
                                        <p:attrNameLst>
                                          <p:attrName>style.visibility</p:attrName>
                                        </p:attrNameLst>
                                      </p:cBhvr>
                                      <p:to>
                                        <p:strVal val="hidden"/>
                                      </p:to>
                                    </p:set>
                                  </p:childTnLst>
                                </p:cTn>
                              </p:par>
                              <p:par>
                                <p:cTn id="106" presetID="12" presetClass="entr" presetSubtype="8" fill="hold" grpId="1" nodeType="withEffect">
                                  <p:stCondLst>
                                    <p:cond delay="700"/>
                                  </p:stCondLst>
                                  <p:childTnLst>
                                    <p:set>
                                      <p:cBhvr>
                                        <p:cTn id="107" dur="1" fill="hold">
                                          <p:stCondLst>
                                            <p:cond delay="0"/>
                                          </p:stCondLst>
                                        </p:cTn>
                                        <p:tgtEl>
                                          <p:spTgt spid="140"/>
                                        </p:tgtEl>
                                        <p:attrNameLst>
                                          <p:attrName>style.visibility</p:attrName>
                                        </p:attrNameLst>
                                      </p:cBhvr>
                                      <p:to>
                                        <p:strVal val="visible"/>
                                      </p:to>
                                    </p:set>
                                    <p:anim calcmode="lin" valueType="num">
                                      <p:cBhvr additive="base">
                                        <p:cTn id="108" dur="80"/>
                                        <p:tgtEl>
                                          <p:spTgt spid="140"/>
                                        </p:tgtEl>
                                        <p:attrNameLst>
                                          <p:attrName>ppt_x</p:attrName>
                                        </p:attrNameLst>
                                      </p:cBhvr>
                                      <p:tavLst>
                                        <p:tav tm="0">
                                          <p:val>
                                            <p:strVal val="#ppt_x-#ppt_w*1.125000"/>
                                          </p:val>
                                        </p:tav>
                                        <p:tav tm="100000">
                                          <p:val>
                                            <p:strVal val="#ppt_x"/>
                                          </p:val>
                                        </p:tav>
                                      </p:tavLst>
                                    </p:anim>
                                    <p:animEffect transition="in" filter="wipe(right)">
                                      <p:cBhvr>
                                        <p:cTn id="109" dur="80"/>
                                        <p:tgtEl>
                                          <p:spTgt spid="140"/>
                                        </p:tgtEl>
                                      </p:cBhvr>
                                    </p:animEffect>
                                  </p:childTnLst>
                                </p:cTn>
                              </p:par>
                              <p:par>
                                <p:cTn id="110" presetID="10" presetClass="exit" presetSubtype="0" fill="hold" grpId="2" nodeType="withEffect">
                                  <p:stCondLst>
                                    <p:cond delay="700"/>
                                  </p:stCondLst>
                                  <p:childTnLst>
                                    <p:animEffect transition="out" filter="fade">
                                      <p:cBhvr>
                                        <p:cTn id="111" dur="150"/>
                                        <p:tgtEl>
                                          <p:spTgt spid="136"/>
                                        </p:tgtEl>
                                      </p:cBhvr>
                                    </p:animEffect>
                                    <p:set>
                                      <p:cBhvr>
                                        <p:cTn id="112" dur="1" fill="hold">
                                          <p:stCondLst>
                                            <p:cond delay="149"/>
                                          </p:stCondLst>
                                        </p:cTn>
                                        <p:tgtEl>
                                          <p:spTgt spid="136"/>
                                        </p:tgtEl>
                                        <p:attrNameLst>
                                          <p:attrName>style.visibility</p:attrName>
                                        </p:attrNameLst>
                                      </p:cBhvr>
                                      <p:to>
                                        <p:strVal val="hidden"/>
                                      </p:to>
                                    </p:set>
                                  </p:childTnLst>
                                </p:cTn>
                              </p:par>
                              <p:par>
                                <p:cTn id="113" presetID="10" presetClass="entr" presetSubtype="0" fill="hold" grpId="1" nodeType="withEffect">
                                  <p:stCondLst>
                                    <p:cond delay="700"/>
                                  </p:stCondLst>
                                  <p:childTnLst>
                                    <p:set>
                                      <p:cBhvr>
                                        <p:cTn id="114" dur="1" fill="hold">
                                          <p:stCondLst>
                                            <p:cond delay="0"/>
                                          </p:stCondLst>
                                        </p:cTn>
                                        <p:tgtEl>
                                          <p:spTgt spid="150"/>
                                        </p:tgtEl>
                                        <p:attrNameLst>
                                          <p:attrName>style.visibility</p:attrName>
                                        </p:attrNameLst>
                                      </p:cBhvr>
                                      <p:to>
                                        <p:strVal val="visible"/>
                                      </p:to>
                                    </p:set>
                                    <p:animEffect transition="in" filter="fade">
                                      <p:cBhvr>
                                        <p:cTn id="115" dur="150"/>
                                        <p:tgtEl>
                                          <p:spTgt spid="150"/>
                                        </p:tgtEl>
                                      </p:cBhvr>
                                    </p:animEffect>
                                  </p:childTnLst>
                                </p:cTn>
                              </p:par>
                              <p:par>
                                <p:cTn id="116" presetID="42" presetClass="path" presetSubtype="0" accel="50000" decel="50000" fill="hold" grpId="0" nodeType="withEffect">
                                  <p:stCondLst>
                                    <p:cond delay="700"/>
                                  </p:stCondLst>
                                  <p:childTnLst>
                                    <p:animMotion origin="layout" path="M 1.04167E-6 -2.59259E-6 L 0.07174 0.10185 " pathEditMode="relative" rAng="0" ptsTypes="AA">
                                      <p:cBhvr>
                                        <p:cTn id="117" dur="150" fill="hold"/>
                                        <p:tgtEl>
                                          <p:spTgt spid="140"/>
                                        </p:tgtEl>
                                        <p:attrNameLst>
                                          <p:attrName>ppt_x</p:attrName>
                                          <p:attrName>ppt_y</p:attrName>
                                        </p:attrNameLst>
                                      </p:cBhvr>
                                      <p:rCtr x="3581" y="5093"/>
                                    </p:animMotion>
                                  </p:childTnLst>
                                </p:cTn>
                              </p:par>
                              <p:par>
                                <p:cTn id="118" presetID="22" presetClass="exit" presetSubtype="4" fill="hold" grpId="1" nodeType="withEffect">
                                  <p:stCondLst>
                                    <p:cond delay="700"/>
                                  </p:stCondLst>
                                  <p:childTnLst>
                                    <p:animEffect transition="out" filter="wipe(down)">
                                      <p:cBhvr>
                                        <p:cTn id="119" dur="150"/>
                                        <p:tgtEl>
                                          <p:spTgt spid="175"/>
                                        </p:tgtEl>
                                      </p:cBhvr>
                                    </p:animEffect>
                                    <p:set>
                                      <p:cBhvr>
                                        <p:cTn id="120" dur="1" fill="hold">
                                          <p:stCondLst>
                                            <p:cond delay="149"/>
                                          </p:stCondLst>
                                        </p:cTn>
                                        <p:tgtEl>
                                          <p:spTgt spid="175"/>
                                        </p:tgtEl>
                                        <p:attrNameLst>
                                          <p:attrName>style.visibility</p:attrName>
                                        </p:attrNameLst>
                                      </p:cBhvr>
                                      <p:to>
                                        <p:strVal val="hidden"/>
                                      </p:to>
                                    </p:set>
                                  </p:childTnLst>
                                </p:cTn>
                              </p:par>
                              <p:par>
                                <p:cTn id="121" presetID="22" presetClass="exit" presetSubtype="4" fill="hold" grpId="3" nodeType="withEffect">
                                  <p:stCondLst>
                                    <p:cond delay="700"/>
                                  </p:stCondLst>
                                  <p:childTnLst>
                                    <p:animEffect transition="out" filter="wipe(down)">
                                      <p:cBhvr>
                                        <p:cTn id="122" dur="150"/>
                                        <p:tgtEl>
                                          <p:spTgt spid="164"/>
                                        </p:tgtEl>
                                      </p:cBhvr>
                                    </p:animEffect>
                                    <p:set>
                                      <p:cBhvr>
                                        <p:cTn id="123" dur="1" fill="hold">
                                          <p:stCondLst>
                                            <p:cond delay="149"/>
                                          </p:stCondLst>
                                        </p:cTn>
                                        <p:tgtEl>
                                          <p:spTgt spid="164"/>
                                        </p:tgtEl>
                                        <p:attrNameLst>
                                          <p:attrName>style.visibility</p:attrName>
                                        </p:attrNameLst>
                                      </p:cBhvr>
                                      <p:to>
                                        <p:strVal val="hidden"/>
                                      </p:to>
                                    </p:set>
                                  </p:childTnLst>
                                </p:cTn>
                              </p:par>
                              <p:par>
                                <p:cTn id="124" presetID="22" presetClass="exit" presetSubtype="4" fill="hold" grpId="0" nodeType="withEffect">
                                  <p:stCondLst>
                                    <p:cond delay="700"/>
                                  </p:stCondLst>
                                  <p:childTnLst>
                                    <p:animEffect transition="out" filter="wipe(down)">
                                      <p:cBhvr>
                                        <p:cTn id="125" dur="150"/>
                                        <p:tgtEl>
                                          <p:spTgt spid="174"/>
                                        </p:tgtEl>
                                      </p:cBhvr>
                                    </p:animEffect>
                                    <p:set>
                                      <p:cBhvr>
                                        <p:cTn id="126" dur="1" fill="hold">
                                          <p:stCondLst>
                                            <p:cond delay="149"/>
                                          </p:stCondLst>
                                        </p:cTn>
                                        <p:tgtEl>
                                          <p:spTgt spid="174"/>
                                        </p:tgtEl>
                                        <p:attrNameLst>
                                          <p:attrName>style.visibility</p:attrName>
                                        </p:attrNameLst>
                                      </p:cBhvr>
                                      <p:to>
                                        <p:strVal val="hidden"/>
                                      </p:to>
                                    </p:set>
                                  </p:childTnLst>
                                </p:cTn>
                              </p:par>
                              <p:par>
                                <p:cTn id="127" presetID="12" presetClass="entr" presetSubtype="8" fill="hold" grpId="1" nodeType="withEffect">
                                  <p:stCondLst>
                                    <p:cond delay="800"/>
                                  </p:stCondLst>
                                  <p:childTnLst>
                                    <p:set>
                                      <p:cBhvr>
                                        <p:cTn id="128" dur="1" fill="hold">
                                          <p:stCondLst>
                                            <p:cond delay="0"/>
                                          </p:stCondLst>
                                        </p:cTn>
                                        <p:tgtEl>
                                          <p:spTgt spid="141"/>
                                        </p:tgtEl>
                                        <p:attrNameLst>
                                          <p:attrName>style.visibility</p:attrName>
                                        </p:attrNameLst>
                                      </p:cBhvr>
                                      <p:to>
                                        <p:strVal val="visible"/>
                                      </p:to>
                                    </p:set>
                                    <p:anim calcmode="lin" valueType="num">
                                      <p:cBhvr additive="base">
                                        <p:cTn id="129" dur="80"/>
                                        <p:tgtEl>
                                          <p:spTgt spid="141"/>
                                        </p:tgtEl>
                                        <p:attrNameLst>
                                          <p:attrName>ppt_x</p:attrName>
                                        </p:attrNameLst>
                                      </p:cBhvr>
                                      <p:tavLst>
                                        <p:tav tm="0">
                                          <p:val>
                                            <p:strVal val="#ppt_x-#ppt_w*1.125000"/>
                                          </p:val>
                                        </p:tav>
                                        <p:tav tm="100000">
                                          <p:val>
                                            <p:strVal val="#ppt_x"/>
                                          </p:val>
                                        </p:tav>
                                      </p:tavLst>
                                    </p:anim>
                                    <p:animEffect transition="in" filter="wipe(right)">
                                      <p:cBhvr>
                                        <p:cTn id="130" dur="80"/>
                                        <p:tgtEl>
                                          <p:spTgt spid="141"/>
                                        </p:tgtEl>
                                      </p:cBhvr>
                                    </p:animEffect>
                                  </p:childTnLst>
                                </p:cTn>
                              </p:par>
                              <p:par>
                                <p:cTn id="131" presetID="10" presetClass="exit" presetSubtype="0" fill="hold" grpId="3" nodeType="withEffect">
                                  <p:stCondLst>
                                    <p:cond delay="800"/>
                                  </p:stCondLst>
                                  <p:childTnLst>
                                    <p:animEffect transition="out" filter="fade">
                                      <p:cBhvr>
                                        <p:cTn id="132" dur="150"/>
                                        <p:tgtEl>
                                          <p:spTgt spid="150"/>
                                        </p:tgtEl>
                                      </p:cBhvr>
                                    </p:animEffect>
                                    <p:set>
                                      <p:cBhvr>
                                        <p:cTn id="133" dur="1" fill="hold">
                                          <p:stCondLst>
                                            <p:cond delay="149"/>
                                          </p:stCondLst>
                                        </p:cTn>
                                        <p:tgtEl>
                                          <p:spTgt spid="150"/>
                                        </p:tgtEl>
                                        <p:attrNameLst>
                                          <p:attrName>style.visibility</p:attrName>
                                        </p:attrNameLst>
                                      </p:cBhvr>
                                      <p:to>
                                        <p:strVal val="hidden"/>
                                      </p:to>
                                    </p:set>
                                  </p:childTnLst>
                                </p:cTn>
                              </p:par>
                              <p:par>
                                <p:cTn id="134" presetID="10" presetClass="entr" presetSubtype="0" fill="hold" grpId="1" nodeType="withEffect">
                                  <p:stCondLst>
                                    <p:cond delay="800"/>
                                  </p:stCondLst>
                                  <p:childTnLst>
                                    <p:set>
                                      <p:cBhvr>
                                        <p:cTn id="135" dur="1" fill="hold">
                                          <p:stCondLst>
                                            <p:cond delay="0"/>
                                          </p:stCondLst>
                                        </p:cTn>
                                        <p:tgtEl>
                                          <p:spTgt spid="149"/>
                                        </p:tgtEl>
                                        <p:attrNameLst>
                                          <p:attrName>style.visibility</p:attrName>
                                        </p:attrNameLst>
                                      </p:cBhvr>
                                      <p:to>
                                        <p:strVal val="visible"/>
                                      </p:to>
                                    </p:set>
                                    <p:animEffect transition="in" filter="fade">
                                      <p:cBhvr>
                                        <p:cTn id="136" dur="150"/>
                                        <p:tgtEl>
                                          <p:spTgt spid="149"/>
                                        </p:tgtEl>
                                      </p:cBhvr>
                                    </p:animEffect>
                                  </p:childTnLst>
                                </p:cTn>
                              </p:par>
                              <p:par>
                                <p:cTn id="137" presetID="42" presetClass="path" presetSubtype="0" accel="50000" decel="50000" fill="hold" grpId="0" nodeType="withEffect">
                                  <p:stCondLst>
                                    <p:cond delay="800"/>
                                  </p:stCondLst>
                                  <p:childTnLst>
                                    <p:animMotion origin="layout" path="M 1.04167E-6 -2.59259E-6 L 0.07161 0.20278 " pathEditMode="relative" rAng="0" ptsTypes="AA">
                                      <p:cBhvr>
                                        <p:cTn id="138" dur="150" fill="hold"/>
                                        <p:tgtEl>
                                          <p:spTgt spid="141"/>
                                        </p:tgtEl>
                                        <p:attrNameLst>
                                          <p:attrName>ppt_x</p:attrName>
                                          <p:attrName>ppt_y</p:attrName>
                                        </p:attrNameLst>
                                      </p:cBhvr>
                                      <p:rCtr x="3581" y="10139"/>
                                    </p:animMotion>
                                  </p:childTnLst>
                                </p:cTn>
                              </p:par>
                              <p:par>
                                <p:cTn id="139" presetID="12" presetClass="entr" presetSubtype="4" fill="hold" grpId="1" nodeType="withEffect">
                                  <p:stCondLst>
                                    <p:cond delay="900"/>
                                  </p:stCondLst>
                                  <p:childTnLst>
                                    <p:set>
                                      <p:cBhvr>
                                        <p:cTn id="140" dur="1" fill="hold">
                                          <p:stCondLst>
                                            <p:cond delay="0"/>
                                          </p:stCondLst>
                                        </p:cTn>
                                        <p:tgtEl>
                                          <p:spTgt spid="142"/>
                                        </p:tgtEl>
                                        <p:attrNameLst>
                                          <p:attrName>style.visibility</p:attrName>
                                        </p:attrNameLst>
                                      </p:cBhvr>
                                      <p:to>
                                        <p:strVal val="visible"/>
                                      </p:to>
                                    </p:set>
                                    <p:anim calcmode="lin" valueType="num">
                                      <p:cBhvr additive="base">
                                        <p:cTn id="141" dur="80"/>
                                        <p:tgtEl>
                                          <p:spTgt spid="142"/>
                                        </p:tgtEl>
                                        <p:attrNameLst>
                                          <p:attrName>ppt_y</p:attrName>
                                        </p:attrNameLst>
                                      </p:cBhvr>
                                      <p:tavLst>
                                        <p:tav tm="0">
                                          <p:val>
                                            <p:strVal val="#ppt_y+#ppt_h*1.125000"/>
                                          </p:val>
                                        </p:tav>
                                        <p:tav tm="100000">
                                          <p:val>
                                            <p:strVal val="#ppt_y"/>
                                          </p:val>
                                        </p:tav>
                                      </p:tavLst>
                                    </p:anim>
                                    <p:animEffect transition="in" filter="wipe(up)">
                                      <p:cBhvr>
                                        <p:cTn id="142" dur="80"/>
                                        <p:tgtEl>
                                          <p:spTgt spid="142"/>
                                        </p:tgtEl>
                                      </p:cBhvr>
                                    </p:animEffect>
                                  </p:childTnLst>
                                </p:cTn>
                              </p:par>
                              <p:par>
                                <p:cTn id="143" presetID="10" presetClass="exit" presetSubtype="0" fill="hold" grpId="4" nodeType="withEffect">
                                  <p:stCondLst>
                                    <p:cond delay="900"/>
                                  </p:stCondLst>
                                  <p:childTnLst>
                                    <p:animEffect transition="out" filter="fade">
                                      <p:cBhvr>
                                        <p:cTn id="144" dur="150"/>
                                        <p:tgtEl>
                                          <p:spTgt spid="149"/>
                                        </p:tgtEl>
                                      </p:cBhvr>
                                    </p:animEffect>
                                    <p:set>
                                      <p:cBhvr>
                                        <p:cTn id="145" dur="1" fill="hold">
                                          <p:stCondLst>
                                            <p:cond delay="149"/>
                                          </p:stCondLst>
                                        </p:cTn>
                                        <p:tgtEl>
                                          <p:spTgt spid="149"/>
                                        </p:tgtEl>
                                        <p:attrNameLst>
                                          <p:attrName>style.visibility</p:attrName>
                                        </p:attrNameLst>
                                      </p:cBhvr>
                                      <p:to>
                                        <p:strVal val="hidden"/>
                                      </p:to>
                                    </p:set>
                                  </p:childTnLst>
                                </p:cTn>
                              </p:par>
                              <p:par>
                                <p:cTn id="146" presetID="10" presetClass="entr" presetSubtype="0" fill="hold" grpId="2" nodeType="withEffect">
                                  <p:stCondLst>
                                    <p:cond delay="900"/>
                                  </p:stCondLst>
                                  <p:childTnLst>
                                    <p:set>
                                      <p:cBhvr>
                                        <p:cTn id="147" dur="1" fill="hold">
                                          <p:stCondLst>
                                            <p:cond delay="0"/>
                                          </p:stCondLst>
                                        </p:cTn>
                                        <p:tgtEl>
                                          <p:spTgt spid="147"/>
                                        </p:tgtEl>
                                        <p:attrNameLst>
                                          <p:attrName>style.visibility</p:attrName>
                                        </p:attrNameLst>
                                      </p:cBhvr>
                                      <p:to>
                                        <p:strVal val="visible"/>
                                      </p:to>
                                    </p:set>
                                    <p:animEffect transition="in" filter="fade">
                                      <p:cBhvr>
                                        <p:cTn id="148" dur="150"/>
                                        <p:tgtEl>
                                          <p:spTgt spid="147"/>
                                        </p:tgtEl>
                                      </p:cBhvr>
                                    </p:animEffect>
                                  </p:childTnLst>
                                </p:cTn>
                              </p:par>
                              <p:par>
                                <p:cTn id="149" presetID="42" presetClass="path" presetSubtype="0" accel="50000" decel="50000" fill="hold" grpId="0" nodeType="withEffect">
                                  <p:stCondLst>
                                    <p:cond delay="900"/>
                                  </p:stCondLst>
                                  <p:childTnLst>
                                    <p:animMotion origin="layout" path="M 1.04167E-6 -2.59259E-6 L 0.00026 -0.20486 " pathEditMode="relative" rAng="0" ptsTypes="AA">
                                      <p:cBhvr>
                                        <p:cTn id="150" dur="150" fill="hold"/>
                                        <p:tgtEl>
                                          <p:spTgt spid="142"/>
                                        </p:tgtEl>
                                        <p:attrNameLst>
                                          <p:attrName>ppt_x</p:attrName>
                                          <p:attrName>ppt_y</p:attrName>
                                        </p:attrNameLst>
                                      </p:cBhvr>
                                      <p:rCtr x="13" y="-10255"/>
                                    </p:animMotion>
                                  </p:childTnLst>
                                </p:cTn>
                              </p:par>
                              <p:par>
                                <p:cTn id="151" presetID="22" presetClass="entr" presetSubtype="1" fill="hold" grpId="2" nodeType="withEffect">
                                  <p:stCondLst>
                                    <p:cond delay="900"/>
                                  </p:stCondLst>
                                  <p:childTnLst>
                                    <p:set>
                                      <p:cBhvr>
                                        <p:cTn id="152" dur="1" fill="hold">
                                          <p:stCondLst>
                                            <p:cond delay="0"/>
                                          </p:stCondLst>
                                        </p:cTn>
                                        <p:tgtEl>
                                          <p:spTgt spid="175"/>
                                        </p:tgtEl>
                                        <p:attrNameLst>
                                          <p:attrName>style.visibility</p:attrName>
                                        </p:attrNameLst>
                                      </p:cBhvr>
                                      <p:to>
                                        <p:strVal val="visible"/>
                                      </p:to>
                                    </p:set>
                                    <p:animEffect transition="in" filter="wipe(up)">
                                      <p:cBhvr>
                                        <p:cTn id="153" dur="150"/>
                                        <p:tgtEl>
                                          <p:spTgt spid="175"/>
                                        </p:tgtEl>
                                      </p:cBhvr>
                                    </p:animEffect>
                                  </p:childTnLst>
                                </p:cTn>
                              </p:par>
                              <p:par>
                                <p:cTn id="154" presetID="22" presetClass="entr" presetSubtype="1" fill="hold" grpId="1" nodeType="withEffect">
                                  <p:stCondLst>
                                    <p:cond delay="900"/>
                                  </p:stCondLst>
                                  <p:childTnLst>
                                    <p:set>
                                      <p:cBhvr>
                                        <p:cTn id="155" dur="1" fill="hold">
                                          <p:stCondLst>
                                            <p:cond delay="0"/>
                                          </p:stCondLst>
                                        </p:cTn>
                                        <p:tgtEl>
                                          <p:spTgt spid="174"/>
                                        </p:tgtEl>
                                        <p:attrNameLst>
                                          <p:attrName>style.visibility</p:attrName>
                                        </p:attrNameLst>
                                      </p:cBhvr>
                                      <p:to>
                                        <p:strVal val="visible"/>
                                      </p:to>
                                    </p:set>
                                    <p:animEffect transition="in" filter="wipe(up)">
                                      <p:cBhvr>
                                        <p:cTn id="156" dur="150"/>
                                        <p:tgtEl>
                                          <p:spTgt spid="174"/>
                                        </p:tgtEl>
                                      </p:cBhvr>
                                    </p:animEffect>
                                  </p:childTnLst>
                                </p:cTn>
                              </p:par>
                              <p:par>
                                <p:cTn id="157" presetID="22" presetClass="entr" presetSubtype="4" fill="hold" grpId="3" nodeType="withEffect">
                                  <p:stCondLst>
                                    <p:cond delay="900"/>
                                  </p:stCondLst>
                                  <p:childTnLst>
                                    <p:set>
                                      <p:cBhvr>
                                        <p:cTn id="158" dur="1" fill="hold">
                                          <p:stCondLst>
                                            <p:cond delay="0"/>
                                          </p:stCondLst>
                                        </p:cTn>
                                        <p:tgtEl>
                                          <p:spTgt spid="173"/>
                                        </p:tgtEl>
                                        <p:attrNameLst>
                                          <p:attrName>style.visibility</p:attrName>
                                        </p:attrNameLst>
                                      </p:cBhvr>
                                      <p:to>
                                        <p:strVal val="visible"/>
                                      </p:to>
                                    </p:set>
                                    <p:animEffect transition="in" filter="wipe(down)">
                                      <p:cBhvr>
                                        <p:cTn id="159" dur="150"/>
                                        <p:tgtEl>
                                          <p:spTgt spid="173"/>
                                        </p:tgtEl>
                                      </p:cBhvr>
                                    </p:animEffect>
                                  </p:childTnLst>
                                </p:cTn>
                              </p:par>
                              <p:par>
                                <p:cTn id="160" presetID="12" presetClass="entr" presetSubtype="4" fill="hold" grpId="1" nodeType="withEffect">
                                  <p:stCondLst>
                                    <p:cond delay="1000"/>
                                  </p:stCondLst>
                                  <p:childTnLst>
                                    <p:set>
                                      <p:cBhvr>
                                        <p:cTn id="161" dur="1" fill="hold">
                                          <p:stCondLst>
                                            <p:cond delay="0"/>
                                          </p:stCondLst>
                                        </p:cTn>
                                        <p:tgtEl>
                                          <p:spTgt spid="143"/>
                                        </p:tgtEl>
                                        <p:attrNameLst>
                                          <p:attrName>style.visibility</p:attrName>
                                        </p:attrNameLst>
                                      </p:cBhvr>
                                      <p:to>
                                        <p:strVal val="visible"/>
                                      </p:to>
                                    </p:set>
                                    <p:anim calcmode="lin" valueType="num">
                                      <p:cBhvr additive="base">
                                        <p:cTn id="162" dur="80"/>
                                        <p:tgtEl>
                                          <p:spTgt spid="143"/>
                                        </p:tgtEl>
                                        <p:attrNameLst>
                                          <p:attrName>ppt_y</p:attrName>
                                        </p:attrNameLst>
                                      </p:cBhvr>
                                      <p:tavLst>
                                        <p:tav tm="0">
                                          <p:val>
                                            <p:strVal val="#ppt_y+#ppt_h*1.125000"/>
                                          </p:val>
                                        </p:tav>
                                        <p:tav tm="100000">
                                          <p:val>
                                            <p:strVal val="#ppt_y"/>
                                          </p:val>
                                        </p:tav>
                                      </p:tavLst>
                                    </p:anim>
                                    <p:animEffect transition="in" filter="wipe(up)">
                                      <p:cBhvr>
                                        <p:cTn id="163" dur="80"/>
                                        <p:tgtEl>
                                          <p:spTgt spid="143"/>
                                        </p:tgtEl>
                                      </p:cBhvr>
                                    </p:animEffect>
                                  </p:childTnLst>
                                </p:cTn>
                              </p:par>
                              <p:par>
                                <p:cTn id="164" presetID="10" presetClass="exit" presetSubtype="0" fill="hold" grpId="4" nodeType="withEffect">
                                  <p:stCondLst>
                                    <p:cond delay="1000"/>
                                  </p:stCondLst>
                                  <p:childTnLst>
                                    <p:animEffect transition="out" filter="fade">
                                      <p:cBhvr>
                                        <p:cTn id="165" dur="150"/>
                                        <p:tgtEl>
                                          <p:spTgt spid="147"/>
                                        </p:tgtEl>
                                      </p:cBhvr>
                                    </p:animEffect>
                                    <p:set>
                                      <p:cBhvr>
                                        <p:cTn id="166" dur="1" fill="hold">
                                          <p:stCondLst>
                                            <p:cond delay="149"/>
                                          </p:stCondLst>
                                        </p:cTn>
                                        <p:tgtEl>
                                          <p:spTgt spid="147"/>
                                        </p:tgtEl>
                                        <p:attrNameLst>
                                          <p:attrName>style.visibility</p:attrName>
                                        </p:attrNameLst>
                                      </p:cBhvr>
                                      <p:to>
                                        <p:strVal val="hidden"/>
                                      </p:to>
                                    </p:set>
                                  </p:childTnLst>
                                </p:cTn>
                              </p:par>
                              <p:par>
                                <p:cTn id="167" presetID="10" presetClass="entr" presetSubtype="0" fill="hold" grpId="2" nodeType="withEffect">
                                  <p:stCondLst>
                                    <p:cond delay="1000"/>
                                  </p:stCondLst>
                                  <p:childTnLst>
                                    <p:set>
                                      <p:cBhvr>
                                        <p:cTn id="168" dur="1" fill="hold">
                                          <p:stCondLst>
                                            <p:cond delay="0"/>
                                          </p:stCondLst>
                                        </p:cTn>
                                        <p:tgtEl>
                                          <p:spTgt spid="148"/>
                                        </p:tgtEl>
                                        <p:attrNameLst>
                                          <p:attrName>style.visibility</p:attrName>
                                        </p:attrNameLst>
                                      </p:cBhvr>
                                      <p:to>
                                        <p:strVal val="visible"/>
                                      </p:to>
                                    </p:set>
                                    <p:animEffect transition="in" filter="fade">
                                      <p:cBhvr>
                                        <p:cTn id="169" dur="150"/>
                                        <p:tgtEl>
                                          <p:spTgt spid="148"/>
                                        </p:tgtEl>
                                      </p:cBhvr>
                                    </p:animEffect>
                                  </p:childTnLst>
                                </p:cTn>
                              </p:par>
                              <p:par>
                                <p:cTn id="170" presetID="42" presetClass="path" presetSubtype="0" accel="50000" decel="50000" fill="hold" grpId="0" nodeType="withEffect">
                                  <p:stCondLst>
                                    <p:cond delay="1000"/>
                                  </p:stCondLst>
                                  <p:childTnLst>
                                    <p:animMotion origin="layout" path="M 1.04167E-6 -2.59259E-6 L 1.04167E-6 -0.10208 " pathEditMode="relative" rAng="0" ptsTypes="AA">
                                      <p:cBhvr>
                                        <p:cTn id="171" dur="150" fill="hold"/>
                                        <p:tgtEl>
                                          <p:spTgt spid="143"/>
                                        </p:tgtEl>
                                        <p:attrNameLst>
                                          <p:attrName>ppt_x</p:attrName>
                                          <p:attrName>ppt_y</p:attrName>
                                        </p:attrNameLst>
                                      </p:cBhvr>
                                      <p:rCtr x="0" y="-5116"/>
                                    </p:animMotion>
                                  </p:childTnLst>
                                </p:cTn>
                              </p:par>
                              <p:par>
                                <p:cTn id="172" presetID="22" presetClass="entr" presetSubtype="1" fill="hold" grpId="4" nodeType="withEffect">
                                  <p:stCondLst>
                                    <p:cond delay="1000"/>
                                  </p:stCondLst>
                                  <p:childTnLst>
                                    <p:set>
                                      <p:cBhvr>
                                        <p:cTn id="173" dur="1" fill="hold">
                                          <p:stCondLst>
                                            <p:cond delay="0"/>
                                          </p:stCondLst>
                                        </p:cTn>
                                        <p:tgtEl>
                                          <p:spTgt spid="164"/>
                                        </p:tgtEl>
                                        <p:attrNameLst>
                                          <p:attrName>style.visibility</p:attrName>
                                        </p:attrNameLst>
                                      </p:cBhvr>
                                      <p:to>
                                        <p:strVal val="visible"/>
                                      </p:to>
                                    </p:set>
                                    <p:animEffect transition="in" filter="wipe(up)">
                                      <p:cBhvr>
                                        <p:cTn id="174" dur="150"/>
                                        <p:tgtEl>
                                          <p:spTgt spid="164"/>
                                        </p:tgtEl>
                                      </p:cBhvr>
                                    </p:animEffect>
                                  </p:childTnLst>
                                </p:cTn>
                              </p:par>
                              <p:par>
                                <p:cTn id="175" presetID="12" presetClass="entr" presetSubtype="1" fill="hold" grpId="1" nodeType="withEffect">
                                  <p:stCondLst>
                                    <p:cond delay="1100"/>
                                  </p:stCondLst>
                                  <p:childTnLst>
                                    <p:set>
                                      <p:cBhvr>
                                        <p:cTn id="176" dur="1" fill="hold">
                                          <p:stCondLst>
                                            <p:cond delay="0"/>
                                          </p:stCondLst>
                                        </p:cTn>
                                        <p:tgtEl>
                                          <p:spTgt spid="145"/>
                                        </p:tgtEl>
                                        <p:attrNameLst>
                                          <p:attrName>style.visibility</p:attrName>
                                        </p:attrNameLst>
                                      </p:cBhvr>
                                      <p:to>
                                        <p:strVal val="visible"/>
                                      </p:to>
                                    </p:set>
                                    <p:anim calcmode="lin" valueType="num">
                                      <p:cBhvr additive="base">
                                        <p:cTn id="177" dur="80"/>
                                        <p:tgtEl>
                                          <p:spTgt spid="145"/>
                                        </p:tgtEl>
                                        <p:attrNameLst>
                                          <p:attrName>ppt_y</p:attrName>
                                        </p:attrNameLst>
                                      </p:cBhvr>
                                      <p:tavLst>
                                        <p:tav tm="0">
                                          <p:val>
                                            <p:strVal val="#ppt_y-#ppt_h*1.125000"/>
                                          </p:val>
                                        </p:tav>
                                        <p:tav tm="100000">
                                          <p:val>
                                            <p:strVal val="#ppt_y"/>
                                          </p:val>
                                        </p:tav>
                                      </p:tavLst>
                                    </p:anim>
                                    <p:animEffect transition="in" filter="wipe(down)">
                                      <p:cBhvr>
                                        <p:cTn id="178" dur="80"/>
                                        <p:tgtEl>
                                          <p:spTgt spid="145"/>
                                        </p:tgtEl>
                                      </p:cBhvr>
                                    </p:animEffect>
                                  </p:childTnLst>
                                </p:cTn>
                              </p:par>
                              <p:par>
                                <p:cTn id="179" presetID="10" presetClass="entr" presetSubtype="0" fill="hold" grpId="2" nodeType="withEffect">
                                  <p:stCondLst>
                                    <p:cond delay="1100"/>
                                  </p:stCondLst>
                                  <p:childTnLst>
                                    <p:set>
                                      <p:cBhvr>
                                        <p:cTn id="180" dur="1" fill="hold">
                                          <p:stCondLst>
                                            <p:cond delay="0"/>
                                          </p:stCondLst>
                                        </p:cTn>
                                        <p:tgtEl>
                                          <p:spTgt spid="149"/>
                                        </p:tgtEl>
                                        <p:attrNameLst>
                                          <p:attrName>style.visibility</p:attrName>
                                        </p:attrNameLst>
                                      </p:cBhvr>
                                      <p:to>
                                        <p:strVal val="visible"/>
                                      </p:to>
                                    </p:set>
                                    <p:animEffect transition="in" filter="fade">
                                      <p:cBhvr>
                                        <p:cTn id="181" dur="150"/>
                                        <p:tgtEl>
                                          <p:spTgt spid="149"/>
                                        </p:tgtEl>
                                      </p:cBhvr>
                                    </p:animEffect>
                                  </p:childTnLst>
                                </p:cTn>
                              </p:par>
                              <p:par>
                                <p:cTn id="182" presetID="10" presetClass="exit" presetSubtype="0" fill="hold" grpId="4" nodeType="withEffect">
                                  <p:stCondLst>
                                    <p:cond delay="1100"/>
                                  </p:stCondLst>
                                  <p:childTnLst>
                                    <p:animEffect transition="out" filter="fade">
                                      <p:cBhvr>
                                        <p:cTn id="183" dur="150"/>
                                        <p:tgtEl>
                                          <p:spTgt spid="148"/>
                                        </p:tgtEl>
                                      </p:cBhvr>
                                    </p:animEffect>
                                    <p:set>
                                      <p:cBhvr>
                                        <p:cTn id="184" dur="1" fill="hold">
                                          <p:stCondLst>
                                            <p:cond delay="149"/>
                                          </p:stCondLst>
                                        </p:cTn>
                                        <p:tgtEl>
                                          <p:spTgt spid="148"/>
                                        </p:tgtEl>
                                        <p:attrNameLst>
                                          <p:attrName>style.visibility</p:attrName>
                                        </p:attrNameLst>
                                      </p:cBhvr>
                                      <p:to>
                                        <p:strVal val="hidden"/>
                                      </p:to>
                                    </p:set>
                                  </p:childTnLst>
                                </p:cTn>
                              </p:par>
                              <p:par>
                                <p:cTn id="185" presetID="42" presetClass="path" presetSubtype="0" accel="50000" decel="50000" fill="hold" grpId="0" nodeType="withEffect">
                                  <p:stCondLst>
                                    <p:cond delay="1100"/>
                                  </p:stCondLst>
                                  <p:childTnLst>
                                    <p:animMotion origin="layout" path="M 1.04167E-6 -2.59259E-6 L -0.00026 0.10047 " pathEditMode="relative" rAng="0" ptsTypes="AA">
                                      <p:cBhvr>
                                        <p:cTn id="186" dur="150" fill="hold"/>
                                        <p:tgtEl>
                                          <p:spTgt spid="145"/>
                                        </p:tgtEl>
                                        <p:attrNameLst>
                                          <p:attrName>ppt_x</p:attrName>
                                          <p:attrName>ppt_y</p:attrName>
                                        </p:attrNameLst>
                                      </p:cBhvr>
                                      <p:rCtr x="-13" y="5023"/>
                                    </p:animMotion>
                                  </p:childTnLst>
                                </p:cTn>
                              </p:par>
                              <p:par>
                                <p:cTn id="187" presetID="22" presetClass="exit" presetSubtype="1" fill="hold" grpId="4" nodeType="withEffect">
                                  <p:stCondLst>
                                    <p:cond delay="1100"/>
                                  </p:stCondLst>
                                  <p:childTnLst>
                                    <p:animEffect transition="out" filter="wipe(up)">
                                      <p:cBhvr>
                                        <p:cTn id="188" dur="150"/>
                                        <p:tgtEl>
                                          <p:spTgt spid="173"/>
                                        </p:tgtEl>
                                      </p:cBhvr>
                                    </p:animEffect>
                                    <p:set>
                                      <p:cBhvr>
                                        <p:cTn id="189" dur="1" fill="hold">
                                          <p:stCondLst>
                                            <p:cond delay="149"/>
                                          </p:stCondLst>
                                        </p:cTn>
                                        <p:tgtEl>
                                          <p:spTgt spid="173"/>
                                        </p:tgtEl>
                                        <p:attrNameLst>
                                          <p:attrName>style.visibility</p:attrName>
                                        </p:attrNameLst>
                                      </p:cBhvr>
                                      <p:to>
                                        <p:strVal val="hidden"/>
                                      </p:to>
                                    </p:set>
                                  </p:childTnLst>
                                </p:cTn>
                              </p:par>
                              <p:par>
                                <p:cTn id="190" presetID="22" presetClass="exit" presetSubtype="1" fill="hold" grpId="2" nodeType="withEffect">
                                  <p:stCondLst>
                                    <p:cond delay="1100"/>
                                  </p:stCondLst>
                                  <p:childTnLst>
                                    <p:animEffect transition="out" filter="wipe(up)">
                                      <p:cBhvr>
                                        <p:cTn id="191" dur="150"/>
                                        <p:tgtEl>
                                          <p:spTgt spid="171"/>
                                        </p:tgtEl>
                                      </p:cBhvr>
                                    </p:animEffect>
                                    <p:set>
                                      <p:cBhvr>
                                        <p:cTn id="192" dur="1" fill="hold">
                                          <p:stCondLst>
                                            <p:cond delay="149"/>
                                          </p:stCondLst>
                                        </p:cTn>
                                        <p:tgtEl>
                                          <p:spTgt spid="171"/>
                                        </p:tgtEl>
                                        <p:attrNameLst>
                                          <p:attrName>style.visibility</p:attrName>
                                        </p:attrNameLst>
                                      </p:cBhvr>
                                      <p:to>
                                        <p:strVal val="hidden"/>
                                      </p:to>
                                    </p:set>
                                  </p:childTnLst>
                                </p:cTn>
                              </p:par>
                              <p:par>
                                <p:cTn id="193" presetID="22" presetClass="exit" presetSubtype="1" fill="hold" grpId="2" nodeType="withEffect">
                                  <p:stCondLst>
                                    <p:cond delay="1100"/>
                                  </p:stCondLst>
                                  <p:childTnLst>
                                    <p:animEffect transition="out" filter="wipe(up)">
                                      <p:cBhvr>
                                        <p:cTn id="194" dur="150"/>
                                        <p:tgtEl>
                                          <p:spTgt spid="174"/>
                                        </p:tgtEl>
                                      </p:cBhvr>
                                    </p:animEffect>
                                    <p:set>
                                      <p:cBhvr>
                                        <p:cTn id="195" dur="1" fill="hold">
                                          <p:stCondLst>
                                            <p:cond delay="149"/>
                                          </p:stCondLst>
                                        </p:cTn>
                                        <p:tgtEl>
                                          <p:spTgt spid="174"/>
                                        </p:tgtEl>
                                        <p:attrNameLst>
                                          <p:attrName>style.visibility</p:attrName>
                                        </p:attrNameLst>
                                      </p:cBhvr>
                                      <p:to>
                                        <p:strVal val="hidden"/>
                                      </p:to>
                                    </p:set>
                                  </p:childTnLst>
                                </p:cTn>
                              </p:par>
                              <p:par>
                                <p:cTn id="196" presetID="12" presetClass="entr" presetSubtype="1" fill="hold" grpId="1" nodeType="withEffect">
                                  <p:stCondLst>
                                    <p:cond delay="1200"/>
                                  </p:stCondLst>
                                  <p:childTnLst>
                                    <p:set>
                                      <p:cBhvr>
                                        <p:cTn id="197" dur="1" fill="hold">
                                          <p:stCondLst>
                                            <p:cond delay="0"/>
                                          </p:stCondLst>
                                        </p:cTn>
                                        <p:tgtEl>
                                          <p:spTgt spid="146"/>
                                        </p:tgtEl>
                                        <p:attrNameLst>
                                          <p:attrName>style.visibility</p:attrName>
                                        </p:attrNameLst>
                                      </p:cBhvr>
                                      <p:to>
                                        <p:strVal val="visible"/>
                                      </p:to>
                                    </p:set>
                                    <p:anim calcmode="lin" valueType="num">
                                      <p:cBhvr additive="base">
                                        <p:cTn id="198" dur="80"/>
                                        <p:tgtEl>
                                          <p:spTgt spid="146"/>
                                        </p:tgtEl>
                                        <p:attrNameLst>
                                          <p:attrName>ppt_y</p:attrName>
                                        </p:attrNameLst>
                                      </p:cBhvr>
                                      <p:tavLst>
                                        <p:tav tm="0">
                                          <p:val>
                                            <p:strVal val="#ppt_y-#ppt_h*1.125000"/>
                                          </p:val>
                                        </p:tav>
                                        <p:tav tm="100000">
                                          <p:val>
                                            <p:strVal val="#ppt_y"/>
                                          </p:val>
                                        </p:tav>
                                      </p:tavLst>
                                    </p:anim>
                                    <p:animEffect transition="in" filter="wipe(down)">
                                      <p:cBhvr>
                                        <p:cTn id="199" dur="80"/>
                                        <p:tgtEl>
                                          <p:spTgt spid="146"/>
                                        </p:tgtEl>
                                      </p:cBhvr>
                                    </p:animEffect>
                                  </p:childTnLst>
                                </p:cTn>
                              </p:par>
                              <p:par>
                                <p:cTn id="200" presetID="10" presetClass="exit" presetSubtype="0" fill="hold" grpId="5" nodeType="withEffect">
                                  <p:stCondLst>
                                    <p:cond delay="1200"/>
                                  </p:stCondLst>
                                  <p:childTnLst>
                                    <p:animEffect transition="out" filter="fade">
                                      <p:cBhvr>
                                        <p:cTn id="201" dur="150"/>
                                        <p:tgtEl>
                                          <p:spTgt spid="149"/>
                                        </p:tgtEl>
                                      </p:cBhvr>
                                    </p:animEffect>
                                    <p:set>
                                      <p:cBhvr>
                                        <p:cTn id="202" dur="1" fill="hold">
                                          <p:stCondLst>
                                            <p:cond delay="149"/>
                                          </p:stCondLst>
                                        </p:cTn>
                                        <p:tgtEl>
                                          <p:spTgt spid="149"/>
                                        </p:tgtEl>
                                        <p:attrNameLst>
                                          <p:attrName>style.visibility</p:attrName>
                                        </p:attrNameLst>
                                      </p:cBhvr>
                                      <p:to>
                                        <p:strVal val="hidden"/>
                                      </p:to>
                                    </p:set>
                                  </p:childTnLst>
                                </p:cTn>
                              </p:par>
                              <p:par>
                                <p:cTn id="203" presetID="10" presetClass="entr" presetSubtype="0" fill="hold" grpId="2" nodeType="withEffect">
                                  <p:stCondLst>
                                    <p:cond delay="1200"/>
                                  </p:stCondLst>
                                  <p:childTnLst>
                                    <p:set>
                                      <p:cBhvr>
                                        <p:cTn id="204" dur="1" fill="hold">
                                          <p:stCondLst>
                                            <p:cond delay="0"/>
                                          </p:stCondLst>
                                        </p:cTn>
                                        <p:tgtEl>
                                          <p:spTgt spid="150"/>
                                        </p:tgtEl>
                                        <p:attrNameLst>
                                          <p:attrName>style.visibility</p:attrName>
                                        </p:attrNameLst>
                                      </p:cBhvr>
                                      <p:to>
                                        <p:strVal val="visible"/>
                                      </p:to>
                                    </p:set>
                                    <p:animEffect transition="in" filter="fade">
                                      <p:cBhvr>
                                        <p:cTn id="205" dur="150"/>
                                        <p:tgtEl>
                                          <p:spTgt spid="150"/>
                                        </p:tgtEl>
                                      </p:cBhvr>
                                    </p:animEffect>
                                  </p:childTnLst>
                                </p:cTn>
                              </p:par>
                              <p:par>
                                <p:cTn id="206" presetID="42" presetClass="path" presetSubtype="0" accel="50000" decel="50000" fill="hold" grpId="0" nodeType="withEffect">
                                  <p:stCondLst>
                                    <p:cond delay="1200"/>
                                  </p:stCondLst>
                                  <p:childTnLst>
                                    <p:animMotion origin="layout" path="M 1.04167E-6 -2.59259E-6 L -0.00013 0.20139 " pathEditMode="relative" rAng="0" ptsTypes="AA">
                                      <p:cBhvr>
                                        <p:cTn id="207" dur="150" fill="hold"/>
                                        <p:tgtEl>
                                          <p:spTgt spid="146"/>
                                        </p:tgtEl>
                                        <p:attrNameLst>
                                          <p:attrName>ppt_x</p:attrName>
                                          <p:attrName>ppt_y</p:attrName>
                                        </p:attrNameLst>
                                      </p:cBhvr>
                                      <p:rCtr x="-13" y="10069"/>
                                    </p:animMotion>
                                  </p:childTnLst>
                                </p:cTn>
                              </p:par>
                              <p:par>
                                <p:cTn id="208" presetID="22" presetClass="entr" presetSubtype="4" fill="hold" grpId="3" nodeType="withEffect">
                                  <p:stCondLst>
                                    <p:cond delay="1250"/>
                                  </p:stCondLst>
                                  <p:childTnLst>
                                    <p:set>
                                      <p:cBhvr>
                                        <p:cTn id="209" dur="1" fill="hold">
                                          <p:stCondLst>
                                            <p:cond delay="0"/>
                                          </p:stCondLst>
                                        </p:cTn>
                                        <p:tgtEl>
                                          <p:spTgt spid="174"/>
                                        </p:tgtEl>
                                        <p:attrNameLst>
                                          <p:attrName>style.visibility</p:attrName>
                                        </p:attrNameLst>
                                      </p:cBhvr>
                                      <p:to>
                                        <p:strVal val="visible"/>
                                      </p:to>
                                    </p:set>
                                    <p:animEffect transition="in" filter="wipe(down)">
                                      <p:cBhvr>
                                        <p:cTn id="210" dur="150"/>
                                        <p:tgtEl>
                                          <p:spTgt spid="174"/>
                                        </p:tgtEl>
                                      </p:cBhvr>
                                    </p:animEffect>
                                  </p:childTnLst>
                                </p:cTn>
                              </p:par>
                              <p:par>
                                <p:cTn id="211" presetID="12" presetClass="entr" presetSubtype="8" fill="hold" grpId="0" nodeType="withEffect">
                                  <p:stCondLst>
                                    <p:cond delay="1300"/>
                                  </p:stCondLst>
                                  <p:childTnLst>
                                    <p:set>
                                      <p:cBhvr>
                                        <p:cTn id="212" dur="1" fill="hold">
                                          <p:stCondLst>
                                            <p:cond delay="0"/>
                                          </p:stCondLst>
                                        </p:cTn>
                                        <p:tgtEl>
                                          <p:spTgt spid="144"/>
                                        </p:tgtEl>
                                        <p:attrNameLst>
                                          <p:attrName>style.visibility</p:attrName>
                                        </p:attrNameLst>
                                      </p:cBhvr>
                                      <p:to>
                                        <p:strVal val="visible"/>
                                      </p:to>
                                    </p:set>
                                    <p:anim calcmode="lin" valueType="num">
                                      <p:cBhvr additive="base">
                                        <p:cTn id="213" dur="80"/>
                                        <p:tgtEl>
                                          <p:spTgt spid="144"/>
                                        </p:tgtEl>
                                        <p:attrNameLst>
                                          <p:attrName>ppt_x</p:attrName>
                                        </p:attrNameLst>
                                      </p:cBhvr>
                                      <p:tavLst>
                                        <p:tav tm="0">
                                          <p:val>
                                            <p:strVal val="#ppt_x-#ppt_w*1.125000"/>
                                          </p:val>
                                        </p:tav>
                                        <p:tav tm="100000">
                                          <p:val>
                                            <p:strVal val="#ppt_x"/>
                                          </p:val>
                                        </p:tav>
                                      </p:tavLst>
                                    </p:anim>
                                    <p:animEffect transition="in" filter="wipe(right)">
                                      <p:cBhvr>
                                        <p:cTn id="214" dur="80"/>
                                        <p:tgtEl>
                                          <p:spTgt spid="144"/>
                                        </p:tgtEl>
                                      </p:cBhvr>
                                    </p:animEffect>
                                  </p:childTnLst>
                                </p:cTn>
                              </p:par>
                              <p:par>
                                <p:cTn id="215" presetID="10" presetClass="exit" presetSubtype="0" fill="hold" grpId="4" nodeType="withEffect">
                                  <p:stCondLst>
                                    <p:cond delay="1300"/>
                                  </p:stCondLst>
                                  <p:childTnLst>
                                    <p:animEffect transition="out" filter="fade">
                                      <p:cBhvr>
                                        <p:cTn id="216" dur="150"/>
                                        <p:tgtEl>
                                          <p:spTgt spid="150"/>
                                        </p:tgtEl>
                                      </p:cBhvr>
                                    </p:animEffect>
                                    <p:set>
                                      <p:cBhvr>
                                        <p:cTn id="217" dur="1" fill="hold">
                                          <p:stCondLst>
                                            <p:cond delay="149"/>
                                          </p:stCondLst>
                                        </p:cTn>
                                        <p:tgtEl>
                                          <p:spTgt spid="150"/>
                                        </p:tgtEl>
                                        <p:attrNameLst>
                                          <p:attrName>style.visibility</p:attrName>
                                        </p:attrNameLst>
                                      </p:cBhvr>
                                      <p:to>
                                        <p:strVal val="hidden"/>
                                      </p:to>
                                    </p:set>
                                  </p:childTnLst>
                                </p:cTn>
                              </p:par>
                              <p:par>
                                <p:cTn id="218" presetID="10" presetClass="entr" presetSubtype="0" fill="hold" grpId="1" nodeType="withEffect">
                                  <p:stCondLst>
                                    <p:cond delay="1400"/>
                                  </p:stCondLst>
                                  <p:childTnLst>
                                    <p:set>
                                      <p:cBhvr>
                                        <p:cTn id="219" dur="1" fill="hold">
                                          <p:stCondLst>
                                            <p:cond delay="0"/>
                                          </p:stCondLst>
                                        </p:cTn>
                                        <p:tgtEl>
                                          <p:spTgt spid="148"/>
                                        </p:tgtEl>
                                        <p:attrNameLst>
                                          <p:attrName>style.visibility</p:attrName>
                                        </p:attrNameLst>
                                      </p:cBhvr>
                                      <p:to>
                                        <p:strVal val="visible"/>
                                      </p:to>
                                    </p:set>
                                    <p:animEffect transition="in" filter="fade">
                                      <p:cBhvr>
                                        <p:cTn id="220" dur="150"/>
                                        <p:tgtEl>
                                          <p:spTgt spid="148"/>
                                        </p:tgtEl>
                                      </p:cBhvr>
                                    </p:animEffect>
                                  </p:childTnLst>
                                </p:cTn>
                              </p:par>
                              <p:par>
                                <p:cTn id="221" presetID="0" presetClass="path" presetSubtype="0" accel="3226" decel="3226" fill="hold" grpId="0" nodeType="withEffect">
                                  <p:stCondLst>
                                    <p:cond delay="0"/>
                                  </p:stCondLst>
                                  <p:childTnLst>
                                    <p:animMotion origin="layout" path="M -0.00013 0.00046 L -0.05299 0.00046 L -0.02656 0.00046 L -0.07904 0.00046 L 0.01328 0.00046 " pathEditMode="relative" ptsTypes="AAAAA">
                                      <p:cBhvr>
                                        <p:cTn id="222" dur="1550" fill="hold"/>
                                        <p:tgtEl>
                                          <p:spTgt spid="124"/>
                                        </p:tgtEl>
                                        <p:attrNameLst>
                                          <p:attrName>ppt_x</p:attrName>
                                          <p:attrName>ppt_y</p:attrName>
                                        </p:attrNameLst>
                                      </p:cBhvr>
                                    </p:animMotion>
                                  </p:childTnLst>
                                </p:cTn>
                              </p:par>
                              <p:par>
                                <p:cTn id="223" presetID="0" presetClass="path" presetSubtype="0" accel="3226" decel="3226" fill="hold" grpId="0" nodeType="withEffect">
                                  <p:stCondLst>
                                    <p:cond delay="0"/>
                                  </p:stCondLst>
                                  <p:childTnLst>
                                    <p:animMotion origin="layout" path="M -1.25E-6 0.00047 L -0.06601 0.00047 L -0.0263 0.00047 L -0.10573 0.00047 L -0.03945 0.00047 L -0.06601 0.00047 " pathEditMode="relative" ptsTypes="AAAAAA">
                                      <p:cBhvr>
                                        <p:cTn id="224" dur="1550" fill="hold"/>
                                        <p:tgtEl>
                                          <p:spTgt spid="125"/>
                                        </p:tgtEl>
                                        <p:attrNameLst>
                                          <p:attrName>ppt_x</p:attrName>
                                          <p:attrName>ppt_y</p:attrName>
                                        </p:attrNameLst>
                                      </p:cBhvr>
                                    </p:animMotion>
                                  </p:childTnLst>
                                </p:cTn>
                              </p:par>
                              <p:par>
                                <p:cTn id="225" presetID="0" presetClass="path" presetSubtype="0" accel="3226" decel="3226" fill="hold" grpId="0" nodeType="withEffect">
                                  <p:stCondLst>
                                    <p:cond delay="0"/>
                                  </p:stCondLst>
                                  <p:childTnLst>
                                    <p:animMotion origin="layout" path="M 3.125E-6 0.00046 L -0.02657 0.00046 L 0.0401 0.00046 L 0.01341 0.00046 L 0.05299 0.00046 L -0.01328 0.00046 " pathEditMode="relative" ptsTypes="AAAAAA">
                                      <p:cBhvr>
                                        <p:cTn id="226" dur="1550" fill="hold"/>
                                        <p:tgtEl>
                                          <p:spTgt spid="111"/>
                                        </p:tgtEl>
                                        <p:attrNameLst>
                                          <p:attrName>ppt_x</p:attrName>
                                          <p:attrName>ppt_y</p:attrName>
                                        </p:attrNameLst>
                                      </p:cBhvr>
                                    </p:animMotion>
                                  </p:childTnLst>
                                </p:cTn>
                              </p:par>
                              <p:par>
                                <p:cTn id="227" presetID="0" presetClass="path" presetSubtype="0" accel="3226" decel="3226" fill="hold" grpId="0" nodeType="withEffect">
                                  <p:stCondLst>
                                    <p:cond delay="0"/>
                                  </p:stCondLst>
                                  <p:childTnLst>
                                    <p:animMotion origin="layout" path="M 5E-6 0.00092 L 0.01355 0.00092 L -0.02578 0.00092 L 0.03985 0.00092 L 0.0668 0.00092 L 0.05313 0.00092 " pathEditMode="relative" ptsTypes="AAAAAA">
                                      <p:cBhvr>
                                        <p:cTn id="228" dur="1550" fill="hold"/>
                                        <p:tgtEl>
                                          <p:spTgt spid="98"/>
                                        </p:tgtEl>
                                        <p:attrNameLst>
                                          <p:attrName>ppt_x</p:attrName>
                                          <p:attrName>ppt_y</p:attrName>
                                        </p:attrNameLst>
                                      </p:cBhvr>
                                    </p:animMotion>
                                  </p:childTnLst>
                                </p:cTn>
                              </p:par>
                              <p:par>
                                <p:cTn id="229" presetID="0" presetClass="path" presetSubtype="0" accel="3226" decel="3226" fill="hold" grpId="0" nodeType="withEffect">
                                  <p:stCondLst>
                                    <p:cond delay="0"/>
                                  </p:stCondLst>
                                  <p:childTnLst>
                                    <p:animMotion origin="layout" path="M -0.00013 0.00047 L 0.0263 0.00047 L -0.01289 0.00047 L 0.03997 0.00047 L -0.05274 0.00047 L -0.02682 0.00047 " pathEditMode="relative" ptsTypes="AAAAAA">
                                      <p:cBhvr>
                                        <p:cTn id="230" dur="1550" fill="hold"/>
                                        <p:tgtEl>
                                          <p:spTgt spid="120"/>
                                        </p:tgtEl>
                                        <p:attrNameLst>
                                          <p:attrName>ppt_x</p:attrName>
                                          <p:attrName>ppt_y</p:attrName>
                                        </p:attrNameLst>
                                      </p:cBhvr>
                                    </p:animMotion>
                                  </p:childTnLst>
                                </p:cTn>
                              </p:par>
                            </p:childTnLst>
                          </p:cTn>
                        </p:par>
                        <p:par>
                          <p:cTn id="231" fill="hold">
                            <p:stCondLst>
                              <p:cond delay="1550"/>
                            </p:stCondLst>
                            <p:childTnLst>
                              <p:par>
                                <p:cTn id="232" presetID="1" presetClass="emph" presetSubtype="2" fill="hold" nodeType="afterEffect">
                                  <p:stCondLst>
                                    <p:cond delay="500"/>
                                  </p:stCondLst>
                                  <p:childTnLst>
                                    <p:animClr clrSpc="rgb" dir="cw">
                                      <p:cBhvr>
                                        <p:cTn id="233" dur="500" fill="hold"/>
                                        <p:tgtEl>
                                          <p:spTgt spid="139"/>
                                        </p:tgtEl>
                                        <p:attrNameLst>
                                          <p:attrName>fillcolor</p:attrName>
                                        </p:attrNameLst>
                                      </p:cBhvr>
                                      <p:to>
                                        <a:srgbClr val="50E6FF"/>
                                      </p:to>
                                    </p:animClr>
                                    <p:set>
                                      <p:cBhvr>
                                        <p:cTn id="234" dur="500" fill="hold"/>
                                        <p:tgtEl>
                                          <p:spTgt spid="139"/>
                                        </p:tgtEl>
                                        <p:attrNameLst>
                                          <p:attrName>fill.type</p:attrName>
                                        </p:attrNameLst>
                                      </p:cBhvr>
                                      <p:to>
                                        <p:strVal val="solid"/>
                                      </p:to>
                                    </p:set>
                                    <p:set>
                                      <p:cBhvr>
                                        <p:cTn id="235" dur="500" fill="hold"/>
                                        <p:tgtEl>
                                          <p:spTgt spid="139"/>
                                        </p:tgtEl>
                                        <p:attrNameLst>
                                          <p:attrName>fill.on</p:attrName>
                                        </p:attrNameLst>
                                      </p:cBhvr>
                                      <p:to>
                                        <p:strVal val="true"/>
                                      </p:to>
                                    </p:set>
                                  </p:childTnLst>
                                </p:cTn>
                              </p:par>
                              <p:par>
                                <p:cTn id="236" presetID="3" presetClass="emph" presetSubtype="2" fill="hold" grpId="2" nodeType="withEffect">
                                  <p:stCondLst>
                                    <p:cond delay="500"/>
                                  </p:stCondLst>
                                  <p:childTnLst>
                                    <p:animClr clrSpc="rgb" dir="cw">
                                      <p:cBhvr override="childStyle">
                                        <p:cTn id="237" dur="500" fill="hold"/>
                                        <p:tgtEl>
                                          <p:spTgt spid="139"/>
                                        </p:tgtEl>
                                        <p:attrNameLst>
                                          <p:attrName>style.color</p:attrName>
                                        </p:attrNameLst>
                                      </p:cBhvr>
                                      <p:to>
                                        <a:srgbClr val="0000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6" grpId="1" animBg="1"/>
      <p:bldP spid="136" grpId="2" animBg="1"/>
      <p:bldP spid="147" grpId="0" animBg="1"/>
      <p:bldP spid="147" grpId="1" animBg="1"/>
      <p:bldP spid="147" grpId="2" animBg="1"/>
      <p:bldP spid="147" grpId="3" animBg="1"/>
      <p:bldP spid="147" grpId="4" animBg="1"/>
      <p:bldP spid="147" grpId="5" animBg="1"/>
      <p:bldP spid="148" grpId="0" animBg="1"/>
      <p:bldP spid="148" grpId="1" animBg="1"/>
      <p:bldP spid="148" grpId="2" animBg="1"/>
      <p:bldP spid="148" grpId="3" animBg="1"/>
      <p:bldP spid="148" grpId="4" animBg="1"/>
      <p:bldP spid="149" grpId="0" animBg="1"/>
      <p:bldP spid="149" grpId="1" animBg="1"/>
      <p:bldP spid="149" grpId="2" animBg="1"/>
      <p:bldP spid="149" grpId="3" animBg="1"/>
      <p:bldP spid="149" grpId="4" animBg="1"/>
      <p:bldP spid="149" grpId="5" animBg="1"/>
      <p:bldP spid="150" grpId="0" animBg="1"/>
      <p:bldP spid="150" grpId="1" animBg="1"/>
      <p:bldP spid="150" grpId="2" animBg="1"/>
      <p:bldP spid="150" grpId="3" animBg="1"/>
      <p:bldP spid="150" grpId="4" animBg="1"/>
      <p:bldP spid="150" grpId="5" animBg="1"/>
      <p:bldP spid="80" grpId="0" animBg="1"/>
      <p:bldP spid="90" grpId="0" animBg="1"/>
      <p:bldP spid="90" grpId="1" animBg="1"/>
      <p:bldP spid="91" grpId="0" animBg="1"/>
      <p:bldP spid="91" grpId="1" animBg="1"/>
      <p:bldP spid="123" grpId="0" animBg="1"/>
      <p:bldP spid="123" grpId="1" animBg="1"/>
      <p:bldP spid="137" grpId="0" animBg="1"/>
      <p:bldP spid="137" grpId="1" animBg="1"/>
      <p:bldP spid="138" grpId="0" animBg="1"/>
      <p:bldP spid="138" grpId="1" animBg="1"/>
      <p:bldP spid="139" grpId="0" animBg="1"/>
      <p:bldP spid="139" grpId="1" animBg="1"/>
      <p:bldP spid="139" grpId="2" animBg="1"/>
      <p:bldP spid="140" grpId="0" animBg="1"/>
      <p:bldP spid="140" grpId="1" animBg="1"/>
      <p:bldP spid="141" grpId="0" animBg="1"/>
      <p:bldP spid="141" grpId="1" animBg="1"/>
      <p:bldP spid="142" grpId="0" animBg="1"/>
      <p:bldP spid="142" grpId="1" animBg="1"/>
      <p:bldP spid="143" grpId="0" animBg="1"/>
      <p:bldP spid="143" grpId="1" animBg="1"/>
      <p:bldP spid="144" grpId="0" animBg="1"/>
      <p:bldP spid="145" grpId="0" animBg="1"/>
      <p:bldP spid="145" grpId="1" animBg="1"/>
      <p:bldP spid="146" grpId="0" animBg="1"/>
      <p:bldP spid="146" grpId="1" animBg="1"/>
      <p:bldP spid="98" grpId="0" animBg="1"/>
      <p:bldP spid="111" grpId="0" animBg="1"/>
      <p:bldP spid="124" grpId="0" animBg="1"/>
      <p:bldP spid="125" grpId="0" animBg="1"/>
      <p:bldP spid="164" grpId="0" animBg="1"/>
      <p:bldP spid="164" grpId="1" animBg="1"/>
      <p:bldP spid="164" grpId="2" animBg="1"/>
      <p:bldP spid="164" grpId="3" animBg="1"/>
      <p:bldP spid="164" grpId="4" animBg="1"/>
      <p:bldP spid="171" grpId="0" animBg="1"/>
      <p:bldP spid="171" grpId="1" animBg="1"/>
      <p:bldP spid="171" grpId="2" animBg="1"/>
      <p:bldP spid="173" grpId="0" animBg="1"/>
      <p:bldP spid="173" grpId="1" animBg="1"/>
      <p:bldP spid="173" grpId="2" animBg="1"/>
      <p:bldP spid="173" grpId="3" animBg="1"/>
      <p:bldP spid="173" grpId="4" animBg="1"/>
      <p:bldP spid="174" grpId="0" animBg="1"/>
      <p:bldP spid="174" grpId="1" animBg="1"/>
      <p:bldP spid="174" grpId="2" animBg="1"/>
      <p:bldP spid="174" grpId="3" animBg="1"/>
      <p:bldP spid="175" grpId="0" animBg="1"/>
      <p:bldP spid="175" grpId="1" animBg="1"/>
      <p:bldP spid="175" grpId="2" animBg="1"/>
      <p:bldP spid="120"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C4C1EBAD-99B4-4706-8B9B-A388FD36E136}"/>
              </a:ext>
            </a:extLst>
          </p:cNvPr>
          <p:cNvSpPr/>
          <p:nvPr/>
        </p:nvSpPr>
        <p:spPr bwMode="auto">
          <a:xfrm>
            <a:off x="9954125" y="3698684"/>
            <a:ext cx="627901" cy="2397758"/>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6850986F-25EF-462E-AFE9-B47AC9F7A7CB}"/>
              </a:ext>
            </a:extLst>
          </p:cNvPr>
          <p:cNvGrpSpPr/>
          <p:nvPr/>
        </p:nvGrpSpPr>
        <p:grpSpPr>
          <a:xfrm>
            <a:off x="3463387" y="2889406"/>
            <a:ext cx="4654028" cy="3207380"/>
            <a:chOff x="3768656" y="2736507"/>
            <a:chExt cx="4654688" cy="3207835"/>
          </a:xfrm>
        </p:grpSpPr>
        <p:sp>
          <p:nvSpPr>
            <p:cNvPr id="54" name="Rectangle 53">
              <a:extLst>
                <a:ext uri="{FF2B5EF4-FFF2-40B4-BE49-F238E27FC236}">
                  <a16:creationId xmlns:a16="http://schemas.microsoft.com/office/drawing/2014/main" id="{2F280D36-48C5-447B-B202-4C95CFA079B5}"/>
                </a:ext>
              </a:extLst>
            </p:cNvPr>
            <p:cNvSpPr/>
            <p:nvPr/>
          </p:nvSpPr>
          <p:spPr bwMode="auto">
            <a:xfrm>
              <a:off x="7638318"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911B5D77-C0C2-4145-BD1A-23C098262C5A}"/>
                </a:ext>
              </a:extLst>
            </p:cNvPr>
            <p:cNvSpPr/>
            <p:nvPr/>
          </p:nvSpPr>
          <p:spPr bwMode="auto">
            <a:xfrm>
              <a:off x="3768656"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46F07090-D3E6-4F22-840A-A1A7876F0CB0}"/>
                </a:ext>
              </a:extLst>
            </p:cNvPr>
            <p:cNvSpPr/>
            <p:nvPr/>
          </p:nvSpPr>
          <p:spPr bwMode="auto">
            <a:xfrm>
              <a:off x="3768656"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151BDBBC-CBDB-454C-86CB-D40DD7A8FCAE}"/>
                </a:ext>
              </a:extLst>
            </p:cNvPr>
            <p:cNvSpPr/>
            <p:nvPr/>
          </p:nvSpPr>
          <p:spPr bwMode="auto">
            <a:xfrm>
              <a:off x="3768656"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729D55AD-1FD2-44DE-A533-2064B590377F}"/>
                </a:ext>
              </a:extLst>
            </p:cNvPr>
            <p:cNvSpPr/>
            <p:nvPr/>
          </p:nvSpPr>
          <p:spPr bwMode="auto">
            <a:xfrm>
              <a:off x="3768656"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46646093-E38D-416A-A6FB-7A79E33EF466}"/>
                </a:ext>
              </a:extLst>
            </p:cNvPr>
            <p:cNvSpPr/>
            <p:nvPr/>
          </p:nvSpPr>
          <p:spPr bwMode="auto">
            <a:xfrm>
              <a:off x="3768656"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2AD37EB6-3E23-4256-AC82-87CD99253BA7}"/>
                </a:ext>
              </a:extLst>
            </p:cNvPr>
            <p:cNvSpPr/>
            <p:nvPr/>
          </p:nvSpPr>
          <p:spPr bwMode="auto">
            <a:xfrm>
              <a:off x="4736071"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51E1F55E-0711-4784-B8DB-762D99B7512C}"/>
                </a:ext>
              </a:extLst>
            </p:cNvPr>
            <p:cNvSpPr/>
            <p:nvPr/>
          </p:nvSpPr>
          <p:spPr bwMode="auto">
            <a:xfrm>
              <a:off x="4736071"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216754CB-9E46-4C69-9476-B1D1F92DEC53}"/>
                </a:ext>
              </a:extLst>
            </p:cNvPr>
            <p:cNvSpPr/>
            <p:nvPr/>
          </p:nvSpPr>
          <p:spPr bwMode="auto">
            <a:xfrm>
              <a:off x="4736071"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83BE506A-5DAA-4185-95F5-34E93169B513}"/>
                </a:ext>
              </a:extLst>
            </p:cNvPr>
            <p:cNvSpPr/>
            <p:nvPr/>
          </p:nvSpPr>
          <p:spPr bwMode="auto">
            <a:xfrm>
              <a:off x="4736071"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FB0E5C7B-D9FC-46F4-9BC4-F675B3D147F1}"/>
                </a:ext>
              </a:extLst>
            </p:cNvPr>
            <p:cNvSpPr/>
            <p:nvPr/>
          </p:nvSpPr>
          <p:spPr bwMode="auto">
            <a:xfrm>
              <a:off x="4736071"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122F9112-C498-41E6-B942-83CE8CDB695B}"/>
                </a:ext>
              </a:extLst>
            </p:cNvPr>
            <p:cNvSpPr/>
            <p:nvPr/>
          </p:nvSpPr>
          <p:spPr bwMode="auto">
            <a:xfrm>
              <a:off x="5703486"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9284BF3E-7D38-4F0E-8CE7-187DB72A64A6}"/>
                </a:ext>
              </a:extLst>
            </p:cNvPr>
            <p:cNvSpPr/>
            <p:nvPr/>
          </p:nvSpPr>
          <p:spPr bwMode="auto">
            <a:xfrm>
              <a:off x="5703486"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33CA47B7-CC0F-4BC6-B542-2B5E008C7CDD}"/>
                </a:ext>
              </a:extLst>
            </p:cNvPr>
            <p:cNvSpPr/>
            <p:nvPr/>
          </p:nvSpPr>
          <p:spPr bwMode="auto">
            <a:xfrm>
              <a:off x="5703486"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9D39ECB3-6E34-4CC1-BA3B-3381CCD0D7B2}"/>
                </a:ext>
              </a:extLst>
            </p:cNvPr>
            <p:cNvSpPr/>
            <p:nvPr/>
          </p:nvSpPr>
          <p:spPr bwMode="auto">
            <a:xfrm>
              <a:off x="5703486"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577A7A81-C685-4E8A-ACC7-BB0CCB1B8BC8}"/>
                </a:ext>
              </a:extLst>
            </p:cNvPr>
            <p:cNvSpPr/>
            <p:nvPr/>
          </p:nvSpPr>
          <p:spPr bwMode="auto">
            <a:xfrm>
              <a:off x="5703486"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85AB8895-B7EE-4D06-85DD-C090D731E57B}"/>
                </a:ext>
              </a:extLst>
            </p:cNvPr>
            <p:cNvSpPr/>
            <p:nvPr/>
          </p:nvSpPr>
          <p:spPr bwMode="auto">
            <a:xfrm>
              <a:off x="6670901"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F8C7BCEA-2BBE-4C8C-AB56-2ED6CAE5D49D}"/>
                </a:ext>
              </a:extLst>
            </p:cNvPr>
            <p:cNvSpPr/>
            <p:nvPr/>
          </p:nvSpPr>
          <p:spPr bwMode="auto">
            <a:xfrm>
              <a:off x="6670901"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3F7D14D3-6831-4949-9821-E1AECEEFC079}"/>
                </a:ext>
              </a:extLst>
            </p:cNvPr>
            <p:cNvSpPr/>
            <p:nvPr/>
          </p:nvSpPr>
          <p:spPr bwMode="auto">
            <a:xfrm>
              <a:off x="6670901" y="4085734"/>
              <a:ext cx="785026" cy="508572"/>
            </a:xfrm>
            <a:prstGeom prst="rect">
              <a:avLst/>
            </a:prstGeom>
            <a:solidFill>
              <a:schemeClr val="bg2"/>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652576AB-3056-454D-9838-42C062584668}"/>
                </a:ext>
              </a:extLst>
            </p:cNvPr>
            <p:cNvSpPr/>
            <p:nvPr/>
          </p:nvSpPr>
          <p:spPr bwMode="auto">
            <a:xfrm>
              <a:off x="6670901"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AFD01C8B-464C-45EE-88E6-3BE6CDBFE865}"/>
                </a:ext>
              </a:extLst>
            </p:cNvPr>
            <p:cNvSpPr/>
            <p:nvPr/>
          </p:nvSpPr>
          <p:spPr bwMode="auto">
            <a:xfrm>
              <a:off x="6670901"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A04224F8-EF3B-4190-9FA6-1AD26DC0CB6C}"/>
                </a:ext>
              </a:extLst>
            </p:cNvPr>
            <p:cNvSpPr/>
            <p:nvPr/>
          </p:nvSpPr>
          <p:spPr bwMode="auto">
            <a:xfrm>
              <a:off x="7638318"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69DD1ED9-5170-4CD2-A03F-FFE54E0B6EB4}"/>
                </a:ext>
              </a:extLst>
            </p:cNvPr>
            <p:cNvSpPr/>
            <p:nvPr/>
          </p:nvSpPr>
          <p:spPr bwMode="auto">
            <a:xfrm>
              <a:off x="7638318"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958144E3-5EE1-4ACA-857B-25FAB64D3CE8}"/>
                </a:ext>
              </a:extLst>
            </p:cNvPr>
            <p:cNvSpPr/>
            <p:nvPr/>
          </p:nvSpPr>
          <p:spPr bwMode="auto">
            <a:xfrm>
              <a:off x="7638318"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68435E11-A669-4147-9B5B-702060863759}"/>
                </a:ext>
              </a:extLst>
            </p:cNvPr>
            <p:cNvSpPr/>
            <p:nvPr/>
          </p:nvSpPr>
          <p:spPr bwMode="auto">
            <a:xfrm>
              <a:off x="7638318"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2" name="Rectangle 91">
            <a:extLst>
              <a:ext uri="{FF2B5EF4-FFF2-40B4-BE49-F238E27FC236}">
                <a16:creationId xmlns:a16="http://schemas.microsoft.com/office/drawing/2014/main" id="{76F03795-B707-4403-8A51-C424E70CB4DB}"/>
              </a:ext>
            </a:extLst>
          </p:cNvPr>
          <p:cNvSpPr/>
          <p:nvPr/>
        </p:nvSpPr>
        <p:spPr bwMode="auto">
          <a:xfrm>
            <a:off x="7332499" y="5588285"/>
            <a:ext cx="784915" cy="508500"/>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Rectangle 205">
            <a:extLst>
              <a:ext uri="{FF2B5EF4-FFF2-40B4-BE49-F238E27FC236}">
                <a16:creationId xmlns:a16="http://schemas.microsoft.com/office/drawing/2014/main" id="{8D4B9434-C667-4D5C-9D51-409FE8A78B2D}"/>
              </a:ext>
            </a:extLst>
          </p:cNvPr>
          <p:cNvSpPr/>
          <p:nvPr/>
        </p:nvSpPr>
        <p:spPr bwMode="auto">
          <a:xfrm>
            <a:off x="3463386" y="5588285"/>
            <a:ext cx="784915" cy="508500"/>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Rectangle 206">
            <a:extLst>
              <a:ext uri="{FF2B5EF4-FFF2-40B4-BE49-F238E27FC236}">
                <a16:creationId xmlns:a16="http://schemas.microsoft.com/office/drawing/2014/main" id="{87158868-88E1-4F87-9176-674B6F20E510}"/>
              </a:ext>
            </a:extLst>
          </p:cNvPr>
          <p:cNvSpPr/>
          <p:nvPr/>
        </p:nvSpPr>
        <p:spPr bwMode="auto">
          <a:xfrm>
            <a:off x="4430663" y="2889404"/>
            <a:ext cx="784915" cy="508500"/>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Rectangle 207">
            <a:extLst>
              <a:ext uri="{FF2B5EF4-FFF2-40B4-BE49-F238E27FC236}">
                <a16:creationId xmlns:a16="http://schemas.microsoft.com/office/drawing/2014/main" id="{E7D7F2FF-0BE7-4CDA-B98A-490AD764A8AB}"/>
              </a:ext>
            </a:extLst>
          </p:cNvPr>
          <p:cNvSpPr/>
          <p:nvPr/>
        </p:nvSpPr>
        <p:spPr bwMode="auto">
          <a:xfrm>
            <a:off x="4430663" y="4914000"/>
            <a:ext cx="784915" cy="508500"/>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Rectangle 208">
            <a:extLst>
              <a:ext uri="{FF2B5EF4-FFF2-40B4-BE49-F238E27FC236}">
                <a16:creationId xmlns:a16="http://schemas.microsoft.com/office/drawing/2014/main" id="{A01BB4A5-07ED-4097-8C35-52BD90A6CE81}"/>
              </a:ext>
            </a:extLst>
          </p:cNvPr>
          <p:cNvSpPr/>
          <p:nvPr/>
        </p:nvSpPr>
        <p:spPr bwMode="auto">
          <a:xfrm>
            <a:off x="6365219" y="4238440"/>
            <a:ext cx="784915" cy="508500"/>
          </a:xfrm>
          <a:prstGeom prst="rect">
            <a:avLst/>
          </a:prstGeom>
          <a:solidFill>
            <a:srgbClr val="B8D0E2"/>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Rectangle 209">
            <a:extLst>
              <a:ext uri="{FF2B5EF4-FFF2-40B4-BE49-F238E27FC236}">
                <a16:creationId xmlns:a16="http://schemas.microsoft.com/office/drawing/2014/main" id="{170AB3A0-9CA8-4E81-B798-5DA14A42FEDC}"/>
              </a:ext>
            </a:extLst>
          </p:cNvPr>
          <p:cNvSpPr/>
          <p:nvPr/>
        </p:nvSpPr>
        <p:spPr bwMode="auto">
          <a:xfrm>
            <a:off x="7332499" y="3563922"/>
            <a:ext cx="784915" cy="508500"/>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Rectangle 146">
            <a:extLst>
              <a:ext uri="{FF2B5EF4-FFF2-40B4-BE49-F238E27FC236}">
                <a16:creationId xmlns:a16="http://schemas.microsoft.com/office/drawing/2014/main" id="{8802926F-928E-4C99-BCA6-C50A340B4827}"/>
              </a:ext>
            </a:extLst>
          </p:cNvPr>
          <p:cNvSpPr/>
          <p:nvPr/>
        </p:nvSpPr>
        <p:spPr>
          <a:xfrm>
            <a:off x="521474" y="3648099"/>
            <a:ext cx="1595404" cy="3120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13" rtlCol="0" anchor="t">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Enter data</a:t>
            </a:r>
          </a:p>
        </p:txBody>
      </p:sp>
      <p:sp>
        <p:nvSpPr>
          <p:cNvPr id="148" name="Rectangle 147">
            <a:extLst>
              <a:ext uri="{FF2B5EF4-FFF2-40B4-BE49-F238E27FC236}">
                <a16:creationId xmlns:a16="http://schemas.microsoft.com/office/drawing/2014/main" id="{C8B504DD-81B2-4C36-98A7-1A6BE77AB9CC}"/>
              </a:ext>
            </a:extLst>
          </p:cNvPr>
          <p:cNvSpPr/>
          <p:nvPr/>
        </p:nvSpPr>
        <p:spPr>
          <a:xfrm>
            <a:off x="513744" y="4655322"/>
            <a:ext cx="1610864" cy="3120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13"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Define goals</a:t>
            </a:r>
          </a:p>
        </p:txBody>
      </p:sp>
      <p:sp>
        <p:nvSpPr>
          <p:cNvPr id="149" name="Rectangle 148">
            <a:extLst>
              <a:ext uri="{FF2B5EF4-FFF2-40B4-BE49-F238E27FC236}">
                <a16:creationId xmlns:a16="http://schemas.microsoft.com/office/drawing/2014/main" id="{C858710D-2E37-4079-A01B-AC799219DA2A}"/>
              </a:ext>
            </a:extLst>
          </p:cNvPr>
          <p:cNvSpPr/>
          <p:nvPr/>
        </p:nvSpPr>
        <p:spPr>
          <a:xfrm>
            <a:off x="513744" y="5667288"/>
            <a:ext cx="1610864" cy="3068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13"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Apply constraints</a:t>
            </a:r>
          </a:p>
        </p:txBody>
      </p:sp>
      <p:sp>
        <p:nvSpPr>
          <p:cNvPr id="18" name="Rectangle 17">
            <a:extLst>
              <a:ext uri="{FF2B5EF4-FFF2-40B4-BE49-F238E27FC236}">
                <a16:creationId xmlns:a16="http://schemas.microsoft.com/office/drawing/2014/main" id="{E3CB927C-248B-41A1-AFD0-3C4D3735AD94}"/>
              </a:ext>
            </a:extLst>
          </p:cNvPr>
          <p:cNvSpPr/>
          <p:nvPr/>
        </p:nvSpPr>
        <p:spPr bwMode="auto">
          <a:xfrm>
            <a:off x="9119212" y="2084886"/>
            <a:ext cx="2297722" cy="406208"/>
          </a:xfrm>
          <a:prstGeom prst="rect">
            <a:avLst/>
          </a:prstGeom>
          <a:solidFill>
            <a:schemeClr val="bg1"/>
          </a:solidFill>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Output</a:t>
            </a:r>
          </a:p>
        </p:txBody>
      </p:sp>
      <p:sp>
        <p:nvSpPr>
          <p:cNvPr id="64" name="Title 2"/>
          <p:cNvSpPr>
            <a:spLocks noGrp="1"/>
          </p:cNvSpPr>
          <p:nvPr>
            <p:ph type="title"/>
          </p:nvPr>
        </p:nvSpPr>
        <p:spPr/>
        <p:txBody>
          <a:bodyPr/>
          <a:lstStyle/>
          <a:p>
            <a:r>
              <a:rPr lang="en-US" dirty="0"/>
              <a:t>Automated Machine Learning accelerates </a:t>
            </a:r>
            <a:br>
              <a:rPr lang="en-US" dirty="0"/>
            </a:br>
            <a:r>
              <a:rPr lang="en-US" dirty="0"/>
              <a:t>model development </a:t>
            </a:r>
            <a:br>
              <a:rPr lang="en-US" dirty="0"/>
            </a:br>
            <a:endParaRPr lang="en-US" dirty="0"/>
          </a:p>
        </p:txBody>
      </p:sp>
      <p:sp>
        <p:nvSpPr>
          <p:cNvPr id="150" name="Rectangle 149">
            <a:extLst>
              <a:ext uri="{FF2B5EF4-FFF2-40B4-BE49-F238E27FC236}">
                <a16:creationId xmlns:a16="http://schemas.microsoft.com/office/drawing/2014/main" id="{59D6A392-230C-4B26-9F20-B4A0E248B97E}"/>
              </a:ext>
            </a:extLst>
          </p:cNvPr>
          <p:cNvSpPr/>
          <p:nvPr/>
        </p:nvSpPr>
        <p:spPr>
          <a:xfrm>
            <a:off x="166913" y="2088737"/>
            <a:ext cx="2297722" cy="406208"/>
          </a:xfrm>
          <a:prstGeom prst="rect">
            <a:avLst/>
          </a:prstGeom>
          <a:noFill/>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Input</a:t>
            </a:r>
          </a:p>
        </p:txBody>
      </p:sp>
      <p:sp>
        <p:nvSpPr>
          <p:cNvPr id="32" name="Isosceles Triangle 31">
            <a:extLst>
              <a:ext uri="{FF2B5EF4-FFF2-40B4-BE49-F238E27FC236}">
                <a16:creationId xmlns:a16="http://schemas.microsoft.com/office/drawing/2014/main" id="{A8E8B731-2F28-4A34-834B-B2F0FBC2414D}"/>
              </a:ext>
            </a:extLst>
          </p:cNvPr>
          <p:cNvSpPr/>
          <p:nvPr/>
        </p:nvSpPr>
        <p:spPr>
          <a:xfrm rot="5400000">
            <a:off x="1825941" y="4445690"/>
            <a:ext cx="2099680" cy="318046"/>
          </a:xfrm>
          <a:custGeom>
            <a:avLst/>
            <a:gdLst>
              <a:gd name="connsiteX0" fmla="*/ 0 w 3934939"/>
              <a:gd name="connsiteY0" fmla="*/ 384890 h 384890"/>
              <a:gd name="connsiteX1" fmla="*/ 1967470 w 3934939"/>
              <a:gd name="connsiteY1" fmla="*/ 0 h 384890"/>
              <a:gd name="connsiteX2" fmla="*/ 3934939 w 3934939"/>
              <a:gd name="connsiteY2" fmla="*/ 384890 h 384890"/>
              <a:gd name="connsiteX3" fmla="*/ 0 w 3934939"/>
              <a:gd name="connsiteY3" fmla="*/ 384890 h 384890"/>
              <a:gd name="connsiteX0" fmla="*/ 0 w 3934939"/>
              <a:gd name="connsiteY0" fmla="*/ 384890 h 469590"/>
              <a:gd name="connsiteX1" fmla="*/ 1967470 w 3934939"/>
              <a:gd name="connsiteY1" fmla="*/ 0 h 469590"/>
              <a:gd name="connsiteX2" fmla="*/ 3934939 w 3934939"/>
              <a:gd name="connsiteY2" fmla="*/ 384890 h 469590"/>
              <a:gd name="connsiteX3" fmla="*/ 2070893 w 3934939"/>
              <a:gd name="connsiteY3" fmla="*/ 469590 h 469590"/>
              <a:gd name="connsiteX4" fmla="*/ 0 w 3934939"/>
              <a:gd name="connsiteY4" fmla="*/ 384890 h 469590"/>
              <a:gd name="connsiteX0" fmla="*/ 2070893 w 3934939"/>
              <a:gd name="connsiteY0" fmla="*/ 469590 h 561030"/>
              <a:gd name="connsiteX1" fmla="*/ 0 w 3934939"/>
              <a:gd name="connsiteY1" fmla="*/ 384890 h 561030"/>
              <a:gd name="connsiteX2" fmla="*/ 1967470 w 3934939"/>
              <a:gd name="connsiteY2" fmla="*/ 0 h 561030"/>
              <a:gd name="connsiteX3" fmla="*/ 3934939 w 3934939"/>
              <a:gd name="connsiteY3" fmla="*/ 384890 h 561030"/>
              <a:gd name="connsiteX4" fmla="*/ 2162333 w 3934939"/>
              <a:gd name="connsiteY4" fmla="*/ 561030 h 561030"/>
              <a:gd name="connsiteX0" fmla="*/ 0 w 3934939"/>
              <a:gd name="connsiteY0" fmla="*/ 384890 h 561030"/>
              <a:gd name="connsiteX1" fmla="*/ 1967470 w 3934939"/>
              <a:gd name="connsiteY1" fmla="*/ 0 h 561030"/>
              <a:gd name="connsiteX2" fmla="*/ 3934939 w 3934939"/>
              <a:gd name="connsiteY2" fmla="*/ 384890 h 561030"/>
              <a:gd name="connsiteX3" fmla="*/ 2162333 w 3934939"/>
              <a:gd name="connsiteY3" fmla="*/ 561030 h 561030"/>
              <a:gd name="connsiteX0" fmla="*/ 0 w 3934939"/>
              <a:gd name="connsiteY0" fmla="*/ 384890 h 384890"/>
              <a:gd name="connsiteX1" fmla="*/ 1967470 w 3934939"/>
              <a:gd name="connsiteY1" fmla="*/ 0 h 384890"/>
              <a:gd name="connsiteX2" fmla="*/ 3934939 w 3934939"/>
              <a:gd name="connsiteY2" fmla="*/ 384890 h 384890"/>
            </a:gdLst>
            <a:ahLst/>
            <a:cxnLst>
              <a:cxn ang="0">
                <a:pos x="connsiteX0" y="connsiteY0"/>
              </a:cxn>
              <a:cxn ang="0">
                <a:pos x="connsiteX1" y="connsiteY1"/>
              </a:cxn>
              <a:cxn ang="0">
                <a:pos x="connsiteX2" y="connsiteY2"/>
              </a:cxn>
            </a:cxnLst>
            <a:rect l="l" t="t" r="r" b="b"/>
            <a:pathLst>
              <a:path w="3934939" h="384890">
                <a:moveTo>
                  <a:pt x="0" y="384890"/>
                </a:moveTo>
                <a:lnTo>
                  <a:pt x="1967470" y="0"/>
                </a:lnTo>
                <a:lnTo>
                  <a:pt x="3934939" y="384890"/>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1" name="Isosceles Triangle 70">
            <a:extLst>
              <a:ext uri="{FF2B5EF4-FFF2-40B4-BE49-F238E27FC236}">
                <a16:creationId xmlns:a16="http://schemas.microsoft.com/office/drawing/2014/main" id="{974664E9-2BCA-4C60-950C-8E23DBE06A88}"/>
              </a:ext>
            </a:extLst>
          </p:cNvPr>
          <p:cNvSpPr/>
          <p:nvPr/>
        </p:nvSpPr>
        <p:spPr>
          <a:xfrm rot="5400000">
            <a:off x="7839578" y="4483812"/>
            <a:ext cx="2099682" cy="266375"/>
          </a:xfrm>
          <a:custGeom>
            <a:avLst/>
            <a:gdLst>
              <a:gd name="connsiteX0" fmla="*/ 0 w 3934939"/>
              <a:gd name="connsiteY0" fmla="*/ 322358 h 322358"/>
              <a:gd name="connsiteX1" fmla="*/ 1967470 w 3934939"/>
              <a:gd name="connsiteY1" fmla="*/ 0 h 322358"/>
              <a:gd name="connsiteX2" fmla="*/ 3934939 w 3934939"/>
              <a:gd name="connsiteY2" fmla="*/ 322358 h 322358"/>
              <a:gd name="connsiteX3" fmla="*/ 0 w 3934939"/>
              <a:gd name="connsiteY3" fmla="*/ 322358 h 322358"/>
              <a:gd name="connsiteX0" fmla="*/ 0 w 3934939"/>
              <a:gd name="connsiteY0" fmla="*/ 322358 h 631863"/>
              <a:gd name="connsiteX1" fmla="*/ 1967470 w 3934939"/>
              <a:gd name="connsiteY1" fmla="*/ 0 h 631863"/>
              <a:gd name="connsiteX2" fmla="*/ 3934939 w 3934939"/>
              <a:gd name="connsiteY2" fmla="*/ 322358 h 631863"/>
              <a:gd name="connsiteX3" fmla="*/ 2029576 w 3934939"/>
              <a:gd name="connsiteY3" fmla="*/ 631863 h 631863"/>
              <a:gd name="connsiteX4" fmla="*/ 0 w 3934939"/>
              <a:gd name="connsiteY4" fmla="*/ 322358 h 631863"/>
              <a:gd name="connsiteX0" fmla="*/ 2029576 w 3934939"/>
              <a:gd name="connsiteY0" fmla="*/ 631863 h 723303"/>
              <a:gd name="connsiteX1" fmla="*/ 0 w 3934939"/>
              <a:gd name="connsiteY1" fmla="*/ 322358 h 723303"/>
              <a:gd name="connsiteX2" fmla="*/ 1967470 w 3934939"/>
              <a:gd name="connsiteY2" fmla="*/ 0 h 723303"/>
              <a:gd name="connsiteX3" fmla="*/ 3934939 w 3934939"/>
              <a:gd name="connsiteY3" fmla="*/ 322358 h 723303"/>
              <a:gd name="connsiteX4" fmla="*/ 2121016 w 3934939"/>
              <a:gd name="connsiteY4" fmla="*/ 723303 h 723303"/>
              <a:gd name="connsiteX0" fmla="*/ 0 w 3934939"/>
              <a:gd name="connsiteY0" fmla="*/ 322358 h 723303"/>
              <a:gd name="connsiteX1" fmla="*/ 1967470 w 3934939"/>
              <a:gd name="connsiteY1" fmla="*/ 0 h 723303"/>
              <a:gd name="connsiteX2" fmla="*/ 3934939 w 3934939"/>
              <a:gd name="connsiteY2" fmla="*/ 322358 h 723303"/>
              <a:gd name="connsiteX3" fmla="*/ 2121016 w 3934939"/>
              <a:gd name="connsiteY3" fmla="*/ 723303 h 723303"/>
              <a:gd name="connsiteX0" fmla="*/ 0 w 3934939"/>
              <a:gd name="connsiteY0" fmla="*/ 322358 h 322358"/>
              <a:gd name="connsiteX1" fmla="*/ 1967470 w 3934939"/>
              <a:gd name="connsiteY1" fmla="*/ 0 h 322358"/>
              <a:gd name="connsiteX2" fmla="*/ 3934939 w 3934939"/>
              <a:gd name="connsiteY2" fmla="*/ 322358 h 322358"/>
            </a:gdLst>
            <a:ahLst/>
            <a:cxnLst>
              <a:cxn ang="0">
                <a:pos x="connsiteX0" y="connsiteY0"/>
              </a:cxn>
              <a:cxn ang="0">
                <a:pos x="connsiteX1" y="connsiteY1"/>
              </a:cxn>
              <a:cxn ang="0">
                <a:pos x="connsiteX2" y="connsiteY2"/>
              </a:cxn>
            </a:cxnLst>
            <a:rect l="l" t="t" r="r" b="b"/>
            <a:pathLst>
              <a:path w="3934939" h="322358">
                <a:moveTo>
                  <a:pt x="0" y="322358"/>
                </a:moveTo>
                <a:lnTo>
                  <a:pt x="1967470" y="0"/>
                </a:lnTo>
                <a:lnTo>
                  <a:pt x="3934939" y="322358"/>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3F453347-C82D-4EA0-B4DF-408A2100FEBE}"/>
              </a:ext>
            </a:extLst>
          </p:cNvPr>
          <p:cNvSpPr/>
          <p:nvPr/>
        </p:nvSpPr>
        <p:spPr>
          <a:xfrm>
            <a:off x="3165741" y="2084887"/>
            <a:ext cx="5249315" cy="398279"/>
          </a:xfrm>
          <a:prstGeom prst="rect">
            <a:avLst/>
          </a:prstGeom>
          <a:solidFill>
            <a:schemeClr val="bg1"/>
          </a:solidFill>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Intelligently test multiple models in parallel</a:t>
            </a:r>
          </a:p>
        </p:txBody>
      </p:sp>
      <p:sp>
        <p:nvSpPr>
          <p:cNvPr id="56" name="Rectangle 55">
            <a:extLst>
              <a:ext uri="{FF2B5EF4-FFF2-40B4-BE49-F238E27FC236}">
                <a16:creationId xmlns:a16="http://schemas.microsoft.com/office/drawing/2014/main" id="{346B9977-B3BB-4F82-B05A-89F2C5823D34}"/>
              </a:ext>
            </a:extLst>
          </p:cNvPr>
          <p:cNvSpPr/>
          <p:nvPr/>
        </p:nvSpPr>
        <p:spPr bwMode="auto">
          <a:xfrm>
            <a:off x="3463388" y="5589904"/>
            <a:ext cx="784911" cy="505262"/>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57" name="Rectangle 56">
            <a:extLst>
              <a:ext uri="{FF2B5EF4-FFF2-40B4-BE49-F238E27FC236}">
                <a16:creationId xmlns:a16="http://schemas.microsoft.com/office/drawing/2014/main" id="{9521235A-368A-4639-A773-C6E2F81D58B3}"/>
              </a:ext>
            </a:extLst>
          </p:cNvPr>
          <p:cNvSpPr/>
          <p:nvPr/>
        </p:nvSpPr>
        <p:spPr bwMode="auto">
          <a:xfrm>
            <a:off x="4430665" y="2891023"/>
            <a:ext cx="784911" cy="505262"/>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58" name="Rectangle 57">
            <a:extLst>
              <a:ext uri="{FF2B5EF4-FFF2-40B4-BE49-F238E27FC236}">
                <a16:creationId xmlns:a16="http://schemas.microsoft.com/office/drawing/2014/main" id="{675C0FA6-2D64-4834-A491-6EF039ACEEC8}"/>
              </a:ext>
            </a:extLst>
          </p:cNvPr>
          <p:cNvSpPr/>
          <p:nvPr/>
        </p:nvSpPr>
        <p:spPr bwMode="auto">
          <a:xfrm>
            <a:off x="4430665" y="4915619"/>
            <a:ext cx="784911" cy="505262"/>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2" name="Rectangle 61">
            <a:extLst>
              <a:ext uri="{FF2B5EF4-FFF2-40B4-BE49-F238E27FC236}">
                <a16:creationId xmlns:a16="http://schemas.microsoft.com/office/drawing/2014/main" id="{5EF08468-D16A-4ED4-8701-7980A78BDED0}"/>
              </a:ext>
            </a:extLst>
          </p:cNvPr>
          <p:cNvSpPr/>
          <p:nvPr/>
        </p:nvSpPr>
        <p:spPr bwMode="auto">
          <a:xfrm>
            <a:off x="6365221" y="4240059"/>
            <a:ext cx="784911" cy="505262"/>
          </a:xfrm>
          <a:prstGeom prst="rect">
            <a:avLst/>
          </a:prstGeom>
          <a:solidFill>
            <a:srgbClr val="8ABADF"/>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3" name="Rectangle 62">
            <a:extLst>
              <a:ext uri="{FF2B5EF4-FFF2-40B4-BE49-F238E27FC236}">
                <a16:creationId xmlns:a16="http://schemas.microsoft.com/office/drawing/2014/main" id="{B432A898-81C5-4603-BFAF-4B2E5F642B1A}"/>
              </a:ext>
            </a:extLst>
          </p:cNvPr>
          <p:cNvSpPr/>
          <p:nvPr/>
        </p:nvSpPr>
        <p:spPr bwMode="auto">
          <a:xfrm>
            <a:off x="7332501" y="3565541"/>
            <a:ext cx="784911" cy="505262"/>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5" name="Rectangle 64">
            <a:extLst>
              <a:ext uri="{FF2B5EF4-FFF2-40B4-BE49-F238E27FC236}">
                <a16:creationId xmlns:a16="http://schemas.microsoft.com/office/drawing/2014/main" id="{59CC870D-04DB-4F1E-9745-CCDD2D891D77}"/>
              </a:ext>
            </a:extLst>
          </p:cNvPr>
          <p:cNvSpPr/>
          <p:nvPr/>
        </p:nvSpPr>
        <p:spPr bwMode="auto">
          <a:xfrm>
            <a:off x="7332499" y="5588285"/>
            <a:ext cx="784911" cy="505262"/>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9" name="Rectangle 68">
            <a:extLst>
              <a:ext uri="{FF2B5EF4-FFF2-40B4-BE49-F238E27FC236}">
                <a16:creationId xmlns:a16="http://schemas.microsoft.com/office/drawing/2014/main" id="{B56BE929-4E78-4328-9FCD-06D03936F734}"/>
              </a:ext>
            </a:extLst>
          </p:cNvPr>
          <p:cNvSpPr/>
          <p:nvPr/>
        </p:nvSpPr>
        <p:spPr bwMode="auto">
          <a:xfrm>
            <a:off x="9951880" y="3572488"/>
            <a:ext cx="632390" cy="2523955"/>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9" name="Group 20">
            <a:extLst>
              <a:ext uri="{FF2B5EF4-FFF2-40B4-BE49-F238E27FC236}">
                <a16:creationId xmlns:a16="http://schemas.microsoft.com/office/drawing/2014/main" id="{4EB75E30-B3D2-4C3B-A35B-9B27FF1C15BB}"/>
              </a:ext>
            </a:extLst>
          </p:cNvPr>
          <p:cNvGrpSpPr>
            <a:grpSpLocks noChangeAspect="1"/>
          </p:cNvGrpSpPr>
          <p:nvPr/>
        </p:nvGrpSpPr>
        <p:grpSpPr bwMode="auto">
          <a:xfrm>
            <a:off x="1069988" y="3186030"/>
            <a:ext cx="498376" cy="436254"/>
            <a:chOff x="3764" y="3313"/>
            <a:chExt cx="353" cy="309"/>
          </a:xfrm>
          <a:noFill/>
        </p:grpSpPr>
        <p:sp>
          <p:nvSpPr>
            <p:cNvPr id="110" name="Freeform 21">
              <a:extLst>
                <a:ext uri="{FF2B5EF4-FFF2-40B4-BE49-F238E27FC236}">
                  <a16:creationId xmlns:a16="http://schemas.microsoft.com/office/drawing/2014/main" id="{BD1FEC2F-B3EF-4D54-A4F0-54A076AB7B40}"/>
                </a:ext>
              </a:extLst>
            </p:cNvPr>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1" name="Freeform 22">
              <a:extLst>
                <a:ext uri="{FF2B5EF4-FFF2-40B4-BE49-F238E27FC236}">
                  <a16:creationId xmlns:a16="http://schemas.microsoft.com/office/drawing/2014/main" id="{7F63B60E-7DB5-488E-866F-93EFD0A370F2}"/>
                </a:ext>
              </a:extLst>
            </p:cNvPr>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2" name="Freeform 23">
              <a:extLst>
                <a:ext uri="{FF2B5EF4-FFF2-40B4-BE49-F238E27FC236}">
                  <a16:creationId xmlns:a16="http://schemas.microsoft.com/office/drawing/2014/main" id="{57635241-C845-49E4-AB91-802F219852CB}"/>
                </a:ext>
              </a:extLst>
            </p:cNvPr>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Freeform 24">
              <a:extLst>
                <a:ext uri="{FF2B5EF4-FFF2-40B4-BE49-F238E27FC236}">
                  <a16:creationId xmlns:a16="http://schemas.microsoft.com/office/drawing/2014/main" id="{7AC8221E-05C5-44FD-AE36-2F8BEAD0849B}"/>
                </a:ext>
              </a:extLst>
            </p:cNvPr>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4" name="Freeform 25">
              <a:extLst>
                <a:ext uri="{FF2B5EF4-FFF2-40B4-BE49-F238E27FC236}">
                  <a16:creationId xmlns:a16="http://schemas.microsoft.com/office/drawing/2014/main" id="{9949F84B-2E66-4817-B219-AD61CE8ED48F}"/>
                </a:ext>
              </a:extLst>
            </p:cNvPr>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5" name="Freeform 26">
              <a:extLst>
                <a:ext uri="{FF2B5EF4-FFF2-40B4-BE49-F238E27FC236}">
                  <a16:creationId xmlns:a16="http://schemas.microsoft.com/office/drawing/2014/main" id="{0742F126-3B94-4368-A3B6-4552957A4C9E}"/>
                </a:ext>
              </a:extLst>
            </p:cNvPr>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6" name="Freeform 27">
              <a:extLst>
                <a:ext uri="{FF2B5EF4-FFF2-40B4-BE49-F238E27FC236}">
                  <a16:creationId xmlns:a16="http://schemas.microsoft.com/office/drawing/2014/main" id="{1BCE99C9-C0BF-4E7C-AC5C-B51B77D3081F}"/>
                </a:ext>
              </a:extLst>
            </p:cNvPr>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7" name="Freeform 28">
              <a:extLst>
                <a:ext uri="{FF2B5EF4-FFF2-40B4-BE49-F238E27FC236}">
                  <a16:creationId xmlns:a16="http://schemas.microsoft.com/office/drawing/2014/main" id="{398C6C3A-DB5A-4EBA-85EC-2D420F4549E2}"/>
                </a:ext>
              </a:extLst>
            </p:cNvPr>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8" name="Freeform 29">
              <a:extLst>
                <a:ext uri="{FF2B5EF4-FFF2-40B4-BE49-F238E27FC236}">
                  <a16:creationId xmlns:a16="http://schemas.microsoft.com/office/drawing/2014/main" id="{B1B01E7D-6DF1-4886-9B59-7BD5243E3D42}"/>
                </a:ext>
              </a:extLst>
            </p:cNvPr>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9" name="Freeform 30">
              <a:extLst>
                <a:ext uri="{FF2B5EF4-FFF2-40B4-BE49-F238E27FC236}">
                  <a16:creationId xmlns:a16="http://schemas.microsoft.com/office/drawing/2014/main" id="{A56F16CC-423F-4F28-9CC4-6A2300AC7993}"/>
                </a:ext>
              </a:extLst>
            </p:cNvPr>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0" name="Freeform 31">
              <a:extLst>
                <a:ext uri="{FF2B5EF4-FFF2-40B4-BE49-F238E27FC236}">
                  <a16:creationId xmlns:a16="http://schemas.microsoft.com/office/drawing/2014/main" id="{BFDE09ED-D17C-4D80-8907-DDC02A4B1980}"/>
                </a:ext>
              </a:extLst>
            </p:cNvPr>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1" name="Freeform 32">
              <a:extLst>
                <a:ext uri="{FF2B5EF4-FFF2-40B4-BE49-F238E27FC236}">
                  <a16:creationId xmlns:a16="http://schemas.microsoft.com/office/drawing/2014/main" id="{609C7B92-A8DD-4959-8248-CA063018AFC6}"/>
                </a:ext>
              </a:extLst>
            </p:cNvPr>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2" name="Freeform 33">
              <a:extLst>
                <a:ext uri="{FF2B5EF4-FFF2-40B4-BE49-F238E27FC236}">
                  <a16:creationId xmlns:a16="http://schemas.microsoft.com/office/drawing/2014/main" id="{C9DF86B1-D780-4B1F-B717-254F3C2F0BB5}"/>
                </a:ext>
              </a:extLst>
            </p:cNvPr>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 name="Freeform 34">
              <a:extLst>
                <a:ext uri="{FF2B5EF4-FFF2-40B4-BE49-F238E27FC236}">
                  <a16:creationId xmlns:a16="http://schemas.microsoft.com/office/drawing/2014/main" id="{807DD4F0-A770-4045-927B-A19790AA5830}"/>
                </a:ext>
              </a:extLst>
            </p:cNvPr>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 name="Freeform 35">
              <a:extLst>
                <a:ext uri="{FF2B5EF4-FFF2-40B4-BE49-F238E27FC236}">
                  <a16:creationId xmlns:a16="http://schemas.microsoft.com/office/drawing/2014/main" id="{F2EB3B8B-3349-4C49-9DA2-BE2CB6CA5FEF}"/>
                </a:ext>
              </a:extLst>
            </p:cNvPr>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 name="Freeform 36">
              <a:extLst>
                <a:ext uri="{FF2B5EF4-FFF2-40B4-BE49-F238E27FC236}">
                  <a16:creationId xmlns:a16="http://schemas.microsoft.com/office/drawing/2014/main" id="{C3210E19-2877-4D2D-8799-5C996EDB3163}"/>
                </a:ext>
              </a:extLst>
            </p:cNvPr>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6" name="Freeform 37">
              <a:extLst>
                <a:ext uri="{FF2B5EF4-FFF2-40B4-BE49-F238E27FC236}">
                  <a16:creationId xmlns:a16="http://schemas.microsoft.com/office/drawing/2014/main" id="{F44E29D8-3D29-4BAF-8E02-EC2BC5774ED8}"/>
                </a:ext>
              </a:extLst>
            </p:cNvPr>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7" name="Freeform 38">
              <a:extLst>
                <a:ext uri="{FF2B5EF4-FFF2-40B4-BE49-F238E27FC236}">
                  <a16:creationId xmlns:a16="http://schemas.microsoft.com/office/drawing/2014/main" id="{863F6220-B897-446E-91E3-C0B7172FC292}"/>
                </a:ext>
              </a:extLst>
            </p:cNvPr>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54" name="Rectangle 153">
            <a:extLst>
              <a:ext uri="{FF2B5EF4-FFF2-40B4-BE49-F238E27FC236}">
                <a16:creationId xmlns:a16="http://schemas.microsoft.com/office/drawing/2014/main" id="{56F8C412-B3B9-4D8E-96A2-650D8AA38881}"/>
              </a:ext>
            </a:extLst>
          </p:cNvPr>
          <p:cNvSpPr/>
          <p:nvPr/>
        </p:nvSpPr>
        <p:spPr bwMode="auto">
          <a:xfrm>
            <a:off x="3463388" y="5589904"/>
            <a:ext cx="784911" cy="505262"/>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56" name="Rectangle 155">
            <a:extLst>
              <a:ext uri="{FF2B5EF4-FFF2-40B4-BE49-F238E27FC236}">
                <a16:creationId xmlns:a16="http://schemas.microsoft.com/office/drawing/2014/main" id="{B1BD5EB7-7D25-4A2E-9890-4D22892EA68F}"/>
              </a:ext>
            </a:extLst>
          </p:cNvPr>
          <p:cNvSpPr/>
          <p:nvPr/>
        </p:nvSpPr>
        <p:spPr bwMode="auto">
          <a:xfrm>
            <a:off x="4430665" y="4915619"/>
            <a:ext cx="784911" cy="505262"/>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60" name="Rectangle 159">
            <a:extLst>
              <a:ext uri="{FF2B5EF4-FFF2-40B4-BE49-F238E27FC236}">
                <a16:creationId xmlns:a16="http://schemas.microsoft.com/office/drawing/2014/main" id="{52810F27-F6D4-44ED-A959-4307288B0F0F}"/>
              </a:ext>
            </a:extLst>
          </p:cNvPr>
          <p:cNvSpPr/>
          <p:nvPr/>
        </p:nvSpPr>
        <p:spPr bwMode="auto">
          <a:xfrm>
            <a:off x="6365221" y="4240059"/>
            <a:ext cx="784911" cy="505262"/>
          </a:xfrm>
          <a:prstGeom prst="rect">
            <a:avLst/>
          </a:prstGeom>
          <a:solidFill>
            <a:srgbClr val="5CA4DB"/>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61" name="Rectangle 160">
            <a:extLst>
              <a:ext uri="{FF2B5EF4-FFF2-40B4-BE49-F238E27FC236}">
                <a16:creationId xmlns:a16="http://schemas.microsoft.com/office/drawing/2014/main" id="{3DFD0CFB-7493-447A-9739-F92717140711}"/>
              </a:ext>
            </a:extLst>
          </p:cNvPr>
          <p:cNvSpPr/>
          <p:nvPr/>
        </p:nvSpPr>
        <p:spPr bwMode="auto">
          <a:xfrm>
            <a:off x="7332501" y="3565541"/>
            <a:ext cx="784911" cy="505262"/>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62" name="Rectangle 161">
            <a:extLst>
              <a:ext uri="{FF2B5EF4-FFF2-40B4-BE49-F238E27FC236}">
                <a16:creationId xmlns:a16="http://schemas.microsoft.com/office/drawing/2014/main" id="{0B7E7B3B-A7D6-4B9E-9B43-CAA1A8D42874}"/>
              </a:ext>
            </a:extLst>
          </p:cNvPr>
          <p:cNvSpPr/>
          <p:nvPr/>
        </p:nvSpPr>
        <p:spPr bwMode="auto">
          <a:xfrm>
            <a:off x="7332499" y="5588285"/>
            <a:ext cx="784911" cy="505262"/>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78" name="Rectangle 177">
            <a:extLst>
              <a:ext uri="{FF2B5EF4-FFF2-40B4-BE49-F238E27FC236}">
                <a16:creationId xmlns:a16="http://schemas.microsoft.com/office/drawing/2014/main" id="{69F286C7-A72E-4B19-BECC-2AD322B91A55}"/>
              </a:ext>
            </a:extLst>
          </p:cNvPr>
          <p:cNvSpPr/>
          <p:nvPr/>
        </p:nvSpPr>
        <p:spPr bwMode="auto">
          <a:xfrm>
            <a:off x="4430665" y="4915619"/>
            <a:ext cx="784911" cy="505262"/>
          </a:xfrm>
          <a:prstGeom prst="rect">
            <a:avLst/>
          </a:prstGeom>
          <a:solidFill>
            <a:srgbClr val="2E8E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82" name="Rectangle 181">
            <a:extLst>
              <a:ext uri="{FF2B5EF4-FFF2-40B4-BE49-F238E27FC236}">
                <a16:creationId xmlns:a16="http://schemas.microsoft.com/office/drawing/2014/main" id="{F6960B95-9AED-453D-8147-4BE64D2AA752}"/>
              </a:ext>
            </a:extLst>
          </p:cNvPr>
          <p:cNvSpPr/>
          <p:nvPr/>
        </p:nvSpPr>
        <p:spPr bwMode="auto">
          <a:xfrm>
            <a:off x="6365221" y="4240059"/>
            <a:ext cx="784911" cy="505262"/>
          </a:xfrm>
          <a:prstGeom prst="rect">
            <a:avLst/>
          </a:prstGeom>
          <a:solidFill>
            <a:srgbClr val="2E8ED8"/>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83" name="Rectangle 182">
            <a:extLst>
              <a:ext uri="{FF2B5EF4-FFF2-40B4-BE49-F238E27FC236}">
                <a16:creationId xmlns:a16="http://schemas.microsoft.com/office/drawing/2014/main" id="{5E1D3D7E-AE78-461B-8984-8550F13D2CAC}"/>
              </a:ext>
            </a:extLst>
          </p:cNvPr>
          <p:cNvSpPr/>
          <p:nvPr/>
        </p:nvSpPr>
        <p:spPr bwMode="auto">
          <a:xfrm>
            <a:off x="7332501" y="3565541"/>
            <a:ext cx="784911" cy="505262"/>
          </a:xfrm>
          <a:prstGeom prst="rect">
            <a:avLst/>
          </a:prstGeom>
          <a:solidFill>
            <a:srgbClr val="2E8E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84" name="Rectangle 183">
            <a:extLst>
              <a:ext uri="{FF2B5EF4-FFF2-40B4-BE49-F238E27FC236}">
                <a16:creationId xmlns:a16="http://schemas.microsoft.com/office/drawing/2014/main" id="{7AB63D05-2235-48E1-AC5A-5332C75C07D7}"/>
              </a:ext>
            </a:extLst>
          </p:cNvPr>
          <p:cNvSpPr/>
          <p:nvPr/>
        </p:nvSpPr>
        <p:spPr bwMode="auto">
          <a:xfrm>
            <a:off x="7332499" y="5588285"/>
            <a:ext cx="784911" cy="505262"/>
          </a:xfrm>
          <a:prstGeom prst="rect">
            <a:avLst/>
          </a:prstGeom>
          <a:solidFill>
            <a:srgbClr val="2E8E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95" name="Rectangle 194">
            <a:extLst>
              <a:ext uri="{FF2B5EF4-FFF2-40B4-BE49-F238E27FC236}">
                <a16:creationId xmlns:a16="http://schemas.microsoft.com/office/drawing/2014/main" id="{195437A0-E144-4350-B464-A76A69AAF11F}"/>
              </a:ext>
            </a:extLst>
          </p:cNvPr>
          <p:cNvSpPr/>
          <p:nvPr/>
        </p:nvSpPr>
        <p:spPr bwMode="auto">
          <a:xfrm>
            <a:off x="6365221" y="4240059"/>
            <a:ext cx="784911" cy="505262"/>
          </a:xfrm>
          <a:prstGeom prst="rect">
            <a:avLst/>
          </a:prstGeom>
          <a:solidFill>
            <a:schemeClr val="tx2"/>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95%</a:t>
            </a:r>
          </a:p>
        </p:txBody>
      </p:sp>
      <p:sp>
        <p:nvSpPr>
          <p:cNvPr id="196" name="Freeform 5">
            <a:extLst>
              <a:ext uri="{FF2B5EF4-FFF2-40B4-BE49-F238E27FC236}">
                <a16:creationId xmlns:a16="http://schemas.microsoft.com/office/drawing/2014/main" id="{DF9FDED0-2500-4374-B5B2-ED86C9D5D9D3}"/>
              </a:ext>
            </a:extLst>
          </p:cNvPr>
          <p:cNvSpPr>
            <a:spLocks noEditPoints="1"/>
          </p:cNvSpPr>
          <p:nvPr/>
        </p:nvSpPr>
        <p:spPr bwMode="auto">
          <a:xfrm>
            <a:off x="10044550" y="2859269"/>
            <a:ext cx="440106" cy="264778"/>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9" name="Rectangle 198">
            <a:extLst>
              <a:ext uri="{FF2B5EF4-FFF2-40B4-BE49-F238E27FC236}">
                <a16:creationId xmlns:a16="http://schemas.microsoft.com/office/drawing/2014/main" id="{22602F01-A6AD-4809-AE58-134198AE5A95}"/>
              </a:ext>
            </a:extLst>
          </p:cNvPr>
          <p:cNvSpPr/>
          <p:nvPr/>
        </p:nvSpPr>
        <p:spPr bwMode="auto">
          <a:xfrm>
            <a:off x="9828898" y="6107656"/>
            <a:ext cx="878351" cy="9026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E9A9F4A2-34D2-4122-B219-A325533A8008}"/>
              </a:ext>
            </a:extLst>
          </p:cNvPr>
          <p:cNvSpPr txBox="1"/>
          <p:nvPr/>
        </p:nvSpPr>
        <p:spPr>
          <a:xfrm>
            <a:off x="9308967" y="3168468"/>
            <a:ext cx="1918212" cy="3120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en-US"/>
            </a:defPPr>
            <a:lvl1pPr algn="ctr">
              <a:defRPr sz="1400">
                <a:solidFill>
                  <a:schemeClr val="accent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Optimized model</a:t>
            </a:r>
          </a:p>
        </p:txBody>
      </p:sp>
      <p:sp>
        <p:nvSpPr>
          <p:cNvPr id="197" name="Rectangle 196">
            <a:extLst>
              <a:ext uri="{FF2B5EF4-FFF2-40B4-BE49-F238E27FC236}">
                <a16:creationId xmlns:a16="http://schemas.microsoft.com/office/drawing/2014/main" id="{A85EB74B-FDD2-45CB-A236-74C66623A549}"/>
              </a:ext>
            </a:extLst>
          </p:cNvPr>
          <p:cNvSpPr/>
          <p:nvPr/>
        </p:nvSpPr>
        <p:spPr bwMode="auto">
          <a:xfrm>
            <a:off x="6508810" y="4341679"/>
            <a:ext cx="497733" cy="302023"/>
          </a:xfrm>
          <a:prstGeom prst="rect">
            <a:avLst/>
          </a:prstGeom>
          <a:no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95%</a:t>
            </a:r>
          </a:p>
        </p:txBody>
      </p:sp>
      <p:grpSp>
        <p:nvGrpSpPr>
          <p:cNvPr id="212" name="Group 211">
            <a:extLst>
              <a:ext uri="{FF2B5EF4-FFF2-40B4-BE49-F238E27FC236}">
                <a16:creationId xmlns:a16="http://schemas.microsoft.com/office/drawing/2014/main" id="{49DE720E-16FD-4BAD-BC4A-AB88F4C6E793}"/>
              </a:ext>
            </a:extLst>
          </p:cNvPr>
          <p:cNvGrpSpPr/>
          <p:nvPr/>
        </p:nvGrpSpPr>
        <p:grpSpPr>
          <a:xfrm>
            <a:off x="1131402" y="4210192"/>
            <a:ext cx="375548" cy="424666"/>
            <a:chOff x="9005455" y="6149108"/>
            <a:chExt cx="1115925" cy="1261885"/>
          </a:xfrm>
          <a:noFill/>
        </p:grpSpPr>
        <p:sp>
          <p:nvSpPr>
            <p:cNvPr id="213" name="Freeform 938">
              <a:extLst>
                <a:ext uri="{FF2B5EF4-FFF2-40B4-BE49-F238E27FC236}">
                  <a16:creationId xmlns:a16="http://schemas.microsoft.com/office/drawing/2014/main" id="{E6153D3D-A39E-4FF3-9DD7-BF527CAF6B4A}"/>
                </a:ext>
              </a:extLst>
            </p:cNvPr>
            <p:cNvSpPr/>
            <p:nvPr/>
          </p:nvSpPr>
          <p:spPr>
            <a:xfrm>
              <a:off x="9005455" y="6282459"/>
              <a:ext cx="555625" cy="1123950"/>
            </a:xfrm>
            <a:custGeom>
              <a:avLst/>
              <a:gdLst>
                <a:gd name="connsiteX0" fmla="*/ 555625 w 555625"/>
                <a:gd name="connsiteY0" fmla="*/ 1123950 h 1123950"/>
                <a:gd name="connsiteX1" fmla="*/ 0 w 555625"/>
                <a:gd name="connsiteY1" fmla="*/ 1123950 h 1123950"/>
                <a:gd name="connsiteX2" fmla="*/ 0 w 555625"/>
                <a:gd name="connsiteY2" fmla="*/ 0 h 1123950"/>
                <a:gd name="connsiteX3" fmla="*/ 219075 w 555625"/>
                <a:gd name="connsiteY3" fmla="*/ 0 h 1123950"/>
              </a:gdLst>
              <a:ahLst/>
              <a:cxnLst>
                <a:cxn ang="0">
                  <a:pos x="connsiteX0" y="connsiteY0"/>
                </a:cxn>
                <a:cxn ang="0">
                  <a:pos x="connsiteX1" y="connsiteY1"/>
                </a:cxn>
                <a:cxn ang="0">
                  <a:pos x="connsiteX2" y="connsiteY2"/>
                </a:cxn>
                <a:cxn ang="0">
                  <a:pos x="connsiteX3" y="connsiteY3"/>
                </a:cxn>
              </a:cxnLst>
              <a:rect l="l" t="t" r="r" b="b"/>
              <a:pathLst>
                <a:path w="555625" h="1123950">
                  <a:moveTo>
                    <a:pt x="555625" y="1123950"/>
                  </a:moveTo>
                  <a:lnTo>
                    <a:pt x="0" y="1123950"/>
                  </a:lnTo>
                  <a:lnTo>
                    <a:pt x="0" y="0"/>
                  </a:lnTo>
                  <a:lnTo>
                    <a:pt x="219075" y="0"/>
                  </a:lnTo>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4" name="Freeform 939">
              <a:extLst>
                <a:ext uri="{FF2B5EF4-FFF2-40B4-BE49-F238E27FC236}">
                  <a16:creationId xmlns:a16="http://schemas.microsoft.com/office/drawing/2014/main" id="{F26CC79B-EF9A-47A6-80E3-4A5AE6DBC57A}"/>
                </a:ext>
              </a:extLst>
            </p:cNvPr>
            <p:cNvSpPr/>
            <p:nvPr/>
          </p:nvSpPr>
          <p:spPr>
            <a:xfrm>
              <a:off x="9707130" y="6282459"/>
              <a:ext cx="215900" cy="485775"/>
            </a:xfrm>
            <a:custGeom>
              <a:avLst/>
              <a:gdLst>
                <a:gd name="connsiteX0" fmla="*/ 0 w 215900"/>
                <a:gd name="connsiteY0" fmla="*/ 0 h 485775"/>
                <a:gd name="connsiteX1" fmla="*/ 215900 w 215900"/>
                <a:gd name="connsiteY1" fmla="*/ 0 h 485775"/>
                <a:gd name="connsiteX2" fmla="*/ 215900 w 215900"/>
                <a:gd name="connsiteY2" fmla="*/ 485775 h 485775"/>
              </a:gdLst>
              <a:ahLst/>
              <a:cxnLst>
                <a:cxn ang="0">
                  <a:pos x="connsiteX0" y="connsiteY0"/>
                </a:cxn>
                <a:cxn ang="0">
                  <a:pos x="connsiteX1" y="connsiteY1"/>
                </a:cxn>
                <a:cxn ang="0">
                  <a:pos x="connsiteX2" y="connsiteY2"/>
                </a:cxn>
              </a:cxnLst>
              <a:rect l="l" t="t" r="r" b="b"/>
              <a:pathLst>
                <a:path w="215900" h="485775">
                  <a:moveTo>
                    <a:pt x="0" y="0"/>
                  </a:moveTo>
                  <a:lnTo>
                    <a:pt x="215900" y="0"/>
                  </a:lnTo>
                  <a:lnTo>
                    <a:pt x="215900" y="485775"/>
                  </a:lnTo>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5" name="Freeform 940">
              <a:extLst>
                <a:ext uri="{FF2B5EF4-FFF2-40B4-BE49-F238E27FC236}">
                  <a16:creationId xmlns:a16="http://schemas.microsoft.com/office/drawing/2014/main" id="{B00F6E1D-6062-4D94-B78A-CD286D3C86D9}"/>
                </a:ext>
              </a:extLst>
            </p:cNvPr>
            <p:cNvSpPr/>
            <p:nvPr/>
          </p:nvSpPr>
          <p:spPr>
            <a:xfrm>
              <a:off x="9221355" y="6149108"/>
              <a:ext cx="482600" cy="190500"/>
            </a:xfrm>
            <a:custGeom>
              <a:avLst/>
              <a:gdLst>
                <a:gd name="connsiteX0" fmla="*/ 142875 w 482600"/>
                <a:gd name="connsiteY0" fmla="*/ 0 h 190500"/>
                <a:gd name="connsiteX1" fmla="*/ 339725 w 482600"/>
                <a:gd name="connsiteY1" fmla="*/ 0 h 190500"/>
                <a:gd name="connsiteX2" fmla="*/ 339725 w 482600"/>
                <a:gd name="connsiteY2" fmla="*/ 47625 h 190500"/>
                <a:gd name="connsiteX3" fmla="*/ 482600 w 482600"/>
                <a:gd name="connsiteY3" fmla="*/ 47625 h 190500"/>
                <a:gd name="connsiteX4" fmla="*/ 482600 w 482600"/>
                <a:gd name="connsiteY4" fmla="*/ 190500 h 190500"/>
                <a:gd name="connsiteX5" fmla="*/ 0 w 482600"/>
                <a:gd name="connsiteY5" fmla="*/ 190500 h 190500"/>
                <a:gd name="connsiteX6" fmla="*/ 0 w 482600"/>
                <a:gd name="connsiteY6" fmla="*/ 47625 h 190500"/>
                <a:gd name="connsiteX7" fmla="*/ 142875 w 482600"/>
                <a:gd name="connsiteY7" fmla="*/ 476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600" h="190500">
                  <a:moveTo>
                    <a:pt x="142875" y="0"/>
                  </a:moveTo>
                  <a:lnTo>
                    <a:pt x="339725" y="0"/>
                  </a:lnTo>
                  <a:lnTo>
                    <a:pt x="339725" y="47625"/>
                  </a:lnTo>
                  <a:lnTo>
                    <a:pt x="482600" y="47625"/>
                  </a:lnTo>
                  <a:lnTo>
                    <a:pt x="482600" y="190500"/>
                  </a:lnTo>
                  <a:lnTo>
                    <a:pt x="0" y="190500"/>
                  </a:lnTo>
                  <a:lnTo>
                    <a:pt x="0" y="47625"/>
                  </a:lnTo>
                  <a:lnTo>
                    <a:pt x="142875" y="47625"/>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6" name="Freeform 941">
              <a:extLst>
                <a:ext uri="{FF2B5EF4-FFF2-40B4-BE49-F238E27FC236}">
                  <a16:creationId xmlns:a16="http://schemas.microsoft.com/office/drawing/2014/main" id="{17392C07-5E2D-4739-A4F2-D9DF08D5495D}"/>
                </a:ext>
              </a:extLst>
            </p:cNvPr>
            <p:cNvSpPr/>
            <p:nvPr/>
          </p:nvSpPr>
          <p:spPr bwMode="auto">
            <a:xfrm>
              <a:off x="9671568" y="7021832"/>
              <a:ext cx="333569" cy="212271"/>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7" name="Oval 216">
              <a:extLst>
                <a:ext uri="{FF2B5EF4-FFF2-40B4-BE49-F238E27FC236}">
                  <a16:creationId xmlns:a16="http://schemas.microsoft.com/office/drawing/2014/main" id="{25A47A8E-8060-42E3-A4D3-7A039E09BDC7}"/>
                </a:ext>
              </a:extLst>
            </p:cNvPr>
            <p:cNvSpPr/>
            <p:nvPr/>
          </p:nvSpPr>
          <p:spPr bwMode="auto">
            <a:xfrm>
              <a:off x="9555323" y="6844938"/>
              <a:ext cx="566057" cy="566055"/>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18" name="Group 10">
            <a:extLst>
              <a:ext uri="{FF2B5EF4-FFF2-40B4-BE49-F238E27FC236}">
                <a16:creationId xmlns:a16="http://schemas.microsoft.com/office/drawing/2014/main" id="{830091A3-D67E-42AD-A0B0-88B8CF8365E6}"/>
              </a:ext>
            </a:extLst>
          </p:cNvPr>
          <p:cNvGrpSpPr>
            <a:grpSpLocks noChangeAspect="1"/>
          </p:cNvGrpSpPr>
          <p:nvPr/>
        </p:nvGrpSpPr>
        <p:grpSpPr bwMode="auto">
          <a:xfrm>
            <a:off x="1133148" y="5275402"/>
            <a:ext cx="372058" cy="368826"/>
            <a:chOff x="2536" y="833"/>
            <a:chExt cx="2764" cy="2740"/>
          </a:xfrm>
          <a:noFill/>
        </p:grpSpPr>
        <p:sp>
          <p:nvSpPr>
            <p:cNvPr id="219" name="Freeform 11">
              <a:extLst>
                <a:ext uri="{FF2B5EF4-FFF2-40B4-BE49-F238E27FC236}">
                  <a16:creationId xmlns:a16="http://schemas.microsoft.com/office/drawing/2014/main" id="{E4CB3829-6B57-4320-B2A5-02C096E3EBF1}"/>
                </a:ext>
              </a:extLst>
            </p:cNvPr>
            <p:cNvSpPr>
              <a:spLocks noEditPoints="1"/>
            </p:cNvSpPr>
            <p:nvPr/>
          </p:nvSpPr>
          <p:spPr bwMode="auto">
            <a:xfrm>
              <a:off x="2536" y="833"/>
              <a:ext cx="2739" cy="2740"/>
            </a:xfrm>
            <a:custGeom>
              <a:avLst/>
              <a:gdLst>
                <a:gd name="T0" fmla="*/ 292 w 2739"/>
                <a:gd name="T1" fmla="*/ 1639 h 2740"/>
                <a:gd name="T2" fmla="*/ 1100 w 2739"/>
                <a:gd name="T3" fmla="*/ 1639 h 2740"/>
                <a:gd name="T4" fmla="*/ 1100 w 2739"/>
                <a:gd name="T5" fmla="*/ 2448 h 2740"/>
                <a:gd name="T6" fmla="*/ 1100 w 2739"/>
                <a:gd name="T7" fmla="*/ 1639 h 2740"/>
                <a:gd name="T8" fmla="*/ 0 w 2739"/>
                <a:gd name="T9" fmla="*/ 2740 h 2740"/>
                <a:gd name="T10" fmla="*/ 1639 w 2739"/>
                <a:gd name="T11" fmla="*/ 291 h 2740"/>
                <a:gd name="T12" fmla="*/ 1639 w 2739"/>
                <a:gd name="T13" fmla="*/ 1100 h 2740"/>
                <a:gd name="T14" fmla="*/ 2447 w 2739"/>
                <a:gd name="T15" fmla="*/ 1100 h 2740"/>
                <a:gd name="T16" fmla="*/ 2739 w 2739"/>
                <a:gd name="T17" fmla="*/ 0 h 2740"/>
                <a:gd name="T18" fmla="*/ 1639 w 2739"/>
                <a:gd name="T19" fmla="*/ 110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9" h="2740">
                  <a:moveTo>
                    <a:pt x="292" y="1639"/>
                  </a:moveTo>
                  <a:lnTo>
                    <a:pt x="1100" y="1639"/>
                  </a:lnTo>
                  <a:lnTo>
                    <a:pt x="1100" y="2448"/>
                  </a:lnTo>
                  <a:moveTo>
                    <a:pt x="1100" y="1639"/>
                  </a:moveTo>
                  <a:lnTo>
                    <a:pt x="0" y="2740"/>
                  </a:lnTo>
                  <a:moveTo>
                    <a:pt x="1639" y="291"/>
                  </a:moveTo>
                  <a:lnTo>
                    <a:pt x="1639" y="1100"/>
                  </a:lnTo>
                  <a:lnTo>
                    <a:pt x="2447" y="1100"/>
                  </a:lnTo>
                  <a:moveTo>
                    <a:pt x="2739" y="0"/>
                  </a:moveTo>
                  <a:lnTo>
                    <a:pt x="1639" y="1100"/>
                  </a:lnTo>
                </a:path>
              </a:pathLst>
            </a:custGeom>
            <a:grpFill/>
            <a:ln w="12700" cap="flat">
              <a:solidFill>
                <a:schemeClr val="tx2"/>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0" name="Freeform 12">
              <a:extLst>
                <a:ext uri="{FF2B5EF4-FFF2-40B4-BE49-F238E27FC236}">
                  <a16:creationId xmlns:a16="http://schemas.microsoft.com/office/drawing/2014/main" id="{72B9D2CD-B1E1-4394-A96E-E2E15CE45E8D}"/>
                </a:ext>
              </a:extLst>
            </p:cNvPr>
            <p:cNvSpPr>
              <a:spLocks noEditPoints="1"/>
            </p:cNvSpPr>
            <p:nvPr/>
          </p:nvSpPr>
          <p:spPr bwMode="auto">
            <a:xfrm>
              <a:off x="2561" y="833"/>
              <a:ext cx="2739" cy="2740"/>
            </a:xfrm>
            <a:custGeom>
              <a:avLst/>
              <a:gdLst>
                <a:gd name="T0" fmla="*/ 1638 w 2739"/>
                <a:gd name="T1" fmla="*/ 2448 h 2740"/>
                <a:gd name="T2" fmla="*/ 1638 w 2739"/>
                <a:gd name="T3" fmla="*/ 1639 h 2740"/>
                <a:gd name="T4" fmla="*/ 2446 w 2739"/>
                <a:gd name="T5" fmla="*/ 1639 h 2740"/>
                <a:gd name="T6" fmla="*/ 2739 w 2739"/>
                <a:gd name="T7" fmla="*/ 2740 h 2740"/>
                <a:gd name="T8" fmla="*/ 1638 w 2739"/>
                <a:gd name="T9" fmla="*/ 1639 h 2740"/>
                <a:gd name="T10" fmla="*/ 291 w 2739"/>
                <a:gd name="T11" fmla="*/ 1100 h 2740"/>
                <a:gd name="T12" fmla="*/ 1099 w 2739"/>
                <a:gd name="T13" fmla="*/ 1100 h 2740"/>
                <a:gd name="T14" fmla="*/ 1099 w 2739"/>
                <a:gd name="T15" fmla="*/ 291 h 2740"/>
                <a:gd name="T16" fmla="*/ 1099 w 2739"/>
                <a:gd name="T17" fmla="*/ 1100 h 2740"/>
                <a:gd name="T18" fmla="*/ 0 w 2739"/>
                <a:gd name="T19" fmla="*/ 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9" h="2740">
                  <a:moveTo>
                    <a:pt x="1638" y="2448"/>
                  </a:moveTo>
                  <a:lnTo>
                    <a:pt x="1638" y="1639"/>
                  </a:lnTo>
                  <a:lnTo>
                    <a:pt x="2446" y="1639"/>
                  </a:lnTo>
                  <a:moveTo>
                    <a:pt x="2739" y="2740"/>
                  </a:moveTo>
                  <a:lnTo>
                    <a:pt x="1638" y="1639"/>
                  </a:lnTo>
                  <a:moveTo>
                    <a:pt x="291" y="1100"/>
                  </a:moveTo>
                  <a:lnTo>
                    <a:pt x="1099" y="1100"/>
                  </a:lnTo>
                  <a:lnTo>
                    <a:pt x="1099" y="291"/>
                  </a:lnTo>
                  <a:moveTo>
                    <a:pt x="1099" y="1100"/>
                  </a:moveTo>
                  <a:lnTo>
                    <a:pt x="0" y="0"/>
                  </a:lnTo>
                </a:path>
              </a:pathLst>
            </a:custGeom>
            <a:grpFill/>
            <a:ln w="12700" cap="flat">
              <a:solidFill>
                <a:schemeClr val="tx2"/>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93" name="Group 92">
            <a:extLst>
              <a:ext uri="{FF2B5EF4-FFF2-40B4-BE49-F238E27FC236}">
                <a16:creationId xmlns:a16="http://schemas.microsoft.com/office/drawing/2014/main" id="{FD316AA3-19A9-42FA-8AAB-F3758407BD09}"/>
              </a:ext>
            </a:extLst>
          </p:cNvPr>
          <p:cNvGrpSpPr/>
          <p:nvPr/>
        </p:nvGrpSpPr>
        <p:grpSpPr>
          <a:xfrm>
            <a:off x="9265595" y="2506770"/>
            <a:ext cx="2391412" cy="3241281"/>
            <a:chOff x="9571688" y="2353818"/>
            <a:chExt cx="2391751" cy="3241740"/>
          </a:xfrm>
          <a:solidFill>
            <a:schemeClr val="tx2"/>
          </a:solidFill>
        </p:grpSpPr>
        <p:grpSp>
          <p:nvGrpSpPr>
            <p:cNvPr id="94" name="Group 93">
              <a:extLst>
                <a:ext uri="{FF2B5EF4-FFF2-40B4-BE49-F238E27FC236}">
                  <a16:creationId xmlns:a16="http://schemas.microsoft.com/office/drawing/2014/main" id="{977C835F-68EE-4491-9370-AD6B93543529}"/>
                </a:ext>
              </a:extLst>
            </p:cNvPr>
            <p:cNvGrpSpPr/>
            <p:nvPr/>
          </p:nvGrpSpPr>
          <p:grpSpPr>
            <a:xfrm>
              <a:off x="11310201" y="2353818"/>
              <a:ext cx="653238" cy="3241740"/>
              <a:chOff x="12076928" y="2353818"/>
              <a:chExt cx="653238" cy="3241740"/>
            </a:xfrm>
            <a:grpFill/>
          </p:grpSpPr>
          <p:sp>
            <p:nvSpPr>
              <p:cNvPr id="107" name="Rectangle 106">
                <a:extLst>
                  <a:ext uri="{FF2B5EF4-FFF2-40B4-BE49-F238E27FC236}">
                    <a16:creationId xmlns:a16="http://schemas.microsoft.com/office/drawing/2014/main" id="{019D642A-52B1-41AF-B289-568D576B1625}"/>
                  </a:ext>
                </a:extLst>
              </p:cNvPr>
              <p:cNvSpPr/>
              <p:nvPr/>
            </p:nvSpPr>
            <p:spPr bwMode="auto">
              <a:xfrm>
                <a:off x="12076928" y="235381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8" name="Rectangle 107">
                <a:extLst>
                  <a:ext uri="{FF2B5EF4-FFF2-40B4-BE49-F238E27FC236}">
                    <a16:creationId xmlns:a16="http://schemas.microsoft.com/office/drawing/2014/main" id="{C22FF296-1C13-424A-877D-765717B945FD}"/>
                  </a:ext>
                </a:extLst>
              </p:cNvPr>
              <p:cNvSpPr/>
              <p:nvPr/>
            </p:nvSpPr>
            <p:spPr bwMode="auto">
              <a:xfrm>
                <a:off x="12076928" y="3049506"/>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28" name="Rectangle 127">
                <a:extLst>
                  <a:ext uri="{FF2B5EF4-FFF2-40B4-BE49-F238E27FC236}">
                    <a16:creationId xmlns:a16="http://schemas.microsoft.com/office/drawing/2014/main" id="{24498DD1-3C59-4026-90A6-E26C2E5BFD1C}"/>
                  </a:ext>
                </a:extLst>
              </p:cNvPr>
              <p:cNvSpPr/>
              <p:nvPr/>
            </p:nvSpPr>
            <p:spPr bwMode="auto">
              <a:xfrm>
                <a:off x="12076928" y="3745193"/>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29" name="Rectangle 128">
                <a:extLst>
                  <a:ext uri="{FF2B5EF4-FFF2-40B4-BE49-F238E27FC236}">
                    <a16:creationId xmlns:a16="http://schemas.microsoft.com/office/drawing/2014/main" id="{DFA15762-E962-4C98-A7F3-FCA2BC38D0D0}"/>
                  </a:ext>
                </a:extLst>
              </p:cNvPr>
              <p:cNvSpPr/>
              <p:nvPr/>
            </p:nvSpPr>
            <p:spPr bwMode="auto">
              <a:xfrm>
                <a:off x="12076928" y="4440881"/>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30" name="Rectangle 129">
                <a:extLst>
                  <a:ext uri="{FF2B5EF4-FFF2-40B4-BE49-F238E27FC236}">
                    <a16:creationId xmlns:a16="http://schemas.microsoft.com/office/drawing/2014/main" id="{340D374C-A398-48E7-9830-A0FCC1E94E77}"/>
                  </a:ext>
                </a:extLst>
              </p:cNvPr>
              <p:cNvSpPr/>
              <p:nvPr/>
            </p:nvSpPr>
            <p:spPr bwMode="auto">
              <a:xfrm>
                <a:off x="12076928" y="513656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nvGrpSpPr>
            <p:cNvPr id="95" name="Group 94">
              <a:extLst>
                <a:ext uri="{FF2B5EF4-FFF2-40B4-BE49-F238E27FC236}">
                  <a16:creationId xmlns:a16="http://schemas.microsoft.com/office/drawing/2014/main" id="{07B89E3D-C38A-4B20-B033-852F0FD39555}"/>
                </a:ext>
              </a:extLst>
            </p:cNvPr>
            <p:cNvGrpSpPr/>
            <p:nvPr/>
          </p:nvGrpSpPr>
          <p:grpSpPr>
            <a:xfrm>
              <a:off x="10440944" y="2353818"/>
              <a:ext cx="653238" cy="3241740"/>
              <a:chOff x="12076928" y="2353818"/>
              <a:chExt cx="653238" cy="3241740"/>
            </a:xfrm>
            <a:grpFill/>
          </p:grpSpPr>
          <p:sp>
            <p:nvSpPr>
              <p:cNvPr id="102" name="Rectangle 101">
                <a:extLst>
                  <a:ext uri="{FF2B5EF4-FFF2-40B4-BE49-F238E27FC236}">
                    <a16:creationId xmlns:a16="http://schemas.microsoft.com/office/drawing/2014/main" id="{C1D3738B-9C16-41D8-A676-3993C5351106}"/>
                  </a:ext>
                </a:extLst>
              </p:cNvPr>
              <p:cNvSpPr/>
              <p:nvPr/>
            </p:nvSpPr>
            <p:spPr bwMode="auto">
              <a:xfrm>
                <a:off x="12076928" y="235381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3" name="Rectangle 102">
                <a:extLst>
                  <a:ext uri="{FF2B5EF4-FFF2-40B4-BE49-F238E27FC236}">
                    <a16:creationId xmlns:a16="http://schemas.microsoft.com/office/drawing/2014/main" id="{B1A7BF7F-84E6-40B6-A7EC-29EA87D247DC}"/>
                  </a:ext>
                </a:extLst>
              </p:cNvPr>
              <p:cNvSpPr/>
              <p:nvPr/>
            </p:nvSpPr>
            <p:spPr bwMode="auto">
              <a:xfrm>
                <a:off x="12076928" y="3049506"/>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4" name="Rectangle 103">
                <a:extLst>
                  <a:ext uri="{FF2B5EF4-FFF2-40B4-BE49-F238E27FC236}">
                    <a16:creationId xmlns:a16="http://schemas.microsoft.com/office/drawing/2014/main" id="{9273ABB3-4EA8-4BF1-9A20-E110EC58AB5C}"/>
                  </a:ext>
                </a:extLst>
              </p:cNvPr>
              <p:cNvSpPr/>
              <p:nvPr/>
            </p:nvSpPr>
            <p:spPr bwMode="auto">
              <a:xfrm>
                <a:off x="12076928" y="3745193"/>
                <a:ext cx="653238" cy="4589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5" name="Rectangle 104">
                <a:extLst>
                  <a:ext uri="{FF2B5EF4-FFF2-40B4-BE49-F238E27FC236}">
                    <a16:creationId xmlns:a16="http://schemas.microsoft.com/office/drawing/2014/main" id="{CAEC7D98-1785-4AA8-ACBA-2803A5D92604}"/>
                  </a:ext>
                </a:extLst>
              </p:cNvPr>
              <p:cNvSpPr/>
              <p:nvPr/>
            </p:nvSpPr>
            <p:spPr bwMode="auto">
              <a:xfrm>
                <a:off x="12076928" y="4440881"/>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6" name="Rectangle 105">
                <a:extLst>
                  <a:ext uri="{FF2B5EF4-FFF2-40B4-BE49-F238E27FC236}">
                    <a16:creationId xmlns:a16="http://schemas.microsoft.com/office/drawing/2014/main" id="{27582DD6-E929-4B0D-A601-1A9083C5F771}"/>
                  </a:ext>
                </a:extLst>
              </p:cNvPr>
              <p:cNvSpPr/>
              <p:nvPr/>
            </p:nvSpPr>
            <p:spPr bwMode="auto">
              <a:xfrm>
                <a:off x="12076928" y="513656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nvGrpSpPr>
            <p:cNvPr id="96" name="Group 95">
              <a:extLst>
                <a:ext uri="{FF2B5EF4-FFF2-40B4-BE49-F238E27FC236}">
                  <a16:creationId xmlns:a16="http://schemas.microsoft.com/office/drawing/2014/main" id="{F192391C-0131-4AD8-988A-96634C4F150E}"/>
                </a:ext>
              </a:extLst>
            </p:cNvPr>
            <p:cNvGrpSpPr/>
            <p:nvPr/>
          </p:nvGrpSpPr>
          <p:grpSpPr>
            <a:xfrm>
              <a:off x="9571688" y="2353818"/>
              <a:ext cx="653238" cy="3241740"/>
              <a:chOff x="12076928" y="2353818"/>
              <a:chExt cx="653238" cy="3241740"/>
            </a:xfrm>
            <a:grpFill/>
          </p:grpSpPr>
          <p:sp>
            <p:nvSpPr>
              <p:cNvPr id="97" name="Rectangle 96">
                <a:extLst>
                  <a:ext uri="{FF2B5EF4-FFF2-40B4-BE49-F238E27FC236}">
                    <a16:creationId xmlns:a16="http://schemas.microsoft.com/office/drawing/2014/main" id="{6B4F7ED2-6589-4C79-B565-4958E6ECE145}"/>
                  </a:ext>
                </a:extLst>
              </p:cNvPr>
              <p:cNvSpPr/>
              <p:nvPr/>
            </p:nvSpPr>
            <p:spPr bwMode="auto">
              <a:xfrm>
                <a:off x="12076928" y="235381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98" name="Rectangle 97">
                <a:extLst>
                  <a:ext uri="{FF2B5EF4-FFF2-40B4-BE49-F238E27FC236}">
                    <a16:creationId xmlns:a16="http://schemas.microsoft.com/office/drawing/2014/main" id="{527FA763-23A7-49C7-B1ED-B12087F71970}"/>
                  </a:ext>
                </a:extLst>
              </p:cNvPr>
              <p:cNvSpPr/>
              <p:nvPr/>
            </p:nvSpPr>
            <p:spPr bwMode="auto">
              <a:xfrm>
                <a:off x="12076928" y="3049506"/>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99" name="Rectangle 98">
                <a:extLst>
                  <a:ext uri="{FF2B5EF4-FFF2-40B4-BE49-F238E27FC236}">
                    <a16:creationId xmlns:a16="http://schemas.microsoft.com/office/drawing/2014/main" id="{1FA201D8-95C4-4E67-972E-68C9431637B3}"/>
                  </a:ext>
                </a:extLst>
              </p:cNvPr>
              <p:cNvSpPr/>
              <p:nvPr/>
            </p:nvSpPr>
            <p:spPr bwMode="auto">
              <a:xfrm>
                <a:off x="12076928" y="3745193"/>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0" name="Rectangle 99">
                <a:extLst>
                  <a:ext uri="{FF2B5EF4-FFF2-40B4-BE49-F238E27FC236}">
                    <a16:creationId xmlns:a16="http://schemas.microsoft.com/office/drawing/2014/main" id="{813107D5-145B-4F26-90D8-591D95FFBF2C}"/>
                  </a:ext>
                </a:extLst>
              </p:cNvPr>
              <p:cNvSpPr/>
              <p:nvPr/>
            </p:nvSpPr>
            <p:spPr bwMode="auto">
              <a:xfrm>
                <a:off x="12076928" y="4440881"/>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1" name="Rectangle 100">
                <a:extLst>
                  <a:ext uri="{FF2B5EF4-FFF2-40B4-BE49-F238E27FC236}">
                    <a16:creationId xmlns:a16="http://schemas.microsoft.com/office/drawing/2014/main" id="{ED195665-23B6-4D98-A84B-5BF1D2F02772}"/>
                  </a:ext>
                </a:extLst>
              </p:cNvPr>
              <p:cNvSpPr/>
              <p:nvPr/>
            </p:nvSpPr>
            <p:spPr bwMode="auto">
              <a:xfrm>
                <a:off x="12076928" y="513656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sp>
        <p:nvSpPr>
          <p:cNvPr id="155" name="Freeform: Shape 154">
            <a:extLst>
              <a:ext uri="{FF2B5EF4-FFF2-40B4-BE49-F238E27FC236}">
                <a16:creationId xmlns:a16="http://schemas.microsoft.com/office/drawing/2014/main" id="{EF783045-44B2-41D9-B7F6-6239D9773C13}"/>
              </a:ext>
            </a:extLst>
          </p:cNvPr>
          <p:cNvSpPr/>
          <p:nvPr/>
        </p:nvSpPr>
        <p:spPr bwMode="auto">
          <a:xfrm>
            <a:off x="9265595" y="2506770"/>
            <a:ext cx="2391412" cy="3241281"/>
          </a:xfrm>
          <a:custGeom>
            <a:avLst/>
            <a:gdLst>
              <a:gd name="connsiteX0" fmla="*/ 1738513 w 2391751"/>
              <a:gd name="connsiteY0" fmla="*/ 2782750 h 3241740"/>
              <a:gd name="connsiteX1" fmla="*/ 2391751 w 2391751"/>
              <a:gd name="connsiteY1" fmla="*/ 2782750 h 3241740"/>
              <a:gd name="connsiteX2" fmla="*/ 2391751 w 2391751"/>
              <a:gd name="connsiteY2" fmla="*/ 3241740 h 3241740"/>
              <a:gd name="connsiteX3" fmla="*/ 1738513 w 2391751"/>
              <a:gd name="connsiteY3" fmla="*/ 3241740 h 3241740"/>
              <a:gd name="connsiteX4" fmla="*/ 869256 w 2391751"/>
              <a:gd name="connsiteY4" fmla="*/ 2782750 h 3241740"/>
              <a:gd name="connsiteX5" fmla="*/ 1522494 w 2391751"/>
              <a:gd name="connsiteY5" fmla="*/ 2782750 h 3241740"/>
              <a:gd name="connsiteX6" fmla="*/ 1522494 w 2391751"/>
              <a:gd name="connsiteY6" fmla="*/ 3241740 h 3241740"/>
              <a:gd name="connsiteX7" fmla="*/ 869256 w 2391751"/>
              <a:gd name="connsiteY7" fmla="*/ 3241740 h 3241740"/>
              <a:gd name="connsiteX8" fmla="*/ 0 w 2391751"/>
              <a:gd name="connsiteY8" fmla="*/ 2782750 h 3241740"/>
              <a:gd name="connsiteX9" fmla="*/ 653238 w 2391751"/>
              <a:gd name="connsiteY9" fmla="*/ 2782750 h 3241740"/>
              <a:gd name="connsiteX10" fmla="*/ 653238 w 2391751"/>
              <a:gd name="connsiteY10" fmla="*/ 3241740 h 3241740"/>
              <a:gd name="connsiteX11" fmla="*/ 0 w 2391751"/>
              <a:gd name="connsiteY11" fmla="*/ 3241740 h 3241740"/>
              <a:gd name="connsiteX12" fmla="*/ 1738513 w 2391751"/>
              <a:gd name="connsiteY12" fmla="*/ 2087063 h 3241740"/>
              <a:gd name="connsiteX13" fmla="*/ 2391751 w 2391751"/>
              <a:gd name="connsiteY13" fmla="*/ 2087063 h 3241740"/>
              <a:gd name="connsiteX14" fmla="*/ 2391751 w 2391751"/>
              <a:gd name="connsiteY14" fmla="*/ 2546053 h 3241740"/>
              <a:gd name="connsiteX15" fmla="*/ 1738513 w 2391751"/>
              <a:gd name="connsiteY15" fmla="*/ 2546053 h 3241740"/>
              <a:gd name="connsiteX16" fmla="*/ 869256 w 2391751"/>
              <a:gd name="connsiteY16" fmla="*/ 2087063 h 3241740"/>
              <a:gd name="connsiteX17" fmla="*/ 1522494 w 2391751"/>
              <a:gd name="connsiteY17" fmla="*/ 2087063 h 3241740"/>
              <a:gd name="connsiteX18" fmla="*/ 1522494 w 2391751"/>
              <a:gd name="connsiteY18" fmla="*/ 2546053 h 3241740"/>
              <a:gd name="connsiteX19" fmla="*/ 869256 w 2391751"/>
              <a:gd name="connsiteY19" fmla="*/ 2546053 h 3241740"/>
              <a:gd name="connsiteX20" fmla="*/ 0 w 2391751"/>
              <a:gd name="connsiteY20" fmla="*/ 2087063 h 3241740"/>
              <a:gd name="connsiteX21" fmla="*/ 653238 w 2391751"/>
              <a:gd name="connsiteY21" fmla="*/ 2087063 h 3241740"/>
              <a:gd name="connsiteX22" fmla="*/ 653238 w 2391751"/>
              <a:gd name="connsiteY22" fmla="*/ 2546053 h 3241740"/>
              <a:gd name="connsiteX23" fmla="*/ 0 w 2391751"/>
              <a:gd name="connsiteY23" fmla="*/ 2546053 h 3241740"/>
              <a:gd name="connsiteX24" fmla="*/ 1738513 w 2391751"/>
              <a:gd name="connsiteY24" fmla="*/ 1391375 h 3241740"/>
              <a:gd name="connsiteX25" fmla="*/ 2391751 w 2391751"/>
              <a:gd name="connsiteY25" fmla="*/ 1391375 h 3241740"/>
              <a:gd name="connsiteX26" fmla="*/ 2391751 w 2391751"/>
              <a:gd name="connsiteY26" fmla="*/ 1850365 h 3241740"/>
              <a:gd name="connsiteX27" fmla="*/ 1738513 w 2391751"/>
              <a:gd name="connsiteY27" fmla="*/ 1850365 h 3241740"/>
              <a:gd name="connsiteX28" fmla="*/ 869256 w 2391751"/>
              <a:gd name="connsiteY28" fmla="*/ 1391375 h 3241740"/>
              <a:gd name="connsiteX29" fmla="*/ 1522494 w 2391751"/>
              <a:gd name="connsiteY29" fmla="*/ 1391375 h 3241740"/>
              <a:gd name="connsiteX30" fmla="*/ 1522494 w 2391751"/>
              <a:gd name="connsiteY30" fmla="*/ 1850365 h 3241740"/>
              <a:gd name="connsiteX31" fmla="*/ 869256 w 2391751"/>
              <a:gd name="connsiteY31" fmla="*/ 1850365 h 3241740"/>
              <a:gd name="connsiteX32" fmla="*/ 0 w 2391751"/>
              <a:gd name="connsiteY32" fmla="*/ 1391375 h 3241740"/>
              <a:gd name="connsiteX33" fmla="*/ 653238 w 2391751"/>
              <a:gd name="connsiteY33" fmla="*/ 1391375 h 3241740"/>
              <a:gd name="connsiteX34" fmla="*/ 653238 w 2391751"/>
              <a:gd name="connsiteY34" fmla="*/ 1850365 h 3241740"/>
              <a:gd name="connsiteX35" fmla="*/ 0 w 2391751"/>
              <a:gd name="connsiteY35" fmla="*/ 1850365 h 3241740"/>
              <a:gd name="connsiteX36" fmla="*/ 1738513 w 2391751"/>
              <a:gd name="connsiteY36" fmla="*/ 695688 h 3241740"/>
              <a:gd name="connsiteX37" fmla="*/ 2391751 w 2391751"/>
              <a:gd name="connsiteY37" fmla="*/ 695688 h 3241740"/>
              <a:gd name="connsiteX38" fmla="*/ 2391751 w 2391751"/>
              <a:gd name="connsiteY38" fmla="*/ 1154678 h 3241740"/>
              <a:gd name="connsiteX39" fmla="*/ 1738513 w 2391751"/>
              <a:gd name="connsiteY39" fmla="*/ 1154678 h 3241740"/>
              <a:gd name="connsiteX40" fmla="*/ 869256 w 2391751"/>
              <a:gd name="connsiteY40" fmla="*/ 695688 h 3241740"/>
              <a:gd name="connsiteX41" fmla="*/ 1522494 w 2391751"/>
              <a:gd name="connsiteY41" fmla="*/ 695688 h 3241740"/>
              <a:gd name="connsiteX42" fmla="*/ 1522494 w 2391751"/>
              <a:gd name="connsiteY42" fmla="*/ 1154678 h 3241740"/>
              <a:gd name="connsiteX43" fmla="*/ 869256 w 2391751"/>
              <a:gd name="connsiteY43" fmla="*/ 1154678 h 3241740"/>
              <a:gd name="connsiteX44" fmla="*/ 0 w 2391751"/>
              <a:gd name="connsiteY44" fmla="*/ 695688 h 3241740"/>
              <a:gd name="connsiteX45" fmla="*/ 653238 w 2391751"/>
              <a:gd name="connsiteY45" fmla="*/ 695688 h 3241740"/>
              <a:gd name="connsiteX46" fmla="*/ 653238 w 2391751"/>
              <a:gd name="connsiteY46" fmla="*/ 1154678 h 3241740"/>
              <a:gd name="connsiteX47" fmla="*/ 0 w 2391751"/>
              <a:gd name="connsiteY47" fmla="*/ 1154678 h 3241740"/>
              <a:gd name="connsiteX48" fmla="*/ 1738513 w 2391751"/>
              <a:gd name="connsiteY48" fmla="*/ 0 h 3241740"/>
              <a:gd name="connsiteX49" fmla="*/ 2391751 w 2391751"/>
              <a:gd name="connsiteY49" fmla="*/ 0 h 3241740"/>
              <a:gd name="connsiteX50" fmla="*/ 2391751 w 2391751"/>
              <a:gd name="connsiteY50" fmla="*/ 458990 h 3241740"/>
              <a:gd name="connsiteX51" fmla="*/ 1738513 w 2391751"/>
              <a:gd name="connsiteY51" fmla="*/ 458990 h 3241740"/>
              <a:gd name="connsiteX52" fmla="*/ 869256 w 2391751"/>
              <a:gd name="connsiteY52" fmla="*/ 0 h 3241740"/>
              <a:gd name="connsiteX53" fmla="*/ 1522494 w 2391751"/>
              <a:gd name="connsiteY53" fmla="*/ 0 h 3241740"/>
              <a:gd name="connsiteX54" fmla="*/ 1522494 w 2391751"/>
              <a:gd name="connsiteY54" fmla="*/ 458990 h 3241740"/>
              <a:gd name="connsiteX55" fmla="*/ 869256 w 2391751"/>
              <a:gd name="connsiteY55" fmla="*/ 458990 h 3241740"/>
              <a:gd name="connsiteX56" fmla="*/ 0 w 2391751"/>
              <a:gd name="connsiteY56" fmla="*/ 0 h 3241740"/>
              <a:gd name="connsiteX57" fmla="*/ 653238 w 2391751"/>
              <a:gd name="connsiteY57" fmla="*/ 0 h 3241740"/>
              <a:gd name="connsiteX58" fmla="*/ 653238 w 2391751"/>
              <a:gd name="connsiteY58" fmla="*/ 458990 h 3241740"/>
              <a:gd name="connsiteX59" fmla="*/ 0 w 2391751"/>
              <a:gd name="connsiteY59" fmla="*/ 458990 h 324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391751" h="3241740">
                <a:moveTo>
                  <a:pt x="1738513" y="2782750"/>
                </a:moveTo>
                <a:lnTo>
                  <a:pt x="2391751" y="2782750"/>
                </a:lnTo>
                <a:lnTo>
                  <a:pt x="2391751" y="3241740"/>
                </a:lnTo>
                <a:lnTo>
                  <a:pt x="1738513" y="3241740"/>
                </a:lnTo>
                <a:close/>
                <a:moveTo>
                  <a:pt x="869256" y="2782750"/>
                </a:moveTo>
                <a:lnTo>
                  <a:pt x="1522494" y="2782750"/>
                </a:lnTo>
                <a:lnTo>
                  <a:pt x="1522494" y="3241740"/>
                </a:lnTo>
                <a:lnTo>
                  <a:pt x="869256" y="3241740"/>
                </a:lnTo>
                <a:close/>
                <a:moveTo>
                  <a:pt x="0" y="2782750"/>
                </a:moveTo>
                <a:lnTo>
                  <a:pt x="653238" y="2782750"/>
                </a:lnTo>
                <a:lnTo>
                  <a:pt x="653238" y="3241740"/>
                </a:lnTo>
                <a:lnTo>
                  <a:pt x="0" y="3241740"/>
                </a:lnTo>
                <a:close/>
                <a:moveTo>
                  <a:pt x="1738513" y="2087063"/>
                </a:moveTo>
                <a:lnTo>
                  <a:pt x="2391751" y="2087063"/>
                </a:lnTo>
                <a:lnTo>
                  <a:pt x="2391751" y="2546053"/>
                </a:lnTo>
                <a:lnTo>
                  <a:pt x="1738513" y="2546053"/>
                </a:lnTo>
                <a:close/>
                <a:moveTo>
                  <a:pt x="869256" y="2087063"/>
                </a:moveTo>
                <a:lnTo>
                  <a:pt x="1522494" y="2087063"/>
                </a:lnTo>
                <a:lnTo>
                  <a:pt x="1522494" y="2546053"/>
                </a:lnTo>
                <a:lnTo>
                  <a:pt x="869256" y="2546053"/>
                </a:lnTo>
                <a:close/>
                <a:moveTo>
                  <a:pt x="0" y="2087063"/>
                </a:moveTo>
                <a:lnTo>
                  <a:pt x="653238" y="2087063"/>
                </a:lnTo>
                <a:lnTo>
                  <a:pt x="653238" y="2546053"/>
                </a:lnTo>
                <a:lnTo>
                  <a:pt x="0" y="2546053"/>
                </a:lnTo>
                <a:close/>
                <a:moveTo>
                  <a:pt x="1738513" y="1391375"/>
                </a:moveTo>
                <a:lnTo>
                  <a:pt x="2391751" y="1391375"/>
                </a:lnTo>
                <a:lnTo>
                  <a:pt x="2391751" y="1850365"/>
                </a:lnTo>
                <a:lnTo>
                  <a:pt x="1738513" y="1850365"/>
                </a:lnTo>
                <a:close/>
                <a:moveTo>
                  <a:pt x="869256" y="1391375"/>
                </a:moveTo>
                <a:lnTo>
                  <a:pt x="1522494" y="1391375"/>
                </a:lnTo>
                <a:lnTo>
                  <a:pt x="1522494" y="1850365"/>
                </a:lnTo>
                <a:lnTo>
                  <a:pt x="869256" y="1850365"/>
                </a:lnTo>
                <a:close/>
                <a:moveTo>
                  <a:pt x="0" y="1391375"/>
                </a:moveTo>
                <a:lnTo>
                  <a:pt x="653238" y="1391375"/>
                </a:lnTo>
                <a:lnTo>
                  <a:pt x="653238" y="1850365"/>
                </a:lnTo>
                <a:lnTo>
                  <a:pt x="0" y="1850365"/>
                </a:lnTo>
                <a:close/>
                <a:moveTo>
                  <a:pt x="1738513" y="695688"/>
                </a:moveTo>
                <a:lnTo>
                  <a:pt x="2391751" y="695688"/>
                </a:lnTo>
                <a:lnTo>
                  <a:pt x="2391751" y="1154678"/>
                </a:lnTo>
                <a:lnTo>
                  <a:pt x="1738513" y="1154678"/>
                </a:lnTo>
                <a:close/>
                <a:moveTo>
                  <a:pt x="869256" y="695688"/>
                </a:moveTo>
                <a:lnTo>
                  <a:pt x="1522494" y="695688"/>
                </a:lnTo>
                <a:lnTo>
                  <a:pt x="1522494" y="1154678"/>
                </a:lnTo>
                <a:lnTo>
                  <a:pt x="869256" y="1154678"/>
                </a:lnTo>
                <a:close/>
                <a:moveTo>
                  <a:pt x="0" y="695688"/>
                </a:moveTo>
                <a:lnTo>
                  <a:pt x="653238" y="695688"/>
                </a:lnTo>
                <a:lnTo>
                  <a:pt x="653238" y="1154678"/>
                </a:lnTo>
                <a:lnTo>
                  <a:pt x="0" y="1154678"/>
                </a:lnTo>
                <a:close/>
                <a:moveTo>
                  <a:pt x="1738513" y="0"/>
                </a:moveTo>
                <a:lnTo>
                  <a:pt x="2391751" y="0"/>
                </a:lnTo>
                <a:lnTo>
                  <a:pt x="2391751" y="458990"/>
                </a:lnTo>
                <a:lnTo>
                  <a:pt x="1738513" y="458990"/>
                </a:lnTo>
                <a:close/>
                <a:moveTo>
                  <a:pt x="869256" y="0"/>
                </a:moveTo>
                <a:lnTo>
                  <a:pt x="1522494" y="0"/>
                </a:lnTo>
                <a:lnTo>
                  <a:pt x="1522494" y="458990"/>
                </a:lnTo>
                <a:lnTo>
                  <a:pt x="869256" y="458990"/>
                </a:lnTo>
                <a:close/>
                <a:moveTo>
                  <a:pt x="0" y="0"/>
                </a:moveTo>
                <a:lnTo>
                  <a:pt x="653238" y="0"/>
                </a:lnTo>
                <a:lnTo>
                  <a:pt x="653238" y="458990"/>
                </a:lnTo>
                <a:lnTo>
                  <a:pt x="0" y="45899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Tree>
    <p:extLst>
      <p:ext uri="{BB962C8B-B14F-4D97-AF65-F5344CB8AC3E}">
        <p14:creationId xmlns:p14="http://schemas.microsoft.com/office/powerpoint/2010/main" val="1757507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500"/>
                                  </p:stCondLst>
                                  <p:childTnLst>
                                    <p:animEffect transition="out" filter="fade">
                                      <p:cBhvr>
                                        <p:cTn id="6" dur="500"/>
                                        <p:tgtEl>
                                          <p:spTgt spid="93"/>
                                        </p:tgtEl>
                                      </p:cBhvr>
                                    </p:animEffect>
                                    <p:set>
                                      <p:cBhvr>
                                        <p:cTn id="7" dur="1" fill="hold">
                                          <p:stCondLst>
                                            <p:cond delay="499"/>
                                          </p:stCondLst>
                                        </p:cTn>
                                        <p:tgtEl>
                                          <p:spTgt spid="93"/>
                                        </p:tgtEl>
                                        <p:attrNameLst>
                                          <p:attrName>style.visibility</p:attrName>
                                        </p:attrNameLst>
                                      </p:cBhvr>
                                      <p:to>
                                        <p:strVal val="hidden"/>
                                      </p:to>
                                    </p:set>
                                  </p:childTnLst>
                                </p:cTn>
                              </p:par>
                              <p:par>
                                <p:cTn id="8" presetID="10" presetClass="entr" presetSubtype="0" fill="hold" grpId="2" nodeType="withEffect">
                                  <p:stCondLst>
                                    <p:cond delay="500"/>
                                  </p:stCondLst>
                                  <p:childTnLst>
                                    <p:set>
                                      <p:cBhvr>
                                        <p:cTn id="9" dur="1" fill="hold">
                                          <p:stCondLst>
                                            <p:cond delay="0"/>
                                          </p:stCondLst>
                                        </p:cTn>
                                        <p:tgtEl>
                                          <p:spTgt spid="155"/>
                                        </p:tgtEl>
                                        <p:attrNameLst>
                                          <p:attrName>style.visibility</p:attrName>
                                        </p:attrNameLst>
                                      </p:cBhvr>
                                      <p:to>
                                        <p:strVal val="visible"/>
                                      </p:to>
                                    </p:set>
                                    <p:animEffect transition="in" filter="fade">
                                      <p:cBhvr>
                                        <p:cTn id="10" dur="500"/>
                                        <p:tgtEl>
                                          <p:spTgt spid="155"/>
                                        </p:tgtEl>
                                      </p:cBhvr>
                                    </p:animEffect>
                                  </p:childTnLst>
                                </p:cTn>
                              </p:par>
                            </p:childTnLst>
                          </p:cTn>
                        </p:par>
                        <p:par>
                          <p:cTn id="11" fill="hold">
                            <p:stCondLst>
                              <p:cond delay="1000"/>
                            </p:stCondLst>
                            <p:childTnLst>
                              <p:par>
                                <p:cTn id="12" presetID="42" presetClass="path" presetSubtype="0" accel="50000" decel="50000" fill="hold" grpId="0" nodeType="afterEffect">
                                  <p:stCondLst>
                                    <p:cond delay="0"/>
                                  </p:stCondLst>
                                  <p:childTnLst>
                                    <p:animMotion origin="layout" path="M -2.91667E-6 3.7037E-7 L -0.38307 0.05301 " pathEditMode="relative" rAng="0" ptsTypes="AA">
                                      <p:cBhvr>
                                        <p:cTn id="13" dur="1500" fill="hold"/>
                                        <p:tgtEl>
                                          <p:spTgt spid="155"/>
                                        </p:tgtEl>
                                        <p:attrNameLst>
                                          <p:attrName>ppt_x</p:attrName>
                                          <p:attrName>ppt_y</p:attrName>
                                        </p:attrNameLst>
                                      </p:cBhvr>
                                      <p:rCtr x="-19154" y="2639"/>
                                    </p:animMotion>
                                  </p:childTnLst>
                                </p:cTn>
                              </p:par>
                              <p:par>
                                <p:cTn id="14" presetID="10" presetClass="exit" presetSubtype="0" fill="hold" grpId="1" nodeType="withEffect">
                                  <p:stCondLst>
                                    <p:cond delay="1000"/>
                                  </p:stCondLst>
                                  <p:childTnLst>
                                    <p:animEffect transition="out" filter="fade">
                                      <p:cBhvr>
                                        <p:cTn id="15" dur="500"/>
                                        <p:tgtEl>
                                          <p:spTgt spid="155"/>
                                        </p:tgtEl>
                                      </p:cBhvr>
                                    </p:animEffect>
                                    <p:set>
                                      <p:cBhvr>
                                        <p:cTn id="16" dur="1" fill="hold">
                                          <p:stCondLst>
                                            <p:cond delay="499"/>
                                          </p:stCondLst>
                                        </p:cTn>
                                        <p:tgtEl>
                                          <p:spTgt spid="155"/>
                                        </p:tgtEl>
                                        <p:attrNameLst>
                                          <p:attrName>style.visibility</p:attrName>
                                        </p:attrNameLst>
                                      </p:cBhvr>
                                      <p:to>
                                        <p:strVal val="hidden"/>
                                      </p:to>
                                    </p:set>
                                  </p:childTnLst>
                                </p:cTn>
                              </p:par>
                              <p:par>
                                <p:cTn id="17" presetID="6" presetClass="emph" presetSubtype="0" fill="hold" grpId="3" nodeType="withEffect">
                                  <p:stCondLst>
                                    <p:cond delay="250"/>
                                  </p:stCondLst>
                                  <p:childTnLst>
                                    <p:animScale>
                                      <p:cBhvr>
                                        <p:cTn id="18" dur="1250" fill="hold"/>
                                        <p:tgtEl>
                                          <p:spTgt spid="155"/>
                                        </p:tgtEl>
                                      </p:cBhvr>
                                      <p:by x="115000" y="100000"/>
                                    </p:animScale>
                                  </p:childTnLst>
                                </p:cTn>
                              </p:par>
                              <p:par>
                                <p:cTn id="19" presetID="10" presetClass="entr" presetSubtype="0" fill="hold" grpId="0" nodeType="withEffect">
                                  <p:stCondLst>
                                    <p:cond delay="75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750"/>
                                        <p:tgtEl>
                                          <p:spTgt spid="18"/>
                                        </p:tgtEl>
                                      </p:cBhvr>
                                    </p:animEffect>
                                  </p:childTnLst>
                                </p:cTn>
                              </p:par>
                              <p:par>
                                <p:cTn id="22" presetID="10" presetClass="entr" presetSubtype="0" fill="hold" grpId="0" nodeType="withEffect">
                                  <p:stCondLst>
                                    <p:cond delay="750"/>
                                  </p:stCondLst>
                                  <p:childTnLst>
                                    <p:set>
                                      <p:cBhvr>
                                        <p:cTn id="23" dur="1" fill="hold">
                                          <p:stCondLst>
                                            <p:cond delay="0"/>
                                          </p:stCondLst>
                                        </p:cTn>
                                        <p:tgtEl>
                                          <p:spTgt spid="196"/>
                                        </p:tgtEl>
                                        <p:attrNameLst>
                                          <p:attrName>style.visibility</p:attrName>
                                        </p:attrNameLst>
                                      </p:cBhvr>
                                      <p:to>
                                        <p:strVal val="visible"/>
                                      </p:to>
                                    </p:set>
                                    <p:animEffect transition="in" filter="fade">
                                      <p:cBhvr>
                                        <p:cTn id="24" dur="750"/>
                                        <p:tgtEl>
                                          <p:spTgt spid="196"/>
                                        </p:tgtEl>
                                      </p:cBhvr>
                                    </p:animEffect>
                                  </p:childTnLst>
                                </p:cTn>
                              </p:par>
                              <p:par>
                                <p:cTn id="25" presetID="10" presetClass="entr" presetSubtype="0" fill="hold" grpId="0" nodeType="withEffect">
                                  <p:stCondLst>
                                    <p:cond delay="75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750"/>
                                        <p:tgtEl>
                                          <p:spTgt spid="5"/>
                                        </p:tgtEl>
                                      </p:cBhvr>
                                    </p:animEffect>
                                  </p:childTnLst>
                                </p:cTn>
                              </p:par>
                              <p:par>
                                <p:cTn id="28" presetID="10" presetClass="entr" presetSubtype="0" fill="hold" grpId="0" nodeType="withEffect">
                                  <p:stCondLst>
                                    <p:cond delay="750"/>
                                  </p:stCondLst>
                                  <p:childTnLst>
                                    <p:set>
                                      <p:cBhvr>
                                        <p:cTn id="29" dur="1" fill="hold">
                                          <p:stCondLst>
                                            <p:cond delay="0"/>
                                          </p:stCondLst>
                                        </p:cTn>
                                        <p:tgtEl>
                                          <p:spTgt spid="69"/>
                                        </p:tgtEl>
                                        <p:attrNameLst>
                                          <p:attrName>style.visibility</p:attrName>
                                        </p:attrNameLst>
                                      </p:cBhvr>
                                      <p:to>
                                        <p:strVal val="visible"/>
                                      </p:to>
                                    </p:set>
                                    <p:animEffect transition="in" filter="fade">
                                      <p:cBhvr>
                                        <p:cTn id="30" dur="750"/>
                                        <p:tgtEl>
                                          <p:spTgt spid="69"/>
                                        </p:tgtEl>
                                      </p:cBhvr>
                                    </p:animEffect>
                                  </p:childTnLst>
                                </p:cTn>
                              </p:par>
                              <p:par>
                                <p:cTn id="31" presetID="10" presetClass="entr" presetSubtype="0" fill="hold" nodeType="withEffect">
                                  <p:stCondLst>
                                    <p:cond delay="750"/>
                                  </p:stCondLst>
                                  <p:childTnLst>
                                    <p:set>
                                      <p:cBhvr>
                                        <p:cTn id="32" dur="1" fill="hold">
                                          <p:stCondLst>
                                            <p:cond delay="0"/>
                                          </p:stCondLst>
                                        </p:cTn>
                                        <p:tgtEl>
                                          <p:spTgt spid="2"/>
                                        </p:tgtEl>
                                        <p:attrNameLst>
                                          <p:attrName>style.visibility</p:attrName>
                                        </p:attrNameLst>
                                      </p:cBhvr>
                                      <p:to>
                                        <p:strVal val="visible"/>
                                      </p:to>
                                    </p:set>
                                    <p:animEffect transition="in" filter="fade">
                                      <p:cBhvr>
                                        <p:cTn id="33" dur="750"/>
                                        <p:tgtEl>
                                          <p:spTgt spid="2"/>
                                        </p:tgtEl>
                                      </p:cBhvr>
                                    </p:animEffect>
                                  </p:childTnLst>
                                </p:cTn>
                              </p:par>
                              <p:par>
                                <p:cTn id="34" presetID="10" presetClass="entr" presetSubtype="0" fill="hold" grpId="0" nodeType="withEffect">
                                  <p:stCondLst>
                                    <p:cond delay="750"/>
                                  </p:stCondLst>
                                  <p:childTnLst>
                                    <p:set>
                                      <p:cBhvr>
                                        <p:cTn id="35" dur="1" fill="hold">
                                          <p:stCondLst>
                                            <p:cond delay="0"/>
                                          </p:stCondLst>
                                        </p:cTn>
                                        <p:tgtEl>
                                          <p:spTgt spid="147"/>
                                        </p:tgtEl>
                                        <p:attrNameLst>
                                          <p:attrName>style.visibility</p:attrName>
                                        </p:attrNameLst>
                                      </p:cBhvr>
                                      <p:to>
                                        <p:strVal val="visible"/>
                                      </p:to>
                                    </p:set>
                                    <p:animEffect transition="in" filter="fade">
                                      <p:cBhvr>
                                        <p:cTn id="36" dur="750"/>
                                        <p:tgtEl>
                                          <p:spTgt spid="147"/>
                                        </p:tgtEl>
                                      </p:cBhvr>
                                    </p:animEffect>
                                  </p:childTnLst>
                                </p:cTn>
                              </p:par>
                              <p:par>
                                <p:cTn id="37" presetID="10" presetClass="entr" presetSubtype="0" fill="hold" grpId="0" nodeType="withEffect">
                                  <p:stCondLst>
                                    <p:cond delay="750"/>
                                  </p:stCondLst>
                                  <p:childTnLst>
                                    <p:set>
                                      <p:cBhvr>
                                        <p:cTn id="38" dur="1" fill="hold">
                                          <p:stCondLst>
                                            <p:cond delay="0"/>
                                          </p:stCondLst>
                                        </p:cTn>
                                        <p:tgtEl>
                                          <p:spTgt spid="148"/>
                                        </p:tgtEl>
                                        <p:attrNameLst>
                                          <p:attrName>style.visibility</p:attrName>
                                        </p:attrNameLst>
                                      </p:cBhvr>
                                      <p:to>
                                        <p:strVal val="visible"/>
                                      </p:to>
                                    </p:set>
                                    <p:animEffect transition="in" filter="fade">
                                      <p:cBhvr>
                                        <p:cTn id="39" dur="750"/>
                                        <p:tgtEl>
                                          <p:spTgt spid="148"/>
                                        </p:tgtEl>
                                      </p:cBhvr>
                                    </p:animEffect>
                                  </p:childTnLst>
                                </p:cTn>
                              </p:par>
                              <p:par>
                                <p:cTn id="40" presetID="10" presetClass="entr" presetSubtype="0" fill="hold" grpId="0" nodeType="withEffect">
                                  <p:stCondLst>
                                    <p:cond delay="750"/>
                                  </p:stCondLst>
                                  <p:childTnLst>
                                    <p:set>
                                      <p:cBhvr>
                                        <p:cTn id="41" dur="1" fill="hold">
                                          <p:stCondLst>
                                            <p:cond delay="0"/>
                                          </p:stCondLst>
                                        </p:cTn>
                                        <p:tgtEl>
                                          <p:spTgt spid="149"/>
                                        </p:tgtEl>
                                        <p:attrNameLst>
                                          <p:attrName>style.visibility</p:attrName>
                                        </p:attrNameLst>
                                      </p:cBhvr>
                                      <p:to>
                                        <p:strVal val="visible"/>
                                      </p:to>
                                    </p:set>
                                    <p:animEffect transition="in" filter="fade">
                                      <p:cBhvr>
                                        <p:cTn id="42" dur="750"/>
                                        <p:tgtEl>
                                          <p:spTgt spid="149"/>
                                        </p:tgtEl>
                                      </p:cBhvr>
                                    </p:animEffect>
                                  </p:childTnLst>
                                </p:cTn>
                              </p:par>
                              <p:par>
                                <p:cTn id="43" presetID="10" presetClass="entr" presetSubtype="0" fill="hold" grpId="0" nodeType="withEffect">
                                  <p:stCondLst>
                                    <p:cond delay="750"/>
                                  </p:stCondLst>
                                  <p:childTnLst>
                                    <p:set>
                                      <p:cBhvr>
                                        <p:cTn id="44" dur="1" fill="hold">
                                          <p:stCondLst>
                                            <p:cond delay="0"/>
                                          </p:stCondLst>
                                        </p:cTn>
                                        <p:tgtEl>
                                          <p:spTgt spid="150"/>
                                        </p:tgtEl>
                                        <p:attrNameLst>
                                          <p:attrName>style.visibility</p:attrName>
                                        </p:attrNameLst>
                                      </p:cBhvr>
                                      <p:to>
                                        <p:strVal val="visible"/>
                                      </p:to>
                                    </p:set>
                                    <p:animEffect transition="in" filter="fade">
                                      <p:cBhvr>
                                        <p:cTn id="45" dur="750"/>
                                        <p:tgtEl>
                                          <p:spTgt spid="150"/>
                                        </p:tgtEl>
                                      </p:cBhvr>
                                    </p:animEffect>
                                  </p:childTnLst>
                                </p:cTn>
                              </p:par>
                              <p:par>
                                <p:cTn id="46" presetID="10" presetClass="entr" presetSubtype="0" fill="hold" grpId="0" nodeType="withEffect">
                                  <p:stCondLst>
                                    <p:cond delay="750"/>
                                  </p:stCondLst>
                                  <p:childTnLst>
                                    <p:set>
                                      <p:cBhvr>
                                        <p:cTn id="47" dur="1" fill="hold">
                                          <p:stCondLst>
                                            <p:cond delay="0"/>
                                          </p:stCondLst>
                                        </p:cTn>
                                        <p:tgtEl>
                                          <p:spTgt spid="32"/>
                                        </p:tgtEl>
                                        <p:attrNameLst>
                                          <p:attrName>style.visibility</p:attrName>
                                        </p:attrNameLst>
                                      </p:cBhvr>
                                      <p:to>
                                        <p:strVal val="visible"/>
                                      </p:to>
                                    </p:set>
                                    <p:animEffect transition="in" filter="fade">
                                      <p:cBhvr>
                                        <p:cTn id="48" dur="750"/>
                                        <p:tgtEl>
                                          <p:spTgt spid="32"/>
                                        </p:tgtEl>
                                      </p:cBhvr>
                                    </p:animEffect>
                                  </p:childTnLst>
                                </p:cTn>
                              </p:par>
                              <p:par>
                                <p:cTn id="49" presetID="10" presetClass="entr" presetSubtype="0" fill="hold" nodeType="withEffect">
                                  <p:stCondLst>
                                    <p:cond delay="750"/>
                                  </p:stCondLst>
                                  <p:childTnLst>
                                    <p:set>
                                      <p:cBhvr>
                                        <p:cTn id="50" dur="1" fill="hold">
                                          <p:stCondLst>
                                            <p:cond delay="0"/>
                                          </p:stCondLst>
                                        </p:cTn>
                                        <p:tgtEl>
                                          <p:spTgt spid="109"/>
                                        </p:tgtEl>
                                        <p:attrNameLst>
                                          <p:attrName>style.visibility</p:attrName>
                                        </p:attrNameLst>
                                      </p:cBhvr>
                                      <p:to>
                                        <p:strVal val="visible"/>
                                      </p:to>
                                    </p:set>
                                    <p:animEffect transition="in" filter="fade">
                                      <p:cBhvr>
                                        <p:cTn id="51" dur="750"/>
                                        <p:tgtEl>
                                          <p:spTgt spid="109"/>
                                        </p:tgtEl>
                                      </p:cBhvr>
                                    </p:animEffect>
                                  </p:childTnLst>
                                </p:cTn>
                              </p:par>
                              <p:par>
                                <p:cTn id="52" presetID="10" presetClass="entr" presetSubtype="0" fill="hold" nodeType="withEffect">
                                  <p:stCondLst>
                                    <p:cond delay="750"/>
                                  </p:stCondLst>
                                  <p:childTnLst>
                                    <p:set>
                                      <p:cBhvr>
                                        <p:cTn id="53" dur="1" fill="hold">
                                          <p:stCondLst>
                                            <p:cond delay="0"/>
                                          </p:stCondLst>
                                        </p:cTn>
                                        <p:tgtEl>
                                          <p:spTgt spid="212"/>
                                        </p:tgtEl>
                                        <p:attrNameLst>
                                          <p:attrName>style.visibility</p:attrName>
                                        </p:attrNameLst>
                                      </p:cBhvr>
                                      <p:to>
                                        <p:strVal val="visible"/>
                                      </p:to>
                                    </p:set>
                                    <p:animEffect transition="in" filter="fade">
                                      <p:cBhvr>
                                        <p:cTn id="54" dur="750"/>
                                        <p:tgtEl>
                                          <p:spTgt spid="212"/>
                                        </p:tgtEl>
                                      </p:cBhvr>
                                    </p:animEffect>
                                  </p:childTnLst>
                                </p:cTn>
                              </p:par>
                              <p:par>
                                <p:cTn id="55" presetID="10" presetClass="entr" presetSubtype="0" fill="hold" grpId="0" nodeType="withEffect">
                                  <p:stCondLst>
                                    <p:cond delay="750"/>
                                  </p:stCondLst>
                                  <p:childTnLst>
                                    <p:set>
                                      <p:cBhvr>
                                        <p:cTn id="56" dur="1" fill="hold">
                                          <p:stCondLst>
                                            <p:cond delay="0"/>
                                          </p:stCondLst>
                                        </p:cTn>
                                        <p:tgtEl>
                                          <p:spTgt spid="71"/>
                                        </p:tgtEl>
                                        <p:attrNameLst>
                                          <p:attrName>style.visibility</p:attrName>
                                        </p:attrNameLst>
                                      </p:cBhvr>
                                      <p:to>
                                        <p:strVal val="visible"/>
                                      </p:to>
                                    </p:set>
                                    <p:animEffect transition="in" filter="fade">
                                      <p:cBhvr>
                                        <p:cTn id="57" dur="750"/>
                                        <p:tgtEl>
                                          <p:spTgt spid="71"/>
                                        </p:tgtEl>
                                      </p:cBhvr>
                                    </p:animEffect>
                                  </p:childTnLst>
                                </p:cTn>
                              </p:par>
                              <p:par>
                                <p:cTn id="58" presetID="10" presetClass="entr" presetSubtype="0" fill="hold" nodeType="withEffect">
                                  <p:stCondLst>
                                    <p:cond delay="750"/>
                                  </p:stCondLst>
                                  <p:childTnLst>
                                    <p:set>
                                      <p:cBhvr>
                                        <p:cTn id="59" dur="1" fill="hold">
                                          <p:stCondLst>
                                            <p:cond delay="0"/>
                                          </p:stCondLst>
                                        </p:cTn>
                                        <p:tgtEl>
                                          <p:spTgt spid="218"/>
                                        </p:tgtEl>
                                        <p:attrNameLst>
                                          <p:attrName>style.visibility</p:attrName>
                                        </p:attrNameLst>
                                      </p:cBhvr>
                                      <p:to>
                                        <p:strVal val="visible"/>
                                      </p:to>
                                    </p:set>
                                    <p:animEffect transition="in" filter="fade">
                                      <p:cBhvr>
                                        <p:cTn id="60" dur="750"/>
                                        <p:tgtEl>
                                          <p:spTgt spid="218"/>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250"/>
                                  </p:stCondLst>
                                  <p:childTnLst>
                                    <p:set>
                                      <p:cBhvr>
                                        <p:cTn id="64" dur="1" fill="hold">
                                          <p:stCondLst>
                                            <p:cond delay="0"/>
                                          </p:stCondLst>
                                        </p:cTn>
                                        <p:tgtEl>
                                          <p:spTgt spid="206"/>
                                        </p:tgtEl>
                                        <p:attrNameLst>
                                          <p:attrName>style.visibility</p:attrName>
                                        </p:attrNameLst>
                                      </p:cBhvr>
                                      <p:to>
                                        <p:strVal val="visible"/>
                                      </p:to>
                                    </p:set>
                                    <p:animEffect transition="in" filter="fade">
                                      <p:cBhvr>
                                        <p:cTn id="65" dur="500"/>
                                        <p:tgtEl>
                                          <p:spTgt spid="206"/>
                                        </p:tgtEl>
                                      </p:cBhvr>
                                    </p:animEffect>
                                  </p:childTnLst>
                                </p:cTn>
                              </p:par>
                              <p:par>
                                <p:cTn id="66" presetID="10" presetClass="entr" presetSubtype="0" fill="hold" grpId="0" nodeType="withEffect">
                                  <p:stCondLst>
                                    <p:cond delay="250"/>
                                  </p:stCondLst>
                                  <p:childTnLst>
                                    <p:set>
                                      <p:cBhvr>
                                        <p:cTn id="67" dur="1" fill="hold">
                                          <p:stCondLst>
                                            <p:cond delay="0"/>
                                          </p:stCondLst>
                                        </p:cTn>
                                        <p:tgtEl>
                                          <p:spTgt spid="3"/>
                                        </p:tgtEl>
                                        <p:attrNameLst>
                                          <p:attrName>style.visibility</p:attrName>
                                        </p:attrNameLst>
                                      </p:cBhvr>
                                      <p:to>
                                        <p:strVal val="visible"/>
                                      </p:to>
                                    </p:set>
                                    <p:animEffect transition="in" filter="fade">
                                      <p:cBhvr>
                                        <p:cTn id="68" dur="750"/>
                                        <p:tgtEl>
                                          <p:spTgt spid="3"/>
                                        </p:tgtEl>
                                      </p:cBhvr>
                                    </p:animEffect>
                                  </p:childTnLst>
                                </p:cTn>
                              </p:par>
                              <p:par>
                                <p:cTn id="69" presetID="10" presetClass="entr" presetSubtype="0" fill="hold" grpId="0" nodeType="withEffect">
                                  <p:stCondLst>
                                    <p:cond delay="500"/>
                                  </p:stCondLst>
                                  <p:childTnLst>
                                    <p:set>
                                      <p:cBhvr>
                                        <p:cTn id="70" dur="1" fill="hold">
                                          <p:stCondLst>
                                            <p:cond delay="0"/>
                                          </p:stCondLst>
                                        </p:cTn>
                                        <p:tgtEl>
                                          <p:spTgt spid="207"/>
                                        </p:tgtEl>
                                        <p:attrNameLst>
                                          <p:attrName>style.visibility</p:attrName>
                                        </p:attrNameLst>
                                      </p:cBhvr>
                                      <p:to>
                                        <p:strVal val="visible"/>
                                      </p:to>
                                    </p:set>
                                    <p:animEffect transition="in" filter="fade">
                                      <p:cBhvr>
                                        <p:cTn id="71" dur="750"/>
                                        <p:tgtEl>
                                          <p:spTgt spid="207"/>
                                        </p:tgtEl>
                                      </p:cBhvr>
                                    </p:animEffect>
                                  </p:childTnLst>
                                </p:cTn>
                              </p:par>
                              <p:par>
                                <p:cTn id="72" presetID="10" presetClass="entr" presetSubtype="0" fill="hold" grpId="0" nodeType="withEffect">
                                  <p:stCondLst>
                                    <p:cond delay="250"/>
                                  </p:stCondLst>
                                  <p:childTnLst>
                                    <p:set>
                                      <p:cBhvr>
                                        <p:cTn id="73" dur="1" fill="hold">
                                          <p:stCondLst>
                                            <p:cond delay="0"/>
                                          </p:stCondLst>
                                        </p:cTn>
                                        <p:tgtEl>
                                          <p:spTgt spid="208"/>
                                        </p:tgtEl>
                                        <p:attrNameLst>
                                          <p:attrName>style.visibility</p:attrName>
                                        </p:attrNameLst>
                                      </p:cBhvr>
                                      <p:to>
                                        <p:strVal val="visible"/>
                                      </p:to>
                                    </p:set>
                                    <p:animEffect transition="in" filter="fade">
                                      <p:cBhvr>
                                        <p:cTn id="74" dur="750"/>
                                        <p:tgtEl>
                                          <p:spTgt spid="208"/>
                                        </p:tgtEl>
                                      </p:cBhvr>
                                    </p:animEffect>
                                  </p:childTnLst>
                                </p:cTn>
                              </p:par>
                              <p:par>
                                <p:cTn id="75" presetID="10" presetClass="entr" presetSubtype="0" fill="hold" grpId="0" nodeType="withEffect">
                                  <p:stCondLst>
                                    <p:cond delay="500"/>
                                  </p:stCondLst>
                                  <p:childTnLst>
                                    <p:set>
                                      <p:cBhvr>
                                        <p:cTn id="76" dur="1" fill="hold">
                                          <p:stCondLst>
                                            <p:cond delay="0"/>
                                          </p:stCondLst>
                                        </p:cTn>
                                        <p:tgtEl>
                                          <p:spTgt spid="209"/>
                                        </p:tgtEl>
                                        <p:attrNameLst>
                                          <p:attrName>style.visibility</p:attrName>
                                        </p:attrNameLst>
                                      </p:cBhvr>
                                      <p:to>
                                        <p:strVal val="visible"/>
                                      </p:to>
                                    </p:set>
                                    <p:animEffect transition="in" filter="fade">
                                      <p:cBhvr>
                                        <p:cTn id="77" dur="750"/>
                                        <p:tgtEl>
                                          <p:spTgt spid="209"/>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210"/>
                                        </p:tgtEl>
                                        <p:attrNameLst>
                                          <p:attrName>style.visibility</p:attrName>
                                        </p:attrNameLst>
                                      </p:cBhvr>
                                      <p:to>
                                        <p:strVal val="visible"/>
                                      </p:to>
                                    </p:set>
                                    <p:animEffect transition="in" filter="fade">
                                      <p:cBhvr>
                                        <p:cTn id="80" dur="500"/>
                                        <p:tgtEl>
                                          <p:spTgt spid="210"/>
                                        </p:tgtEl>
                                      </p:cBhvr>
                                    </p:animEffect>
                                  </p:childTnLst>
                                </p:cTn>
                              </p:par>
                              <p:par>
                                <p:cTn id="81" presetID="10" presetClass="entr" presetSubtype="0" fill="hold" grpId="0" nodeType="withEffect">
                                  <p:stCondLst>
                                    <p:cond delay="250"/>
                                  </p:stCondLst>
                                  <p:childTnLst>
                                    <p:set>
                                      <p:cBhvr>
                                        <p:cTn id="82" dur="1" fill="hold">
                                          <p:stCondLst>
                                            <p:cond delay="0"/>
                                          </p:stCondLst>
                                        </p:cTn>
                                        <p:tgtEl>
                                          <p:spTgt spid="92"/>
                                        </p:tgtEl>
                                        <p:attrNameLst>
                                          <p:attrName>style.visibility</p:attrName>
                                        </p:attrNameLst>
                                      </p:cBhvr>
                                      <p:to>
                                        <p:strVal val="visible"/>
                                      </p:to>
                                    </p:set>
                                    <p:animEffect transition="in" filter="fade">
                                      <p:cBhvr>
                                        <p:cTn id="83" dur="650"/>
                                        <p:tgtEl>
                                          <p:spTgt spid="92"/>
                                        </p:tgtEl>
                                      </p:cBhvr>
                                    </p:animEffect>
                                  </p:childTnLst>
                                </p:cTn>
                              </p:par>
                              <p:par>
                                <p:cTn id="84" presetID="10" presetClass="entr" presetSubtype="0" fill="hold" grpId="0" nodeType="withEffect">
                                  <p:stCondLst>
                                    <p:cond delay="750"/>
                                  </p:stCondLst>
                                  <p:childTnLst>
                                    <p:set>
                                      <p:cBhvr>
                                        <p:cTn id="85" dur="1" fill="hold">
                                          <p:stCondLst>
                                            <p:cond delay="0"/>
                                          </p:stCondLst>
                                        </p:cTn>
                                        <p:tgtEl>
                                          <p:spTgt spid="56"/>
                                        </p:tgtEl>
                                        <p:attrNameLst>
                                          <p:attrName>style.visibility</p:attrName>
                                        </p:attrNameLst>
                                      </p:cBhvr>
                                      <p:to>
                                        <p:strVal val="visible"/>
                                      </p:to>
                                    </p:set>
                                    <p:animEffect transition="in" filter="fade">
                                      <p:cBhvr>
                                        <p:cTn id="86" dur="500"/>
                                        <p:tgtEl>
                                          <p:spTgt spid="56"/>
                                        </p:tgtEl>
                                      </p:cBhvr>
                                    </p:animEffect>
                                  </p:childTnLst>
                                </p:cTn>
                              </p:par>
                              <p:par>
                                <p:cTn id="87" presetID="10" presetClass="entr" presetSubtype="0" fill="hold" grpId="0" nodeType="withEffect">
                                  <p:stCondLst>
                                    <p:cond delay="1250"/>
                                  </p:stCondLst>
                                  <p:childTnLst>
                                    <p:set>
                                      <p:cBhvr>
                                        <p:cTn id="88" dur="1" fill="hold">
                                          <p:stCondLst>
                                            <p:cond delay="0"/>
                                          </p:stCondLst>
                                        </p:cTn>
                                        <p:tgtEl>
                                          <p:spTgt spid="57"/>
                                        </p:tgtEl>
                                        <p:attrNameLst>
                                          <p:attrName>style.visibility</p:attrName>
                                        </p:attrNameLst>
                                      </p:cBhvr>
                                      <p:to>
                                        <p:strVal val="visible"/>
                                      </p:to>
                                    </p:set>
                                    <p:animEffect transition="in" filter="fade">
                                      <p:cBhvr>
                                        <p:cTn id="89" dur="750"/>
                                        <p:tgtEl>
                                          <p:spTgt spid="57"/>
                                        </p:tgtEl>
                                      </p:cBhvr>
                                    </p:animEffect>
                                  </p:childTnLst>
                                </p:cTn>
                              </p:par>
                              <p:par>
                                <p:cTn id="90" presetID="10" presetClass="entr" presetSubtype="0" fill="hold" grpId="0" nodeType="withEffect">
                                  <p:stCondLst>
                                    <p:cond delay="1000"/>
                                  </p:stCondLst>
                                  <p:childTnLst>
                                    <p:set>
                                      <p:cBhvr>
                                        <p:cTn id="91" dur="1" fill="hold">
                                          <p:stCondLst>
                                            <p:cond delay="0"/>
                                          </p:stCondLst>
                                        </p:cTn>
                                        <p:tgtEl>
                                          <p:spTgt spid="58"/>
                                        </p:tgtEl>
                                        <p:attrNameLst>
                                          <p:attrName>style.visibility</p:attrName>
                                        </p:attrNameLst>
                                      </p:cBhvr>
                                      <p:to>
                                        <p:strVal val="visible"/>
                                      </p:to>
                                    </p:set>
                                    <p:animEffect transition="in" filter="fade">
                                      <p:cBhvr>
                                        <p:cTn id="92" dur="750"/>
                                        <p:tgtEl>
                                          <p:spTgt spid="58"/>
                                        </p:tgtEl>
                                      </p:cBhvr>
                                    </p:animEffect>
                                  </p:childTnLst>
                                </p:cTn>
                              </p:par>
                              <p:par>
                                <p:cTn id="93" presetID="10" presetClass="entr" presetSubtype="0" fill="hold" grpId="0" nodeType="withEffect">
                                  <p:stCondLst>
                                    <p:cond delay="1250"/>
                                  </p:stCondLst>
                                  <p:childTnLst>
                                    <p:set>
                                      <p:cBhvr>
                                        <p:cTn id="94" dur="1" fill="hold">
                                          <p:stCondLst>
                                            <p:cond delay="0"/>
                                          </p:stCondLst>
                                        </p:cTn>
                                        <p:tgtEl>
                                          <p:spTgt spid="62"/>
                                        </p:tgtEl>
                                        <p:attrNameLst>
                                          <p:attrName>style.visibility</p:attrName>
                                        </p:attrNameLst>
                                      </p:cBhvr>
                                      <p:to>
                                        <p:strVal val="visible"/>
                                      </p:to>
                                    </p:set>
                                    <p:animEffect transition="in" filter="fade">
                                      <p:cBhvr>
                                        <p:cTn id="95" dur="750"/>
                                        <p:tgtEl>
                                          <p:spTgt spid="62"/>
                                        </p:tgtEl>
                                      </p:cBhvr>
                                    </p:animEffect>
                                  </p:childTnLst>
                                </p:cTn>
                              </p:par>
                              <p:par>
                                <p:cTn id="96" presetID="10" presetClass="entr" presetSubtype="0" fill="hold" grpId="0" nodeType="withEffect">
                                  <p:stCondLst>
                                    <p:cond delay="500"/>
                                  </p:stCondLst>
                                  <p:childTnLst>
                                    <p:set>
                                      <p:cBhvr>
                                        <p:cTn id="97" dur="1" fill="hold">
                                          <p:stCondLst>
                                            <p:cond delay="0"/>
                                          </p:stCondLst>
                                        </p:cTn>
                                        <p:tgtEl>
                                          <p:spTgt spid="63"/>
                                        </p:tgtEl>
                                        <p:attrNameLst>
                                          <p:attrName>style.visibility</p:attrName>
                                        </p:attrNameLst>
                                      </p:cBhvr>
                                      <p:to>
                                        <p:strVal val="visible"/>
                                      </p:to>
                                    </p:set>
                                    <p:animEffect transition="in" filter="fade">
                                      <p:cBhvr>
                                        <p:cTn id="98" dur="500"/>
                                        <p:tgtEl>
                                          <p:spTgt spid="63"/>
                                        </p:tgtEl>
                                      </p:cBhvr>
                                    </p:animEffect>
                                  </p:childTnLst>
                                </p:cTn>
                              </p:par>
                              <p:par>
                                <p:cTn id="99" presetID="10" presetClass="entr" presetSubtype="0" fill="hold" grpId="0" nodeType="withEffect">
                                  <p:stCondLst>
                                    <p:cond delay="650"/>
                                  </p:stCondLst>
                                  <p:childTnLst>
                                    <p:set>
                                      <p:cBhvr>
                                        <p:cTn id="100" dur="1" fill="hold">
                                          <p:stCondLst>
                                            <p:cond delay="0"/>
                                          </p:stCondLst>
                                        </p:cTn>
                                        <p:tgtEl>
                                          <p:spTgt spid="65"/>
                                        </p:tgtEl>
                                        <p:attrNameLst>
                                          <p:attrName>style.visibility</p:attrName>
                                        </p:attrNameLst>
                                      </p:cBhvr>
                                      <p:to>
                                        <p:strVal val="visible"/>
                                      </p:to>
                                    </p:set>
                                    <p:animEffect transition="in" filter="fade">
                                      <p:cBhvr>
                                        <p:cTn id="101" dur="650"/>
                                        <p:tgtEl>
                                          <p:spTgt spid="65"/>
                                        </p:tgtEl>
                                      </p:cBhvr>
                                    </p:animEffect>
                                  </p:childTnLst>
                                </p:cTn>
                              </p:par>
                              <p:par>
                                <p:cTn id="102" presetID="10" presetClass="entr" presetSubtype="0" fill="hold" grpId="0" nodeType="withEffect">
                                  <p:stCondLst>
                                    <p:cond delay="1250"/>
                                  </p:stCondLst>
                                  <p:childTnLst>
                                    <p:set>
                                      <p:cBhvr>
                                        <p:cTn id="103" dur="1" fill="hold">
                                          <p:stCondLst>
                                            <p:cond delay="0"/>
                                          </p:stCondLst>
                                        </p:cTn>
                                        <p:tgtEl>
                                          <p:spTgt spid="154"/>
                                        </p:tgtEl>
                                        <p:attrNameLst>
                                          <p:attrName>style.visibility</p:attrName>
                                        </p:attrNameLst>
                                      </p:cBhvr>
                                      <p:to>
                                        <p:strVal val="visible"/>
                                      </p:to>
                                    </p:set>
                                    <p:animEffect transition="in" filter="fade">
                                      <p:cBhvr>
                                        <p:cTn id="104" dur="500"/>
                                        <p:tgtEl>
                                          <p:spTgt spid="154"/>
                                        </p:tgtEl>
                                      </p:cBhvr>
                                    </p:animEffect>
                                  </p:childTnLst>
                                </p:cTn>
                              </p:par>
                              <p:par>
                                <p:cTn id="105" presetID="10" presetClass="entr" presetSubtype="0" fill="hold" grpId="0" nodeType="withEffect">
                                  <p:stCondLst>
                                    <p:cond delay="1750"/>
                                  </p:stCondLst>
                                  <p:childTnLst>
                                    <p:set>
                                      <p:cBhvr>
                                        <p:cTn id="106" dur="1" fill="hold">
                                          <p:stCondLst>
                                            <p:cond delay="0"/>
                                          </p:stCondLst>
                                        </p:cTn>
                                        <p:tgtEl>
                                          <p:spTgt spid="156"/>
                                        </p:tgtEl>
                                        <p:attrNameLst>
                                          <p:attrName>style.visibility</p:attrName>
                                        </p:attrNameLst>
                                      </p:cBhvr>
                                      <p:to>
                                        <p:strVal val="visible"/>
                                      </p:to>
                                    </p:set>
                                    <p:animEffect transition="in" filter="fade">
                                      <p:cBhvr>
                                        <p:cTn id="107" dur="750"/>
                                        <p:tgtEl>
                                          <p:spTgt spid="156"/>
                                        </p:tgtEl>
                                      </p:cBhvr>
                                    </p:animEffect>
                                  </p:childTnLst>
                                </p:cTn>
                              </p:par>
                              <p:par>
                                <p:cTn id="108" presetID="10" presetClass="entr" presetSubtype="0" fill="hold" grpId="0" nodeType="withEffect">
                                  <p:stCondLst>
                                    <p:cond delay="2000"/>
                                  </p:stCondLst>
                                  <p:childTnLst>
                                    <p:set>
                                      <p:cBhvr>
                                        <p:cTn id="109" dur="1" fill="hold">
                                          <p:stCondLst>
                                            <p:cond delay="0"/>
                                          </p:stCondLst>
                                        </p:cTn>
                                        <p:tgtEl>
                                          <p:spTgt spid="160"/>
                                        </p:tgtEl>
                                        <p:attrNameLst>
                                          <p:attrName>style.visibility</p:attrName>
                                        </p:attrNameLst>
                                      </p:cBhvr>
                                      <p:to>
                                        <p:strVal val="visible"/>
                                      </p:to>
                                    </p:set>
                                    <p:animEffect transition="in" filter="fade">
                                      <p:cBhvr>
                                        <p:cTn id="110" dur="750"/>
                                        <p:tgtEl>
                                          <p:spTgt spid="160"/>
                                        </p:tgtEl>
                                      </p:cBhvr>
                                    </p:animEffect>
                                  </p:childTnLst>
                                </p:cTn>
                              </p:par>
                              <p:par>
                                <p:cTn id="111" presetID="10" presetClass="entr" presetSubtype="0" fill="hold" grpId="0" nodeType="withEffect">
                                  <p:stCondLst>
                                    <p:cond delay="1000"/>
                                  </p:stCondLst>
                                  <p:childTnLst>
                                    <p:set>
                                      <p:cBhvr>
                                        <p:cTn id="112" dur="1" fill="hold">
                                          <p:stCondLst>
                                            <p:cond delay="0"/>
                                          </p:stCondLst>
                                        </p:cTn>
                                        <p:tgtEl>
                                          <p:spTgt spid="161"/>
                                        </p:tgtEl>
                                        <p:attrNameLst>
                                          <p:attrName>style.visibility</p:attrName>
                                        </p:attrNameLst>
                                      </p:cBhvr>
                                      <p:to>
                                        <p:strVal val="visible"/>
                                      </p:to>
                                    </p:set>
                                    <p:animEffect transition="in" filter="fade">
                                      <p:cBhvr>
                                        <p:cTn id="113" dur="500"/>
                                        <p:tgtEl>
                                          <p:spTgt spid="161"/>
                                        </p:tgtEl>
                                      </p:cBhvr>
                                    </p:animEffect>
                                  </p:childTnLst>
                                </p:cTn>
                              </p:par>
                              <p:par>
                                <p:cTn id="114" presetID="10" presetClass="entr" presetSubtype="0" fill="hold" grpId="0" nodeType="withEffect">
                                  <p:stCondLst>
                                    <p:cond delay="1300"/>
                                  </p:stCondLst>
                                  <p:childTnLst>
                                    <p:set>
                                      <p:cBhvr>
                                        <p:cTn id="115" dur="1" fill="hold">
                                          <p:stCondLst>
                                            <p:cond delay="0"/>
                                          </p:stCondLst>
                                        </p:cTn>
                                        <p:tgtEl>
                                          <p:spTgt spid="162"/>
                                        </p:tgtEl>
                                        <p:attrNameLst>
                                          <p:attrName>style.visibility</p:attrName>
                                        </p:attrNameLst>
                                      </p:cBhvr>
                                      <p:to>
                                        <p:strVal val="visible"/>
                                      </p:to>
                                    </p:set>
                                    <p:animEffect transition="in" filter="fade">
                                      <p:cBhvr>
                                        <p:cTn id="116" dur="650"/>
                                        <p:tgtEl>
                                          <p:spTgt spid="162"/>
                                        </p:tgtEl>
                                      </p:cBhvr>
                                    </p:animEffect>
                                  </p:childTnLst>
                                </p:cTn>
                              </p:par>
                              <p:par>
                                <p:cTn id="117" presetID="10" presetClass="entr" presetSubtype="0" fill="hold" grpId="0" nodeType="withEffect">
                                  <p:stCondLst>
                                    <p:cond delay="2500"/>
                                  </p:stCondLst>
                                  <p:childTnLst>
                                    <p:set>
                                      <p:cBhvr>
                                        <p:cTn id="118" dur="1" fill="hold">
                                          <p:stCondLst>
                                            <p:cond delay="0"/>
                                          </p:stCondLst>
                                        </p:cTn>
                                        <p:tgtEl>
                                          <p:spTgt spid="178"/>
                                        </p:tgtEl>
                                        <p:attrNameLst>
                                          <p:attrName>style.visibility</p:attrName>
                                        </p:attrNameLst>
                                      </p:cBhvr>
                                      <p:to>
                                        <p:strVal val="visible"/>
                                      </p:to>
                                    </p:set>
                                    <p:animEffect transition="in" filter="fade">
                                      <p:cBhvr>
                                        <p:cTn id="119" dur="750"/>
                                        <p:tgtEl>
                                          <p:spTgt spid="178"/>
                                        </p:tgtEl>
                                      </p:cBhvr>
                                    </p:animEffect>
                                  </p:childTnLst>
                                </p:cTn>
                              </p:par>
                              <p:par>
                                <p:cTn id="120" presetID="10" presetClass="entr" presetSubtype="0" fill="hold" grpId="0" nodeType="withEffect">
                                  <p:stCondLst>
                                    <p:cond delay="2750"/>
                                  </p:stCondLst>
                                  <p:childTnLst>
                                    <p:set>
                                      <p:cBhvr>
                                        <p:cTn id="121" dur="1" fill="hold">
                                          <p:stCondLst>
                                            <p:cond delay="0"/>
                                          </p:stCondLst>
                                        </p:cTn>
                                        <p:tgtEl>
                                          <p:spTgt spid="182"/>
                                        </p:tgtEl>
                                        <p:attrNameLst>
                                          <p:attrName>style.visibility</p:attrName>
                                        </p:attrNameLst>
                                      </p:cBhvr>
                                      <p:to>
                                        <p:strVal val="visible"/>
                                      </p:to>
                                    </p:set>
                                    <p:animEffect transition="in" filter="fade">
                                      <p:cBhvr>
                                        <p:cTn id="122" dur="750"/>
                                        <p:tgtEl>
                                          <p:spTgt spid="182"/>
                                        </p:tgtEl>
                                      </p:cBhvr>
                                    </p:animEffect>
                                  </p:childTnLst>
                                </p:cTn>
                              </p:par>
                              <p:par>
                                <p:cTn id="123" presetID="10" presetClass="entr" presetSubtype="0" fill="hold" grpId="0" nodeType="withEffect">
                                  <p:stCondLst>
                                    <p:cond delay="1500"/>
                                  </p:stCondLst>
                                  <p:childTnLst>
                                    <p:set>
                                      <p:cBhvr>
                                        <p:cTn id="124" dur="1" fill="hold">
                                          <p:stCondLst>
                                            <p:cond delay="0"/>
                                          </p:stCondLst>
                                        </p:cTn>
                                        <p:tgtEl>
                                          <p:spTgt spid="183"/>
                                        </p:tgtEl>
                                        <p:attrNameLst>
                                          <p:attrName>style.visibility</p:attrName>
                                        </p:attrNameLst>
                                      </p:cBhvr>
                                      <p:to>
                                        <p:strVal val="visible"/>
                                      </p:to>
                                    </p:set>
                                    <p:animEffect transition="in" filter="fade">
                                      <p:cBhvr>
                                        <p:cTn id="125" dur="500"/>
                                        <p:tgtEl>
                                          <p:spTgt spid="183"/>
                                        </p:tgtEl>
                                      </p:cBhvr>
                                    </p:animEffect>
                                  </p:childTnLst>
                                </p:cTn>
                              </p:par>
                              <p:par>
                                <p:cTn id="126" presetID="10" presetClass="entr" presetSubtype="0" fill="hold" grpId="0" nodeType="withEffect">
                                  <p:stCondLst>
                                    <p:cond delay="1950"/>
                                  </p:stCondLst>
                                  <p:childTnLst>
                                    <p:set>
                                      <p:cBhvr>
                                        <p:cTn id="127" dur="1" fill="hold">
                                          <p:stCondLst>
                                            <p:cond delay="0"/>
                                          </p:stCondLst>
                                        </p:cTn>
                                        <p:tgtEl>
                                          <p:spTgt spid="184"/>
                                        </p:tgtEl>
                                        <p:attrNameLst>
                                          <p:attrName>style.visibility</p:attrName>
                                        </p:attrNameLst>
                                      </p:cBhvr>
                                      <p:to>
                                        <p:strVal val="visible"/>
                                      </p:to>
                                    </p:set>
                                    <p:animEffect transition="in" filter="fade">
                                      <p:cBhvr>
                                        <p:cTn id="128" dur="650"/>
                                        <p:tgtEl>
                                          <p:spTgt spid="184"/>
                                        </p:tgtEl>
                                      </p:cBhvr>
                                    </p:animEffect>
                                  </p:childTnLst>
                                </p:cTn>
                              </p:par>
                              <p:par>
                                <p:cTn id="129" presetID="10" presetClass="entr" presetSubtype="0" fill="hold" grpId="0" nodeType="withEffect">
                                  <p:stCondLst>
                                    <p:cond delay="3500"/>
                                  </p:stCondLst>
                                  <p:childTnLst>
                                    <p:set>
                                      <p:cBhvr>
                                        <p:cTn id="130" dur="1" fill="hold">
                                          <p:stCondLst>
                                            <p:cond delay="0"/>
                                          </p:stCondLst>
                                        </p:cTn>
                                        <p:tgtEl>
                                          <p:spTgt spid="195"/>
                                        </p:tgtEl>
                                        <p:attrNameLst>
                                          <p:attrName>style.visibility</p:attrName>
                                        </p:attrNameLst>
                                      </p:cBhvr>
                                      <p:to>
                                        <p:strVal val="visible"/>
                                      </p:to>
                                    </p:set>
                                    <p:animEffect transition="in" filter="fade">
                                      <p:cBhvr>
                                        <p:cTn id="131" dur="750"/>
                                        <p:tgtEl>
                                          <p:spTgt spid="195"/>
                                        </p:tgtEl>
                                      </p:cBhvr>
                                    </p:animEffect>
                                  </p:childTnLst>
                                </p:cTn>
                              </p:par>
                            </p:childTnLst>
                          </p:cTn>
                        </p:par>
                        <p:par>
                          <p:cTn id="132" fill="hold">
                            <p:stCondLst>
                              <p:cond delay="4250"/>
                            </p:stCondLst>
                            <p:childTnLst>
                              <p:par>
                                <p:cTn id="133" presetID="10" presetClass="entr" presetSubtype="0" fill="hold" grpId="0" nodeType="afterEffect">
                                  <p:stCondLst>
                                    <p:cond delay="500"/>
                                  </p:stCondLst>
                                  <p:childTnLst>
                                    <p:set>
                                      <p:cBhvr>
                                        <p:cTn id="134" dur="1" fill="hold">
                                          <p:stCondLst>
                                            <p:cond delay="0"/>
                                          </p:stCondLst>
                                        </p:cTn>
                                        <p:tgtEl>
                                          <p:spTgt spid="197"/>
                                        </p:tgtEl>
                                        <p:attrNameLst>
                                          <p:attrName>style.visibility</p:attrName>
                                        </p:attrNameLst>
                                      </p:cBhvr>
                                      <p:to>
                                        <p:strVal val="visible"/>
                                      </p:to>
                                    </p:set>
                                    <p:animEffect transition="in" filter="fade">
                                      <p:cBhvr>
                                        <p:cTn id="135" dur="500"/>
                                        <p:tgtEl>
                                          <p:spTgt spid="197"/>
                                        </p:tgtEl>
                                      </p:cBhvr>
                                    </p:animEffect>
                                  </p:childTnLst>
                                </p:cTn>
                              </p:par>
                              <p:par>
                                <p:cTn id="136" presetID="1" presetClass="emph" presetSubtype="2" fill="hold" nodeType="withEffect">
                                  <p:stCondLst>
                                    <p:cond delay="500"/>
                                  </p:stCondLst>
                                  <p:childTnLst>
                                    <p:animClr clrSpc="rgb" dir="cw">
                                      <p:cBhvr>
                                        <p:cTn id="137" dur="500" fill="hold"/>
                                        <p:tgtEl>
                                          <p:spTgt spid="195"/>
                                        </p:tgtEl>
                                        <p:attrNameLst>
                                          <p:attrName>fillcolor</p:attrName>
                                        </p:attrNameLst>
                                      </p:cBhvr>
                                      <p:to>
                                        <a:srgbClr val="50E6FF"/>
                                      </p:to>
                                    </p:animClr>
                                    <p:set>
                                      <p:cBhvr>
                                        <p:cTn id="138" dur="500" fill="hold"/>
                                        <p:tgtEl>
                                          <p:spTgt spid="195"/>
                                        </p:tgtEl>
                                        <p:attrNameLst>
                                          <p:attrName>fill.type</p:attrName>
                                        </p:attrNameLst>
                                      </p:cBhvr>
                                      <p:to>
                                        <p:strVal val="solid"/>
                                      </p:to>
                                    </p:set>
                                    <p:set>
                                      <p:cBhvr>
                                        <p:cTn id="139" dur="500" fill="hold"/>
                                        <p:tgtEl>
                                          <p:spTgt spid="195"/>
                                        </p:tgtEl>
                                        <p:attrNameLst>
                                          <p:attrName>fill.on</p:attrName>
                                        </p:attrNameLst>
                                      </p:cBhvr>
                                      <p:to>
                                        <p:strVal val="true"/>
                                      </p:to>
                                    </p:set>
                                  </p:childTnLst>
                                </p:cTn>
                              </p:par>
                              <p:par>
                                <p:cTn id="140" presetID="3" presetClass="emph" presetSubtype="2" fill="hold" grpId="1" nodeType="withEffect">
                                  <p:stCondLst>
                                    <p:cond delay="500"/>
                                  </p:stCondLst>
                                  <p:childTnLst>
                                    <p:animClr clrSpc="rgb" dir="cw">
                                      <p:cBhvr override="childStyle">
                                        <p:cTn id="141" dur="500" fill="hold"/>
                                        <p:tgtEl>
                                          <p:spTgt spid="195"/>
                                        </p:tgtEl>
                                        <p:attrNameLst>
                                          <p:attrName>style.color</p:attrName>
                                        </p:attrNameLst>
                                      </p:cBhvr>
                                      <p:to>
                                        <a:srgbClr val="000000"/>
                                      </p:to>
                                    </p:animClr>
                                  </p:childTnLst>
                                </p:cTn>
                              </p:par>
                              <p:par>
                                <p:cTn id="142" presetID="63" presetClass="path" presetSubtype="0" accel="50000" decel="50000" fill="hold" grpId="1" nodeType="withEffect">
                                  <p:stCondLst>
                                    <p:cond delay="500"/>
                                  </p:stCondLst>
                                  <p:childTnLst>
                                    <p:animMotion origin="layout" path="M 3.125E-6 -3.7037E-7 L 0.28776 -3.7037E-7 " pathEditMode="relative" rAng="0" ptsTypes="AA">
                                      <p:cBhvr>
                                        <p:cTn id="143" dur="1750" fill="hold"/>
                                        <p:tgtEl>
                                          <p:spTgt spid="197"/>
                                        </p:tgtEl>
                                        <p:attrNameLst>
                                          <p:attrName>ppt_x</p:attrName>
                                          <p:attrName>ppt_y</p:attrName>
                                        </p:attrNameLst>
                                      </p:cBhvr>
                                      <p:rCtr x="14388" y="0"/>
                                    </p:animMotion>
                                  </p:childTnLst>
                                </p:cTn>
                              </p:par>
                              <p:par>
                                <p:cTn id="144" presetID="2" presetClass="entr" presetSubtype="4" decel="50000" fill="hold" grpId="0" nodeType="withEffect">
                                  <p:stCondLst>
                                    <p:cond delay="500"/>
                                  </p:stCondLst>
                                  <p:childTnLst>
                                    <p:set>
                                      <p:cBhvr>
                                        <p:cTn id="145" dur="1" fill="hold">
                                          <p:stCondLst>
                                            <p:cond delay="0"/>
                                          </p:stCondLst>
                                        </p:cTn>
                                        <p:tgtEl>
                                          <p:spTgt spid="19"/>
                                        </p:tgtEl>
                                        <p:attrNameLst>
                                          <p:attrName>style.visibility</p:attrName>
                                        </p:attrNameLst>
                                      </p:cBhvr>
                                      <p:to>
                                        <p:strVal val="visible"/>
                                      </p:to>
                                    </p:set>
                                    <p:anim calcmode="lin" valueType="num">
                                      <p:cBhvr additive="base">
                                        <p:cTn id="146" dur="1750" fill="hold"/>
                                        <p:tgtEl>
                                          <p:spTgt spid="19"/>
                                        </p:tgtEl>
                                        <p:attrNameLst>
                                          <p:attrName>ppt_x</p:attrName>
                                        </p:attrNameLst>
                                      </p:cBhvr>
                                      <p:tavLst>
                                        <p:tav tm="0">
                                          <p:val>
                                            <p:strVal val="#ppt_x"/>
                                          </p:val>
                                        </p:tav>
                                        <p:tav tm="100000">
                                          <p:val>
                                            <p:strVal val="#ppt_x"/>
                                          </p:val>
                                        </p:tav>
                                      </p:tavLst>
                                    </p:anim>
                                    <p:anim calcmode="lin" valueType="num">
                                      <p:cBhvr additive="base">
                                        <p:cTn id="147" dur="1750" fill="hold"/>
                                        <p:tgtEl>
                                          <p:spTgt spid="19"/>
                                        </p:tgtEl>
                                        <p:attrNameLst>
                                          <p:attrName>ppt_y</p:attrName>
                                        </p:attrNameLst>
                                      </p:cBhvr>
                                      <p:tavLst>
                                        <p:tav tm="0">
                                          <p:val>
                                            <p:strVal val="1+#ppt_h/2"/>
                                          </p:val>
                                        </p:tav>
                                        <p:tav tm="100000">
                                          <p:val>
                                            <p:strVal val="#ppt_y"/>
                                          </p:val>
                                        </p:tav>
                                      </p:tavLst>
                                    </p:anim>
                                  </p:childTnLst>
                                </p:cTn>
                              </p:par>
                              <p:par>
                                <p:cTn id="148" presetID="3" presetClass="emph" presetSubtype="2" fill="hold" grpId="2" nodeType="withEffect">
                                  <p:stCondLst>
                                    <p:cond delay="1750"/>
                                  </p:stCondLst>
                                  <p:childTnLst>
                                    <p:animClr clrSpc="rgb" dir="cw">
                                      <p:cBhvr override="childStyle">
                                        <p:cTn id="149" dur="500" fill="hold"/>
                                        <p:tgtEl>
                                          <p:spTgt spid="197"/>
                                        </p:tgtEl>
                                        <p:attrNameLst>
                                          <p:attrName>style.color</p:attrName>
                                        </p:attrNameLst>
                                      </p:cBhvr>
                                      <p:to>
                                        <a:srgbClr val="0000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92" grpId="0" animBg="1"/>
      <p:bldP spid="206" grpId="0" animBg="1"/>
      <p:bldP spid="207" grpId="0" animBg="1"/>
      <p:bldP spid="208" grpId="0" animBg="1"/>
      <p:bldP spid="209" grpId="0" animBg="1"/>
      <p:bldP spid="210" grpId="0" animBg="1"/>
      <p:bldP spid="147" grpId="0"/>
      <p:bldP spid="148" grpId="0"/>
      <p:bldP spid="149" grpId="0"/>
      <p:bldP spid="18" grpId="0" animBg="1"/>
      <p:bldP spid="150" grpId="0"/>
      <p:bldP spid="32" grpId="0" animBg="1"/>
      <p:bldP spid="71" grpId="0" animBg="1"/>
      <p:bldP spid="3" grpId="0" animBg="1"/>
      <p:bldP spid="56" grpId="0" animBg="1"/>
      <p:bldP spid="57" grpId="0" animBg="1"/>
      <p:bldP spid="58" grpId="0" animBg="1"/>
      <p:bldP spid="62" grpId="0" animBg="1"/>
      <p:bldP spid="63" grpId="0" animBg="1"/>
      <p:bldP spid="65" grpId="0" animBg="1"/>
      <p:bldP spid="69" grpId="0" animBg="1"/>
      <p:bldP spid="154" grpId="0" animBg="1"/>
      <p:bldP spid="156" grpId="0" animBg="1"/>
      <p:bldP spid="160" grpId="0" animBg="1"/>
      <p:bldP spid="161" grpId="0" animBg="1"/>
      <p:bldP spid="162" grpId="0" animBg="1"/>
      <p:bldP spid="178" grpId="0" animBg="1"/>
      <p:bldP spid="182" grpId="0" animBg="1"/>
      <p:bldP spid="183" grpId="0" animBg="1"/>
      <p:bldP spid="184" grpId="0" animBg="1"/>
      <p:bldP spid="195" grpId="0" animBg="1"/>
      <p:bldP spid="195" grpId="1" animBg="1"/>
      <p:bldP spid="196" grpId="0" animBg="1"/>
      <p:bldP spid="5" grpId="0"/>
      <p:bldP spid="197" grpId="0"/>
      <p:bldP spid="197" grpId="1"/>
      <p:bldP spid="197" grpId="2"/>
      <p:bldP spid="155" grpId="0" animBg="1"/>
      <p:bldP spid="155" grpId="1" animBg="1"/>
      <p:bldP spid="155" grpId="2" animBg="1"/>
      <p:bldP spid="155" grpId="3"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Group 89">
            <a:extLst>
              <a:ext uri="{FF2B5EF4-FFF2-40B4-BE49-F238E27FC236}">
                <a16:creationId xmlns:a16="http://schemas.microsoft.com/office/drawing/2014/main" id="{77FFA27B-0616-42C8-9BA8-A4040D9050D0}"/>
              </a:ext>
            </a:extLst>
          </p:cNvPr>
          <p:cNvGrpSpPr/>
          <p:nvPr/>
        </p:nvGrpSpPr>
        <p:grpSpPr>
          <a:xfrm>
            <a:off x="6604540" y="1636745"/>
            <a:ext cx="5157096" cy="3715568"/>
            <a:chOff x="6604612" y="1636490"/>
            <a:chExt cx="5157828" cy="3716095"/>
          </a:xfrm>
        </p:grpSpPr>
        <p:sp>
          <p:nvSpPr>
            <p:cNvPr id="35" name="Rectangle 34">
              <a:extLst>
                <a:ext uri="{FF2B5EF4-FFF2-40B4-BE49-F238E27FC236}">
                  <a16:creationId xmlns:a16="http://schemas.microsoft.com/office/drawing/2014/main" id="{7CE6DC54-A52A-3445-B256-B1526D653A57}"/>
                </a:ext>
              </a:extLst>
            </p:cNvPr>
            <p:cNvSpPr/>
            <p:nvPr/>
          </p:nvSpPr>
          <p:spPr bwMode="auto">
            <a:xfrm>
              <a:off x="6604612" y="1641749"/>
              <a:ext cx="5157827" cy="443216"/>
            </a:xfrm>
            <a:prstGeom prst="rect">
              <a:avLst/>
            </a:prstGeom>
            <a:solidFill>
              <a:schemeClr val="tx2"/>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C4F2AC0B-FB31-984A-9C37-14D40B5AE21C}"/>
                </a:ext>
              </a:extLst>
            </p:cNvPr>
            <p:cNvSpPr/>
            <p:nvPr/>
          </p:nvSpPr>
          <p:spPr bwMode="auto">
            <a:xfrm>
              <a:off x="6672168" y="1743443"/>
              <a:ext cx="2107397" cy="246256"/>
            </a:xfrm>
            <a:prstGeom prst="rect">
              <a:avLst/>
            </a:prstGeom>
            <a:no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Semibold"/>
                  <a:ea typeface="Segoe UI" pitchFamily="34" charset="0"/>
                  <a:cs typeface="Segoe UI" pitchFamily="34" charset="0"/>
                </a:rPr>
                <a:t>Feature Importance</a:t>
              </a:r>
            </a:p>
          </p:txBody>
        </p:sp>
        <p:sp>
          <p:nvSpPr>
            <p:cNvPr id="37" name="Rectangle 36">
              <a:extLst>
                <a:ext uri="{FF2B5EF4-FFF2-40B4-BE49-F238E27FC236}">
                  <a16:creationId xmlns:a16="http://schemas.microsoft.com/office/drawing/2014/main" id="{BB7430E3-CDE3-434C-A026-10A51B11C6B4}"/>
                </a:ext>
              </a:extLst>
            </p:cNvPr>
            <p:cNvSpPr/>
            <p:nvPr/>
          </p:nvSpPr>
          <p:spPr bwMode="auto">
            <a:xfrm>
              <a:off x="6604613" y="1636490"/>
              <a:ext cx="5157827" cy="3716095"/>
            </a:xfrm>
            <a:prstGeom prst="rect">
              <a:avLst/>
            </a:prstGeom>
            <a:noFill/>
            <a:ln w="19050">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grpSp>
          <p:nvGrpSpPr>
            <p:cNvPr id="31" name="Group 30">
              <a:extLst>
                <a:ext uri="{FF2B5EF4-FFF2-40B4-BE49-F238E27FC236}">
                  <a16:creationId xmlns:a16="http://schemas.microsoft.com/office/drawing/2014/main" id="{3451E7A0-2C2C-40A5-B09C-2FD21A86EF2E}"/>
                </a:ext>
              </a:extLst>
            </p:cNvPr>
            <p:cNvGrpSpPr/>
            <p:nvPr/>
          </p:nvGrpSpPr>
          <p:grpSpPr>
            <a:xfrm>
              <a:off x="6680624" y="3248921"/>
              <a:ext cx="3216020" cy="327903"/>
              <a:chOff x="6680624" y="2604434"/>
              <a:chExt cx="3216020" cy="327903"/>
            </a:xfrm>
          </p:grpSpPr>
          <p:sp>
            <p:nvSpPr>
              <p:cNvPr id="6" name="Rectangle 5">
                <a:extLst>
                  <a:ext uri="{FF2B5EF4-FFF2-40B4-BE49-F238E27FC236}">
                    <a16:creationId xmlns:a16="http://schemas.microsoft.com/office/drawing/2014/main" id="{0B4B8FB9-9E72-A04C-87F0-1BEEDB5F1CF0}"/>
                  </a:ext>
                </a:extLst>
              </p:cNvPr>
              <p:cNvSpPr/>
              <p:nvPr/>
            </p:nvSpPr>
            <p:spPr bwMode="auto">
              <a:xfrm>
                <a:off x="7954005" y="2604434"/>
                <a:ext cx="1942639" cy="3236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8BF1D61B-3F90-4A8C-A8DD-22C91B10684B}"/>
                  </a:ext>
                </a:extLst>
              </p:cNvPr>
              <p:cNvSpPr/>
              <p:nvPr/>
            </p:nvSpPr>
            <p:spPr bwMode="auto">
              <a:xfrm>
                <a:off x="6680624" y="2620264"/>
                <a:ext cx="1200632" cy="312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Mileage</a:t>
                </a:r>
              </a:p>
            </p:txBody>
          </p:sp>
        </p:grpSp>
        <p:grpSp>
          <p:nvGrpSpPr>
            <p:cNvPr id="33" name="Group 32">
              <a:extLst>
                <a:ext uri="{FF2B5EF4-FFF2-40B4-BE49-F238E27FC236}">
                  <a16:creationId xmlns:a16="http://schemas.microsoft.com/office/drawing/2014/main" id="{B6DEDF56-843D-4100-A32B-6CF4CE87EFC6}"/>
                </a:ext>
              </a:extLst>
            </p:cNvPr>
            <p:cNvGrpSpPr/>
            <p:nvPr/>
          </p:nvGrpSpPr>
          <p:grpSpPr>
            <a:xfrm>
              <a:off x="6680624" y="2277789"/>
              <a:ext cx="4477572" cy="332741"/>
              <a:chOff x="6680624" y="3089982"/>
              <a:chExt cx="4477572" cy="332741"/>
            </a:xfrm>
          </p:grpSpPr>
          <p:sp>
            <p:nvSpPr>
              <p:cNvPr id="7" name="Rectangle 6">
                <a:extLst>
                  <a:ext uri="{FF2B5EF4-FFF2-40B4-BE49-F238E27FC236}">
                    <a16:creationId xmlns:a16="http://schemas.microsoft.com/office/drawing/2014/main" id="{2CAF6BB3-E81C-FF4E-B103-3825B9C74266}"/>
                  </a:ext>
                </a:extLst>
              </p:cNvPr>
              <p:cNvSpPr/>
              <p:nvPr/>
            </p:nvSpPr>
            <p:spPr bwMode="auto">
              <a:xfrm>
                <a:off x="7954005" y="3089982"/>
                <a:ext cx="3204191" cy="3236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29E35EAC-663F-43B8-9093-E4525666EDF7}"/>
                  </a:ext>
                </a:extLst>
              </p:cNvPr>
              <p:cNvSpPr/>
              <p:nvPr/>
            </p:nvSpPr>
            <p:spPr bwMode="auto">
              <a:xfrm>
                <a:off x="6680624" y="3110650"/>
                <a:ext cx="1200632" cy="312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Condition</a:t>
                </a:r>
              </a:p>
            </p:txBody>
          </p:sp>
        </p:grpSp>
        <p:grpSp>
          <p:nvGrpSpPr>
            <p:cNvPr id="34" name="Group 33">
              <a:extLst>
                <a:ext uri="{FF2B5EF4-FFF2-40B4-BE49-F238E27FC236}">
                  <a16:creationId xmlns:a16="http://schemas.microsoft.com/office/drawing/2014/main" id="{F19037CB-972B-40E8-BE2D-74E3D20A703D}"/>
                </a:ext>
              </a:extLst>
            </p:cNvPr>
            <p:cNvGrpSpPr/>
            <p:nvPr/>
          </p:nvGrpSpPr>
          <p:grpSpPr>
            <a:xfrm>
              <a:off x="6680623" y="4220053"/>
              <a:ext cx="1750714" cy="337581"/>
              <a:chOff x="6680623" y="3575528"/>
              <a:chExt cx="1750714" cy="337581"/>
            </a:xfrm>
          </p:grpSpPr>
          <p:sp>
            <p:nvSpPr>
              <p:cNvPr id="8" name="Rectangle 7">
                <a:extLst>
                  <a:ext uri="{FF2B5EF4-FFF2-40B4-BE49-F238E27FC236}">
                    <a16:creationId xmlns:a16="http://schemas.microsoft.com/office/drawing/2014/main" id="{8BCDE5FB-5C6D-104D-BD31-47A26E7B995F}"/>
                  </a:ext>
                </a:extLst>
              </p:cNvPr>
              <p:cNvSpPr/>
              <p:nvPr/>
            </p:nvSpPr>
            <p:spPr bwMode="auto">
              <a:xfrm>
                <a:off x="7954005" y="3575528"/>
                <a:ext cx="477332" cy="3236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69" name="Rectangle 68">
                <a:extLst>
                  <a:ext uri="{FF2B5EF4-FFF2-40B4-BE49-F238E27FC236}">
                    <a16:creationId xmlns:a16="http://schemas.microsoft.com/office/drawing/2014/main" id="{E3669193-ADE0-4159-92C8-5CCBBB58542D}"/>
                  </a:ext>
                </a:extLst>
              </p:cNvPr>
              <p:cNvSpPr/>
              <p:nvPr/>
            </p:nvSpPr>
            <p:spPr bwMode="auto">
              <a:xfrm>
                <a:off x="6680623" y="3601036"/>
                <a:ext cx="1200631" cy="312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Car brand</a:t>
                </a:r>
              </a:p>
            </p:txBody>
          </p:sp>
        </p:grpSp>
        <p:grpSp>
          <p:nvGrpSpPr>
            <p:cNvPr id="38" name="Group 37">
              <a:extLst>
                <a:ext uri="{FF2B5EF4-FFF2-40B4-BE49-F238E27FC236}">
                  <a16:creationId xmlns:a16="http://schemas.microsoft.com/office/drawing/2014/main" id="{1D9B18ED-2273-4316-91A1-E48A7E943C9E}"/>
                </a:ext>
              </a:extLst>
            </p:cNvPr>
            <p:cNvGrpSpPr/>
            <p:nvPr/>
          </p:nvGrpSpPr>
          <p:grpSpPr>
            <a:xfrm>
              <a:off x="6680623" y="2763355"/>
              <a:ext cx="4027525" cy="338128"/>
              <a:chOff x="6680623" y="4061078"/>
              <a:chExt cx="4027525" cy="338128"/>
            </a:xfrm>
          </p:grpSpPr>
          <p:sp>
            <p:nvSpPr>
              <p:cNvPr id="9" name="Rectangle 8">
                <a:extLst>
                  <a:ext uri="{FF2B5EF4-FFF2-40B4-BE49-F238E27FC236}">
                    <a16:creationId xmlns:a16="http://schemas.microsoft.com/office/drawing/2014/main" id="{C81FB0AB-33C6-D34B-8371-5D64BD67FF7A}"/>
                  </a:ext>
                </a:extLst>
              </p:cNvPr>
              <p:cNvSpPr/>
              <p:nvPr/>
            </p:nvSpPr>
            <p:spPr bwMode="auto">
              <a:xfrm>
                <a:off x="7954006" y="4061078"/>
                <a:ext cx="2754142" cy="3236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70" name="Rectangle 69">
                <a:extLst>
                  <a:ext uri="{FF2B5EF4-FFF2-40B4-BE49-F238E27FC236}">
                    <a16:creationId xmlns:a16="http://schemas.microsoft.com/office/drawing/2014/main" id="{636BEBCC-A3DD-4127-BC20-89FD50FDDD8F}"/>
                  </a:ext>
                </a:extLst>
              </p:cNvPr>
              <p:cNvSpPr/>
              <p:nvPr/>
            </p:nvSpPr>
            <p:spPr bwMode="auto">
              <a:xfrm>
                <a:off x="6680623" y="4091422"/>
                <a:ext cx="1200633" cy="307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Year of make</a:t>
                </a:r>
              </a:p>
            </p:txBody>
          </p:sp>
        </p:grpSp>
        <p:grpSp>
          <p:nvGrpSpPr>
            <p:cNvPr id="72" name="Group 71">
              <a:extLst>
                <a:ext uri="{FF2B5EF4-FFF2-40B4-BE49-F238E27FC236}">
                  <a16:creationId xmlns:a16="http://schemas.microsoft.com/office/drawing/2014/main" id="{D2D116E5-4A19-4833-856C-A26937BECDBC}"/>
                </a:ext>
              </a:extLst>
            </p:cNvPr>
            <p:cNvGrpSpPr/>
            <p:nvPr/>
          </p:nvGrpSpPr>
          <p:grpSpPr>
            <a:xfrm>
              <a:off x="6680623" y="3734487"/>
              <a:ext cx="3138059" cy="347255"/>
              <a:chOff x="6680623" y="4546624"/>
              <a:chExt cx="3138059" cy="347255"/>
            </a:xfrm>
          </p:grpSpPr>
          <p:sp>
            <p:nvSpPr>
              <p:cNvPr id="10" name="Rectangle 9">
                <a:extLst>
                  <a:ext uri="{FF2B5EF4-FFF2-40B4-BE49-F238E27FC236}">
                    <a16:creationId xmlns:a16="http://schemas.microsoft.com/office/drawing/2014/main" id="{03AAAA7C-2A16-3240-B032-C1C9B80D653D}"/>
                  </a:ext>
                </a:extLst>
              </p:cNvPr>
              <p:cNvSpPr/>
              <p:nvPr/>
            </p:nvSpPr>
            <p:spPr bwMode="auto">
              <a:xfrm>
                <a:off x="7954005" y="4546624"/>
                <a:ext cx="1864677" cy="3236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71" name="Rectangle 70">
                <a:extLst>
                  <a:ext uri="{FF2B5EF4-FFF2-40B4-BE49-F238E27FC236}">
                    <a16:creationId xmlns:a16="http://schemas.microsoft.com/office/drawing/2014/main" id="{4B0756D7-8D8E-41C9-8BA3-9EB7526A05F8}"/>
                  </a:ext>
                </a:extLst>
              </p:cNvPr>
              <p:cNvSpPr/>
              <p:nvPr/>
            </p:nvSpPr>
            <p:spPr bwMode="auto">
              <a:xfrm>
                <a:off x="6680623" y="4581806"/>
                <a:ext cx="1200632" cy="312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Regulations</a:t>
                </a:r>
              </a:p>
            </p:txBody>
          </p:sp>
        </p:grpSp>
        <p:sp>
          <p:nvSpPr>
            <p:cNvPr id="79" name="TextBox 78">
              <a:extLst>
                <a:ext uri="{FF2B5EF4-FFF2-40B4-BE49-F238E27FC236}">
                  <a16:creationId xmlns:a16="http://schemas.microsoft.com/office/drawing/2014/main" id="{EFA95154-3688-4146-B1D3-BD3DCC7278A6}"/>
                </a:ext>
              </a:extLst>
            </p:cNvPr>
            <p:cNvSpPr txBox="1"/>
            <p:nvPr/>
          </p:nvSpPr>
          <p:spPr>
            <a:xfrm>
              <a:off x="7725405" y="5025077"/>
              <a:ext cx="228600" cy="166223"/>
            </a:xfrm>
            <a:prstGeom prst="rect">
              <a:avLst/>
            </a:prstGeom>
            <a:noFill/>
          </p:spPr>
          <p:txBody>
            <a:bodyPr wrap="squar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a:ea typeface="+mn-ea"/>
                  <a:cs typeface="+mn-cs"/>
                </a:rPr>
                <a:t>0</a:t>
              </a:r>
            </a:p>
          </p:txBody>
        </p:sp>
        <p:sp>
          <p:nvSpPr>
            <p:cNvPr id="80" name="TextBox 79">
              <a:extLst>
                <a:ext uri="{FF2B5EF4-FFF2-40B4-BE49-F238E27FC236}">
                  <a16:creationId xmlns:a16="http://schemas.microsoft.com/office/drawing/2014/main" id="{BE7EDA76-6178-4795-8635-EDAF9B822F5D}"/>
                </a:ext>
              </a:extLst>
            </p:cNvPr>
            <p:cNvSpPr txBox="1"/>
            <p:nvPr/>
          </p:nvSpPr>
          <p:spPr>
            <a:xfrm>
              <a:off x="11454629" y="5025077"/>
              <a:ext cx="228600" cy="166223"/>
            </a:xfrm>
            <a:prstGeom prst="rect">
              <a:avLst/>
            </a:prstGeom>
            <a:noFill/>
          </p:spPr>
          <p:txBody>
            <a:bodyPr wrap="squar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a:ea typeface="+mn-ea"/>
                  <a:cs typeface="+mn-cs"/>
                </a:rPr>
                <a:t>1</a:t>
              </a:r>
            </a:p>
          </p:txBody>
        </p:sp>
        <p:grpSp>
          <p:nvGrpSpPr>
            <p:cNvPr id="81" name="Group 80">
              <a:extLst>
                <a:ext uri="{FF2B5EF4-FFF2-40B4-BE49-F238E27FC236}">
                  <a16:creationId xmlns:a16="http://schemas.microsoft.com/office/drawing/2014/main" id="{5169AF9C-D2D1-4373-890A-CD7B16D37345}"/>
                </a:ext>
              </a:extLst>
            </p:cNvPr>
            <p:cNvGrpSpPr/>
            <p:nvPr/>
          </p:nvGrpSpPr>
          <p:grpSpPr>
            <a:xfrm>
              <a:off x="7839705" y="4803112"/>
              <a:ext cx="3729224" cy="152601"/>
              <a:chOff x="1678964" y="5129683"/>
              <a:chExt cx="3729224" cy="228600"/>
            </a:xfrm>
          </p:grpSpPr>
          <p:cxnSp>
            <p:nvCxnSpPr>
              <p:cNvPr id="82" name="Straight Connector 81">
                <a:extLst>
                  <a:ext uri="{FF2B5EF4-FFF2-40B4-BE49-F238E27FC236}">
                    <a16:creationId xmlns:a16="http://schemas.microsoft.com/office/drawing/2014/main" id="{34EA78D5-9576-4A32-9038-B25BDEA0FB20}"/>
                  </a:ext>
                </a:extLst>
              </p:cNvPr>
              <p:cNvCxnSpPr>
                <a:cxnSpLocks/>
              </p:cNvCxnSpPr>
              <p:nvPr/>
            </p:nvCxnSpPr>
            <p:spPr>
              <a:xfrm>
                <a:off x="1678964" y="5243983"/>
                <a:ext cx="372922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71AD6DC-F8A0-4296-83C5-E9F9DF2FA5D6}"/>
                  </a:ext>
                </a:extLst>
              </p:cNvPr>
              <p:cNvCxnSpPr/>
              <p:nvPr/>
            </p:nvCxnSpPr>
            <p:spPr>
              <a:xfrm>
                <a:off x="1678964" y="5129683"/>
                <a:ext cx="0" cy="2286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0D3EC87-F410-4A35-AC2F-D7FB0D656142}"/>
                  </a:ext>
                </a:extLst>
              </p:cNvPr>
              <p:cNvCxnSpPr/>
              <p:nvPr/>
            </p:nvCxnSpPr>
            <p:spPr>
              <a:xfrm>
                <a:off x="5408188" y="5129683"/>
                <a:ext cx="0" cy="2286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CB2AEFD-C055-45E8-93C8-9398D321C448}"/>
                  </a:ext>
                </a:extLst>
              </p:cNvPr>
              <p:cNvCxnSpPr/>
              <p:nvPr/>
            </p:nvCxnSpPr>
            <p:spPr>
              <a:xfrm>
                <a:off x="3543576" y="5129683"/>
                <a:ext cx="0" cy="2286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B30D8D8-2C37-4732-9229-9A267EB21836}"/>
                  </a:ext>
                </a:extLst>
              </p:cNvPr>
              <p:cNvCxnSpPr/>
              <p:nvPr/>
            </p:nvCxnSpPr>
            <p:spPr>
              <a:xfrm>
                <a:off x="2611270" y="5149520"/>
                <a:ext cx="0" cy="1889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25561B8-6BB4-4E57-A658-562BA3822A3A}"/>
                  </a:ext>
                </a:extLst>
              </p:cNvPr>
              <p:cNvCxnSpPr/>
              <p:nvPr/>
            </p:nvCxnSpPr>
            <p:spPr>
              <a:xfrm>
                <a:off x="4475882" y="5149520"/>
                <a:ext cx="0" cy="1889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89" name="Group 88">
            <a:extLst>
              <a:ext uri="{FF2B5EF4-FFF2-40B4-BE49-F238E27FC236}">
                <a16:creationId xmlns:a16="http://schemas.microsoft.com/office/drawing/2014/main" id="{76C463A8-BC9C-4771-8076-151B6C10E4E7}"/>
              </a:ext>
            </a:extLst>
          </p:cNvPr>
          <p:cNvGrpSpPr/>
          <p:nvPr/>
        </p:nvGrpSpPr>
        <p:grpSpPr>
          <a:xfrm>
            <a:off x="427205" y="1636745"/>
            <a:ext cx="5157095" cy="3715568"/>
            <a:chOff x="426401" y="1636490"/>
            <a:chExt cx="5157827" cy="3716095"/>
          </a:xfrm>
        </p:grpSpPr>
        <p:sp>
          <p:nvSpPr>
            <p:cNvPr id="32" name="Rectangle 31">
              <a:extLst>
                <a:ext uri="{FF2B5EF4-FFF2-40B4-BE49-F238E27FC236}">
                  <a16:creationId xmlns:a16="http://schemas.microsoft.com/office/drawing/2014/main" id="{8462D6EB-A80C-174A-9844-BC23742E0118}"/>
                </a:ext>
              </a:extLst>
            </p:cNvPr>
            <p:cNvSpPr/>
            <p:nvPr/>
          </p:nvSpPr>
          <p:spPr bwMode="auto">
            <a:xfrm>
              <a:off x="426401" y="1641749"/>
              <a:ext cx="5157826" cy="443216"/>
            </a:xfrm>
            <a:prstGeom prst="rect">
              <a:avLst/>
            </a:prstGeom>
            <a:solidFill>
              <a:schemeClr val="accent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prstClr val="black"/>
                </a:soli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E6F2BDD8-5120-C840-9F94-0DD51405BE6B}"/>
                </a:ext>
              </a:extLst>
            </p:cNvPr>
            <p:cNvSpPr/>
            <p:nvPr/>
          </p:nvSpPr>
          <p:spPr bwMode="auto">
            <a:xfrm>
              <a:off x="493956" y="1743443"/>
              <a:ext cx="2117314" cy="246256"/>
            </a:xfrm>
            <a:prstGeom prst="rect">
              <a:avLst/>
            </a:prstGeom>
            <a:no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Segoe UI" pitchFamily="34" charset="0"/>
                  <a:cs typeface="Segoe UI" pitchFamily="34" charset="0"/>
                </a:rPr>
                <a:t>Feature Importance</a:t>
              </a:r>
            </a:p>
          </p:txBody>
        </p:sp>
        <p:grpSp>
          <p:nvGrpSpPr>
            <p:cNvPr id="30" name="Group 29">
              <a:extLst>
                <a:ext uri="{FF2B5EF4-FFF2-40B4-BE49-F238E27FC236}">
                  <a16:creationId xmlns:a16="http://schemas.microsoft.com/office/drawing/2014/main" id="{2FEAA007-2D02-484D-9A4A-F53590628F96}"/>
                </a:ext>
              </a:extLst>
            </p:cNvPr>
            <p:cNvGrpSpPr/>
            <p:nvPr/>
          </p:nvGrpSpPr>
          <p:grpSpPr>
            <a:xfrm>
              <a:off x="506809" y="2277789"/>
              <a:ext cx="4901378" cy="327903"/>
              <a:chOff x="506809" y="2604434"/>
              <a:chExt cx="4901378" cy="327903"/>
            </a:xfrm>
          </p:grpSpPr>
          <p:sp>
            <p:nvSpPr>
              <p:cNvPr id="19" name="Rectangle 18">
                <a:extLst>
                  <a:ext uri="{FF2B5EF4-FFF2-40B4-BE49-F238E27FC236}">
                    <a16:creationId xmlns:a16="http://schemas.microsoft.com/office/drawing/2014/main" id="{2C81A125-A3B5-984D-8EB1-E8D135AF59B0}"/>
                  </a:ext>
                </a:extLst>
              </p:cNvPr>
              <p:cNvSpPr/>
              <p:nvPr/>
            </p:nvSpPr>
            <p:spPr bwMode="auto">
              <a:xfrm>
                <a:off x="506809" y="2620264"/>
                <a:ext cx="1247967" cy="312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Segoe UI" pitchFamily="34" charset="0"/>
                    <a:cs typeface="Segoe UI Semibold" panose="020B0702040204020203" pitchFamily="34" charset="0"/>
                  </a:rPr>
                  <a:t>Mileage</a:t>
                </a:r>
              </a:p>
            </p:txBody>
          </p:sp>
          <p:sp>
            <p:nvSpPr>
              <p:cNvPr id="13" name="Rectangle 12">
                <a:extLst>
                  <a:ext uri="{FF2B5EF4-FFF2-40B4-BE49-F238E27FC236}">
                    <a16:creationId xmlns:a16="http://schemas.microsoft.com/office/drawing/2014/main" id="{6719AF30-921A-DC47-8944-F282A861E4B6}"/>
                  </a:ext>
                </a:extLst>
              </p:cNvPr>
              <p:cNvSpPr/>
              <p:nvPr/>
            </p:nvSpPr>
            <p:spPr bwMode="auto">
              <a:xfrm>
                <a:off x="1830786" y="2604434"/>
                <a:ext cx="3577401" cy="3236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9" name="Rectangle 38">
              <a:extLst>
                <a:ext uri="{FF2B5EF4-FFF2-40B4-BE49-F238E27FC236}">
                  <a16:creationId xmlns:a16="http://schemas.microsoft.com/office/drawing/2014/main" id="{45862FEB-0919-DE4D-BF02-5C1DC1CC1731}"/>
                </a:ext>
              </a:extLst>
            </p:cNvPr>
            <p:cNvSpPr/>
            <p:nvPr/>
          </p:nvSpPr>
          <p:spPr bwMode="auto">
            <a:xfrm>
              <a:off x="426401" y="1636490"/>
              <a:ext cx="5157827" cy="3716095"/>
            </a:xfrm>
            <a:prstGeom prst="rect">
              <a:avLst/>
            </a:prstGeom>
            <a:noFill/>
            <a:ln w="19050">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TextBox 25">
              <a:extLst>
                <a:ext uri="{FF2B5EF4-FFF2-40B4-BE49-F238E27FC236}">
                  <a16:creationId xmlns:a16="http://schemas.microsoft.com/office/drawing/2014/main" id="{D4C68CB8-B47B-4B58-BF04-1E0729326A24}"/>
                </a:ext>
              </a:extLst>
            </p:cNvPr>
            <p:cNvSpPr txBox="1"/>
            <p:nvPr/>
          </p:nvSpPr>
          <p:spPr>
            <a:xfrm>
              <a:off x="1564664" y="5025077"/>
              <a:ext cx="228600" cy="166223"/>
            </a:xfrm>
            <a:prstGeom prst="rect">
              <a:avLst/>
            </a:prstGeom>
            <a:noFill/>
          </p:spPr>
          <p:txBody>
            <a:bodyPr wrap="squar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a:ea typeface="+mn-ea"/>
                  <a:cs typeface="+mn-cs"/>
                </a:rPr>
                <a:t>0</a:t>
              </a:r>
            </a:p>
          </p:txBody>
        </p:sp>
        <p:sp>
          <p:nvSpPr>
            <p:cNvPr id="42" name="TextBox 41">
              <a:extLst>
                <a:ext uri="{FF2B5EF4-FFF2-40B4-BE49-F238E27FC236}">
                  <a16:creationId xmlns:a16="http://schemas.microsoft.com/office/drawing/2014/main" id="{1703AD90-9E68-4319-9F39-14C7D3E65A54}"/>
                </a:ext>
              </a:extLst>
            </p:cNvPr>
            <p:cNvSpPr txBox="1"/>
            <p:nvPr/>
          </p:nvSpPr>
          <p:spPr>
            <a:xfrm>
              <a:off x="5293888" y="5025077"/>
              <a:ext cx="228600" cy="166223"/>
            </a:xfrm>
            <a:prstGeom prst="rect">
              <a:avLst/>
            </a:prstGeom>
            <a:noFill/>
          </p:spPr>
          <p:txBody>
            <a:bodyPr wrap="squar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a:ea typeface="+mn-ea"/>
                  <a:cs typeface="+mn-cs"/>
                </a:rPr>
                <a:t>1</a:t>
              </a:r>
            </a:p>
          </p:txBody>
        </p:sp>
        <p:grpSp>
          <p:nvGrpSpPr>
            <p:cNvPr id="29" name="Group 28">
              <a:extLst>
                <a:ext uri="{FF2B5EF4-FFF2-40B4-BE49-F238E27FC236}">
                  <a16:creationId xmlns:a16="http://schemas.microsoft.com/office/drawing/2014/main" id="{B27C9428-7800-4959-9804-61FD03C0E049}"/>
                </a:ext>
              </a:extLst>
            </p:cNvPr>
            <p:cNvGrpSpPr/>
            <p:nvPr/>
          </p:nvGrpSpPr>
          <p:grpSpPr>
            <a:xfrm>
              <a:off x="506809" y="3734487"/>
              <a:ext cx="4262749" cy="332741"/>
              <a:chOff x="506809" y="3089982"/>
              <a:chExt cx="4262749" cy="332741"/>
            </a:xfrm>
          </p:grpSpPr>
          <p:sp>
            <p:nvSpPr>
              <p:cNvPr id="14" name="Rectangle 13">
                <a:extLst>
                  <a:ext uri="{FF2B5EF4-FFF2-40B4-BE49-F238E27FC236}">
                    <a16:creationId xmlns:a16="http://schemas.microsoft.com/office/drawing/2014/main" id="{9E661D37-9B2C-A149-9D0B-906EC80961BB}"/>
                  </a:ext>
                </a:extLst>
              </p:cNvPr>
              <p:cNvSpPr/>
              <p:nvPr/>
            </p:nvSpPr>
            <p:spPr bwMode="auto">
              <a:xfrm>
                <a:off x="1830785" y="3089982"/>
                <a:ext cx="2938773" cy="3236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Rectangle 59">
                <a:extLst>
                  <a:ext uri="{FF2B5EF4-FFF2-40B4-BE49-F238E27FC236}">
                    <a16:creationId xmlns:a16="http://schemas.microsoft.com/office/drawing/2014/main" id="{34FB9533-8681-49A7-B7A5-F9145E7C8664}"/>
                  </a:ext>
                </a:extLst>
              </p:cNvPr>
              <p:cNvSpPr/>
              <p:nvPr/>
            </p:nvSpPr>
            <p:spPr bwMode="auto">
              <a:xfrm>
                <a:off x="506809" y="3110650"/>
                <a:ext cx="1247967" cy="312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Segoe UI" pitchFamily="34" charset="0"/>
                    <a:cs typeface="Segoe UI Semibold" panose="020B0702040204020203" pitchFamily="34" charset="0"/>
                  </a:rPr>
                  <a:t>Condition</a:t>
                </a:r>
              </a:p>
            </p:txBody>
          </p:sp>
        </p:grpSp>
        <p:grpSp>
          <p:nvGrpSpPr>
            <p:cNvPr id="28" name="Group 27">
              <a:extLst>
                <a:ext uri="{FF2B5EF4-FFF2-40B4-BE49-F238E27FC236}">
                  <a16:creationId xmlns:a16="http://schemas.microsoft.com/office/drawing/2014/main" id="{8CE2A1DD-1735-4190-B0BC-BB2D5E39F37D}"/>
                </a:ext>
              </a:extLst>
            </p:cNvPr>
            <p:cNvGrpSpPr/>
            <p:nvPr/>
          </p:nvGrpSpPr>
          <p:grpSpPr>
            <a:xfrm>
              <a:off x="506809" y="3248921"/>
              <a:ext cx="4413773" cy="337580"/>
              <a:chOff x="506809" y="3575529"/>
              <a:chExt cx="4413773" cy="337580"/>
            </a:xfrm>
          </p:grpSpPr>
          <p:sp>
            <p:nvSpPr>
              <p:cNvPr id="15" name="Rectangle 14">
                <a:extLst>
                  <a:ext uri="{FF2B5EF4-FFF2-40B4-BE49-F238E27FC236}">
                    <a16:creationId xmlns:a16="http://schemas.microsoft.com/office/drawing/2014/main" id="{8E104472-F268-FB49-B9B5-F5F17C529F59}"/>
                  </a:ext>
                </a:extLst>
              </p:cNvPr>
              <p:cNvSpPr/>
              <p:nvPr/>
            </p:nvSpPr>
            <p:spPr bwMode="auto">
              <a:xfrm>
                <a:off x="1830786" y="3575529"/>
                <a:ext cx="3089796" cy="3236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a:extLst>
                  <a:ext uri="{FF2B5EF4-FFF2-40B4-BE49-F238E27FC236}">
                    <a16:creationId xmlns:a16="http://schemas.microsoft.com/office/drawing/2014/main" id="{5AD396AB-618A-48FF-BBCA-A60C619EE259}"/>
                  </a:ext>
                </a:extLst>
              </p:cNvPr>
              <p:cNvSpPr/>
              <p:nvPr/>
            </p:nvSpPr>
            <p:spPr bwMode="auto">
              <a:xfrm>
                <a:off x="506809" y="3601036"/>
                <a:ext cx="1247967" cy="312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Segoe UI" pitchFamily="34" charset="0"/>
                    <a:cs typeface="Segoe UI Semibold" panose="020B0702040204020203" pitchFamily="34" charset="0"/>
                  </a:rPr>
                  <a:t>Car brand</a:t>
                </a:r>
              </a:p>
            </p:txBody>
          </p:sp>
        </p:grpSp>
        <p:grpSp>
          <p:nvGrpSpPr>
            <p:cNvPr id="27" name="Group 26">
              <a:extLst>
                <a:ext uri="{FF2B5EF4-FFF2-40B4-BE49-F238E27FC236}">
                  <a16:creationId xmlns:a16="http://schemas.microsoft.com/office/drawing/2014/main" id="{1AA5CC27-451F-4E2B-BE09-BFEC3C4D0813}"/>
                </a:ext>
              </a:extLst>
            </p:cNvPr>
            <p:cNvGrpSpPr/>
            <p:nvPr/>
          </p:nvGrpSpPr>
          <p:grpSpPr>
            <a:xfrm>
              <a:off x="506809" y="4220053"/>
              <a:ext cx="3162436" cy="342418"/>
              <a:chOff x="506809" y="4061077"/>
              <a:chExt cx="3162436" cy="342418"/>
            </a:xfrm>
          </p:grpSpPr>
          <p:sp>
            <p:nvSpPr>
              <p:cNvPr id="16" name="Rectangle 15">
                <a:extLst>
                  <a:ext uri="{FF2B5EF4-FFF2-40B4-BE49-F238E27FC236}">
                    <a16:creationId xmlns:a16="http://schemas.microsoft.com/office/drawing/2014/main" id="{44606A3E-9FD1-3744-B5A8-757528D648D0}"/>
                  </a:ext>
                </a:extLst>
              </p:cNvPr>
              <p:cNvSpPr/>
              <p:nvPr/>
            </p:nvSpPr>
            <p:spPr bwMode="auto">
              <a:xfrm>
                <a:off x="1830786" y="4061077"/>
                <a:ext cx="1838459" cy="3236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a:extLst>
                  <a:ext uri="{FF2B5EF4-FFF2-40B4-BE49-F238E27FC236}">
                    <a16:creationId xmlns:a16="http://schemas.microsoft.com/office/drawing/2014/main" id="{7CA1C11B-2CD8-42D1-BF51-2DED06015BD5}"/>
                  </a:ext>
                </a:extLst>
              </p:cNvPr>
              <p:cNvSpPr/>
              <p:nvPr/>
            </p:nvSpPr>
            <p:spPr bwMode="auto">
              <a:xfrm>
                <a:off x="506809" y="4091422"/>
                <a:ext cx="1247967" cy="312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Segoe UI" pitchFamily="34" charset="0"/>
                    <a:cs typeface="Segoe UI Semibold" panose="020B0702040204020203" pitchFamily="34" charset="0"/>
                  </a:rPr>
                  <a:t>Year of make</a:t>
                </a:r>
              </a:p>
            </p:txBody>
          </p:sp>
        </p:grpSp>
        <p:grpSp>
          <p:nvGrpSpPr>
            <p:cNvPr id="24" name="Group 23">
              <a:extLst>
                <a:ext uri="{FF2B5EF4-FFF2-40B4-BE49-F238E27FC236}">
                  <a16:creationId xmlns:a16="http://schemas.microsoft.com/office/drawing/2014/main" id="{6C53B2A9-CDB7-499F-8DD9-AB95AA342B45}"/>
                </a:ext>
              </a:extLst>
            </p:cNvPr>
            <p:cNvGrpSpPr/>
            <p:nvPr/>
          </p:nvGrpSpPr>
          <p:grpSpPr>
            <a:xfrm>
              <a:off x="506809" y="2763355"/>
              <a:ext cx="4755397" cy="347255"/>
              <a:chOff x="506809" y="4546624"/>
              <a:chExt cx="4755397" cy="347255"/>
            </a:xfrm>
          </p:grpSpPr>
          <p:sp>
            <p:nvSpPr>
              <p:cNvPr id="17" name="Rectangle 16">
                <a:extLst>
                  <a:ext uri="{FF2B5EF4-FFF2-40B4-BE49-F238E27FC236}">
                    <a16:creationId xmlns:a16="http://schemas.microsoft.com/office/drawing/2014/main" id="{6CB6C722-B9BC-9547-BB1F-B16C09F13D0F}"/>
                  </a:ext>
                </a:extLst>
              </p:cNvPr>
              <p:cNvSpPr/>
              <p:nvPr/>
            </p:nvSpPr>
            <p:spPr bwMode="auto">
              <a:xfrm>
                <a:off x="1830786" y="4546624"/>
                <a:ext cx="3431420" cy="3236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D76F6002-7F4A-4128-94DE-8580CBE330DF}"/>
                  </a:ext>
                </a:extLst>
              </p:cNvPr>
              <p:cNvSpPr/>
              <p:nvPr/>
            </p:nvSpPr>
            <p:spPr bwMode="auto">
              <a:xfrm>
                <a:off x="506809" y="4581806"/>
                <a:ext cx="1247967" cy="312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Segoe UI" pitchFamily="34" charset="0"/>
                    <a:cs typeface="Segoe UI Semibold" panose="020B0702040204020203" pitchFamily="34" charset="0"/>
                  </a:rPr>
                  <a:t>Regulations</a:t>
                </a:r>
              </a:p>
            </p:txBody>
          </p:sp>
        </p:grpSp>
        <p:grpSp>
          <p:nvGrpSpPr>
            <p:cNvPr id="78" name="Group 77">
              <a:extLst>
                <a:ext uri="{FF2B5EF4-FFF2-40B4-BE49-F238E27FC236}">
                  <a16:creationId xmlns:a16="http://schemas.microsoft.com/office/drawing/2014/main" id="{1EE67698-9E17-47E3-96C7-74BC148B0723}"/>
                </a:ext>
              </a:extLst>
            </p:cNvPr>
            <p:cNvGrpSpPr/>
            <p:nvPr/>
          </p:nvGrpSpPr>
          <p:grpSpPr>
            <a:xfrm>
              <a:off x="1678964" y="4803112"/>
              <a:ext cx="3729224" cy="152601"/>
              <a:chOff x="1678964" y="5129683"/>
              <a:chExt cx="3729224" cy="228600"/>
            </a:xfrm>
          </p:grpSpPr>
          <p:cxnSp>
            <p:nvCxnSpPr>
              <p:cNvPr id="18" name="Straight Connector 17">
                <a:extLst>
                  <a:ext uri="{FF2B5EF4-FFF2-40B4-BE49-F238E27FC236}">
                    <a16:creationId xmlns:a16="http://schemas.microsoft.com/office/drawing/2014/main" id="{BBBC35F0-B517-4C9F-A881-495AD75F324F}"/>
                  </a:ext>
                </a:extLst>
              </p:cNvPr>
              <p:cNvCxnSpPr>
                <a:cxnSpLocks/>
              </p:cNvCxnSpPr>
              <p:nvPr/>
            </p:nvCxnSpPr>
            <p:spPr>
              <a:xfrm>
                <a:off x="1678964" y="5243983"/>
                <a:ext cx="372922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D92FE89-6863-4BEF-8DE7-49D5B5A02659}"/>
                  </a:ext>
                </a:extLst>
              </p:cNvPr>
              <p:cNvCxnSpPr/>
              <p:nvPr/>
            </p:nvCxnSpPr>
            <p:spPr>
              <a:xfrm>
                <a:off x="1678964" y="5129683"/>
                <a:ext cx="0" cy="2286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566E3A1-5709-4806-A811-6FD431CE9FE1}"/>
                  </a:ext>
                </a:extLst>
              </p:cNvPr>
              <p:cNvCxnSpPr/>
              <p:nvPr/>
            </p:nvCxnSpPr>
            <p:spPr>
              <a:xfrm>
                <a:off x="5408188" y="5129683"/>
                <a:ext cx="0" cy="2286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7332AAA-95E8-492B-8A27-2CC74E677F48}"/>
                  </a:ext>
                </a:extLst>
              </p:cNvPr>
              <p:cNvCxnSpPr/>
              <p:nvPr/>
            </p:nvCxnSpPr>
            <p:spPr>
              <a:xfrm>
                <a:off x="3543576" y="5129683"/>
                <a:ext cx="0" cy="2286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90D446A-07D7-441A-82BA-019B4F43BA33}"/>
                  </a:ext>
                </a:extLst>
              </p:cNvPr>
              <p:cNvCxnSpPr/>
              <p:nvPr/>
            </p:nvCxnSpPr>
            <p:spPr>
              <a:xfrm>
                <a:off x="2611270" y="5149520"/>
                <a:ext cx="0" cy="1889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2E0D493-93D3-4C9F-85BD-43E72AD379D0}"/>
                  </a:ext>
                </a:extLst>
              </p:cNvPr>
              <p:cNvCxnSpPr/>
              <p:nvPr/>
            </p:nvCxnSpPr>
            <p:spPr>
              <a:xfrm>
                <a:off x="4475882" y="5149520"/>
                <a:ext cx="0" cy="1889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45" name="Rectangle 44">
            <a:extLst>
              <a:ext uri="{FF2B5EF4-FFF2-40B4-BE49-F238E27FC236}">
                <a16:creationId xmlns:a16="http://schemas.microsoft.com/office/drawing/2014/main" id="{2522E483-CAC3-5346-BF70-11E8C7D2F1D6}"/>
              </a:ext>
            </a:extLst>
          </p:cNvPr>
          <p:cNvSpPr/>
          <p:nvPr/>
        </p:nvSpPr>
        <p:spPr bwMode="auto">
          <a:xfrm>
            <a:off x="4017942" y="1760915"/>
            <a:ext cx="1146947" cy="211209"/>
          </a:xfrm>
          <a:prstGeom prst="rect">
            <a:avLst/>
          </a:prstGeom>
          <a:solidFill>
            <a:schemeClr val="accent1"/>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solidFill>
                  <a:prstClr val="black"/>
                </a:solidFill>
                <a:effectLst/>
                <a:uLnTx/>
                <a:uFillTx/>
                <a:latin typeface="Segoe UI Semibold"/>
                <a:ea typeface="Segoe UI" pitchFamily="34" charset="0"/>
                <a:cs typeface="Segoe UI" pitchFamily="34" charset="0"/>
              </a:rPr>
              <a:t>95%</a:t>
            </a:r>
          </a:p>
        </p:txBody>
      </p:sp>
      <p:sp>
        <p:nvSpPr>
          <p:cNvPr id="46" name="Rectangle 45">
            <a:extLst>
              <a:ext uri="{FF2B5EF4-FFF2-40B4-BE49-F238E27FC236}">
                <a16:creationId xmlns:a16="http://schemas.microsoft.com/office/drawing/2014/main" id="{816BE22D-0BAE-0747-B734-0496F80C9363}"/>
              </a:ext>
            </a:extLst>
          </p:cNvPr>
          <p:cNvSpPr/>
          <p:nvPr/>
        </p:nvSpPr>
        <p:spPr bwMode="auto">
          <a:xfrm>
            <a:off x="4510889" y="1760642"/>
            <a:ext cx="1148114" cy="211209"/>
          </a:xfrm>
          <a:prstGeom prst="rect">
            <a:avLst/>
          </a:prstGeom>
          <a:no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solidFill>
                  <a:prstClr val="black"/>
                </a:solidFill>
                <a:effectLst/>
                <a:uLnTx/>
                <a:uFillTx/>
                <a:latin typeface="Segoe UI Semibold"/>
                <a:ea typeface="Segoe UI" pitchFamily="34" charset="0"/>
                <a:cs typeface="Segoe UI" pitchFamily="34" charset="0"/>
              </a:rPr>
              <a:t>model</a:t>
            </a:r>
          </a:p>
        </p:txBody>
      </p:sp>
      <p:sp>
        <p:nvSpPr>
          <p:cNvPr id="2" name="Title 1">
            <a:extLst>
              <a:ext uri="{FF2B5EF4-FFF2-40B4-BE49-F238E27FC236}">
                <a16:creationId xmlns:a16="http://schemas.microsoft.com/office/drawing/2014/main" id="{578A81E7-9825-4BA3-87D3-030B9AF85035}"/>
              </a:ext>
            </a:extLst>
          </p:cNvPr>
          <p:cNvSpPr>
            <a:spLocks noGrp="1"/>
          </p:cNvSpPr>
          <p:nvPr>
            <p:ph type="title"/>
          </p:nvPr>
        </p:nvSpPr>
        <p:spPr>
          <a:xfrm>
            <a:off x="427204" y="431241"/>
            <a:ext cx="11474412" cy="757914"/>
          </a:xfrm>
        </p:spPr>
        <p:txBody>
          <a:bodyPr/>
          <a:lstStyle/>
          <a:p>
            <a:pPr algn="ctr"/>
            <a:r>
              <a:rPr lang="en-US" dirty="0"/>
              <a:t>Understand the inner workings of ML by analyzing feature importance </a:t>
            </a:r>
          </a:p>
        </p:txBody>
      </p:sp>
      <p:sp>
        <p:nvSpPr>
          <p:cNvPr id="49" name="Rectangle 48">
            <a:extLst>
              <a:ext uri="{FF2B5EF4-FFF2-40B4-BE49-F238E27FC236}">
                <a16:creationId xmlns:a16="http://schemas.microsoft.com/office/drawing/2014/main" id="{DBA7EC58-ACDB-B246-B73C-09B60CADC271}"/>
              </a:ext>
            </a:extLst>
          </p:cNvPr>
          <p:cNvSpPr/>
          <p:nvPr/>
        </p:nvSpPr>
        <p:spPr bwMode="auto">
          <a:xfrm>
            <a:off x="10142533" y="1761190"/>
            <a:ext cx="1257734" cy="211209"/>
          </a:xfrm>
          <a:prstGeom prst="rect">
            <a:avLst/>
          </a:prstGeom>
          <a:no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solidFill>
                  <a:prstClr val="white"/>
                </a:solidFill>
                <a:effectLst/>
                <a:uLnTx/>
                <a:uFillTx/>
                <a:latin typeface="Segoe UI Semibold"/>
                <a:ea typeface="Segoe UI" pitchFamily="34" charset="0"/>
                <a:cs typeface="Segoe UI" pitchFamily="34" charset="0"/>
              </a:rPr>
              <a:t>70%</a:t>
            </a:r>
          </a:p>
        </p:txBody>
      </p:sp>
      <p:sp>
        <p:nvSpPr>
          <p:cNvPr id="50" name="Rectangle 49">
            <a:extLst>
              <a:ext uri="{FF2B5EF4-FFF2-40B4-BE49-F238E27FC236}">
                <a16:creationId xmlns:a16="http://schemas.microsoft.com/office/drawing/2014/main" id="{688D9B25-634C-0845-B625-8E3749910BDA}"/>
              </a:ext>
            </a:extLst>
          </p:cNvPr>
          <p:cNvSpPr/>
          <p:nvPr/>
        </p:nvSpPr>
        <p:spPr bwMode="auto">
          <a:xfrm>
            <a:off x="10733047" y="1760642"/>
            <a:ext cx="1148114" cy="211209"/>
          </a:xfrm>
          <a:prstGeom prst="rect">
            <a:avLst/>
          </a:prstGeom>
          <a:no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solidFill>
                  <a:prstClr val="white"/>
                </a:solidFill>
                <a:effectLst/>
                <a:uLnTx/>
                <a:uFillTx/>
                <a:latin typeface="Segoe UI Semibold"/>
                <a:ea typeface="Segoe UI" pitchFamily="34" charset="0"/>
                <a:cs typeface="Segoe UI" pitchFamily="34" charset="0"/>
              </a:rPr>
              <a:t>model</a:t>
            </a:r>
          </a:p>
        </p:txBody>
      </p:sp>
      <p:sp>
        <p:nvSpPr>
          <p:cNvPr id="3" name="Rectangle 2">
            <a:extLst>
              <a:ext uri="{FF2B5EF4-FFF2-40B4-BE49-F238E27FC236}">
                <a16:creationId xmlns:a16="http://schemas.microsoft.com/office/drawing/2014/main" id="{F4BDAABE-25C4-4FCF-ABD7-49EE5BA23768}"/>
              </a:ext>
            </a:extLst>
          </p:cNvPr>
          <p:cNvSpPr/>
          <p:nvPr/>
        </p:nvSpPr>
        <p:spPr>
          <a:xfrm>
            <a:off x="427207" y="5538078"/>
            <a:ext cx="9910787" cy="374793"/>
          </a:xfrm>
          <a:prstGeom prst="rect">
            <a:avLst/>
          </a:prstGeom>
        </p:spPr>
        <p:txBody>
          <a:bodyPr wrap="square" lIns="0">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Enable model explain-ability for every automated ML iteration, not just the optimal model</a:t>
            </a:r>
          </a:p>
        </p:txBody>
      </p:sp>
    </p:spTree>
    <p:extLst>
      <p:ext uri="{BB962C8B-B14F-4D97-AF65-F5344CB8AC3E}">
        <p14:creationId xmlns:p14="http://schemas.microsoft.com/office/powerpoint/2010/main" val="26121294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8AD2ABB-1A34-2D4F-B02D-4D3702F040B8}"/>
              </a:ext>
            </a:extLst>
          </p:cNvPr>
          <p:cNvSpPr txBox="1">
            <a:spLocks/>
          </p:cNvSpPr>
          <p:nvPr/>
        </p:nvSpPr>
        <p:spPr>
          <a:xfrm>
            <a:off x="1593671" y="3586942"/>
            <a:ext cx="9004658" cy="828148"/>
          </a:xfrm>
          <a:prstGeom prst="rect">
            <a:avLst/>
          </a:prstGeom>
          <a:noFill/>
        </p:spPr>
        <p:txBody>
          <a:bodyPr vert="horz" wrap="square" lIns="0" tIns="0" rIns="0" bIns="0" rtlCol="0" anchor="ctr" anchorCtr="0">
            <a:noAutofit/>
          </a:bodyPr>
          <a:lstStyle>
            <a:lvl1pPr algn="l" defTabSz="932742" rtl="0" eaLnBrk="1" latinLnBrk="0" hangingPunct="1">
              <a:lnSpc>
                <a:spcPct val="90000"/>
              </a:lnSpc>
              <a:spcBef>
                <a:spcPct val="0"/>
              </a:spcBef>
              <a:buNone/>
              <a:defRPr lang="en-US" sz="5400" b="0" kern="1200" cap="none" spc="-150" baseline="0" dirty="0">
                <a:ln w="3175">
                  <a:noFill/>
                </a:ln>
                <a:solidFill>
                  <a:schemeClr val="tx1"/>
                </a:soli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5294" b="0" i="0" u="none" strike="noStrike" kern="1200" cap="none" spc="-147" normalizeH="0" baseline="0" noProof="0" dirty="0">
                <a:ln w="3175">
                  <a:noFill/>
                </a:ln>
                <a:solidFill>
                  <a:prstClr val="white"/>
                </a:solidFill>
                <a:effectLst/>
                <a:uLnTx/>
                <a:uFillTx/>
                <a:latin typeface="Segoe UI Semibold"/>
                <a:ea typeface="+mn-ea"/>
                <a:cs typeface="Segoe UI" pitchFamily="34" charset="0"/>
              </a:rPr>
              <a:t>Managed compute</a:t>
            </a:r>
          </a:p>
        </p:txBody>
      </p:sp>
      <p:grpSp>
        <p:nvGrpSpPr>
          <p:cNvPr id="7" name="Group 8">
            <a:extLst>
              <a:ext uri="{FF2B5EF4-FFF2-40B4-BE49-F238E27FC236}">
                <a16:creationId xmlns:a16="http://schemas.microsoft.com/office/drawing/2014/main" id="{58F1277D-315C-084C-9912-4157B0AB37D8}"/>
              </a:ext>
            </a:extLst>
          </p:cNvPr>
          <p:cNvGrpSpPr>
            <a:grpSpLocks noChangeAspect="1"/>
          </p:cNvGrpSpPr>
          <p:nvPr/>
        </p:nvGrpSpPr>
        <p:grpSpPr bwMode="auto">
          <a:xfrm>
            <a:off x="5410902" y="2315714"/>
            <a:ext cx="1370197" cy="1113286"/>
            <a:chOff x="5458" y="3157"/>
            <a:chExt cx="304" cy="247"/>
          </a:xfrm>
          <a:solidFill>
            <a:schemeClr val="bg2"/>
          </a:solidFill>
        </p:grpSpPr>
        <p:sp>
          <p:nvSpPr>
            <p:cNvPr id="8" name="Freeform 9">
              <a:extLst>
                <a:ext uri="{FF2B5EF4-FFF2-40B4-BE49-F238E27FC236}">
                  <a16:creationId xmlns:a16="http://schemas.microsoft.com/office/drawing/2014/main" id="{6384D536-AF3A-5049-9F2C-280C4E2C56D3}"/>
                </a:ext>
              </a:extLst>
            </p:cNvPr>
            <p:cNvSpPr>
              <a:spLocks noEditPoints="1"/>
            </p:cNvSpPr>
            <p:nvPr/>
          </p:nvSpPr>
          <p:spPr bwMode="auto">
            <a:xfrm>
              <a:off x="5521" y="3157"/>
              <a:ext cx="241" cy="247"/>
            </a:xfrm>
            <a:custGeom>
              <a:avLst/>
              <a:gdLst>
                <a:gd name="T0" fmla="*/ 35 w 334"/>
                <a:gd name="T1" fmla="*/ 160 h 341"/>
                <a:gd name="T2" fmla="*/ 35 w 334"/>
                <a:gd name="T3" fmla="*/ 61 h 341"/>
                <a:gd name="T4" fmla="*/ 60 w 334"/>
                <a:gd name="T5" fmla="*/ 36 h 341"/>
                <a:gd name="T6" fmla="*/ 266 w 334"/>
                <a:gd name="T7" fmla="*/ 36 h 341"/>
                <a:gd name="T8" fmla="*/ 291 w 334"/>
                <a:gd name="T9" fmla="*/ 61 h 341"/>
                <a:gd name="T10" fmla="*/ 291 w 334"/>
                <a:gd name="T11" fmla="*/ 273 h 341"/>
                <a:gd name="T12" fmla="*/ 266 w 334"/>
                <a:gd name="T13" fmla="*/ 298 h 341"/>
                <a:gd name="T14" fmla="*/ 266 w 334"/>
                <a:gd name="T15" fmla="*/ 298 h 341"/>
                <a:gd name="T16" fmla="*/ 84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5 w 334"/>
                <a:gd name="T35" fmla="*/ 0 h 341"/>
                <a:gd name="T36" fmla="*/ 255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5 w 334"/>
                <a:gd name="T59" fmla="*/ 78 h 341"/>
                <a:gd name="T60" fmla="*/ 0 w 334"/>
                <a:gd name="T61" fmla="*/ 78 h 341"/>
                <a:gd name="T62" fmla="*/ 35 w 334"/>
                <a:gd name="T63" fmla="*/ 121 h 341"/>
                <a:gd name="T64" fmla="*/ 0 w 334"/>
                <a:gd name="T65" fmla="*/ 121 h 341"/>
                <a:gd name="T66" fmla="*/ 35 w 334"/>
                <a:gd name="T67" fmla="*/ 163 h 341"/>
                <a:gd name="T68" fmla="*/ 0 w 334"/>
                <a:gd name="T69" fmla="*/ 163 h 341"/>
                <a:gd name="T70" fmla="*/ 121 w 334"/>
                <a:gd name="T71" fmla="*/ 298 h 341"/>
                <a:gd name="T72" fmla="*/ 121 w 334"/>
                <a:gd name="T73" fmla="*/ 341 h 341"/>
                <a:gd name="T74" fmla="*/ 163 w 334"/>
                <a:gd name="T75" fmla="*/ 341 h 341"/>
                <a:gd name="T76" fmla="*/ 163 w 334"/>
                <a:gd name="T77" fmla="*/ 298 h 341"/>
                <a:gd name="T78" fmla="*/ 206 w 334"/>
                <a:gd name="T79" fmla="*/ 298 h 341"/>
                <a:gd name="T80" fmla="*/ 206 w 334"/>
                <a:gd name="T81" fmla="*/ 341 h 341"/>
                <a:gd name="T82" fmla="*/ 255 w 334"/>
                <a:gd name="T83" fmla="*/ 298 h 341"/>
                <a:gd name="T84" fmla="*/ 255 w 334"/>
                <a:gd name="T8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341">
                  <a:moveTo>
                    <a:pt x="35" y="160"/>
                  </a:moveTo>
                  <a:cubicBezTo>
                    <a:pt x="35" y="65"/>
                    <a:pt x="35" y="61"/>
                    <a:pt x="35" y="61"/>
                  </a:cubicBezTo>
                  <a:cubicBezTo>
                    <a:pt x="35" y="45"/>
                    <a:pt x="48" y="36"/>
                    <a:pt x="60" y="36"/>
                  </a:cubicBezTo>
                  <a:cubicBezTo>
                    <a:pt x="266" y="36"/>
                    <a:pt x="266" y="36"/>
                    <a:pt x="266" y="36"/>
                  </a:cubicBezTo>
                  <a:cubicBezTo>
                    <a:pt x="282" y="36"/>
                    <a:pt x="291" y="45"/>
                    <a:pt x="291" y="61"/>
                  </a:cubicBezTo>
                  <a:cubicBezTo>
                    <a:pt x="291" y="273"/>
                    <a:pt x="291" y="273"/>
                    <a:pt x="291" y="273"/>
                  </a:cubicBezTo>
                  <a:cubicBezTo>
                    <a:pt x="291" y="286"/>
                    <a:pt x="282" y="298"/>
                    <a:pt x="266" y="298"/>
                  </a:cubicBezTo>
                  <a:cubicBezTo>
                    <a:pt x="266" y="298"/>
                    <a:pt x="266" y="298"/>
                    <a:pt x="266" y="298"/>
                  </a:cubicBezTo>
                  <a:cubicBezTo>
                    <a:pt x="161" y="298"/>
                    <a:pt x="110" y="298"/>
                    <a:pt x="84" y="298"/>
                  </a:cubicBezTo>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5" y="0"/>
                  </a:moveTo>
                  <a:cubicBezTo>
                    <a:pt x="255" y="36"/>
                    <a:pt x="255" y="36"/>
                    <a:pt x="255"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5" y="78"/>
                  </a:moveTo>
                  <a:cubicBezTo>
                    <a:pt x="0" y="78"/>
                    <a:pt x="0" y="78"/>
                    <a:pt x="0" y="78"/>
                  </a:cubicBezTo>
                  <a:moveTo>
                    <a:pt x="35" y="121"/>
                  </a:moveTo>
                  <a:cubicBezTo>
                    <a:pt x="0" y="121"/>
                    <a:pt x="0" y="121"/>
                    <a:pt x="0" y="121"/>
                  </a:cubicBezTo>
                  <a:moveTo>
                    <a:pt x="35" y="163"/>
                  </a:moveTo>
                  <a:cubicBezTo>
                    <a:pt x="0" y="163"/>
                    <a:pt x="0" y="163"/>
                    <a:pt x="0" y="163"/>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5" y="298"/>
                  </a:moveTo>
                  <a:cubicBezTo>
                    <a:pt x="255" y="341"/>
                    <a:pt x="255" y="341"/>
                    <a:pt x="255" y="341"/>
                  </a:cubicBezTo>
                </a:path>
              </a:pathLst>
            </a:custGeom>
            <a:grpFill/>
            <a:ln w="19050"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marL="0" marR="0" lvl="0" indent="0" algn="l" defTabSz="623113" rtl="0" eaLnBrk="1" fontAlgn="auto" latinLnBrk="0" hangingPunct="1">
                <a:lnSpc>
                  <a:spcPct val="100000"/>
                </a:lnSpc>
                <a:spcBef>
                  <a:spcPts val="0"/>
                </a:spcBef>
                <a:spcAft>
                  <a:spcPts val="0"/>
                </a:spcAft>
                <a:buClrTx/>
                <a:buSzTx/>
                <a:buFontTx/>
                <a:buNone/>
                <a:tabLst/>
                <a:defRPr/>
              </a:pPr>
              <a:endParaRPr kumimoji="0" lang="en-US" sz="6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9" name="Freeform 10">
              <a:extLst>
                <a:ext uri="{FF2B5EF4-FFF2-40B4-BE49-F238E27FC236}">
                  <a16:creationId xmlns:a16="http://schemas.microsoft.com/office/drawing/2014/main" id="{C27C9E8C-CD12-D04D-A90C-F9906851A51F}"/>
                </a:ext>
              </a:extLst>
            </p:cNvPr>
            <p:cNvSpPr>
              <a:spLocks noEditPoints="1"/>
            </p:cNvSpPr>
            <p:nvPr/>
          </p:nvSpPr>
          <p:spPr bwMode="auto">
            <a:xfrm>
              <a:off x="5458" y="3262"/>
              <a:ext cx="138" cy="141"/>
            </a:xfrm>
            <a:custGeom>
              <a:avLst/>
              <a:gdLst>
                <a:gd name="T0" fmla="*/ 153 w 191"/>
                <a:gd name="T1" fmla="*/ 171 h 195"/>
                <a:gd name="T2" fmla="*/ 35 w 191"/>
                <a:gd name="T3" fmla="*/ 171 h 195"/>
                <a:gd name="T4" fmla="*/ 21 w 191"/>
                <a:gd name="T5" fmla="*/ 156 h 195"/>
                <a:gd name="T6" fmla="*/ 21 w 191"/>
                <a:gd name="T7" fmla="*/ 35 h 195"/>
                <a:gd name="T8" fmla="*/ 35 w 191"/>
                <a:gd name="T9" fmla="*/ 20 h 195"/>
                <a:gd name="T10" fmla="*/ 153 w 191"/>
                <a:gd name="T11" fmla="*/ 20 h 195"/>
                <a:gd name="T12" fmla="*/ 167 w 191"/>
                <a:gd name="T13" fmla="*/ 35 h 195"/>
                <a:gd name="T14" fmla="*/ 167 w 191"/>
                <a:gd name="T15" fmla="*/ 156 h 195"/>
                <a:gd name="T16" fmla="*/ 153 w 191"/>
                <a:gd name="T17" fmla="*/ 171 h 195"/>
                <a:gd name="T18" fmla="*/ 45 w 191"/>
                <a:gd name="T19" fmla="*/ 20 h 195"/>
                <a:gd name="T20" fmla="*/ 45 w 191"/>
                <a:gd name="T21" fmla="*/ 0 h 195"/>
                <a:gd name="T22" fmla="*/ 69 w 191"/>
                <a:gd name="T23" fmla="*/ 20 h 195"/>
                <a:gd name="T24" fmla="*/ 69 w 191"/>
                <a:gd name="T25" fmla="*/ 0 h 195"/>
                <a:gd name="T26" fmla="*/ 94 w 191"/>
                <a:gd name="T27" fmla="*/ 0 h 195"/>
                <a:gd name="T28" fmla="*/ 94 w 191"/>
                <a:gd name="T29" fmla="*/ 20 h 195"/>
                <a:gd name="T30" fmla="*/ 118 w 191"/>
                <a:gd name="T31" fmla="*/ 0 h 195"/>
                <a:gd name="T32" fmla="*/ 118 w 191"/>
                <a:gd name="T33" fmla="*/ 20 h 195"/>
                <a:gd name="T34" fmla="*/ 146 w 191"/>
                <a:gd name="T35" fmla="*/ 0 h 195"/>
                <a:gd name="T36" fmla="*/ 146 w 191"/>
                <a:gd name="T37" fmla="*/ 20 h 195"/>
                <a:gd name="T38" fmla="*/ 191 w 191"/>
                <a:gd name="T39" fmla="*/ 45 h 195"/>
                <a:gd name="T40" fmla="*/ 167 w 191"/>
                <a:gd name="T41" fmla="*/ 45 h 195"/>
                <a:gd name="T42" fmla="*/ 191 w 191"/>
                <a:gd name="T43" fmla="*/ 69 h 195"/>
                <a:gd name="T44" fmla="*/ 167 w 191"/>
                <a:gd name="T45" fmla="*/ 69 h 195"/>
                <a:gd name="T46" fmla="*/ 191 w 191"/>
                <a:gd name="T47" fmla="*/ 93 h 195"/>
                <a:gd name="T48" fmla="*/ 167 w 191"/>
                <a:gd name="T49" fmla="*/ 93 h 195"/>
                <a:gd name="T50" fmla="*/ 191 w 191"/>
                <a:gd name="T51" fmla="*/ 122 h 195"/>
                <a:gd name="T52" fmla="*/ 167 w 191"/>
                <a:gd name="T53" fmla="*/ 122 h 195"/>
                <a:gd name="T54" fmla="*/ 191 w 191"/>
                <a:gd name="T55" fmla="*/ 146 h 195"/>
                <a:gd name="T56" fmla="*/ 167 w 191"/>
                <a:gd name="T57" fmla="*/ 146 h 195"/>
                <a:gd name="T58" fmla="*/ 21 w 191"/>
                <a:gd name="T59" fmla="*/ 45 h 195"/>
                <a:gd name="T60" fmla="*/ 0 w 191"/>
                <a:gd name="T61" fmla="*/ 45 h 195"/>
                <a:gd name="T62" fmla="*/ 21 w 191"/>
                <a:gd name="T63" fmla="*/ 69 h 195"/>
                <a:gd name="T64" fmla="*/ 0 w 191"/>
                <a:gd name="T65" fmla="*/ 69 h 195"/>
                <a:gd name="T66" fmla="*/ 21 w 191"/>
                <a:gd name="T67" fmla="*/ 93 h 195"/>
                <a:gd name="T68" fmla="*/ 0 w 191"/>
                <a:gd name="T69" fmla="*/ 93 h 195"/>
                <a:gd name="T70" fmla="*/ 21 w 191"/>
                <a:gd name="T71" fmla="*/ 122 h 195"/>
                <a:gd name="T72" fmla="*/ 0 w 191"/>
                <a:gd name="T73" fmla="*/ 122 h 195"/>
                <a:gd name="T74" fmla="*/ 21 w 191"/>
                <a:gd name="T75" fmla="*/ 146 h 195"/>
                <a:gd name="T76" fmla="*/ 0 w 191"/>
                <a:gd name="T77" fmla="*/ 146 h 195"/>
                <a:gd name="T78" fmla="*/ 45 w 191"/>
                <a:gd name="T79" fmla="*/ 171 h 195"/>
                <a:gd name="T80" fmla="*/ 45 w 191"/>
                <a:gd name="T81" fmla="*/ 195 h 195"/>
                <a:gd name="T82" fmla="*/ 69 w 191"/>
                <a:gd name="T83" fmla="*/ 171 h 195"/>
                <a:gd name="T84" fmla="*/ 69 w 191"/>
                <a:gd name="T85" fmla="*/ 195 h 195"/>
                <a:gd name="T86" fmla="*/ 94 w 191"/>
                <a:gd name="T87" fmla="*/ 195 h 195"/>
                <a:gd name="T88" fmla="*/ 94 w 191"/>
                <a:gd name="T89" fmla="*/ 171 h 195"/>
                <a:gd name="T90" fmla="*/ 118 w 191"/>
                <a:gd name="T91" fmla="*/ 171 h 195"/>
                <a:gd name="T92" fmla="*/ 118 w 191"/>
                <a:gd name="T93" fmla="*/ 195 h 195"/>
                <a:gd name="T94" fmla="*/ 146 w 191"/>
                <a:gd name="T95" fmla="*/ 171 h 195"/>
                <a:gd name="T96" fmla="*/ 146 w 191"/>
                <a:gd name="T9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95">
                  <a:moveTo>
                    <a:pt x="153" y="171"/>
                  </a:moveTo>
                  <a:cubicBezTo>
                    <a:pt x="35" y="171"/>
                    <a:pt x="35" y="171"/>
                    <a:pt x="35" y="171"/>
                  </a:cubicBezTo>
                  <a:cubicBezTo>
                    <a:pt x="28" y="171"/>
                    <a:pt x="21" y="163"/>
                    <a:pt x="21" y="156"/>
                  </a:cubicBezTo>
                  <a:cubicBezTo>
                    <a:pt x="21" y="35"/>
                    <a:pt x="21" y="35"/>
                    <a:pt x="21" y="35"/>
                  </a:cubicBezTo>
                  <a:cubicBezTo>
                    <a:pt x="21" y="26"/>
                    <a:pt x="28" y="20"/>
                    <a:pt x="35" y="20"/>
                  </a:cubicBezTo>
                  <a:cubicBezTo>
                    <a:pt x="153" y="20"/>
                    <a:pt x="153" y="20"/>
                    <a:pt x="153" y="20"/>
                  </a:cubicBezTo>
                  <a:cubicBezTo>
                    <a:pt x="162" y="20"/>
                    <a:pt x="167" y="26"/>
                    <a:pt x="167" y="35"/>
                  </a:cubicBezTo>
                  <a:cubicBezTo>
                    <a:pt x="167" y="156"/>
                    <a:pt x="167" y="156"/>
                    <a:pt x="167" y="156"/>
                  </a:cubicBezTo>
                  <a:cubicBezTo>
                    <a:pt x="167" y="163"/>
                    <a:pt x="162" y="171"/>
                    <a:pt x="153" y="171"/>
                  </a:cubicBezTo>
                  <a:close/>
                  <a:moveTo>
                    <a:pt x="45" y="20"/>
                  </a:moveTo>
                  <a:cubicBezTo>
                    <a:pt x="45" y="0"/>
                    <a:pt x="45" y="0"/>
                    <a:pt x="45" y="0"/>
                  </a:cubicBezTo>
                  <a:moveTo>
                    <a:pt x="69" y="20"/>
                  </a:moveTo>
                  <a:cubicBezTo>
                    <a:pt x="69" y="0"/>
                    <a:pt x="69" y="0"/>
                    <a:pt x="69" y="0"/>
                  </a:cubicBezTo>
                  <a:moveTo>
                    <a:pt x="94" y="0"/>
                  </a:moveTo>
                  <a:cubicBezTo>
                    <a:pt x="94" y="20"/>
                    <a:pt x="94" y="20"/>
                    <a:pt x="94" y="20"/>
                  </a:cubicBezTo>
                  <a:moveTo>
                    <a:pt x="118" y="0"/>
                  </a:moveTo>
                  <a:cubicBezTo>
                    <a:pt x="118" y="20"/>
                    <a:pt x="118" y="20"/>
                    <a:pt x="118" y="20"/>
                  </a:cubicBezTo>
                  <a:moveTo>
                    <a:pt x="146" y="0"/>
                  </a:moveTo>
                  <a:cubicBezTo>
                    <a:pt x="146" y="20"/>
                    <a:pt x="146" y="20"/>
                    <a:pt x="146" y="20"/>
                  </a:cubicBezTo>
                  <a:moveTo>
                    <a:pt x="191" y="45"/>
                  </a:moveTo>
                  <a:cubicBezTo>
                    <a:pt x="167" y="45"/>
                    <a:pt x="167" y="45"/>
                    <a:pt x="167" y="45"/>
                  </a:cubicBezTo>
                  <a:moveTo>
                    <a:pt x="191" y="69"/>
                  </a:moveTo>
                  <a:cubicBezTo>
                    <a:pt x="167" y="69"/>
                    <a:pt x="167" y="69"/>
                    <a:pt x="167" y="69"/>
                  </a:cubicBezTo>
                  <a:moveTo>
                    <a:pt x="191" y="93"/>
                  </a:moveTo>
                  <a:cubicBezTo>
                    <a:pt x="167" y="93"/>
                    <a:pt x="167" y="93"/>
                    <a:pt x="167" y="93"/>
                  </a:cubicBezTo>
                  <a:moveTo>
                    <a:pt x="191" y="122"/>
                  </a:moveTo>
                  <a:cubicBezTo>
                    <a:pt x="167" y="122"/>
                    <a:pt x="167" y="122"/>
                    <a:pt x="167" y="122"/>
                  </a:cubicBezTo>
                  <a:moveTo>
                    <a:pt x="191" y="146"/>
                  </a:moveTo>
                  <a:cubicBezTo>
                    <a:pt x="167" y="146"/>
                    <a:pt x="167" y="146"/>
                    <a:pt x="167" y="146"/>
                  </a:cubicBezTo>
                  <a:moveTo>
                    <a:pt x="21" y="45"/>
                  </a:moveTo>
                  <a:cubicBezTo>
                    <a:pt x="0" y="45"/>
                    <a:pt x="0" y="45"/>
                    <a:pt x="0" y="45"/>
                  </a:cubicBezTo>
                  <a:moveTo>
                    <a:pt x="21" y="69"/>
                  </a:moveTo>
                  <a:cubicBezTo>
                    <a:pt x="0" y="69"/>
                    <a:pt x="0" y="69"/>
                    <a:pt x="0" y="69"/>
                  </a:cubicBezTo>
                  <a:moveTo>
                    <a:pt x="21" y="93"/>
                  </a:moveTo>
                  <a:cubicBezTo>
                    <a:pt x="0" y="93"/>
                    <a:pt x="0" y="93"/>
                    <a:pt x="0" y="93"/>
                  </a:cubicBezTo>
                  <a:moveTo>
                    <a:pt x="21" y="122"/>
                  </a:moveTo>
                  <a:cubicBezTo>
                    <a:pt x="0" y="122"/>
                    <a:pt x="0" y="122"/>
                    <a:pt x="0" y="122"/>
                  </a:cubicBezTo>
                  <a:moveTo>
                    <a:pt x="21" y="146"/>
                  </a:moveTo>
                  <a:cubicBezTo>
                    <a:pt x="0" y="146"/>
                    <a:pt x="0" y="146"/>
                    <a:pt x="0" y="146"/>
                  </a:cubicBezTo>
                  <a:moveTo>
                    <a:pt x="45" y="171"/>
                  </a:moveTo>
                  <a:cubicBezTo>
                    <a:pt x="45" y="195"/>
                    <a:pt x="45" y="195"/>
                    <a:pt x="45" y="195"/>
                  </a:cubicBezTo>
                  <a:moveTo>
                    <a:pt x="69" y="171"/>
                  </a:moveTo>
                  <a:cubicBezTo>
                    <a:pt x="69" y="195"/>
                    <a:pt x="69" y="195"/>
                    <a:pt x="69" y="195"/>
                  </a:cubicBezTo>
                  <a:moveTo>
                    <a:pt x="94" y="195"/>
                  </a:moveTo>
                  <a:cubicBezTo>
                    <a:pt x="94" y="171"/>
                    <a:pt x="94" y="171"/>
                    <a:pt x="94" y="171"/>
                  </a:cubicBezTo>
                  <a:moveTo>
                    <a:pt x="118" y="171"/>
                  </a:moveTo>
                  <a:cubicBezTo>
                    <a:pt x="118" y="195"/>
                    <a:pt x="118" y="195"/>
                    <a:pt x="118" y="195"/>
                  </a:cubicBezTo>
                  <a:moveTo>
                    <a:pt x="146" y="171"/>
                  </a:moveTo>
                  <a:cubicBezTo>
                    <a:pt x="146" y="195"/>
                    <a:pt x="146" y="195"/>
                    <a:pt x="146" y="195"/>
                  </a:cubicBezTo>
                </a:path>
              </a:pathLst>
            </a:custGeom>
            <a:grpFill/>
            <a:ln w="19050"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marL="0" marR="0" lvl="0" indent="0" algn="l" defTabSz="623113" rtl="0" eaLnBrk="1" fontAlgn="auto" latinLnBrk="0" hangingPunct="1">
                <a:lnSpc>
                  <a:spcPct val="100000"/>
                </a:lnSpc>
                <a:spcBef>
                  <a:spcPts val="0"/>
                </a:spcBef>
                <a:spcAft>
                  <a:spcPts val="0"/>
                </a:spcAft>
                <a:buClrTx/>
                <a:buSzTx/>
                <a:buFontTx/>
                <a:buNone/>
                <a:tabLst/>
                <a:defRPr/>
              </a:pPr>
              <a:endParaRPr kumimoji="0" lang="en-US" sz="6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Tree>
    <p:extLst>
      <p:ext uri="{BB962C8B-B14F-4D97-AF65-F5344CB8AC3E}">
        <p14:creationId xmlns:p14="http://schemas.microsoft.com/office/powerpoint/2010/main" val="333842131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10B35A8B-92F4-894A-8D28-3E844BFB489C}"/>
              </a:ext>
            </a:extLst>
          </p:cNvPr>
          <p:cNvSpPr>
            <a:spLocks noGrp="1"/>
          </p:cNvSpPr>
          <p:nvPr>
            <p:ph type="title"/>
          </p:nvPr>
        </p:nvSpPr>
        <p:spPr/>
        <p:txBody>
          <a:bodyPr/>
          <a:lstStyle/>
          <a:p>
            <a:r>
              <a:rPr lang="en-US" dirty="0"/>
              <a:t>Distributed training on managed compute</a:t>
            </a:r>
            <a:br>
              <a:rPr lang="en-US" dirty="0"/>
            </a:br>
            <a:endParaRPr lang="en-US" dirty="0"/>
          </a:p>
        </p:txBody>
      </p:sp>
      <p:sp>
        <p:nvSpPr>
          <p:cNvPr id="2" name="Oval 1">
            <a:extLst>
              <a:ext uri="{FF2B5EF4-FFF2-40B4-BE49-F238E27FC236}">
                <a16:creationId xmlns:a16="http://schemas.microsoft.com/office/drawing/2014/main" id="{CFD9A2FB-175E-4439-8D30-39E360F058F6}"/>
              </a:ext>
            </a:extLst>
          </p:cNvPr>
          <p:cNvSpPr/>
          <p:nvPr/>
        </p:nvSpPr>
        <p:spPr bwMode="auto">
          <a:xfrm>
            <a:off x="3884167" y="2130643"/>
            <a:ext cx="3575703" cy="3478768"/>
          </a:xfrm>
          <a:prstGeom prst="ellipse">
            <a:avLst/>
          </a:prstGeom>
          <a:noFill/>
          <a:ln w="12700" cap="flat" cmpd="sng" algn="ctr">
            <a:solidFill>
              <a:schemeClr val="accent4">
                <a:lumMod val="75000"/>
              </a:schemeClr>
            </a:solidFill>
            <a:prstDash val="solid"/>
            <a:round/>
            <a:headEnd type="none" w="med" len="med"/>
            <a:tailEnd type="none" w="med" len="med"/>
          </a:ln>
          <a:effectLst/>
          <a:extLst>
            <a:ext uri="{AF507438-7753-43e0-B8FC-AC1667EBCBE1}">
              <a14:hiddenEffects xmlns:a14="http://schemas.microsoft.com/office/drawing/2010/main" xmlns:p14="http://schemas.microsoft.com/office/powerpoint/2010/main" xmlns:asvg="http://schemas.microsoft.com/office/drawing/2016/SVG/main" xmlns:a16="http://schemas.microsoft.com/office/drawing/2014/main" xmlns="">
                <a:effectLst>
                  <a:outerShdw blurRad="63500" dist="38099" dir="2700000" algn="ctr" rotWithShape="0">
                    <a:schemeClr val="bg2">
                      <a:alpha val="74998"/>
                    </a:schemeClr>
                  </a:outerShdw>
                </a:effectLst>
              </a14:hiddenEffects>
            </a:ext>
          </a:extLst>
        </p:spPr>
        <p:txBody>
          <a:bodyPr vert="horz" wrap="square" lIns="45706" tIns="22854" rIns="45706" bIns="22854" numCol="1" rtlCol="0" anchor="t" anchorCtr="0" compatLnSpc="1">
            <a:prstTxWarp prst="textNoShape">
              <a:avLst/>
            </a:prstTxWarp>
          </a:bodyPr>
          <a:lstStyle/>
          <a:p>
            <a:pPr marL="0" marR="0" lvl="0" indent="0" algn="ctr" defTabSz="457069" rtl="0" eaLnBrk="1" fontAlgn="base" latinLnBrk="0" hangingPunct="1">
              <a:lnSpc>
                <a:spcPct val="100000"/>
              </a:lnSpc>
              <a:spcBef>
                <a:spcPct val="0"/>
              </a:spcBef>
              <a:spcAft>
                <a:spcPct val="0"/>
              </a:spcAft>
              <a:buClrTx/>
              <a:buSzTx/>
              <a:buFontTx/>
              <a:buNone/>
              <a:tabLst/>
              <a:defRPr/>
            </a:pPr>
            <a:endParaRPr kumimoji="0" lang="en-GB" sz="5598" b="0" i="0" u="none" strike="noStrike" kern="1200" cap="none" spc="0" normalizeH="0" baseline="0" noProof="0">
              <a:ln>
                <a:noFill/>
              </a:ln>
              <a:solidFill>
                <a:srgbClr val="080808"/>
              </a:solidFill>
              <a:effectLst/>
              <a:uLnTx/>
              <a:uFillTx/>
              <a:latin typeface="Gill Sans" charset="0"/>
              <a:ea typeface="ヒラギノ角ゴ ProN W3" charset="0"/>
              <a:cs typeface="ヒラギノ角ゴ ProN W3" charset="0"/>
              <a:sym typeface="Gill Sans" charset="0"/>
            </a:endParaRPr>
          </a:p>
        </p:txBody>
      </p:sp>
      <p:grpSp>
        <p:nvGrpSpPr>
          <p:cNvPr id="4" name="Group 3">
            <a:extLst>
              <a:ext uri="{FF2B5EF4-FFF2-40B4-BE49-F238E27FC236}">
                <a16:creationId xmlns:a16="http://schemas.microsoft.com/office/drawing/2014/main" id="{E72D2F54-8DA2-48EF-917A-C032A1730C89}"/>
              </a:ext>
            </a:extLst>
          </p:cNvPr>
          <p:cNvGrpSpPr/>
          <p:nvPr/>
        </p:nvGrpSpPr>
        <p:grpSpPr>
          <a:xfrm>
            <a:off x="4714879" y="3293676"/>
            <a:ext cx="1914280" cy="1112157"/>
            <a:chOff x="7491663" y="7142382"/>
            <a:chExt cx="1966752" cy="1142642"/>
          </a:xfrm>
        </p:grpSpPr>
        <p:sp>
          <p:nvSpPr>
            <p:cNvPr id="5" name="Freeform 30">
              <a:extLst>
                <a:ext uri="{FF2B5EF4-FFF2-40B4-BE49-F238E27FC236}">
                  <a16:creationId xmlns:a16="http://schemas.microsoft.com/office/drawing/2014/main" id="{82443C40-C778-41A4-99B7-D6419A240DAC}"/>
                </a:ext>
              </a:extLst>
            </p:cNvPr>
            <p:cNvSpPr>
              <a:spLocks/>
            </p:cNvSpPr>
            <p:nvPr/>
          </p:nvSpPr>
          <p:spPr bwMode="auto">
            <a:xfrm>
              <a:off x="7491663" y="7142382"/>
              <a:ext cx="1966752" cy="1142642"/>
            </a:xfrm>
            <a:custGeom>
              <a:avLst/>
              <a:gdLst>
                <a:gd name="T0" fmla="*/ 270 w 419"/>
                <a:gd name="T1" fmla="*/ 243 h 243"/>
                <a:gd name="T2" fmla="*/ 365 w 419"/>
                <a:gd name="T3" fmla="*/ 243 h 243"/>
                <a:gd name="T4" fmla="*/ 419 w 419"/>
                <a:gd name="T5" fmla="*/ 189 h 243"/>
                <a:gd name="T6" fmla="*/ 365 w 419"/>
                <a:gd name="T7" fmla="*/ 135 h 243"/>
                <a:gd name="T8" fmla="*/ 224 w 419"/>
                <a:gd name="T9" fmla="*/ 0 h 243"/>
                <a:gd name="T10" fmla="*/ 81 w 419"/>
                <a:gd name="T11" fmla="*/ 108 h 243"/>
                <a:gd name="T12" fmla="*/ 70 w 419"/>
                <a:gd name="T13" fmla="*/ 108 h 243"/>
                <a:gd name="T14" fmla="*/ 0 w 419"/>
                <a:gd name="T15" fmla="*/ 175 h 243"/>
                <a:gd name="T16" fmla="*/ 68 w 419"/>
                <a:gd name="T17" fmla="*/ 243 h 243"/>
                <a:gd name="T18" fmla="*/ 270 w 419"/>
                <a:gd name="T1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9" h="243">
                  <a:moveTo>
                    <a:pt x="270" y="243"/>
                  </a:moveTo>
                  <a:cubicBezTo>
                    <a:pt x="365" y="243"/>
                    <a:pt x="365" y="243"/>
                    <a:pt x="365" y="243"/>
                  </a:cubicBezTo>
                  <a:cubicBezTo>
                    <a:pt x="396" y="243"/>
                    <a:pt x="419" y="218"/>
                    <a:pt x="419" y="189"/>
                  </a:cubicBezTo>
                  <a:cubicBezTo>
                    <a:pt x="419" y="159"/>
                    <a:pt x="396" y="135"/>
                    <a:pt x="365" y="135"/>
                  </a:cubicBezTo>
                  <a:cubicBezTo>
                    <a:pt x="365" y="60"/>
                    <a:pt x="301" y="0"/>
                    <a:pt x="224" y="0"/>
                  </a:cubicBezTo>
                  <a:cubicBezTo>
                    <a:pt x="155" y="0"/>
                    <a:pt x="94" y="45"/>
                    <a:pt x="81" y="108"/>
                  </a:cubicBezTo>
                  <a:cubicBezTo>
                    <a:pt x="81" y="108"/>
                    <a:pt x="76" y="108"/>
                    <a:pt x="70" y="108"/>
                  </a:cubicBezTo>
                  <a:cubicBezTo>
                    <a:pt x="32" y="108"/>
                    <a:pt x="0" y="138"/>
                    <a:pt x="0" y="175"/>
                  </a:cubicBezTo>
                  <a:cubicBezTo>
                    <a:pt x="0" y="212"/>
                    <a:pt x="29" y="243"/>
                    <a:pt x="68" y="243"/>
                  </a:cubicBezTo>
                  <a:cubicBezTo>
                    <a:pt x="270" y="243"/>
                    <a:pt x="270" y="243"/>
                    <a:pt x="270" y="243"/>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45706" tIns="22854" rIns="45706" bIns="2285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80808"/>
                </a:solidFill>
                <a:effectLst/>
                <a:uLnTx/>
                <a:uFillTx/>
                <a:latin typeface="Segoe UI Semilight"/>
                <a:ea typeface="+mn-ea"/>
                <a:cs typeface="+mn-cs"/>
              </a:endParaRPr>
            </a:p>
          </p:txBody>
        </p:sp>
        <p:pic>
          <p:nvPicPr>
            <p:cNvPr id="6" name="Graphic 5" descr="Gears">
              <a:extLst>
                <a:ext uri="{FF2B5EF4-FFF2-40B4-BE49-F238E27FC236}">
                  <a16:creationId xmlns:a16="http://schemas.microsoft.com/office/drawing/2014/main" id="{B4C10797-EC94-474D-9E31-D479E83F850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971346" y="7241284"/>
              <a:ext cx="1043740" cy="1043740"/>
            </a:xfrm>
            <a:prstGeom prst="rect">
              <a:avLst/>
            </a:prstGeom>
          </p:spPr>
        </p:pic>
      </p:grpSp>
      <p:sp>
        <p:nvSpPr>
          <p:cNvPr id="49" name="Oval 48">
            <a:extLst>
              <a:ext uri="{FF2B5EF4-FFF2-40B4-BE49-F238E27FC236}">
                <a16:creationId xmlns:a16="http://schemas.microsoft.com/office/drawing/2014/main" id="{2CCE77D2-7C82-4352-B104-2F0542A18700}"/>
              </a:ext>
            </a:extLst>
          </p:cNvPr>
          <p:cNvSpPr/>
          <p:nvPr/>
        </p:nvSpPr>
        <p:spPr bwMode="auto">
          <a:xfrm>
            <a:off x="5400262" y="1904892"/>
            <a:ext cx="543513" cy="54351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 name="Oval 50">
            <a:extLst>
              <a:ext uri="{FF2B5EF4-FFF2-40B4-BE49-F238E27FC236}">
                <a16:creationId xmlns:a16="http://schemas.microsoft.com/office/drawing/2014/main" id="{95FB31E4-ED40-4345-B6CF-28ADD63BDBAC}"/>
              </a:ext>
            </a:extLst>
          </p:cNvPr>
          <p:cNvSpPr/>
          <p:nvPr/>
        </p:nvSpPr>
        <p:spPr bwMode="auto">
          <a:xfrm>
            <a:off x="4135595" y="2361973"/>
            <a:ext cx="543513" cy="54351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 name="Group 13">
            <a:extLst>
              <a:ext uri="{FF2B5EF4-FFF2-40B4-BE49-F238E27FC236}">
                <a16:creationId xmlns:a16="http://schemas.microsoft.com/office/drawing/2014/main" id="{A9A89E04-C68C-9142-ACB2-3D7D361F2F1A}"/>
              </a:ext>
            </a:extLst>
          </p:cNvPr>
          <p:cNvGrpSpPr/>
          <p:nvPr/>
        </p:nvGrpSpPr>
        <p:grpSpPr>
          <a:xfrm>
            <a:off x="3082711" y="4783753"/>
            <a:ext cx="1596398" cy="543513"/>
            <a:chOff x="3144525" y="4879180"/>
            <a:chExt cx="1628409" cy="554412"/>
          </a:xfrm>
        </p:grpSpPr>
        <p:sp>
          <p:nvSpPr>
            <p:cNvPr id="12" name="Rectangle 2">
              <a:extLst>
                <a:ext uri="{FF2B5EF4-FFF2-40B4-BE49-F238E27FC236}">
                  <a16:creationId xmlns:a16="http://schemas.microsoft.com/office/drawing/2014/main" id="{06C754DA-3553-4F75-BB72-87DED6BABF97}"/>
                </a:ext>
              </a:extLst>
            </p:cNvPr>
            <p:cNvSpPr txBox="1">
              <a:spLocks noChangeArrowheads="1"/>
            </p:cNvSpPr>
            <p:nvPr/>
          </p:nvSpPr>
          <p:spPr bwMode="auto">
            <a:xfrm>
              <a:off x="3144525" y="5092160"/>
              <a:ext cx="1080158" cy="224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9044" tIns="19044" rIns="19044" bIns="19044" numCol="1" anchor="t" anchorCtr="0" compatLnSpc="1">
              <a:prstTxWarp prst="textNoShape">
                <a:avLst/>
              </a:prstTxWarp>
            </a:bodyPr>
            <a:lstStyle>
              <a:lvl1pPr marL="457200" indent="-457200" algn="l" rtl="0" eaLnBrk="0" fontAlgn="base" hangingPunct="0">
                <a:spcBef>
                  <a:spcPts val="2100"/>
                </a:spcBef>
                <a:spcAft>
                  <a:spcPct val="0"/>
                </a:spcAft>
                <a:buClr>
                  <a:srgbClr val="D3002D"/>
                </a:buClr>
                <a:buSzPct val="100000"/>
                <a:buFont typeface="Wingdings" panose="05000000000000000000" pitchFamily="2" charset="2"/>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1pPr>
              <a:lvl2pPr marL="876300" indent="-457200" algn="l" rtl="0" eaLnBrk="0" fontAlgn="base" hangingPunct="0">
                <a:spcBef>
                  <a:spcPts val="19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2pPr>
              <a:lvl3pPr marL="1562100" indent="-457200" algn="l" rtl="0" eaLnBrk="0" fontAlgn="base" hangingPunct="0">
                <a:spcBef>
                  <a:spcPts val="16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3pPr>
              <a:lvl4pPr marL="2019300" indent="-457200" algn="l" rtl="0" eaLnBrk="0" fontAlgn="base" hangingPunct="0">
                <a:spcBef>
                  <a:spcPts val="13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4pPr>
              <a:lvl5pPr marL="2476500" indent="-457200" algn="l" rtl="0" eaLnBrk="0" fontAlgn="base" hangingPunct="0">
                <a:spcBef>
                  <a:spcPts val="13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5pPr>
              <a:lvl6pPr marL="29337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6pPr>
              <a:lvl7pPr marL="33909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7pPr>
              <a:lvl8pPr marL="38481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8pPr>
              <a:lvl9pPr marL="43053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9pPr>
            </a:lstStyle>
            <a:p>
              <a:pPr marL="0" marR="0" lvl="0" indent="0" algn="ctr" defTabSz="914192" rtl="0" eaLnBrk="1" fontAlgn="base" latinLnBrk="0" hangingPunct="1">
                <a:lnSpc>
                  <a:spcPct val="100000"/>
                </a:lnSpc>
                <a:spcBef>
                  <a:spcPts val="2059"/>
                </a:spcBef>
                <a:spcAft>
                  <a:spcPct val="0"/>
                </a:spcAft>
                <a:buClr>
                  <a:srgbClr val="D3002D"/>
                </a:buClr>
                <a:buSzPct val="100000"/>
                <a:buFont typeface="Wingdings" panose="05000000000000000000" pitchFamily="2" charset="2"/>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sym typeface="Arial" panose="020B0604020202020204" pitchFamily="34" charset="0"/>
                </a:rPr>
                <a:t>Gather results</a:t>
              </a:r>
            </a:p>
          </p:txBody>
        </p:sp>
        <p:sp>
          <p:nvSpPr>
            <p:cNvPr id="52" name="Oval 51">
              <a:extLst>
                <a:ext uri="{FF2B5EF4-FFF2-40B4-BE49-F238E27FC236}">
                  <a16:creationId xmlns:a16="http://schemas.microsoft.com/office/drawing/2014/main" id="{F70DB9D4-7DD1-4492-B602-F502A1D592F7}"/>
                </a:ext>
              </a:extLst>
            </p:cNvPr>
            <p:cNvSpPr/>
            <p:nvPr/>
          </p:nvSpPr>
          <p:spPr bwMode="auto">
            <a:xfrm>
              <a:off x="4218522" y="4879180"/>
              <a:ext cx="554412" cy="5544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 name="browser_3" title="Icon of a browser window with an arrow pointing from the outside to the center">
              <a:extLst>
                <a:ext uri="{FF2B5EF4-FFF2-40B4-BE49-F238E27FC236}">
                  <a16:creationId xmlns:a16="http://schemas.microsoft.com/office/drawing/2014/main" id="{160A8056-DF4F-42EB-9429-845AC91F1A8C}"/>
                </a:ext>
              </a:extLst>
            </p:cNvPr>
            <p:cNvSpPr>
              <a:spLocks noChangeAspect="1" noEditPoints="1"/>
            </p:cNvSpPr>
            <p:nvPr/>
          </p:nvSpPr>
          <p:spPr bwMode="auto">
            <a:xfrm>
              <a:off x="4346326" y="5025869"/>
              <a:ext cx="274431" cy="261033"/>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flat">
              <a:solidFill>
                <a:srgbClr val="0078D4"/>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B9FAE527-5E79-0342-8532-6C2E32B30311}"/>
              </a:ext>
            </a:extLst>
          </p:cNvPr>
          <p:cNvGrpSpPr/>
          <p:nvPr/>
        </p:nvGrpSpPr>
        <p:grpSpPr>
          <a:xfrm>
            <a:off x="2514737" y="3598271"/>
            <a:ext cx="1649354" cy="543513"/>
            <a:chOff x="2565162" y="3669927"/>
            <a:chExt cx="1682427" cy="554412"/>
          </a:xfrm>
        </p:grpSpPr>
        <p:sp>
          <p:nvSpPr>
            <p:cNvPr id="40" name="Rectangle 2">
              <a:extLst>
                <a:ext uri="{FF2B5EF4-FFF2-40B4-BE49-F238E27FC236}">
                  <a16:creationId xmlns:a16="http://schemas.microsoft.com/office/drawing/2014/main" id="{DC2DF772-6576-4E65-B288-04355BD05D3C}"/>
                </a:ext>
              </a:extLst>
            </p:cNvPr>
            <p:cNvSpPr txBox="1">
              <a:spLocks noChangeArrowheads="1"/>
            </p:cNvSpPr>
            <p:nvPr/>
          </p:nvSpPr>
          <p:spPr bwMode="auto">
            <a:xfrm>
              <a:off x="2565162" y="3824720"/>
              <a:ext cx="1291689" cy="203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9044" tIns="19044" rIns="19044" bIns="19044" numCol="1" anchor="t" anchorCtr="0" compatLnSpc="1">
              <a:prstTxWarp prst="textNoShape">
                <a:avLst/>
              </a:prstTxWarp>
            </a:bodyPr>
            <a:lstStyle>
              <a:lvl1pPr marL="457200" indent="-457200" algn="l" rtl="0" eaLnBrk="0" fontAlgn="base" hangingPunct="0">
                <a:spcBef>
                  <a:spcPts val="2100"/>
                </a:spcBef>
                <a:spcAft>
                  <a:spcPct val="0"/>
                </a:spcAft>
                <a:buClr>
                  <a:srgbClr val="D3002D"/>
                </a:buClr>
                <a:buSzPct val="100000"/>
                <a:buFont typeface="Wingdings" panose="05000000000000000000" pitchFamily="2" charset="2"/>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1pPr>
              <a:lvl2pPr marL="876300" indent="-457200" algn="l" rtl="0" eaLnBrk="0" fontAlgn="base" hangingPunct="0">
                <a:spcBef>
                  <a:spcPts val="19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2pPr>
              <a:lvl3pPr marL="1562100" indent="-457200" algn="l" rtl="0" eaLnBrk="0" fontAlgn="base" hangingPunct="0">
                <a:spcBef>
                  <a:spcPts val="16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3pPr>
              <a:lvl4pPr marL="2019300" indent="-457200" algn="l" rtl="0" eaLnBrk="0" fontAlgn="base" hangingPunct="0">
                <a:spcBef>
                  <a:spcPts val="13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4pPr>
              <a:lvl5pPr marL="2476500" indent="-457200" algn="l" rtl="0" eaLnBrk="0" fontAlgn="base" hangingPunct="0">
                <a:spcBef>
                  <a:spcPts val="13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5pPr>
              <a:lvl6pPr marL="29337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6pPr>
              <a:lvl7pPr marL="33909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7pPr>
              <a:lvl8pPr marL="38481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8pPr>
              <a:lvl9pPr marL="43053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9pPr>
            </a:lstStyle>
            <a:p>
              <a:pPr marL="0" marR="0" lvl="0" indent="0" algn="ctr" defTabSz="914192" rtl="0" eaLnBrk="1" fontAlgn="base" latinLnBrk="0" hangingPunct="1">
                <a:lnSpc>
                  <a:spcPct val="100000"/>
                </a:lnSpc>
                <a:spcBef>
                  <a:spcPts val="2059"/>
                </a:spcBef>
                <a:spcAft>
                  <a:spcPct val="0"/>
                </a:spcAft>
                <a:buClr>
                  <a:srgbClr val="D3002D"/>
                </a:buClr>
                <a:buSzPct val="100000"/>
                <a:buFont typeface="Wingdings" panose="05000000000000000000" pitchFamily="2" charset="2"/>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sym typeface="Arial" panose="020B0604020202020204" pitchFamily="34" charset="0"/>
                </a:rPr>
                <a:t>Secure Access</a:t>
              </a:r>
            </a:p>
          </p:txBody>
        </p:sp>
        <p:sp>
          <p:nvSpPr>
            <p:cNvPr id="48" name="Oval 47">
              <a:extLst>
                <a:ext uri="{FF2B5EF4-FFF2-40B4-BE49-F238E27FC236}">
                  <a16:creationId xmlns:a16="http://schemas.microsoft.com/office/drawing/2014/main" id="{99E2E98A-4B15-40F6-9C40-18030BA65EDC}"/>
                </a:ext>
              </a:extLst>
            </p:cNvPr>
            <p:cNvSpPr/>
            <p:nvPr/>
          </p:nvSpPr>
          <p:spPr bwMode="auto">
            <a:xfrm>
              <a:off x="3693177" y="3669927"/>
              <a:ext cx="554412" cy="5544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7" name="Shield_EA18" title="Icon of a shield">
              <a:extLst>
                <a:ext uri="{FF2B5EF4-FFF2-40B4-BE49-F238E27FC236}">
                  <a16:creationId xmlns:a16="http://schemas.microsoft.com/office/drawing/2014/main" id="{F892FC8F-DE64-4E66-AC53-FE578F9EA0E9}"/>
                </a:ext>
              </a:extLst>
            </p:cNvPr>
            <p:cNvSpPr>
              <a:spLocks noChangeAspect="1"/>
            </p:cNvSpPr>
            <p:nvPr/>
          </p:nvSpPr>
          <p:spPr bwMode="auto">
            <a:xfrm>
              <a:off x="3841144" y="3802107"/>
              <a:ext cx="258479" cy="275194"/>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9" name="Warning_E7BA" title="Icon of a triangle with an exclaimation point inside">
            <a:extLst>
              <a:ext uri="{FF2B5EF4-FFF2-40B4-BE49-F238E27FC236}">
                <a16:creationId xmlns:a16="http://schemas.microsoft.com/office/drawing/2014/main" id="{EC8A4328-7EBF-4471-A998-DF08722D7D10}"/>
              </a:ext>
            </a:extLst>
          </p:cNvPr>
          <p:cNvSpPr>
            <a:spLocks noChangeAspect="1" noEditPoints="1"/>
          </p:cNvSpPr>
          <p:nvPr/>
        </p:nvSpPr>
        <p:spPr bwMode="auto">
          <a:xfrm>
            <a:off x="4288645" y="2491535"/>
            <a:ext cx="246077" cy="246201"/>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270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60" name="people_3" title="Icon of a person surrounded by brackets">
            <a:extLst>
              <a:ext uri="{FF2B5EF4-FFF2-40B4-BE49-F238E27FC236}">
                <a16:creationId xmlns:a16="http://schemas.microsoft.com/office/drawing/2014/main" id="{487AE86E-9032-4C82-92C0-5B094D6FFB18}"/>
              </a:ext>
            </a:extLst>
          </p:cNvPr>
          <p:cNvSpPr>
            <a:spLocks noChangeAspect="1" noEditPoints="1"/>
          </p:cNvSpPr>
          <p:nvPr/>
        </p:nvSpPr>
        <p:spPr bwMode="auto">
          <a:xfrm>
            <a:off x="5548730" y="2050696"/>
            <a:ext cx="248249" cy="250233"/>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2700" cap="sq">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11" name="Group 10">
            <a:extLst>
              <a:ext uri="{FF2B5EF4-FFF2-40B4-BE49-F238E27FC236}">
                <a16:creationId xmlns:a16="http://schemas.microsoft.com/office/drawing/2014/main" id="{4954702E-2EBF-0144-803A-62EABA2B5900}"/>
              </a:ext>
            </a:extLst>
          </p:cNvPr>
          <p:cNvGrpSpPr/>
          <p:nvPr/>
        </p:nvGrpSpPr>
        <p:grpSpPr>
          <a:xfrm>
            <a:off x="6698324" y="4783753"/>
            <a:ext cx="2035130" cy="543513"/>
            <a:chOff x="6832638" y="4879180"/>
            <a:chExt cx="2075939" cy="554412"/>
          </a:xfrm>
        </p:grpSpPr>
        <p:sp>
          <p:nvSpPr>
            <p:cNvPr id="53" name="Oval 52">
              <a:extLst>
                <a:ext uri="{FF2B5EF4-FFF2-40B4-BE49-F238E27FC236}">
                  <a16:creationId xmlns:a16="http://schemas.microsoft.com/office/drawing/2014/main" id="{3D4AB1FD-7FA6-4210-A5A2-BCA4704ED9FB}"/>
                </a:ext>
              </a:extLst>
            </p:cNvPr>
            <p:cNvSpPr/>
            <p:nvPr/>
          </p:nvSpPr>
          <p:spPr bwMode="auto">
            <a:xfrm>
              <a:off x="6832638" y="4879180"/>
              <a:ext cx="554412" cy="5544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 name="LineChart_E9E6" title="Icon of a line chart with points of varying heights">
              <a:extLst>
                <a:ext uri="{FF2B5EF4-FFF2-40B4-BE49-F238E27FC236}">
                  <a16:creationId xmlns:a16="http://schemas.microsoft.com/office/drawing/2014/main" id="{ECB43D29-3E9E-46E1-BD6F-F37DBD607664}"/>
                </a:ext>
              </a:extLst>
            </p:cNvPr>
            <p:cNvSpPr>
              <a:spLocks noChangeAspect="1" noEditPoints="1"/>
            </p:cNvSpPr>
            <p:nvPr/>
          </p:nvSpPr>
          <p:spPr bwMode="auto">
            <a:xfrm>
              <a:off x="7001321" y="5037450"/>
              <a:ext cx="221146" cy="221198"/>
            </a:xfrm>
            <a:custGeom>
              <a:avLst/>
              <a:gdLst>
                <a:gd name="T0" fmla="*/ 4249 w 4249"/>
                <a:gd name="T1" fmla="*/ 4250 h 4250"/>
                <a:gd name="T2" fmla="*/ 0 w 4249"/>
                <a:gd name="T3" fmla="*/ 4250 h 4250"/>
                <a:gd name="T4" fmla="*/ 0 w 4249"/>
                <a:gd name="T5" fmla="*/ 0 h 4250"/>
                <a:gd name="T6" fmla="*/ 4249 w 4249"/>
                <a:gd name="T7" fmla="*/ 1428 h 4250"/>
                <a:gd name="T8" fmla="*/ 3621 w 4249"/>
                <a:gd name="T9" fmla="*/ 800 h 4250"/>
                <a:gd name="T10" fmla="*/ 1893 w 4249"/>
                <a:gd name="T11" fmla="*/ 2527 h 4250"/>
                <a:gd name="T12" fmla="*/ 1265 w 4249"/>
                <a:gd name="T13" fmla="*/ 1899 h 4250"/>
                <a:gd name="T14" fmla="*/ 3 w 4249"/>
                <a:gd name="T15" fmla="*/ 3161 h 4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49" h="4250">
                  <a:moveTo>
                    <a:pt x="4249" y="4250"/>
                  </a:moveTo>
                  <a:lnTo>
                    <a:pt x="0" y="4250"/>
                  </a:lnTo>
                  <a:lnTo>
                    <a:pt x="0" y="0"/>
                  </a:lnTo>
                  <a:moveTo>
                    <a:pt x="4249" y="1428"/>
                  </a:moveTo>
                  <a:lnTo>
                    <a:pt x="3621" y="800"/>
                  </a:lnTo>
                  <a:lnTo>
                    <a:pt x="1893" y="2527"/>
                  </a:lnTo>
                  <a:lnTo>
                    <a:pt x="1265" y="1899"/>
                  </a:lnTo>
                  <a:lnTo>
                    <a:pt x="3" y="3161"/>
                  </a:lnTo>
                </a:path>
              </a:pathLst>
            </a:custGeom>
            <a:noFill/>
            <a:ln w="1270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 name="Rectangle 2">
              <a:extLst>
                <a:ext uri="{FF2B5EF4-FFF2-40B4-BE49-F238E27FC236}">
                  <a16:creationId xmlns:a16="http://schemas.microsoft.com/office/drawing/2014/main" id="{F80340A4-5B27-4CD7-8E87-1A36216D107E}"/>
                </a:ext>
              </a:extLst>
            </p:cNvPr>
            <p:cNvSpPr/>
            <p:nvPr/>
          </p:nvSpPr>
          <p:spPr>
            <a:xfrm>
              <a:off x="6864745" y="5037610"/>
              <a:ext cx="2043832" cy="27699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196"/>
                </a:spcAft>
                <a:buClrTx/>
                <a:buSzTx/>
                <a:buFontTx/>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Scale resources</a:t>
              </a:r>
            </a:p>
          </p:txBody>
        </p:sp>
      </p:grpSp>
      <p:grpSp>
        <p:nvGrpSpPr>
          <p:cNvPr id="9" name="Group 8">
            <a:extLst>
              <a:ext uri="{FF2B5EF4-FFF2-40B4-BE49-F238E27FC236}">
                <a16:creationId xmlns:a16="http://schemas.microsoft.com/office/drawing/2014/main" id="{BB00AE0B-C038-1843-B5B6-760F975D6A69}"/>
              </a:ext>
            </a:extLst>
          </p:cNvPr>
          <p:cNvGrpSpPr/>
          <p:nvPr/>
        </p:nvGrpSpPr>
        <p:grpSpPr>
          <a:xfrm>
            <a:off x="6689992" y="2370507"/>
            <a:ext cx="1890461" cy="543513"/>
            <a:chOff x="6824139" y="2417544"/>
            <a:chExt cx="1928369" cy="554412"/>
          </a:xfrm>
        </p:grpSpPr>
        <p:sp>
          <p:nvSpPr>
            <p:cNvPr id="36" name="Oval 35">
              <a:extLst>
                <a:ext uri="{FF2B5EF4-FFF2-40B4-BE49-F238E27FC236}">
                  <a16:creationId xmlns:a16="http://schemas.microsoft.com/office/drawing/2014/main" id="{EAA453B2-DE13-42D1-B489-7092D7676C7C}"/>
                </a:ext>
              </a:extLst>
            </p:cNvPr>
            <p:cNvSpPr/>
            <p:nvPr/>
          </p:nvSpPr>
          <p:spPr bwMode="auto">
            <a:xfrm>
              <a:off x="6824139" y="2417544"/>
              <a:ext cx="554412" cy="5544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DevUpdate_ECC5" title="Icon of a clock with an arrow around it pointing clockwise">
              <a:extLst>
                <a:ext uri="{FF2B5EF4-FFF2-40B4-BE49-F238E27FC236}">
                  <a16:creationId xmlns:a16="http://schemas.microsoft.com/office/drawing/2014/main" id="{387C2C92-BEC8-417D-8D45-958E9C56518F}"/>
                </a:ext>
              </a:extLst>
            </p:cNvPr>
            <p:cNvSpPr>
              <a:spLocks noChangeAspect="1" noEditPoints="1"/>
            </p:cNvSpPr>
            <p:nvPr/>
          </p:nvSpPr>
          <p:spPr bwMode="auto">
            <a:xfrm>
              <a:off x="6990531" y="2566701"/>
              <a:ext cx="238629" cy="238687"/>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2700" cap="flat">
              <a:solidFill>
                <a:srgbClr val="0078D4"/>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 name="Rectangle 6">
              <a:extLst>
                <a:ext uri="{FF2B5EF4-FFF2-40B4-BE49-F238E27FC236}">
                  <a16:creationId xmlns:a16="http://schemas.microsoft.com/office/drawing/2014/main" id="{856E7B24-3505-4308-9F14-AF7466B76F00}"/>
                </a:ext>
              </a:extLst>
            </p:cNvPr>
            <p:cNvSpPr/>
            <p:nvPr/>
          </p:nvSpPr>
          <p:spPr>
            <a:xfrm>
              <a:off x="6902452" y="2477362"/>
              <a:ext cx="1850056" cy="27699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196"/>
                </a:spcAft>
                <a:buClrTx/>
                <a:buSzTx/>
                <a:buFontTx/>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Schedule jobs</a:t>
              </a:r>
            </a:p>
          </p:txBody>
        </p:sp>
      </p:grpSp>
      <p:sp>
        <p:nvSpPr>
          <p:cNvPr id="8" name="Rectangle 7">
            <a:extLst>
              <a:ext uri="{FF2B5EF4-FFF2-40B4-BE49-F238E27FC236}">
                <a16:creationId xmlns:a16="http://schemas.microsoft.com/office/drawing/2014/main" id="{6060BC7D-C994-4222-B8D6-F915B858C221}"/>
              </a:ext>
            </a:extLst>
          </p:cNvPr>
          <p:cNvSpPr/>
          <p:nvPr/>
        </p:nvSpPr>
        <p:spPr>
          <a:xfrm>
            <a:off x="4345657" y="1736950"/>
            <a:ext cx="2652724" cy="271554"/>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196"/>
              </a:spcAft>
              <a:buClrTx/>
              <a:buSzTx/>
              <a:buFontTx/>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sym typeface="Arial" panose="020B0604020202020204" pitchFamily="34" charset="0"/>
              </a:rPr>
              <a:t>Dependencies and Containers</a:t>
            </a:r>
          </a:p>
        </p:txBody>
      </p:sp>
      <p:grpSp>
        <p:nvGrpSpPr>
          <p:cNvPr id="13" name="Group 12">
            <a:extLst>
              <a:ext uri="{FF2B5EF4-FFF2-40B4-BE49-F238E27FC236}">
                <a16:creationId xmlns:a16="http://schemas.microsoft.com/office/drawing/2014/main" id="{7DDA3495-6B8A-8142-8EC2-027F25A1BDEB}"/>
              </a:ext>
            </a:extLst>
          </p:cNvPr>
          <p:cNvGrpSpPr/>
          <p:nvPr/>
        </p:nvGrpSpPr>
        <p:grpSpPr>
          <a:xfrm>
            <a:off x="4521285" y="5308436"/>
            <a:ext cx="2296982" cy="737548"/>
            <a:chOff x="4611945" y="5414384"/>
            <a:chExt cx="2343041" cy="752337"/>
          </a:xfrm>
        </p:grpSpPr>
        <p:sp>
          <p:nvSpPr>
            <p:cNvPr id="50" name="Oval 49">
              <a:extLst>
                <a:ext uri="{FF2B5EF4-FFF2-40B4-BE49-F238E27FC236}">
                  <a16:creationId xmlns:a16="http://schemas.microsoft.com/office/drawing/2014/main" id="{4DE81D82-0577-4E92-9E8B-9CDCF9DDF9C3}"/>
                </a:ext>
              </a:extLst>
            </p:cNvPr>
            <p:cNvSpPr/>
            <p:nvPr/>
          </p:nvSpPr>
          <p:spPr bwMode="auto">
            <a:xfrm>
              <a:off x="5506260" y="5414384"/>
              <a:ext cx="554412" cy="5544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8" name="network_3" title="Icon of a server connected to a network">
              <a:extLst>
                <a:ext uri="{FF2B5EF4-FFF2-40B4-BE49-F238E27FC236}">
                  <a16:creationId xmlns:a16="http://schemas.microsoft.com/office/drawing/2014/main" id="{6DB266BC-BF41-441B-823C-DEB5B15B8CD0}"/>
                </a:ext>
              </a:extLst>
            </p:cNvPr>
            <p:cNvSpPr>
              <a:spLocks noChangeAspect="1" noEditPoints="1"/>
            </p:cNvSpPr>
            <p:nvPr/>
          </p:nvSpPr>
          <p:spPr bwMode="auto">
            <a:xfrm>
              <a:off x="5633515" y="5522054"/>
              <a:ext cx="304477" cy="315965"/>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5" name="Rectangle 14">
              <a:extLst>
                <a:ext uri="{FF2B5EF4-FFF2-40B4-BE49-F238E27FC236}">
                  <a16:creationId xmlns:a16="http://schemas.microsoft.com/office/drawing/2014/main" id="{35A184BC-CA1A-4B5F-BAD4-C39D0E4CC08C}"/>
                </a:ext>
              </a:extLst>
            </p:cNvPr>
            <p:cNvSpPr/>
            <p:nvPr/>
          </p:nvSpPr>
          <p:spPr>
            <a:xfrm>
              <a:off x="4611945" y="5889722"/>
              <a:ext cx="2343041" cy="27699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196"/>
                </a:spcAft>
                <a:buClrTx/>
                <a:buSzTx/>
                <a:buFontTx/>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Provision VM clusters</a:t>
              </a:r>
            </a:p>
          </p:txBody>
        </p:sp>
      </p:grpSp>
      <p:grpSp>
        <p:nvGrpSpPr>
          <p:cNvPr id="10" name="Group 9">
            <a:extLst>
              <a:ext uri="{FF2B5EF4-FFF2-40B4-BE49-F238E27FC236}">
                <a16:creationId xmlns:a16="http://schemas.microsoft.com/office/drawing/2014/main" id="{7C961D41-6461-1140-8AD9-F2B1122042EB}"/>
              </a:ext>
            </a:extLst>
          </p:cNvPr>
          <p:cNvGrpSpPr/>
          <p:nvPr/>
        </p:nvGrpSpPr>
        <p:grpSpPr>
          <a:xfrm>
            <a:off x="7188113" y="3598271"/>
            <a:ext cx="2049046" cy="543513"/>
            <a:chOff x="7332249" y="3669927"/>
            <a:chExt cx="2090134" cy="554412"/>
          </a:xfrm>
        </p:grpSpPr>
        <p:sp>
          <p:nvSpPr>
            <p:cNvPr id="47" name="Oval 46">
              <a:extLst>
                <a:ext uri="{FF2B5EF4-FFF2-40B4-BE49-F238E27FC236}">
                  <a16:creationId xmlns:a16="http://schemas.microsoft.com/office/drawing/2014/main" id="{E2445A85-E012-47A4-83D9-763E59345E46}"/>
                </a:ext>
              </a:extLst>
            </p:cNvPr>
            <p:cNvSpPr/>
            <p:nvPr/>
          </p:nvSpPr>
          <p:spPr bwMode="auto">
            <a:xfrm>
              <a:off x="7332249" y="3669927"/>
              <a:ext cx="554412" cy="5544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 name="Copy_E8C8" title="Icon of two documents stacked together">
              <a:extLst>
                <a:ext uri="{FF2B5EF4-FFF2-40B4-BE49-F238E27FC236}">
                  <a16:creationId xmlns:a16="http://schemas.microsoft.com/office/drawing/2014/main" id="{D8DAE448-5920-495E-91DC-E69703D74C71}"/>
                </a:ext>
              </a:extLst>
            </p:cNvPr>
            <p:cNvSpPr>
              <a:spLocks noChangeAspect="1" noEditPoints="1"/>
            </p:cNvSpPr>
            <p:nvPr/>
          </p:nvSpPr>
          <p:spPr bwMode="auto">
            <a:xfrm>
              <a:off x="7490734" y="3793170"/>
              <a:ext cx="261960" cy="302223"/>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 name="Rectangle 15">
              <a:extLst>
                <a:ext uri="{FF2B5EF4-FFF2-40B4-BE49-F238E27FC236}">
                  <a16:creationId xmlns:a16="http://schemas.microsoft.com/office/drawing/2014/main" id="{08B040E2-F137-4B6B-979A-A8AFF58A42B2}"/>
                </a:ext>
              </a:extLst>
            </p:cNvPr>
            <p:cNvSpPr/>
            <p:nvPr/>
          </p:nvSpPr>
          <p:spPr>
            <a:xfrm>
              <a:off x="7378551" y="3815612"/>
              <a:ext cx="2043832" cy="27699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196"/>
                </a:spcAft>
                <a:buClrTx/>
                <a:buSzTx/>
                <a:buFontTx/>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Distribute data</a:t>
              </a:r>
            </a:p>
          </p:txBody>
        </p:sp>
      </p:grpSp>
      <p:sp>
        <p:nvSpPr>
          <p:cNvPr id="42" name="Rectangle 2">
            <a:extLst>
              <a:ext uri="{FF2B5EF4-FFF2-40B4-BE49-F238E27FC236}">
                <a16:creationId xmlns:a16="http://schemas.microsoft.com/office/drawing/2014/main" id="{C895361A-B164-C74E-B208-642A80866B7F}"/>
              </a:ext>
            </a:extLst>
          </p:cNvPr>
          <p:cNvSpPr txBox="1">
            <a:spLocks noChangeArrowheads="1"/>
          </p:cNvSpPr>
          <p:nvPr/>
        </p:nvSpPr>
        <p:spPr bwMode="auto">
          <a:xfrm>
            <a:off x="2941456" y="2490553"/>
            <a:ext cx="1378782" cy="199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9044" tIns="19044" rIns="19044" bIns="19044" numCol="1" anchor="t" anchorCtr="0" compatLnSpc="1">
            <a:prstTxWarp prst="textNoShape">
              <a:avLst/>
            </a:prstTxWarp>
          </a:bodyPr>
          <a:lstStyle>
            <a:lvl1pPr marL="457200" indent="-457200" algn="l" rtl="0" eaLnBrk="0" fontAlgn="base" hangingPunct="0">
              <a:spcBef>
                <a:spcPts val="2100"/>
              </a:spcBef>
              <a:spcAft>
                <a:spcPct val="0"/>
              </a:spcAft>
              <a:buClr>
                <a:srgbClr val="D3002D"/>
              </a:buClr>
              <a:buSzPct val="100000"/>
              <a:buFont typeface="Wingdings" panose="05000000000000000000" pitchFamily="2" charset="2"/>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1pPr>
            <a:lvl2pPr marL="876300" indent="-457200" algn="l" rtl="0" eaLnBrk="0" fontAlgn="base" hangingPunct="0">
              <a:spcBef>
                <a:spcPts val="19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2pPr>
            <a:lvl3pPr marL="1562100" indent="-457200" algn="l" rtl="0" eaLnBrk="0" fontAlgn="base" hangingPunct="0">
              <a:spcBef>
                <a:spcPts val="16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3pPr>
            <a:lvl4pPr marL="2019300" indent="-457200" algn="l" rtl="0" eaLnBrk="0" fontAlgn="base" hangingPunct="0">
              <a:spcBef>
                <a:spcPts val="13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4pPr>
            <a:lvl5pPr marL="2476500" indent="-457200" algn="l" rtl="0" eaLnBrk="0" fontAlgn="base" hangingPunct="0">
              <a:spcBef>
                <a:spcPts val="13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5pPr>
            <a:lvl6pPr marL="29337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6pPr>
            <a:lvl7pPr marL="33909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7pPr>
            <a:lvl8pPr marL="38481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8pPr>
            <a:lvl9pPr marL="43053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9pPr>
          </a:lstStyle>
          <a:p>
            <a:pPr marL="0" marR="0" lvl="0" indent="0" algn="ctr" defTabSz="914192" rtl="0" eaLnBrk="1" fontAlgn="base" latinLnBrk="0" hangingPunct="1">
              <a:lnSpc>
                <a:spcPct val="100000"/>
              </a:lnSpc>
              <a:spcBef>
                <a:spcPts val="2059"/>
              </a:spcBef>
              <a:spcAft>
                <a:spcPct val="0"/>
              </a:spcAft>
              <a:buClr>
                <a:srgbClr val="D3002D"/>
              </a:buClr>
              <a:buSzPct val="100000"/>
              <a:buFont typeface="Wingdings" panose="05000000000000000000" pitchFamily="2" charset="2"/>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sym typeface="Arial" panose="020B0604020202020204" pitchFamily="34" charset="0"/>
              </a:rPr>
              <a:t>Handling failures</a:t>
            </a:r>
          </a:p>
        </p:txBody>
      </p:sp>
    </p:spTree>
    <p:extLst>
      <p:ext uri="{BB962C8B-B14F-4D97-AF65-F5344CB8AC3E}">
        <p14:creationId xmlns:p14="http://schemas.microsoft.com/office/powerpoint/2010/main" val="40535682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fade">
                                      <p:cBhvr>
                                        <p:cTn id="10" dur="500"/>
                                        <p:tgtEl>
                                          <p:spTgt spid="6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500"/>
                                        <p:tgtEl>
                                          <p:spTgt spid="13"/>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childTnLst>
                          </p:cTn>
                        </p:par>
                        <p:par>
                          <p:cTn id="34" fill="hold">
                            <p:stCondLst>
                              <p:cond delay="3000"/>
                            </p:stCondLst>
                            <p:childTnLst>
                              <p:par>
                                <p:cTn id="35" presetID="10" presetClass="entr" presetSubtype="0" fill="hold" nodeType="after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51"/>
                                        </p:tgtEl>
                                        <p:attrNameLst>
                                          <p:attrName>style.visibility</p:attrName>
                                        </p:attrNameLst>
                                      </p:cBhvr>
                                      <p:to>
                                        <p:strVal val="visible"/>
                                      </p:to>
                                    </p:set>
                                    <p:animEffect transition="in" filter="fade">
                                      <p:cBhvr>
                                        <p:cTn id="41" dur="500"/>
                                        <p:tgtEl>
                                          <p:spTgt spid="51"/>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59"/>
                                        </p:tgtEl>
                                        <p:attrNameLst>
                                          <p:attrName>style.visibility</p:attrName>
                                        </p:attrNameLst>
                                      </p:cBhvr>
                                      <p:to>
                                        <p:strVal val="visible"/>
                                      </p:to>
                                    </p:set>
                                    <p:animEffect transition="in" filter="fade">
                                      <p:cBhvr>
                                        <p:cTn id="44" dur="500"/>
                                        <p:tgtEl>
                                          <p:spTgt spid="59"/>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2"/>
                                        </p:tgtEl>
                                        <p:attrNameLst>
                                          <p:attrName>style.visibility</p:attrName>
                                        </p:attrNameLst>
                                      </p:cBhvr>
                                      <p:to>
                                        <p:strVal val="visible"/>
                                      </p:to>
                                    </p:set>
                                    <p:animEffect transition="in" filter="fade">
                                      <p:cBhvr>
                                        <p:cTn id="47"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1" grpId="0" animBg="1"/>
      <p:bldP spid="59" grpId="0" animBg="1"/>
      <p:bldP spid="60" grpId="0" animBg="1"/>
      <p:bldP spid="8" grpId="0"/>
      <p:bldP spid="42"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A151A6-BB4D-4643-BF8E-C2A53C5264AE}"/>
              </a:ext>
            </a:extLst>
          </p:cNvPr>
          <p:cNvSpPr>
            <a:spLocks noGrp="1"/>
          </p:cNvSpPr>
          <p:nvPr>
            <p:ph type="title"/>
          </p:nvPr>
        </p:nvSpPr>
        <p:spPr/>
        <p:txBody>
          <a:bodyPr/>
          <a:lstStyle/>
          <a:p>
            <a:r>
              <a:rPr lang="en-US"/>
              <a:t>Demos</a:t>
            </a:r>
          </a:p>
        </p:txBody>
      </p:sp>
      <p:pic>
        <p:nvPicPr>
          <p:cNvPr id="4" name="Picture 3">
            <a:hlinkClick r:id="rId3"/>
            <a:extLst>
              <a:ext uri="{FF2B5EF4-FFF2-40B4-BE49-F238E27FC236}">
                <a16:creationId xmlns:a16="http://schemas.microsoft.com/office/drawing/2014/main" id="{A1DDE720-D58A-4F56-B7E9-D942F8E95144}"/>
              </a:ext>
            </a:extLst>
          </p:cNvPr>
          <p:cNvPicPr>
            <a:picLocks noChangeAspect="1"/>
          </p:cNvPicPr>
          <p:nvPr/>
        </p:nvPicPr>
        <p:blipFill>
          <a:blip r:embed="rId4"/>
          <a:stretch>
            <a:fillRect/>
          </a:stretch>
        </p:blipFill>
        <p:spPr>
          <a:xfrm>
            <a:off x="3044348" y="1003917"/>
            <a:ext cx="8190983" cy="4850166"/>
          </a:xfrm>
          <a:prstGeom prst="rect">
            <a:avLst/>
          </a:prstGeom>
          <a:noFill/>
          <a:ln w="10795" cap="flat" cmpd="sng" algn="ctr">
            <a:noFill/>
            <a:prstDash val="solid"/>
          </a:ln>
          <a:effectLst>
            <a:outerShdw blurRad="254000" dist="50800" dir="2700000" sx="101000" sy="101000" algn="tl" rotWithShape="0">
              <a:prstClr val="black">
                <a:alpha val="35000"/>
              </a:prstClr>
            </a:outerShdw>
          </a:effectLst>
        </p:spPr>
      </p:pic>
    </p:spTree>
    <p:extLst>
      <p:ext uri="{BB962C8B-B14F-4D97-AF65-F5344CB8AC3E}">
        <p14:creationId xmlns:p14="http://schemas.microsoft.com/office/powerpoint/2010/main" val="155403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19221-3DCA-46FD-ABF5-B3F0260E2647}"/>
              </a:ext>
            </a:extLst>
          </p:cNvPr>
          <p:cNvSpPr>
            <a:spLocks noGrp="1"/>
          </p:cNvSpPr>
          <p:nvPr>
            <p:ph type="title"/>
          </p:nvPr>
        </p:nvSpPr>
        <p:spPr/>
        <p:txBody>
          <a:bodyPr/>
          <a:lstStyle/>
          <a:p>
            <a:r>
              <a:rPr lang="en-US" dirty="0"/>
              <a:t>Training infrastructure </a:t>
            </a:r>
          </a:p>
        </p:txBody>
      </p:sp>
      <p:sp>
        <p:nvSpPr>
          <p:cNvPr id="3" name="DevUpdate_ECC5" title="Icon of a clock with an arrow around it pointing clockwise">
            <a:extLst>
              <a:ext uri="{FF2B5EF4-FFF2-40B4-BE49-F238E27FC236}">
                <a16:creationId xmlns:a16="http://schemas.microsoft.com/office/drawing/2014/main" id="{94DD81CF-54C1-4BE5-83CC-20736B403CAC}"/>
              </a:ext>
            </a:extLst>
          </p:cNvPr>
          <p:cNvSpPr>
            <a:spLocks noChangeAspect="1" noEditPoints="1"/>
          </p:cNvSpPr>
          <p:nvPr/>
        </p:nvSpPr>
        <p:spPr bwMode="auto">
          <a:xfrm>
            <a:off x="545985" y="3624849"/>
            <a:ext cx="619366" cy="619517"/>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2700" cap="flat">
            <a:solidFill>
              <a:srgbClr val="0078D4"/>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 name="LineChart_E9E6" title="Icon of a line chart with points of varying heights">
            <a:extLst>
              <a:ext uri="{FF2B5EF4-FFF2-40B4-BE49-F238E27FC236}">
                <a16:creationId xmlns:a16="http://schemas.microsoft.com/office/drawing/2014/main" id="{AFC8434E-8B52-499E-B20A-95AC8959F8CF}"/>
              </a:ext>
            </a:extLst>
          </p:cNvPr>
          <p:cNvSpPr>
            <a:spLocks noChangeAspect="1" noEditPoints="1"/>
          </p:cNvSpPr>
          <p:nvPr/>
        </p:nvSpPr>
        <p:spPr bwMode="auto">
          <a:xfrm>
            <a:off x="6234538" y="3664387"/>
            <a:ext cx="540316" cy="540442"/>
          </a:xfrm>
          <a:custGeom>
            <a:avLst/>
            <a:gdLst>
              <a:gd name="T0" fmla="*/ 4249 w 4249"/>
              <a:gd name="T1" fmla="*/ 4250 h 4250"/>
              <a:gd name="T2" fmla="*/ 0 w 4249"/>
              <a:gd name="T3" fmla="*/ 4250 h 4250"/>
              <a:gd name="T4" fmla="*/ 0 w 4249"/>
              <a:gd name="T5" fmla="*/ 0 h 4250"/>
              <a:gd name="T6" fmla="*/ 4249 w 4249"/>
              <a:gd name="T7" fmla="*/ 1428 h 4250"/>
              <a:gd name="T8" fmla="*/ 3621 w 4249"/>
              <a:gd name="T9" fmla="*/ 800 h 4250"/>
              <a:gd name="T10" fmla="*/ 1893 w 4249"/>
              <a:gd name="T11" fmla="*/ 2527 h 4250"/>
              <a:gd name="T12" fmla="*/ 1265 w 4249"/>
              <a:gd name="T13" fmla="*/ 1899 h 4250"/>
              <a:gd name="T14" fmla="*/ 3 w 4249"/>
              <a:gd name="T15" fmla="*/ 3161 h 4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49" h="4250">
                <a:moveTo>
                  <a:pt x="4249" y="4250"/>
                </a:moveTo>
                <a:lnTo>
                  <a:pt x="0" y="4250"/>
                </a:lnTo>
                <a:lnTo>
                  <a:pt x="0" y="0"/>
                </a:lnTo>
                <a:moveTo>
                  <a:pt x="4249" y="1428"/>
                </a:moveTo>
                <a:lnTo>
                  <a:pt x="3621" y="800"/>
                </a:lnTo>
                <a:lnTo>
                  <a:pt x="1893" y="2527"/>
                </a:lnTo>
                <a:lnTo>
                  <a:pt x="1265" y="1899"/>
                </a:lnTo>
                <a:lnTo>
                  <a:pt x="3" y="3161"/>
                </a:lnTo>
              </a:path>
            </a:pathLst>
          </a:custGeom>
          <a:noFill/>
          <a:ln w="1270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 name="Copy_E8C8" title="Icon of two documents stacked together">
            <a:extLst>
              <a:ext uri="{FF2B5EF4-FFF2-40B4-BE49-F238E27FC236}">
                <a16:creationId xmlns:a16="http://schemas.microsoft.com/office/drawing/2014/main" id="{E0962A64-1BBE-453B-BB3A-5DF330896876}"/>
              </a:ext>
            </a:extLst>
          </p:cNvPr>
          <p:cNvSpPr>
            <a:spLocks noChangeAspect="1" noEditPoints="1"/>
          </p:cNvSpPr>
          <p:nvPr/>
        </p:nvSpPr>
        <p:spPr bwMode="auto">
          <a:xfrm>
            <a:off x="6373613" y="2012600"/>
            <a:ext cx="540316" cy="623361"/>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 name="network_3" title="Icon of a server connected to a network">
            <a:extLst>
              <a:ext uri="{FF2B5EF4-FFF2-40B4-BE49-F238E27FC236}">
                <a16:creationId xmlns:a16="http://schemas.microsoft.com/office/drawing/2014/main" id="{5B40CCB1-0F79-4117-9BFC-E749F24B7CB0}"/>
              </a:ext>
            </a:extLst>
          </p:cNvPr>
          <p:cNvSpPr>
            <a:spLocks noChangeAspect="1" noEditPoints="1"/>
          </p:cNvSpPr>
          <p:nvPr/>
        </p:nvSpPr>
        <p:spPr bwMode="auto">
          <a:xfrm>
            <a:off x="494646" y="5157238"/>
            <a:ext cx="722044" cy="74928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7" name="people_3" title="Icon of a person surrounded by brackets">
            <a:extLst>
              <a:ext uri="{FF2B5EF4-FFF2-40B4-BE49-F238E27FC236}">
                <a16:creationId xmlns:a16="http://schemas.microsoft.com/office/drawing/2014/main" id="{7E034153-E695-435F-92B7-119FD5A03FD9}"/>
              </a:ext>
            </a:extLst>
          </p:cNvPr>
          <p:cNvSpPr>
            <a:spLocks noChangeAspect="1" noEditPoints="1"/>
          </p:cNvSpPr>
          <p:nvPr/>
        </p:nvSpPr>
        <p:spPr bwMode="auto">
          <a:xfrm>
            <a:off x="545985" y="2012121"/>
            <a:ext cx="619367" cy="624317"/>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2700" cap="sq">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 name="Rectangle 7">
            <a:extLst>
              <a:ext uri="{FF2B5EF4-FFF2-40B4-BE49-F238E27FC236}">
                <a16:creationId xmlns:a16="http://schemas.microsoft.com/office/drawing/2014/main" id="{910585F0-7179-4ADB-AF80-701519E1E02F}"/>
              </a:ext>
            </a:extLst>
          </p:cNvPr>
          <p:cNvSpPr/>
          <p:nvPr/>
        </p:nvSpPr>
        <p:spPr>
          <a:xfrm>
            <a:off x="7043017" y="3544879"/>
            <a:ext cx="3168077" cy="809632"/>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196"/>
              </a:spcAft>
              <a:buClrTx/>
              <a:buSzTx/>
              <a:buFontTx/>
              <a:buNone/>
              <a:tabLst/>
              <a:defRPr/>
            </a:pPr>
            <a:r>
              <a:rPr kumimoji="0" lang="en-US" altLang="en-US" sz="1765"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Scale resourc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utoscale resources to only pay while running a job</a:t>
            </a:r>
          </a:p>
        </p:txBody>
      </p:sp>
      <p:sp>
        <p:nvSpPr>
          <p:cNvPr id="9" name="Rectangle 8">
            <a:extLst>
              <a:ext uri="{FF2B5EF4-FFF2-40B4-BE49-F238E27FC236}">
                <a16:creationId xmlns:a16="http://schemas.microsoft.com/office/drawing/2014/main" id="{39177E2E-8F9B-46A3-A536-0B54682EFCA2}"/>
              </a:ext>
            </a:extLst>
          </p:cNvPr>
          <p:cNvSpPr/>
          <p:nvPr/>
        </p:nvSpPr>
        <p:spPr>
          <a:xfrm>
            <a:off x="1401329" y="3544879"/>
            <a:ext cx="3168077" cy="809632"/>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196"/>
              </a:spcAft>
              <a:buClrTx/>
              <a:buSzTx/>
              <a:buFontTx/>
              <a:buNone/>
              <a:tabLst/>
              <a:defRPr/>
            </a:pPr>
            <a:r>
              <a:rPr kumimoji="0" lang="en-US" altLang="en-US" sz="1765"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Schedule job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rain at cloud scale using a framework of choice</a:t>
            </a:r>
          </a:p>
        </p:txBody>
      </p:sp>
      <p:sp>
        <p:nvSpPr>
          <p:cNvPr id="10" name="Rectangle 9">
            <a:extLst>
              <a:ext uri="{FF2B5EF4-FFF2-40B4-BE49-F238E27FC236}">
                <a16:creationId xmlns:a16="http://schemas.microsoft.com/office/drawing/2014/main" id="{563D0EDF-5454-4599-9D5F-9A64E87D35D3}"/>
              </a:ext>
            </a:extLst>
          </p:cNvPr>
          <p:cNvSpPr/>
          <p:nvPr/>
        </p:nvSpPr>
        <p:spPr>
          <a:xfrm>
            <a:off x="1401329" y="1934551"/>
            <a:ext cx="3341573" cy="809632"/>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196"/>
              </a:spcAft>
              <a:buClrTx/>
              <a:buSzTx/>
              <a:buFontTx/>
              <a:buNone/>
              <a:tabLst/>
              <a:defRPr/>
            </a:pPr>
            <a:r>
              <a:rPr kumimoji="0" lang="en-US" altLang="en-US" sz="1765"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sym typeface="Arial" panose="020B0604020202020204" pitchFamily="34" charset="0"/>
              </a:rPr>
              <a:t>Dependencies and Container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everage system-managed AML compute or bring your own compute </a:t>
            </a:r>
          </a:p>
        </p:txBody>
      </p:sp>
      <p:sp>
        <p:nvSpPr>
          <p:cNvPr id="11" name="Rectangle 10">
            <a:extLst>
              <a:ext uri="{FF2B5EF4-FFF2-40B4-BE49-F238E27FC236}">
                <a16:creationId xmlns:a16="http://schemas.microsoft.com/office/drawing/2014/main" id="{495AAE77-E3C9-4EE1-92A9-602D8CCE9FAA}"/>
              </a:ext>
            </a:extLst>
          </p:cNvPr>
          <p:cNvSpPr/>
          <p:nvPr/>
        </p:nvSpPr>
        <p:spPr>
          <a:xfrm>
            <a:off x="1401329" y="5142153"/>
            <a:ext cx="3168077" cy="809632"/>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196"/>
              </a:spcAft>
              <a:buClrTx/>
              <a:buSzTx/>
              <a:buFontTx/>
              <a:buNone/>
              <a:tabLst/>
              <a:defRPr/>
            </a:pPr>
            <a:r>
              <a:rPr kumimoji="0" lang="en-US" altLang="en-US" sz="1765"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Provision cluster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the latest NDv2 series VMs with the NVIDIA V100 GPUs</a:t>
            </a:r>
          </a:p>
        </p:txBody>
      </p:sp>
      <p:sp>
        <p:nvSpPr>
          <p:cNvPr id="12" name="Rectangle 11">
            <a:extLst>
              <a:ext uri="{FF2B5EF4-FFF2-40B4-BE49-F238E27FC236}">
                <a16:creationId xmlns:a16="http://schemas.microsoft.com/office/drawing/2014/main" id="{FB7A5646-C5C0-4E4D-9BC9-84F7426BFEE8}"/>
              </a:ext>
            </a:extLst>
          </p:cNvPr>
          <p:cNvSpPr/>
          <p:nvPr/>
        </p:nvSpPr>
        <p:spPr>
          <a:xfrm>
            <a:off x="7043017" y="1934551"/>
            <a:ext cx="3168077" cy="809632"/>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196"/>
              </a:spcAft>
              <a:buClrTx/>
              <a:buSzTx/>
              <a:buFontTx/>
              <a:buNone/>
              <a:tabLst/>
              <a:defRPr/>
            </a:pPr>
            <a:r>
              <a:rPr kumimoji="0" lang="en-US" altLang="en-US" sz="1765"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Distribute data</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anage and share resources across </a:t>
            </a:r>
            <a:br>
              <a:rPr kumimoji="0" lang="en-US" sz="1372"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1372"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 workspace </a:t>
            </a:r>
          </a:p>
        </p:txBody>
      </p:sp>
    </p:spTree>
    <p:extLst>
      <p:ext uri="{BB962C8B-B14F-4D97-AF65-F5344CB8AC3E}">
        <p14:creationId xmlns:p14="http://schemas.microsoft.com/office/powerpoint/2010/main" val="153089558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2"/>
          <p:cNvSpPr>
            <a:spLocks noGrp="1"/>
          </p:cNvSpPr>
          <p:nvPr>
            <p:ph type="title"/>
          </p:nvPr>
        </p:nvSpPr>
        <p:spPr/>
        <p:txBody>
          <a:bodyPr/>
          <a:lstStyle/>
          <a:p>
            <a:r>
              <a:rPr lang="en-US" dirty="0"/>
              <a:t>Powerful infrastructure</a:t>
            </a:r>
          </a:p>
        </p:txBody>
      </p:sp>
      <p:sp>
        <p:nvSpPr>
          <p:cNvPr id="3" name="Text Placeholder 2">
            <a:extLst>
              <a:ext uri="{FF2B5EF4-FFF2-40B4-BE49-F238E27FC236}">
                <a16:creationId xmlns:a16="http://schemas.microsoft.com/office/drawing/2014/main" id="{A0E77913-0C7E-8B42-B2BE-6F77E636D6F0}"/>
              </a:ext>
            </a:extLst>
          </p:cNvPr>
          <p:cNvSpPr>
            <a:spLocks noGrp="1"/>
          </p:cNvSpPr>
          <p:nvPr>
            <p:ph type="body" sz="quarter" idx="12"/>
          </p:nvPr>
        </p:nvSpPr>
        <p:spPr/>
        <p:txBody>
          <a:bodyPr/>
          <a:lstStyle/>
          <a:p>
            <a:r>
              <a:rPr lang="en-US" dirty="0"/>
              <a:t>Accelerate deep learning</a:t>
            </a:r>
          </a:p>
        </p:txBody>
      </p:sp>
      <p:sp>
        <p:nvSpPr>
          <p:cNvPr id="63" name="Arrow: Left-Right 50">
            <a:extLst>
              <a:ext uri="{FF2B5EF4-FFF2-40B4-BE49-F238E27FC236}">
                <a16:creationId xmlns:a16="http://schemas.microsoft.com/office/drawing/2014/main" id="{689B45EF-A0E4-C543-A885-7DB462A5E236}"/>
              </a:ext>
            </a:extLst>
          </p:cNvPr>
          <p:cNvSpPr/>
          <p:nvPr/>
        </p:nvSpPr>
        <p:spPr bwMode="auto">
          <a:xfrm>
            <a:off x="400450" y="4294860"/>
            <a:ext cx="11297446" cy="1020767"/>
          </a:xfrm>
          <a:prstGeom prst="leftRightArrow">
            <a:avLst/>
          </a:prstGeom>
          <a:solidFill>
            <a:srgbClr val="0078D4"/>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78D4"/>
              </a:solidFill>
              <a:effectLst/>
              <a:uLnTx/>
              <a:uFillTx/>
              <a:latin typeface="Segoe UI"/>
              <a:ea typeface="Segoe UI" pitchFamily="34" charset="0"/>
              <a:cs typeface="Segoe UI" pitchFamily="34" charset="0"/>
            </a:endParaRPr>
          </a:p>
        </p:txBody>
      </p:sp>
      <p:sp>
        <p:nvSpPr>
          <p:cNvPr id="65" name="Rectangle 64">
            <a:extLst>
              <a:ext uri="{FF2B5EF4-FFF2-40B4-BE49-F238E27FC236}">
                <a16:creationId xmlns:a16="http://schemas.microsoft.com/office/drawing/2014/main" id="{2C76E695-8445-1242-8263-3BABA272211F}"/>
              </a:ext>
            </a:extLst>
          </p:cNvPr>
          <p:cNvSpPr/>
          <p:nvPr/>
        </p:nvSpPr>
        <p:spPr bwMode="auto">
          <a:xfrm>
            <a:off x="176984" y="3219447"/>
            <a:ext cx="3484723" cy="641993"/>
          </a:xfrm>
          <a:prstGeom prst="rect">
            <a:avLst/>
          </a:prstGeom>
          <a:noFill/>
          <a:ln w="12700"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1A1A1A"/>
                </a:solidFill>
                <a:effectLst/>
                <a:uLnTx/>
                <a:uFillTx/>
                <a:latin typeface="Segoe UI Semilight"/>
                <a:ea typeface="Segoe UI" pitchFamily="34" charset="0"/>
                <a:cs typeface="Segoe UI" pitchFamily="34" charset="0"/>
              </a:rPr>
              <a:t>General purpose machine learning</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0078D4"/>
                </a:solidFill>
                <a:effectLst/>
                <a:uLnTx/>
                <a:uFillTx/>
                <a:latin typeface="Segoe UI Semilight"/>
                <a:ea typeface="Segoe UI" pitchFamily="34" charset="0"/>
                <a:cs typeface="Segoe UI" pitchFamily="34" charset="0"/>
              </a:rPr>
              <a:t>D, F, L, M, H Series</a:t>
            </a:r>
            <a:endParaRPr kumimoji="0" lang="en-US" sz="1800" b="0" i="0" u="none" strike="noStrike" kern="0" cap="none" spc="0" normalizeH="0" baseline="0" noProof="0">
              <a:ln>
                <a:noFill/>
              </a:ln>
              <a:solidFill>
                <a:srgbClr val="0078D4"/>
              </a:solidFill>
              <a:effectLst/>
              <a:uLnTx/>
              <a:uFillTx/>
              <a:latin typeface="Segoe UI Semilight"/>
              <a:ea typeface="Segoe UI" pitchFamily="34" charset="0"/>
              <a:cs typeface="Segoe UI" pitchFamily="34" charset="0"/>
            </a:endParaRPr>
          </a:p>
        </p:txBody>
      </p:sp>
      <p:sp>
        <p:nvSpPr>
          <p:cNvPr id="66" name="Rectangle 65">
            <a:extLst>
              <a:ext uri="{FF2B5EF4-FFF2-40B4-BE49-F238E27FC236}">
                <a16:creationId xmlns:a16="http://schemas.microsoft.com/office/drawing/2014/main" id="{283227AD-88A3-6343-A6AC-A04C3F46AB80}"/>
              </a:ext>
            </a:extLst>
          </p:cNvPr>
          <p:cNvSpPr/>
          <p:nvPr/>
        </p:nvSpPr>
        <p:spPr bwMode="auto">
          <a:xfrm>
            <a:off x="1402576" y="2850568"/>
            <a:ext cx="912895" cy="276999"/>
          </a:xfrm>
          <a:prstGeom prst="rect">
            <a:avLst/>
          </a:prstGeom>
          <a:no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solidFill>
                  <a:srgbClr val="0078D4"/>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CPUs</a:t>
            </a:r>
          </a:p>
        </p:txBody>
      </p:sp>
      <p:sp>
        <p:nvSpPr>
          <p:cNvPr id="67" name="chip">
            <a:extLst>
              <a:ext uri="{FF2B5EF4-FFF2-40B4-BE49-F238E27FC236}">
                <a16:creationId xmlns:a16="http://schemas.microsoft.com/office/drawing/2014/main" id="{1F486F47-0449-3340-8B4E-FCCDF8FDE13A}"/>
              </a:ext>
            </a:extLst>
          </p:cNvPr>
          <p:cNvSpPr>
            <a:spLocks noChangeAspect="1" noEditPoints="1"/>
          </p:cNvSpPr>
          <p:nvPr/>
        </p:nvSpPr>
        <p:spPr bwMode="auto">
          <a:xfrm>
            <a:off x="1669317" y="2310533"/>
            <a:ext cx="379412" cy="387253"/>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2700" cap="sq">
            <a:solidFill>
              <a:schemeClr val="tx2"/>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sp>
        <p:nvSpPr>
          <p:cNvPr id="68" name="TextBox 67">
            <a:extLst>
              <a:ext uri="{FF2B5EF4-FFF2-40B4-BE49-F238E27FC236}">
                <a16:creationId xmlns:a16="http://schemas.microsoft.com/office/drawing/2014/main" id="{035A2CE4-A06F-7E4A-A12C-B621EA6B5973}"/>
              </a:ext>
            </a:extLst>
          </p:cNvPr>
          <p:cNvSpPr txBox="1"/>
          <p:nvPr/>
        </p:nvSpPr>
        <p:spPr>
          <a:xfrm>
            <a:off x="902041" y="4708296"/>
            <a:ext cx="3189023" cy="193899"/>
          </a:xfrm>
          <a:prstGeom prst="rect">
            <a:avLst/>
          </a:prstGeom>
          <a:no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102" fontAlgn="base">
              <a:lnSpc>
                <a:spcPct val="90000"/>
              </a:lnSpc>
              <a:spcBef>
                <a:spcPct val="0"/>
              </a:spcBef>
              <a:spcAft>
                <a:spcPct val="0"/>
              </a:spcAft>
              <a:buClrTx/>
              <a:buSzTx/>
              <a:buFontTx/>
              <a:buNone/>
              <a:tabLst/>
              <a:defRPr kumimoji="0" sz="1400" b="0" i="0" u="none" strike="noStrike" kern="0" cap="none" spc="0" normalizeH="0" baseline="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defRPr>
            </a:lvl1p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rPr>
              <a:t>Optimized for flexibility</a:t>
            </a:r>
          </a:p>
        </p:txBody>
      </p:sp>
      <p:sp>
        <p:nvSpPr>
          <p:cNvPr id="71" name="TextBox 70">
            <a:extLst>
              <a:ext uri="{FF2B5EF4-FFF2-40B4-BE49-F238E27FC236}">
                <a16:creationId xmlns:a16="http://schemas.microsoft.com/office/drawing/2014/main" id="{C43BD09E-7817-2540-88D3-BC759D99848A}"/>
              </a:ext>
            </a:extLst>
          </p:cNvPr>
          <p:cNvSpPr txBox="1"/>
          <p:nvPr/>
        </p:nvSpPr>
        <p:spPr>
          <a:xfrm>
            <a:off x="8639694" y="4708296"/>
            <a:ext cx="2429764" cy="193899"/>
          </a:xfrm>
          <a:prstGeom prst="rect">
            <a:avLst/>
          </a:prstGeom>
          <a:no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102" fontAlgn="base">
              <a:lnSpc>
                <a:spcPct val="90000"/>
              </a:lnSpc>
              <a:spcBef>
                <a:spcPct val="0"/>
              </a:spcBef>
              <a:spcAft>
                <a:spcPct val="0"/>
              </a:spcAft>
              <a:buClrTx/>
              <a:buSzTx/>
              <a:buFontTx/>
              <a:buNone/>
              <a:tabLst/>
              <a:defRPr kumimoji="0" sz="1400" b="0" i="0" u="none" strike="noStrike" kern="0" cap="none" spc="0" normalizeH="0" baseline="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defRPr>
            </a:lvl1pPr>
          </a:lstStyle>
          <a:p>
            <a:pPr marL="0" marR="0" lvl="0" indent="0" algn="r" defTabSz="91392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Optimized for performance</a:t>
            </a:r>
          </a:p>
        </p:txBody>
      </p:sp>
      <p:sp>
        <p:nvSpPr>
          <p:cNvPr id="72" name="Rectangle 71">
            <a:extLst>
              <a:ext uri="{FF2B5EF4-FFF2-40B4-BE49-F238E27FC236}">
                <a16:creationId xmlns:a16="http://schemas.microsoft.com/office/drawing/2014/main" id="{F3780B3E-15D7-7144-9513-EB118F80CCAD}"/>
              </a:ext>
            </a:extLst>
          </p:cNvPr>
          <p:cNvSpPr/>
          <p:nvPr/>
        </p:nvSpPr>
        <p:spPr bwMode="auto">
          <a:xfrm>
            <a:off x="5635013" y="2850568"/>
            <a:ext cx="726163" cy="276999"/>
          </a:xfrm>
          <a:prstGeom prst="rect">
            <a:avLst/>
          </a:prstGeom>
          <a:no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solidFill>
                  <a:srgbClr val="0078D4"/>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GPUs</a:t>
            </a:r>
          </a:p>
        </p:txBody>
      </p:sp>
      <p:grpSp>
        <p:nvGrpSpPr>
          <p:cNvPr id="73" name="Group 72">
            <a:extLst>
              <a:ext uri="{FF2B5EF4-FFF2-40B4-BE49-F238E27FC236}">
                <a16:creationId xmlns:a16="http://schemas.microsoft.com/office/drawing/2014/main" id="{F0C1ABE2-F1AB-F443-BB94-1EAE888DBB67}"/>
              </a:ext>
            </a:extLst>
          </p:cNvPr>
          <p:cNvGrpSpPr/>
          <p:nvPr/>
        </p:nvGrpSpPr>
        <p:grpSpPr>
          <a:xfrm>
            <a:off x="5734285" y="2310535"/>
            <a:ext cx="518232" cy="330626"/>
            <a:chOff x="5842028" y="2023300"/>
            <a:chExt cx="518306" cy="330673"/>
          </a:xfrm>
        </p:grpSpPr>
        <p:sp>
          <p:nvSpPr>
            <p:cNvPr id="74" name="Rectangle: Single Corner Rounded 2">
              <a:extLst>
                <a:ext uri="{FF2B5EF4-FFF2-40B4-BE49-F238E27FC236}">
                  <a16:creationId xmlns:a16="http://schemas.microsoft.com/office/drawing/2014/main" id="{0BEF15DC-08F2-EA48-AEC0-D3C82AE5A9AD}"/>
                </a:ext>
              </a:extLst>
            </p:cNvPr>
            <p:cNvSpPr/>
            <p:nvPr/>
          </p:nvSpPr>
          <p:spPr bwMode="auto">
            <a:xfrm>
              <a:off x="5842028" y="2023300"/>
              <a:ext cx="518306" cy="284908"/>
            </a:xfrm>
            <a:prstGeom prst="round1Rect">
              <a:avLst>
                <a:gd name="adj" fmla="val 19322"/>
              </a:avLst>
            </a:prstGeom>
            <a:noFill/>
            <a:ln w="12700" cap="sq">
              <a:solidFill>
                <a:schemeClr val="tx2"/>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0078D4"/>
                </a:solidFill>
                <a:effectLst/>
                <a:uLnTx/>
                <a:uFillTx/>
                <a:latin typeface="Segoe UI Semilight"/>
                <a:ea typeface="+mn-ea"/>
                <a:cs typeface="+mn-cs"/>
              </a:endParaRPr>
            </a:p>
          </p:txBody>
        </p:sp>
        <p:grpSp>
          <p:nvGrpSpPr>
            <p:cNvPr id="75" name="Group 74">
              <a:extLst>
                <a:ext uri="{FF2B5EF4-FFF2-40B4-BE49-F238E27FC236}">
                  <a16:creationId xmlns:a16="http://schemas.microsoft.com/office/drawing/2014/main" id="{D420890A-D1A8-7A47-AC2C-E40E03630673}"/>
                </a:ext>
              </a:extLst>
            </p:cNvPr>
            <p:cNvGrpSpPr/>
            <p:nvPr/>
          </p:nvGrpSpPr>
          <p:grpSpPr>
            <a:xfrm>
              <a:off x="5886781" y="2308208"/>
              <a:ext cx="423110" cy="45765"/>
              <a:chOff x="2805041" y="5363936"/>
              <a:chExt cx="937405" cy="125178"/>
            </a:xfrm>
          </p:grpSpPr>
          <p:grpSp>
            <p:nvGrpSpPr>
              <p:cNvPr id="78" name="Group 77">
                <a:extLst>
                  <a:ext uri="{FF2B5EF4-FFF2-40B4-BE49-F238E27FC236}">
                    <a16:creationId xmlns:a16="http://schemas.microsoft.com/office/drawing/2014/main" id="{5834287D-33DB-EC44-B7FA-CA94ED4CB85E}"/>
                  </a:ext>
                </a:extLst>
              </p:cNvPr>
              <p:cNvGrpSpPr/>
              <p:nvPr/>
            </p:nvGrpSpPr>
            <p:grpSpPr>
              <a:xfrm>
                <a:off x="2805041" y="5363936"/>
                <a:ext cx="304800" cy="125178"/>
                <a:chOff x="685111" y="5810249"/>
                <a:chExt cx="304800" cy="356348"/>
              </a:xfrm>
            </p:grpSpPr>
            <p:cxnSp>
              <p:nvCxnSpPr>
                <p:cNvPr id="83" name="Straight Connector 82">
                  <a:extLst>
                    <a:ext uri="{FF2B5EF4-FFF2-40B4-BE49-F238E27FC236}">
                      <a16:creationId xmlns:a16="http://schemas.microsoft.com/office/drawing/2014/main" id="{FCEF6E83-6543-B24A-86F9-2798BEE9B567}"/>
                    </a:ext>
                  </a:extLst>
                </p:cNvPr>
                <p:cNvCxnSpPr/>
                <p:nvPr/>
              </p:nvCxnSpPr>
              <p:spPr>
                <a:xfrm>
                  <a:off x="685111" y="5810249"/>
                  <a:ext cx="0" cy="356348"/>
                </a:xfrm>
                <a:prstGeom prst="line">
                  <a:avLst/>
                </a:prstGeom>
                <a:noFill/>
                <a:ln w="12700" cap="sq">
                  <a:solidFill>
                    <a:schemeClr val="tx2"/>
                  </a:solidFill>
                  <a:prstDash val="solid"/>
                  <a:miter lim="800000"/>
                  <a:headEnd/>
                  <a:tailEnd/>
                </a:ln>
              </p:spPr>
            </p:cxnSp>
            <p:cxnSp>
              <p:nvCxnSpPr>
                <p:cNvPr id="84" name="Straight Connector 83">
                  <a:extLst>
                    <a:ext uri="{FF2B5EF4-FFF2-40B4-BE49-F238E27FC236}">
                      <a16:creationId xmlns:a16="http://schemas.microsoft.com/office/drawing/2014/main" id="{0C99D5ED-90ED-D140-A94B-A22739EB1752}"/>
                    </a:ext>
                  </a:extLst>
                </p:cNvPr>
                <p:cNvCxnSpPr/>
                <p:nvPr/>
              </p:nvCxnSpPr>
              <p:spPr>
                <a:xfrm>
                  <a:off x="837511" y="5810249"/>
                  <a:ext cx="0" cy="356348"/>
                </a:xfrm>
                <a:prstGeom prst="line">
                  <a:avLst/>
                </a:prstGeom>
                <a:noFill/>
                <a:ln w="12700" cap="sq">
                  <a:solidFill>
                    <a:schemeClr val="tx2"/>
                  </a:solidFill>
                  <a:prstDash val="solid"/>
                  <a:miter lim="800000"/>
                  <a:headEnd/>
                  <a:tailEnd/>
                </a:ln>
              </p:spPr>
            </p:cxnSp>
            <p:cxnSp>
              <p:nvCxnSpPr>
                <p:cNvPr id="85" name="Straight Connector 84">
                  <a:extLst>
                    <a:ext uri="{FF2B5EF4-FFF2-40B4-BE49-F238E27FC236}">
                      <a16:creationId xmlns:a16="http://schemas.microsoft.com/office/drawing/2014/main" id="{CA52F0CA-9DC3-2142-9188-905CBE3CA99B}"/>
                    </a:ext>
                  </a:extLst>
                </p:cNvPr>
                <p:cNvCxnSpPr/>
                <p:nvPr/>
              </p:nvCxnSpPr>
              <p:spPr>
                <a:xfrm>
                  <a:off x="989911" y="5810249"/>
                  <a:ext cx="0" cy="356348"/>
                </a:xfrm>
                <a:prstGeom prst="line">
                  <a:avLst/>
                </a:prstGeom>
                <a:noFill/>
                <a:ln w="12700" cap="sq">
                  <a:solidFill>
                    <a:schemeClr val="tx2"/>
                  </a:solidFill>
                  <a:prstDash val="solid"/>
                  <a:miter lim="800000"/>
                  <a:headEnd/>
                  <a:tailEnd/>
                </a:ln>
              </p:spPr>
            </p:cxnSp>
          </p:grpSp>
          <p:grpSp>
            <p:nvGrpSpPr>
              <p:cNvPr id="79" name="Group 78">
                <a:extLst>
                  <a:ext uri="{FF2B5EF4-FFF2-40B4-BE49-F238E27FC236}">
                    <a16:creationId xmlns:a16="http://schemas.microsoft.com/office/drawing/2014/main" id="{5AC3B4DF-B6C8-0149-A0E2-21647BAF05F9}"/>
                  </a:ext>
                </a:extLst>
              </p:cNvPr>
              <p:cNvGrpSpPr/>
              <p:nvPr/>
            </p:nvGrpSpPr>
            <p:grpSpPr>
              <a:xfrm>
                <a:off x="3437646" y="5363936"/>
                <a:ext cx="304800" cy="125178"/>
                <a:chOff x="685111" y="5810249"/>
                <a:chExt cx="304800" cy="356348"/>
              </a:xfrm>
            </p:grpSpPr>
            <p:cxnSp>
              <p:nvCxnSpPr>
                <p:cNvPr id="80" name="Straight Connector 79">
                  <a:extLst>
                    <a:ext uri="{FF2B5EF4-FFF2-40B4-BE49-F238E27FC236}">
                      <a16:creationId xmlns:a16="http://schemas.microsoft.com/office/drawing/2014/main" id="{4351CA95-56F4-DA45-AEF8-CF53C64DAAFE}"/>
                    </a:ext>
                  </a:extLst>
                </p:cNvPr>
                <p:cNvCxnSpPr/>
                <p:nvPr/>
              </p:nvCxnSpPr>
              <p:spPr>
                <a:xfrm>
                  <a:off x="685111" y="5810249"/>
                  <a:ext cx="0" cy="356348"/>
                </a:xfrm>
                <a:prstGeom prst="line">
                  <a:avLst/>
                </a:prstGeom>
                <a:noFill/>
                <a:ln w="12700" cap="sq">
                  <a:solidFill>
                    <a:schemeClr val="tx2"/>
                  </a:solidFill>
                  <a:prstDash val="solid"/>
                  <a:miter lim="800000"/>
                  <a:headEnd/>
                  <a:tailEnd/>
                </a:ln>
              </p:spPr>
            </p:cxnSp>
            <p:cxnSp>
              <p:nvCxnSpPr>
                <p:cNvPr id="81" name="Straight Connector 80">
                  <a:extLst>
                    <a:ext uri="{FF2B5EF4-FFF2-40B4-BE49-F238E27FC236}">
                      <a16:creationId xmlns:a16="http://schemas.microsoft.com/office/drawing/2014/main" id="{A392A3CB-354E-634C-873B-C83C47CD661D}"/>
                    </a:ext>
                  </a:extLst>
                </p:cNvPr>
                <p:cNvCxnSpPr/>
                <p:nvPr/>
              </p:nvCxnSpPr>
              <p:spPr>
                <a:xfrm>
                  <a:off x="837511" y="5810249"/>
                  <a:ext cx="0" cy="356348"/>
                </a:xfrm>
                <a:prstGeom prst="line">
                  <a:avLst/>
                </a:prstGeom>
                <a:noFill/>
                <a:ln w="12700" cap="sq">
                  <a:solidFill>
                    <a:schemeClr val="tx2"/>
                  </a:solidFill>
                  <a:prstDash val="solid"/>
                  <a:miter lim="800000"/>
                  <a:headEnd/>
                  <a:tailEnd/>
                </a:ln>
              </p:spPr>
            </p:cxnSp>
            <p:cxnSp>
              <p:nvCxnSpPr>
                <p:cNvPr id="82" name="Straight Connector 81">
                  <a:extLst>
                    <a:ext uri="{FF2B5EF4-FFF2-40B4-BE49-F238E27FC236}">
                      <a16:creationId xmlns:a16="http://schemas.microsoft.com/office/drawing/2014/main" id="{17A91DE6-7DCB-0843-9E89-8C95CBA58CE4}"/>
                    </a:ext>
                  </a:extLst>
                </p:cNvPr>
                <p:cNvCxnSpPr/>
                <p:nvPr/>
              </p:nvCxnSpPr>
              <p:spPr>
                <a:xfrm>
                  <a:off x="989911" y="5810249"/>
                  <a:ext cx="0" cy="356348"/>
                </a:xfrm>
                <a:prstGeom prst="line">
                  <a:avLst/>
                </a:prstGeom>
                <a:noFill/>
                <a:ln w="12700" cap="sq">
                  <a:solidFill>
                    <a:schemeClr val="tx2"/>
                  </a:solidFill>
                  <a:prstDash val="solid"/>
                  <a:miter lim="800000"/>
                  <a:headEnd/>
                  <a:tailEnd/>
                </a:ln>
              </p:spPr>
            </p:cxnSp>
          </p:grpSp>
        </p:grpSp>
        <p:sp>
          <p:nvSpPr>
            <p:cNvPr id="76" name="Oval 75">
              <a:extLst>
                <a:ext uri="{FF2B5EF4-FFF2-40B4-BE49-F238E27FC236}">
                  <a16:creationId xmlns:a16="http://schemas.microsoft.com/office/drawing/2014/main" id="{7F0ECD91-A561-DF4F-9781-E86AB902F12F}"/>
                </a:ext>
              </a:extLst>
            </p:cNvPr>
            <p:cNvSpPr/>
            <p:nvPr/>
          </p:nvSpPr>
          <p:spPr bwMode="auto">
            <a:xfrm>
              <a:off x="6135172" y="2083744"/>
              <a:ext cx="158117" cy="164020"/>
            </a:xfrm>
            <a:prstGeom prst="ellipse">
              <a:avLst/>
            </a:prstGeom>
            <a:noFill/>
            <a:ln w="12700" cap="sq">
              <a:solidFill>
                <a:schemeClr val="tx2"/>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0078D4"/>
                </a:solidFill>
                <a:effectLst/>
                <a:uLnTx/>
                <a:uFillTx/>
                <a:latin typeface="Segoe UI Semilight"/>
                <a:ea typeface="+mn-ea"/>
                <a:cs typeface="+mn-cs"/>
              </a:endParaRPr>
            </a:p>
          </p:txBody>
        </p:sp>
        <p:sp>
          <p:nvSpPr>
            <p:cNvPr id="77" name="Rectangle 76">
              <a:extLst>
                <a:ext uri="{FF2B5EF4-FFF2-40B4-BE49-F238E27FC236}">
                  <a16:creationId xmlns:a16="http://schemas.microsoft.com/office/drawing/2014/main" id="{DBB607E9-006F-6440-A925-8ACD9DCEE878}"/>
                </a:ext>
              </a:extLst>
            </p:cNvPr>
            <p:cNvSpPr/>
            <p:nvPr/>
          </p:nvSpPr>
          <p:spPr bwMode="auto">
            <a:xfrm>
              <a:off x="5911951" y="2129519"/>
              <a:ext cx="156176" cy="80034"/>
            </a:xfrm>
            <a:prstGeom prst="rect">
              <a:avLst/>
            </a:prstGeom>
            <a:noFill/>
            <a:ln w="12700" cap="sq">
              <a:solidFill>
                <a:schemeClr val="tx2"/>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0078D4"/>
                </a:solidFill>
                <a:effectLst/>
                <a:uLnTx/>
                <a:uFillTx/>
                <a:latin typeface="Segoe UI Semilight"/>
                <a:ea typeface="+mn-ea"/>
                <a:cs typeface="+mn-cs"/>
              </a:endParaRPr>
            </a:p>
          </p:txBody>
        </p:sp>
      </p:grpSp>
      <p:sp>
        <p:nvSpPr>
          <p:cNvPr id="86" name="Rectangle 85">
            <a:extLst>
              <a:ext uri="{FF2B5EF4-FFF2-40B4-BE49-F238E27FC236}">
                <a16:creationId xmlns:a16="http://schemas.microsoft.com/office/drawing/2014/main" id="{0D1E0808-F176-C547-AA96-7F898C3EEC57}"/>
              </a:ext>
            </a:extLst>
          </p:cNvPr>
          <p:cNvSpPr/>
          <p:nvPr/>
        </p:nvSpPr>
        <p:spPr bwMode="auto">
          <a:xfrm>
            <a:off x="9772191" y="2850568"/>
            <a:ext cx="768194" cy="276999"/>
          </a:xfrm>
          <a:prstGeom prst="rect">
            <a:avLst/>
          </a:prstGeom>
          <a:no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FPGAs</a:t>
            </a:r>
          </a:p>
        </p:txBody>
      </p:sp>
      <p:grpSp>
        <p:nvGrpSpPr>
          <p:cNvPr id="87" name="Group 86">
            <a:extLst>
              <a:ext uri="{FF2B5EF4-FFF2-40B4-BE49-F238E27FC236}">
                <a16:creationId xmlns:a16="http://schemas.microsoft.com/office/drawing/2014/main" id="{B28BB775-BEFF-3D4D-84F4-C0F51D0ED328}"/>
              </a:ext>
            </a:extLst>
          </p:cNvPr>
          <p:cNvGrpSpPr/>
          <p:nvPr/>
        </p:nvGrpSpPr>
        <p:grpSpPr>
          <a:xfrm>
            <a:off x="9938075" y="2310534"/>
            <a:ext cx="436424" cy="436424"/>
            <a:chOff x="10035278" y="3218678"/>
            <a:chExt cx="247374" cy="247374"/>
          </a:xfrm>
        </p:grpSpPr>
        <p:grpSp>
          <p:nvGrpSpPr>
            <p:cNvPr id="88" name="Group 87">
              <a:extLst>
                <a:ext uri="{FF2B5EF4-FFF2-40B4-BE49-F238E27FC236}">
                  <a16:creationId xmlns:a16="http://schemas.microsoft.com/office/drawing/2014/main" id="{70841A0E-FD38-904C-8504-5C32F65A79C1}"/>
                </a:ext>
              </a:extLst>
            </p:cNvPr>
            <p:cNvGrpSpPr/>
            <p:nvPr/>
          </p:nvGrpSpPr>
          <p:grpSpPr>
            <a:xfrm>
              <a:off x="10035278" y="3218678"/>
              <a:ext cx="247374" cy="247374"/>
              <a:chOff x="3485441" y="4505566"/>
              <a:chExt cx="712494" cy="712494"/>
            </a:xfrm>
          </p:grpSpPr>
          <p:sp>
            <p:nvSpPr>
              <p:cNvPr id="91" name="Rectangle 90">
                <a:extLst>
                  <a:ext uri="{FF2B5EF4-FFF2-40B4-BE49-F238E27FC236}">
                    <a16:creationId xmlns:a16="http://schemas.microsoft.com/office/drawing/2014/main" id="{66AA05E2-628E-494F-BD7B-342E3A7304A6}"/>
                  </a:ext>
                </a:extLst>
              </p:cNvPr>
              <p:cNvSpPr/>
              <p:nvPr/>
            </p:nvSpPr>
            <p:spPr bwMode="auto">
              <a:xfrm>
                <a:off x="3565593" y="4585718"/>
                <a:ext cx="552190" cy="552190"/>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78D4"/>
                  </a:solidFill>
                  <a:effectLst/>
                  <a:uLnTx/>
                  <a:uFillTx/>
                  <a:latin typeface="Segoe UI"/>
                  <a:ea typeface="Segoe UI" pitchFamily="34" charset="0"/>
                  <a:cs typeface="Segoe UI" pitchFamily="34" charset="0"/>
                </a:endParaRPr>
              </a:p>
            </p:txBody>
          </p:sp>
          <p:grpSp>
            <p:nvGrpSpPr>
              <p:cNvPr id="92" name="Group 91">
                <a:extLst>
                  <a:ext uri="{FF2B5EF4-FFF2-40B4-BE49-F238E27FC236}">
                    <a16:creationId xmlns:a16="http://schemas.microsoft.com/office/drawing/2014/main" id="{C1145BFE-25F0-354B-91E2-082BB54514DA}"/>
                  </a:ext>
                </a:extLst>
              </p:cNvPr>
              <p:cNvGrpSpPr/>
              <p:nvPr/>
            </p:nvGrpSpPr>
            <p:grpSpPr>
              <a:xfrm>
                <a:off x="3485441" y="4677750"/>
                <a:ext cx="712494" cy="368126"/>
                <a:chOff x="3485441" y="4677750"/>
                <a:chExt cx="712494" cy="368126"/>
              </a:xfrm>
            </p:grpSpPr>
            <p:grpSp>
              <p:nvGrpSpPr>
                <p:cNvPr id="107" name="Group 106">
                  <a:extLst>
                    <a:ext uri="{FF2B5EF4-FFF2-40B4-BE49-F238E27FC236}">
                      <a16:creationId xmlns:a16="http://schemas.microsoft.com/office/drawing/2014/main" id="{3A06960D-ACFF-7E4D-9CEF-BD1BDAE2E432}"/>
                    </a:ext>
                  </a:extLst>
                </p:cNvPr>
                <p:cNvGrpSpPr/>
                <p:nvPr/>
              </p:nvGrpSpPr>
              <p:grpSpPr>
                <a:xfrm>
                  <a:off x="4117783" y="4677750"/>
                  <a:ext cx="80152" cy="368126"/>
                  <a:chOff x="4117783" y="4677750"/>
                  <a:chExt cx="129006" cy="368126"/>
                </a:xfrm>
              </p:grpSpPr>
              <p:cxnSp>
                <p:nvCxnSpPr>
                  <p:cNvPr id="113" name="Straight Connector 112">
                    <a:extLst>
                      <a:ext uri="{FF2B5EF4-FFF2-40B4-BE49-F238E27FC236}">
                        <a16:creationId xmlns:a16="http://schemas.microsoft.com/office/drawing/2014/main" id="{263E0BC3-533E-6D45-B9F2-893C1AED4B08}"/>
                      </a:ext>
                    </a:extLst>
                  </p:cNvPr>
                  <p:cNvCxnSpPr/>
                  <p:nvPr/>
                </p:nvCxnSpPr>
                <p:spPr>
                  <a:xfrm>
                    <a:off x="4117783" y="4677750"/>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867178C-0E23-6A45-9FBB-5EF23CFBE8AA}"/>
                      </a:ext>
                    </a:extLst>
                  </p:cNvPr>
                  <p:cNvCxnSpPr/>
                  <p:nvPr/>
                </p:nvCxnSpPr>
                <p:spPr>
                  <a:xfrm>
                    <a:off x="4117783" y="4769781"/>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71C283B-1A7A-8E4F-9221-6538F8DE40EE}"/>
                      </a:ext>
                    </a:extLst>
                  </p:cNvPr>
                  <p:cNvCxnSpPr/>
                  <p:nvPr/>
                </p:nvCxnSpPr>
                <p:spPr>
                  <a:xfrm>
                    <a:off x="4117783" y="4953845"/>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48CD625-DE21-F447-A286-66CFE2F04C0F}"/>
                      </a:ext>
                    </a:extLst>
                  </p:cNvPr>
                  <p:cNvCxnSpPr/>
                  <p:nvPr/>
                </p:nvCxnSpPr>
                <p:spPr>
                  <a:xfrm>
                    <a:off x="4117783" y="5045876"/>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8" name="Group 107">
                  <a:extLst>
                    <a:ext uri="{FF2B5EF4-FFF2-40B4-BE49-F238E27FC236}">
                      <a16:creationId xmlns:a16="http://schemas.microsoft.com/office/drawing/2014/main" id="{C5991450-A3A9-3A45-9534-C832DB95FB14}"/>
                    </a:ext>
                  </a:extLst>
                </p:cNvPr>
                <p:cNvGrpSpPr/>
                <p:nvPr/>
              </p:nvGrpSpPr>
              <p:grpSpPr>
                <a:xfrm>
                  <a:off x="3485441" y="4677750"/>
                  <a:ext cx="80152" cy="368126"/>
                  <a:chOff x="4117783" y="4677750"/>
                  <a:chExt cx="129006" cy="368126"/>
                </a:xfrm>
              </p:grpSpPr>
              <p:cxnSp>
                <p:nvCxnSpPr>
                  <p:cNvPr id="109" name="Straight Connector 108">
                    <a:extLst>
                      <a:ext uri="{FF2B5EF4-FFF2-40B4-BE49-F238E27FC236}">
                        <a16:creationId xmlns:a16="http://schemas.microsoft.com/office/drawing/2014/main" id="{E46A0706-D999-124D-A6D2-6720E6F2EE7A}"/>
                      </a:ext>
                    </a:extLst>
                  </p:cNvPr>
                  <p:cNvCxnSpPr/>
                  <p:nvPr/>
                </p:nvCxnSpPr>
                <p:spPr>
                  <a:xfrm>
                    <a:off x="4117783" y="4677750"/>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06856E3-371B-D541-AFCD-CA9A49BC61B4}"/>
                      </a:ext>
                    </a:extLst>
                  </p:cNvPr>
                  <p:cNvCxnSpPr/>
                  <p:nvPr/>
                </p:nvCxnSpPr>
                <p:spPr>
                  <a:xfrm>
                    <a:off x="4117783" y="4769781"/>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CDB64D5-5F1C-F649-A1FE-CB85D3EB845D}"/>
                      </a:ext>
                    </a:extLst>
                  </p:cNvPr>
                  <p:cNvCxnSpPr/>
                  <p:nvPr/>
                </p:nvCxnSpPr>
                <p:spPr>
                  <a:xfrm>
                    <a:off x="4117783" y="4953845"/>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0988B225-1BA5-9C4B-97CC-43AC294A7F10}"/>
                      </a:ext>
                    </a:extLst>
                  </p:cNvPr>
                  <p:cNvCxnSpPr/>
                  <p:nvPr/>
                </p:nvCxnSpPr>
                <p:spPr>
                  <a:xfrm>
                    <a:off x="4117783" y="5045876"/>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3" name="Group 92">
                <a:extLst>
                  <a:ext uri="{FF2B5EF4-FFF2-40B4-BE49-F238E27FC236}">
                    <a16:creationId xmlns:a16="http://schemas.microsoft.com/office/drawing/2014/main" id="{8BA23B8A-19E8-9849-B1F4-FCE40FC85846}"/>
                  </a:ext>
                </a:extLst>
              </p:cNvPr>
              <p:cNvGrpSpPr/>
              <p:nvPr/>
            </p:nvGrpSpPr>
            <p:grpSpPr>
              <a:xfrm rot="5400000">
                <a:off x="3480396" y="4677750"/>
                <a:ext cx="712494" cy="368126"/>
                <a:chOff x="3485441" y="4677750"/>
                <a:chExt cx="712494" cy="368126"/>
              </a:xfrm>
            </p:grpSpPr>
            <p:grpSp>
              <p:nvGrpSpPr>
                <p:cNvPr id="95" name="Group 94">
                  <a:extLst>
                    <a:ext uri="{FF2B5EF4-FFF2-40B4-BE49-F238E27FC236}">
                      <a16:creationId xmlns:a16="http://schemas.microsoft.com/office/drawing/2014/main" id="{DFE0E5B8-33CC-5047-ADD7-5A049FBC89B2}"/>
                    </a:ext>
                  </a:extLst>
                </p:cNvPr>
                <p:cNvGrpSpPr/>
                <p:nvPr/>
              </p:nvGrpSpPr>
              <p:grpSpPr>
                <a:xfrm>
                  <a:off x="4117783" y="4677750"/>
                  <a:ext cx="80152" cy="368126"/>
                  <a:chOff x="4117783" y="4677750"/>
                  <a:chExt cx="129006" cy="368126"/>
                </a:xfrm>
              </p:grpSpPr>
              <p:cxnSp>
                <p:nvCxnSpPr>
                  <p:cNvPr id="102" name="Straight Connector 101">
                    <a:extLst>
                      <a:ext uri="{FF2B5EF4-FFF2-40B4-BE49-F238E27FC236}">
                        <a16:creationId xmlns:a16="http://schemas.microsoft.com/office/drawing/2014/main" id="{866BF204-A809-1942-A3B1-455894CA6C77}"/>
                      </a:ext>
                    </a:extLst>
                  </p:cNvPr>
                  <p:cNvCxnSpPr/>
                  <p:nvPr/>
                </p:nvCxnSpPr>
                <p:spPr>
                  <a:xfrm>
                    <a:off x="4117783" y="4677750"/>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8B030963-EECB-B14D-9D9E-774ABA36244F}"/>
                      </a:ext>
                    </a:extLst>
                  </p:cNvPr>
                  <p:cNvCxnSpPr/>
                  <p:nvPr/>
                </p:nvCxnSpPr>
                <p:spPr>
                  <a:xfrm>
                    <a:off x="4117783" y="4769781"/>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1DB131C3-BB50-B14A-B78F-B5E5B4909F5D}"/>
                      </a:ext>
                    </a:extLst>
                  </p:cNvPr>
                  <p:cNvCxnSpPr/>
                  <p:nvPr/>
                </p:nvCxnSpPr>
                <p:spPr>
                  <a:xfrm>
                    <a:off x="4117783" y="4953845"/>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065D464A-85E5-624E-AF45-0E2702A0FFA0}"/>
                      </a:ext>
                    </a:extLst>
                  </p:cNvPr>
                  <p:cNvCxnSpPr/>
                  <p:nvPr/>
                </p:nvCxnSpPr>
                <p:spPr>
                  <a:xfrm>
                    <a:off x="4117783" y="5045876"/>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6" name="Group 95">
                  <a:extLst>
                    <a:ext uri="{FF2B5EF4-FFF2-40B4-BE49-F238E27FC236}">
                      <a16:creationId xmlns:a16="http://schemas.microsoft.com/office/drawing/2014/main" id="{AEDBEE40-519A-714A-8C9C-E464B4A2A109}"/>
                    </a:ext>
                  </a:extLst>
                </p:cNvPr>
                <p:cNvGrpSpPr/>
                <p:nvPr/>
              </p:nvGrpSpPr>
              <p:grpSpPr>
                <a:xfrm>
                  <a:off x="3485441" y="4677750"/>
                  <a:ext cx="80152" cy="368126"/>
                  <a:chOff x="4117783" y="4677750"/>
                  <a:chExt cx="129006" cy="368126"/>
                </a:xfrm>
              </p:grpSpPr>
              <p:cxnSp>
                <p:nvCxnSpPr>
                  <p:cNvPr id="97" name="Straight Connector 96">
                    <a:extLst>
                      <a:ext uri="{FF2B5EF4-FFF2-40B4-BE49-F238E27FC236}">
                        <a16:creationId xmlns:a16="http://schemas.microsoft.com/office/drawing/2014/main" id="{A0EB92D8-BC3C-214F-B0FE-5638C2BFEEA7}"/>
                      </a:ext>
                    </a:extLst>
                  </p:cNvPr>
                  <p:cNvCxnSpPr/>
                  <p:nvPr/>
                </p:nvCxnSpPr>
                <p:spPr>
                  <a:xfrm>
                    <a:off x="4117783" y="4677750"/>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2FE03D00-B106-5248-AF62-53DE24AC8EC2}"/>
                      </a:ext>
                    </a:extLst>
                  </p:cNvPr>
                  <p:cNvCxnSpPr/>
                  <p:nvPr/>
                </p:nvCxnSpPr>
                <p:spPr>
                  <a:xfrm>
                    <a:off x="4117783" y="4769781"/>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F96B2CB-0FAF-3546-87CC-BD1E195F4EF4}"/>
                      </a:ext>
                    </a:extLst>
                  </p:cNvPr>
                  <p:cNvCxnSpPr/>
                  <p:nvPr/>
                </p:nvCxnSpPr>
                <p:spPr>
                  <a:xfrm>
                    <a:off x="4117783" y="4953845"/>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DC6B68F-DC3E-4345-BAC9-A8AE91D1108F}"/>
                      </a:ext>
                    </a:extLst>
                  </p:cNvPr>
                  <p:cNvCxnSpPr/>
                  <p:nvPr/>
                </p:nvCxnSpPr>
                <p:spPr>
                  <a:xfrm>
                    <a:off x="4117783" y="5045876"/>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sp>
          <p:nvSpPr>
            <p:cNvPr id="90" name="Freeform: Shape 520">
              <a:extLst>
                <a:ext uri="{FF2B5EF4-FFF2-40B4-BE49-F238E27FC236}">
                  <a16:creationId xmlns:a16="http://schemas.microsoft.com/office/drawing/2014/main" id="{37BDB853-D50C-CB47-9FA0-226FC4FE745F}"/>
                </a:ext>
              </a:extLst>
            </p:cNvPr>
            <p:cNvSpPr/>
            <p:nvPr/>
          </p:nvSpPr>
          <p:spPr bwMode="auto">
            <a:xfrm>
              <a:off x="10124345" y="3293573"/>
              <a:ext cx="71612" cy="91319"/>
            </a:xfrm>
            <a:custGeom>
              <a:avLst/>
              <a:gdLst>
                <a:gd name="connsiteX0" fmla="*/ 699778 w 974972"/>
                <a:gd name="connsiteY0" fmla="*/ 0 h 1504393"/>
                <a:gd name="connsiteX1" fmla="*/ 502371 w 974972"/>
                <a:gd name="connsiteY1" fmla="*/ 571355 h 1504393"/>
                <a:gd name="connsiteX2" fmla="*/ 597565 w 974972"/>
                <a:gd name="connsiteY2" fmla="*/ 571355 h 1504393"/>
                <a:gd name="connsiteX3" fmla="*/ 629015 w 974972"/>
                <a:gd name="connsiteY3" fmla="*/ 571355 h 1504393"/>
                <a:gd name="connsiteX4" fmla="*/ 974972 w 974972"/>
                <a:gd name="connsiteY4" fmla="*/ 571355 h 1504393"/>
                <a:gd name="connsiteX5" fmla="*/ 275193 w 974972"/>
                <a:gd name="connsiteY5" fmla="*/ 1504393 h 1504393"/>
                <a:gd name="connsiteX6" fmla="*/ 472601 w 974972"/>
                <a:gd name="connsiteY6" fmla="*/ 933038 h 1504393"/>
                <a:gd name="connsiteX7" fmla="*/ 377407 w 974972"/>
                <a:gd name="connsiteY7" fmla="*/ 933038 h 1504393"/>
                <a:gd name="connsiteX8" fmla="*/ 349889 w 974972"/>
                <a:gd name="connsiteY8" fmla="*/ 933038 h 1504393"/>
                <a:gd name="connsiteX9" fmla="*/ 0 w 974972"/>
                <a:gd name="connsiteY9" fmla="*/ 933038 h 1504393"/>
                <a:gd name="connsiteX10" fmla="*/ 699778 w 974972"/>
                <a:gd name="connsiteY10" fmla="*/ 0 h 15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4972" h="1504393">
                  <a:moveTo>
                    <a:pt x="699778" y="0"/>
                  </a:moveTo>
                  <a:lnTo>
                    <a:pt x="502371" y="571355"/>
                  </a:lnTo>
                  <a:lnTo>
                    <a:pt x="597565" y="571355"/>
                  </a:lnTo>
                  <a:lnTo>
                    <a:pt x="629015" y="571355"/>
                  </a:lnTo>
                  <a:lnTo>
                    <a:pt x="974972" y="571355"/>
                  </a:lnTo>
                  <a:lnTo>
                    <a:pt x="275193" y="1504393"/>
                  </a:lnTo>
                  <a:lnTo>
                    <a:pt x="472601" y="933038"/>
                  </a:lnTo>
                  <a:lnTo>
                    <a:pt x="377407" y="933038"/>
                  </a:lnTo>
                  <a:lnTo>
                    <a:pt x="349889" y="933038"/>
                  </a:lnTo>
                  <a:lnTo>
                    <a:pt x="0" y="933038"/>
                  </a:lnTo>
                  <a:lnTo>
                    <a:pt x="699778"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78D4"/>
                </a:solidFill>
                <a:effectLst/>
                <a:uLnTx/>
                <a:uFillTx/>
                <a:latin typeface="Segoe UI"/>
                <a:ea typeface="+mn-ea"/>
                <a:cs typeface="Segoe UI" pitchFamily="34" charset="0"/>
              </a:endParaRPr>
            </a:p>
          </p:txBody>
        </p:sp>
      </p:grpSp>
      <p:sp>
        <p:nvSpPr>
          <p:cNvPr id="119" name="Rectangle 118">
            <a:extLst>
              <a:ext uri="{FF2B5EF4-FFF2-40B4-BE49-F238E27FC236}">
                <a16:creationId xmlns:a16="http://schemas.microsoft.com/office/drawing/2014/main" id="{6DAAFA46-970B-514B-BC32-98C42C3EEC44}"/>
              </a:ext>
            </a:extLst>
          </p:cNvPr>
          <p:cNvSpPr/>
          <p:nvPr/>
        </p:nvSpPr>
        <p:spPr bwMode="auto">
          <a:xfrm>
            <a:off x="4294898" y="3212218"/>
            <a:ext cx="3484723" cy="436914"/>
          </a:xfrm>
          <a:prstGeom prst="rect">
            <a:avLst/>
          </a:prstGeom>
          <a:noFill/>
          <a:ln w="12700"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1A1A1A"/>
                </a:solidFill>
                <a:effectLst/>
                <a:uLnTx/>
                <a:uFillTx/>
                <a:latin typeface="Segoe UI Semilight"/>
                <a:ea typeface="Segoe UI" pitchFamily="34" charset="0"/>
                <a:cs typeface="Segoe UI" pitchFamily="34" charset="0"/>
              </a:rPr>
              <a:t>Deep learning</a:t>
            </a:r>
          </a:p>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78D4"/>
              </a:solidFill>
              <a:effectLst/>
              <a:uLnTx/>
              <a:uFillTx/>
              <a:latin typeface="Segoe UI Semilight"/>
              <a:ea typeface="+mn-ea"/>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0078D4"/>
                </a:solidFill>
                <a:effectLst/>
                <a:uLnTx/>
                <a:uFillTx/>
                <a:latin typeface="Segoe UI Semilight"/>
                <a:ea typeface="+mn-ea"/>
                <a:cs typeface="Segoe UI" pitchFamily="34" charset="0"/>
              </a:rPr>
              <a:t>N Series</a:t>
            </a:r>
          </a:p>
        </p:txBody>
      </p:sp>
      <p:sp>
        <p:nvSpPr>
          <p:cNvPr id="121" name="Rectangle 120">
            <a:extLst>
              <a:ext uri="{FF2B5EF4-FFF2-40B4-BE49-F238E27FC236}">
                <a16:creationId xmlns:a16="http://schemas.microsoft.com/office/drawing/2014/main" id="{19987F5D-EF98-A447-BEF9-71A8D22ED793}"/>
              </a:ext>
            </a:extLst>
          </p:cNvPr>
          <p:cNvSpPr/>
          <p:nvPr/>
        </p:nvSpPr>
        <p:spPr bwMode="auto">
          <a:xfrm>
            <a:off x="8639694" y="3212217"/>
            <a:ext cx="3139749" cy="649223"/>
          </a:xfrm>
          <a:prstGeom prst="rect">
            <a:avLst/>
          </a:prstGeom>
          <a:noFill/>
          <a:ln w="12700"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1A1A1A"/>
                </a:solidFill>
                <a:effectLst/>
                <a:uLnTx/>
                <a:uFillTx/>
                <a:latin typeface="Segoe UI Semilight"/>
                <a:ea typeface="Segoe UI" pitchFamily="34" charset="0"/>
                <a:cs typeface="Segoe UI" pitchFamily="34" charset="0"/>
              </a:rPr>
              <a:t>Specialized hardware accelerated deep learning</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0078D4"/>
                </a:solidFill>
                <a:effectLst/>
                <a:uLnTx/>
                <a:uFillTx/>
                <a:latin typeface="Segoe UI Semilight"/>
                <a:ea typeface="+mn-ea"/>
                <a:cs typeface="Segoe UI" pitchFamily="34" charset="0"/>
              </a:rPr>
              <a:t>Project Brainwave</a:t>
            </a:r>
          </a:p>
        </p:txBody>
      </p:sp>
      <p:cxnSp>
        <p:nvCxnSpPr>
          <p:cNvPr id="122" name="Straight Connector 121">
            <a:extLst>
              <a:ext uri="{FF2B5EF4-FFF2-40B4-BE49-F238E27FC236}">
                <a16:creationId xmlns:a16="http://schemas.microsoft.com/office/drawing/2014/main" id="{99A53599-9F57-F34F-AB15-DD7A385FA15B}"/>
              </a:ext>
            </a:extLst>
          </p:cNvPr>
          <p:cNvCxnSpPr>
            <a:cxnSpLocks/>
          </p:cNvCxnSpPr>
          <p:nvPr/>
        </p:nvCxnSpPr>
        <p:spPr>
          <a:xfrm>
            <a:off x="9552935" y="3212600"/>
            <a:ext cx="1206702"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BF138A13-54A7-294F-9745-F3AA9B3B15C9}"/>
              </a:ext>
            </a:extLst>
          </p:cNvPr>
          <p:cNvCxnSpPr>
            <a:cxnSpLocks/>
          </p:cNvCxnSpPr>
          <p:nvPr/>
        </p:nvCxnSpPr>
        <p:spPr>
          <a:xfrm>
            <a:off x="5386061" y="3215331"/>
            <a:ext cx="1206702" cy="0"/>
          </a:xfrm>
          <a:prstGeom prst="line">
            <a:avLst/>
          </a:prstGeom>
          <a:ln>
            <a:no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8157440A-C0A8-FF42-A5A7-504D83D6FAE3}"/>
              </a:ext>
            </a:extLst>
          </p:cNvPr>
          <p:cNvCxnSpPr>
            <a:cxnSpLocks/>
          </p:cNvCxnSpPr>
          <p:nvPr/>
        </p:nvCxnSpPr>
        <p:spPr>
          <a:xfrm>
            <a:off x="1289852" y="3216613"/>
            <a:ext cx="1206702"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AABA2D8E-CDCA-6B4C-B450-1E9DB4B43429}"/>
              </a:ext>
            </a:extLst>
          </p:cNvPr>
          <p:cNvCxnSpPr>
            <a:cxnSpLocks/>
          </p:cNvCxnSpPr>
          <p:nvPr/>
        </p:nvCxnSpPr>
        <p:spPr>
          <a:xfrm>
            <a:off x="5407787" y="3219446"/>
            <a:ext cx="1206702"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B8981C0B-6C93-4340-A2D4-61B45B272A16}"/>
              </a:ext>
            </a:extLst>
          </p:cNvPr>
          <p:cNvSpPr/>
          <p:nvPr/>
        </p:nvSpPr>
        <p:spPr bwMode="auto">
          <a:xfrm>
            <a:off x="865" y="5377997"/>
            <a:ext cx="12190271" cy="1479517"/>
          </a:xfrm>
          <a:prstGeom prst="rect">
            <a:avLst/>
          </a:prstGeom>
          <a:solidFill>
            <a:srgbClr val="EDED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1" name="Group 60">
            <a:extLst>
              <a:ext uri="{FF2B5EF4-FFF2-40B4-BE49-F238E27FC236}">
                <a16:creationId xmlns:a16="http://schemas.microsoft.com/office/drawing/2014/main" id="{14C38580-5C5F-2745-A017-F038D4399D5B}"/>
              </a:ext>
            </a:extLst>
          </p:cNvPr>
          <p:cNvGrpSpPr/>
          <p:nvPr/>
        </p:nvGrpSpPr>
        <p:grpSpPr>
          <a:xfrm>
            <a:off x="4724272" y="5597887"/>
            <a:ext cx="9856360" cy="800171"/>
            <a:chOff x="12144240" y="172899"/>
            <a:chExt cx="3073449" cy="800284"/>
          </a:xfrm>
        </p:grpSpPr>
        <p:sp>
          <p:nvSpPr>
            <p:cNvPr id="69" name="TextBox 68">
              <a:extLst>
                <a:ext uri="{FF2B5EF4-FFF2-40B4-BE49-F238E27FC236}">
                  <a16:creationId xmlns:a16="http://schemas.microsoft.com/office/drawing/2014/main" id="{F08E1ACF-3E18-1C4E-9ADF-38A57EF5FA65}"/>
                </a:ext>
              </a:extLst>
            </p:cNvPr>
            <p:cNvSpPr txBox="1"/>
            <p:nvPr/>
          </p:nvSpPr>
          <p:spPr>
            <a:xfrm>
              <a:off x="12144240" y="511453"/>
              <a:ext cx="3073449" cy="461730"/>
            </a:xfrm>
            <a:prstGeom prst="rect">
              <a:avLst/>
            </a:prstGeom>
            <a:noFill/>
          </p:spPr>
          <p:txBody>
            <a:bodyPr wrap="square" lIns="91427" tIns="0" rIns="0" bIns="0"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a:ea typeface="+mn-ea"/>
                  <a:cs typeface="+mn-cs"/>
                </a:rPr>
                <a:t>Support</a:t>
              </a:r>
              <a:r>
                <a:rPr kumimoji="0" lang="en-US" sz="1400" b="0" i="0" u="none" strike="noStrike" kern="1200" cap="none" spc="0" normalizeH="0" baseline="0" noProof="0" dirty="0">
                  <a:ln>
                    <a:noFill/>
                  </a:ln>
                  <a:solidFill>
                    <a:srgbClr val="0078D4"/>
                  </a:solidFill>
                  <a:effectLst/>
                  <a:uLnTx/>
                  <a:uFillTx/>
                  <a:latin typeface="Segoe UI"/>
                  <a:ea typeface="+mn-ea"/>
                  <a:cs typeface="+mn-cs"/>
                </a:rPr>
                <a:t> for image classification and recognition scenarios</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78D4"/>
                  </a:solidFill>
                  <a:effectLst/>
                  <a:uLnTx/>
                  <a:uFillTx/>
                  <a:latin typeface="Segoe UI"/>
                  <a:ea typeface="+mn-ea"/>
                  <a:cs typeface="+mn-cs"/>
                </a:rPr>
                <a:t>ResNet</a:t>
              </a:r>
              <a:r>
                <a:rPr kumimoji="0" lang="en-US" sz="1400" b="0" i="0" u="none" strike="noStrike" kern="1200" cap="none" spc="0" normalizeH="0" baseline="0" noProof="0" dirty="0">
                  <a:ln>
                    <a:noFill/>
                  </a:ln>
                  <a:solidFill>
                    <a:srgbClr val="0078D4"/>
                  </a:solidFill>
                  <a:effectLst/>
                  <a:uLnTx/>
                  <a:uFillTx/>
                  <a:latin typeface="Segoe UI"/>
                  <a:ea typeface="+mn-ea"/>
                  <a:cs typeface="+mn-cs"/>
                </a:rPr>
                <a:t> 50, </a:t>
              </a:r>
              <a:r>
                <a:rPr kumimoji="0" lang="en-US" sz="1400" b="0" i="0" u="none" strike="noStrike" kern="1200" cap="none" spc="0" normalizeH="0" baseline="0" noProof="0" dirty="0" err="1">
                  <a:ln>
                    <a:noFill/>
                  </a:ln>
                  <a:solidFill>
                    <a:srgbClr val="0078D4"/>
                  </a:solidFill>
                  <a:effectLst/>
                  <a:uLnTx/>
                  <a:uFillTx/>
                  <a:latin typeface="Segoe UI"/>
                  <a:ea typeface="+mn-ea"/>
                  <a:cs typeface="+mn-cs"/>
                </a:rPr>
                <a:t>ResNet</a:t>
              </a:r>
              <a:r>
                <a:rPr kumimoji="0" lang="en-US" sz="1400" b="0" i="0" u="none" strike="noStrike" kern="1200" cap="none" spc="0" normalizeH="0" baseline="0" noProof="0" dirty="0">
                  <a:ln>
                    <a:noFill/>
                  </a:ln>
                  <a:solidFill>
                    <a:srgbClr val="0078D4"/>
                  </a:solidFill>
                  <a:effectLst/>
                  <a:uLnTx/>
                  <a:uFillTx/>
                  <a:latin typeface="Segoe UI"/>
                  <a:ea typeface="+mn-ea"/>
                  <a:cs typeface="+mn-cs"/>
                </a:rPr>
                <a:t> 152, VGG-16, SSD-VGG, DenseNet-121</a:t>
              </a:r>
            </a:p>
          </p:txBody>
        </p:sp>
        <p:sp>
          <p:nvSpPr>
            <p:cNvPr id="70" name="Rectangle 69">
              <a:extLst>
                <a:ext uri="{FF2B5EF4-FFF2-40B4-BE49-F238E27FC236}">
                  <a16:creationId xmlns:a16="http://schemas.microsoft.com/office/drawing/2014/main" id="{A5CA18DB-1898-984C-AB37-6B2694D9D686}"/>
                </a:ext>
              </a:extLst>
            </p:cNvPr>
            <p:cNvSpPr/>
            <p:nvPr/>
          </p:nvSpPr>
          <p:spPr>
            <a:xfrm>
              <a:off x="12145453" y="172899"/>
              <a:ext cx="2265901" cy="343492"/>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FPGA NEW UPDATES:</a:t>
              </a:r>
            </a:p>
          </p:txBody>
        </p:sp>
      </p:grpSp>
      <p:sp>
        <p:nvSpPr>
          <p:cNvPr id="89" name="Freeform 88">
            <a:extLst>
              <a:ext uri="{FF2B5EF4-FFF2-40B4-BE49-F238E27FC236}">
                <a16:creationId xmlns:a16="http://schemas.microsoft.com/office/drawing/2014/main" id="{EA2AF034-1B22-4341-BA8D-70F77D902F10}"/>
              </a:ext>
            </a:extLst>
          </p:cNvPr>
          <p:cNvSpPr/>
          <p:nvPr/>
        </p:nvSpPr>
        <p:spPr bwMode="auto">
          <a:xfrm rot="8100000">
            <a:off x="4345858" y="5662810"/>
            <a:ext cx="313486" cy="313486"/>
          </a:xfrm>
          <a:custGeom>
            <a:avLst/>
            <a:gdLst>
              <a:gd name="connsiteX0" fmla="*/ 189180 w 480187"/>
              <a:gd name="connsiteY0" fmla="*/ 480186 h 480186"/>
              <a:gd name="connsiteX1" fmla="*/ 0 w 480187"/>
              <a:gd name="connsiteY1" fmla="*/ 291006 h 480186"/>
              <a:gd name="connsiteX2" fmla="*/ 291006 w 480187"/>
              <a:gd name="connsiteY2" fmla="*/ 0 h 480186"/>
              <a:gd name="connsiteX3" fmla="*/ 291006 w 480187"/>
              <a:gd name="connsiteY3" fmla="*/ 189179 h 480186"/>
              <a:gd name="connsiteX4" fmla="*/ 480187 w 480187"/>
              <a:gd name="connsiteY4" fmla="*/ 189179 h 480186"/>
              <a:gd name="connsiteX5" fmla="*/ 189180 w 480187"/>
              <a:gd name="connsiteY5" fmla="*/ 480186 h 480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0187" h="480186">
                <a:moveTo>
                  <a:pt x="189180" y="480186"/>
                </a:moveTo>
                <a:lnTo>
                  <a:pt x="0" y="291006"/>
                </a:lnTo>
                <a:lnTo>
                  <a:pt x="291006" y="0"/>
                </a:lnTo>
                <a:lnTo>
                  <a:pt x="291006" y="189179"/>
                </a:lnTo>
                <a:lnTo>
                  <a:pt x="480187" y="189179"/>
                </a:lnTo>
                <a:lnTo>
                  <a:pt x="189180" y="480186"/>
                </a:ln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020046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9"/>
                                        </p:tgtEl>
                                        <p:attrNameLst>
                                          <p:attrName>style.visibility</p:attrName>
                                        </p:attrNameLst>
                                      </p:cBhvr>
                                      <p:to>
                                        <p:strVal val="visible"/>
                                      </p:to>
                                    </p:set>
                                    <p:anim calcmode="lin" valueType="num">
                                      <p:cBhvr additive="base">
                                        <p:cTn id="11" dur="500" fill="hold"/>
                                        <p:tgtEl>
                                          <p:spTgt spid="89"/>
                                        </p:tgtEl>
                                        <p:attrNameLst>
                                          <p:attrName>ppt_x</p:attrName>
                                        </p:attrNameLst>
                                      </p:cBhvr>
                                      <p:tavLst>
                                        <p:tav tm="0">
                                          <p:val>
                                            <p:strVal val="#ppt_x"/>
                                          </p:val>
                                        </p:tav>
                                        <p:tav tm="100000">
                                          <p:val>
                                            <p:strVal val="#ppt_x"/>
                                          </p:val>
                                        </p:tav>
                                      </p:tavLst>
                                    </p:anim>
                                    <p:anim calcmode="lin" valueType="num">
                                      <p:cBhvr additive="base">
                                        <p:cTn id="12" dur="500" fill="hold"/>
                                        <p:tgtEl>
                                          <p:spTgt spid="89"/>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61"/>
                                        </p:tgtEl>
                                        <p:attrNameLst>
                                          <p:attrName>style.visibility</p:attrName>
                                        </p:attrNameLst>
                                      </p:cBhvr>
                                      <p:to>
                                        <p:strVal val="visible"/>
                                      </p:to>
                                    </p:set>
                                    <p:anim calcmode="lin" valueType="num">
                                      <p:cBhvr additive="base">
                                        <p:cTn id="15" dur="500" fill="hold"/>
                                        <p:tgtEl>
                                          <p:spTgt spid="61"/>
                                        </p:tgtEl>
                                        <p:attrNameLst>
                                          <p:attrName>ppt_x</p:attrName>
                                        </p:attrNameLst>
                                      </p:cBhvr>
                                      <p:tavLst>
                                        <p:tav tm="0">
                                          <p:val>
                                            <p:strVal val="#ppt_x"/>
                                          </p:val>
                                        </p:tav>
                                        <p:tav tm="100000">
                                          <p:val>
                                            <p:strVal val="#ppt_x"/>
                                          </p:val>
                                        </p:tav>
                                      </p:tavLst>
                                    </p:anim>
                                    <p:anim calcmode="lin" valueType="num">
                                      <p:cBhvr additive="base">
                                        <p:cTn id="16" dur="500" fill="hold"/>
                                        <p:tgtEl>
                                          <p:spTgt spid="6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9"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D1960849-2735-5B4A-8BAE-000303B43F92}"/>
              </a:ext>
            </a:extLst>
          </p:cNvPr>
          <p:cNvSpPr txBox="1">
            <a:spLocks/>
          </p:cNvSpPr>
          <p:nvPr/>
        </p:nvSpPr>
        <p:spPr>
          <a:xfrm>
            <a:off x="1593671" y="3586942"/>
            <a:ext cx="9004658" cy="828148"/>
          </a:xfrm>
          <a:prstGeom prst="rect">
            <a:avLst/>
          </a:prstGeom>
          <a:noFill/>
        </p:spPr>
        <p:txBody>
          <a:bodyPr vert="horz" wrap="square" lIns="0" tIns="0" rIns="0" bIns="0" rtlCol="0" anchor="ctr" anchorCtr="0">
            <a:noAutofit/>
          </a:bodyPr>
          <a:lstStyle>
            <a:lvl1pPr algn="l" defTabSz="932742" rtl="0" eaLnBrk="1" latinLnBrk="0" hangingPunct="1">
              <a:lnSpc>
                <a:spcPct val="90000"/>
              </a:lnSpc>
              <a:spcBef>
                <a:spcPct val="0"/>
              </a:spcBef>
              <a:buNone/>
              <a:defRPr lang="en-US" sz="5400" b="0" kern="1200" cap="none" spc="-150" baseline="0" dirty="0">
                <a:ln w="3175">
                  <a:noFill/>
                </a:ln>
                <a:solidFill>
                  <a:schemeClr val="tx1"/>
                </a:soli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5294" b="0" i="0" u="none" strike="noStrike" kern="1200" cap="none" spc="-147" normalizeH="0" baseline="0" noProof="0" dirty="0">
                <a:ln w="3175">
                  <a:noFill/>
                </a:ln>
                <a:solidFill>
                  <a:prstClr val="white"/>
                </a:solidFill>
                <a:effectLst/>
                <a:uLnTx/>
                <a:uFillTx/>
                <a:latin typeface="Segoe UI Semibold"/>
                <a:ea typeface="+mn-ea"/>
                <a:cs typeface="Segoe UI" pitchFamily="34" charset="0"/>
              </a:rPr>
              <a:t>DevOps for machine learning</a:t>
            </a:r>
          </a:p>
        </p:txBody>
      </p:sp>
      <p:grpSp>
        <p:nvGrpSpPr>
          <p:cNvPr id="2" name="Group 1">
            <a:extLst>
              <a:ext uri="{FF2B5EF4-FFF2-40B4-BE49-F238E27FC236}">
                <a16:creationId xmlns:a16="http://schemas.microsoft.com/office/drawing/2014/main" id="{F374AFFD-7F69-7843-9402-375EED72A6E1}"/>
              </a:ext>
            </a:extLst>
          </p:cNvPr>
          <p:cNvGrpSpPr/>
          <p:nvPr/>
        </p:nvGrpSpPr>
        <p:grpSpPr>
          <a:xfrm>
            <a:off x="5343629" y="2385221"/>
            <a:ext cx="1504743" cy="1040937"/>
            <a:chOff x="1699369" y="4609126"/>
            <a:chExt cx="2303425" cy="1593442"/>
          </a:xfrm>
        </p:grpSpPr>
        <p:sp>
          <p:nvSpPr>
            <p:cNvPr id="9" name="gear_3">
              <a:extLst>
                <a:ext uri="{FF2B5EF4-FFF2-40B4-BE49-F238E27FC236}">
                  <a16:creationId xmlns:a16="http://schemas.microsoft.com/office/drawing/2014/main" id="{BF65CDE0-9839-3748-9227-4197879F8DC9}"/>
                </a:ext>
              </a:extLst>
            </p:cNvPr>
            <p:cNvSpPr>
              <a:spLocks noChangeAspect="1" noEditPoints="1"/>
            </p:cNvSpPr>
            <p:nvPr/>
          </p:nvSpPr>
          <p:spPr bwMode="auto">
            <a:xfrm>
              <a:off x="1699369" y="4858077"/>
              <a:ext cx="1333197" cy="134449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1"/>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 name="gear_3">
              <a:extLst>
                <a:ext uri="{FF2B5EF4-FFF2-40B4-BE49-F238E27FC236}">
                  <a16:creationId xmlns:a16="http://schemas.microsoft.com/office/drawing/2014/main" id="{7EA4BD69-2DE1-4C48-9865-17CACC42F302}"/>
                </a:ext>
              </a:extLst>
            </p:cNvPr>
            <p:cNvSpPr>
              <a:spLocks noChangeAspect="1" noEditPoints="1"/>
            </p:cNvSpPr>
            <p:nvPr/>
          </p:nvSpPr>
          <p:spPr bwMode="auto">
            <a:xfrm rot="20593752">
              <a:off x="3139776" y="4609126"/>
              <a:ext cx="863018" cy="870329"/>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1"/>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393679085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Box 47">
            <a:extLst>
              <a:ext uri="{FF2B5EF4-FFF2-40B4-BE49-F238E27FC236}">
                <a16:creationId xmlns:a16="http://schemas.microsoft.com/office/drawing/2014/main" id="{7C0D3E52-41F2-1046-8180-0F4FE4AA7A39}"/>
              </a:ext>
            </a:extLst>
          </p:cNvPr>
          <p:cNvSpPr txBox="1"/>
          <p:nvPr/>
        </p:nvSpPr>
        <p:spPr>
          <a:xfrm>
            <a:off x="635778" y="5303350"/>
            <a:ext cx="954542" cy="421910"/>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371" b="0" i="0" u="none" strike="noStrike" kern="1200" cap="none" spc="0" normalizeH="0" baseline="0" noProof="0" dirty="0">
                <a:ln>
                  <a:noFill/>
                </a:ln>
                <a:solidFill>
                  <a:prstClr val="black"/>
                </a:solidFill>
                <a:effectLst/>
                <a:uLnTx/>
                <a:uFillTx/>
                <a:latin typeface="Segoe UI"/>
                <a:ea typeface="+mn-ea"/>
                <a:cs typeface="+mn-cs"/>
              </a:rPr>
              <a:t>Prepare Data</a:t>
            </a:r>
          </a:p>
        </p:txBody>
      </p:sp>
      <p:sp>
        <p:nvSpPr>
          <p:cNvPr id="62" name="TextBox 61">
            <a:extLst>
              <a:ext uri="{FF2B5EF4-FFF2-40B4-BE49-F238E27FC236}">
                <a16:creationId xmlns:a16="http://schemas.microsoft.com/office/drawing/2014/main" id="{5354CAAA-A5C5-5943-A218-EFFB6841F5B5}"/>
              </a:ext>
            </a:extLst>
          </p:cNvPr>
          <p:cNvSpPr txBox="1"/>
          <p:nvPr/>
        </p:nvSpPr>
        <p:spPr>
          <a:xfrm>
            <a:off x="6390033" y="5303350"/>
            <a:ext cx="1641765" cy="421910"/>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371" b="0" i="0" u="none" strike="noStrike" kern="1200" cap="none" spc="0" normalizeH="0" baseline="0" noProof="0" dirty="0">
                <a:ln>
                  <a:noFill/>
                </a:ln>
                <a:solidFill>
                  <a:prstClr val="black"/>
                </a:solidFill>
                <a:effectLst/>
                <a:uLnTx/>
                <a:uFillTx/>
                <a:latin typeface="Segoe UI"/>
                <a:ea typeface="+mn-ea"/>
                <a:cs typeface="+mn-cs"/>
              </a:rPr>
              <a:t>Register and </a:t>
            </a:r>
            <a:br>
              <a:rPr kumimoji="0" lang="en-US" sz="1371" b="0" i="0" u="none" strike="noStrike" kern="1200" cap="none" spc="0" normalizeH="0" baseline="0" noProof="0" dirty="0">
                <a:ln>
                  <a:noFill/>
                </a:ln>
                <a:solidFill>
                  <a:prstClr val="black"/>
                </a:solidFill>
                <a:effectLst/>
                <a:uLnTx/>
                <a:uFillTx/>
                <a:latin typeface="Segoe UI"/>
                <a:ea typeface="+mn-ea"/>
                <a:cs typeface="+mn-cs"/>
              </a:rPr>
            </a:br>
            <a:r>
              <a:rPr kumimoji="0" lang="en-US" sz="1371" b="0" i="0" u="none" strike="noStrike" kern="1200" cap="none" spc="0" normalizeH="0" baseline="0" noProof="0" dirty="0">
                <a:ln>
                  <a:noFill/>
                </a:ln>
                <a:solidFill>
                  <a:prstClr val="black"/>
                </a:solidFill>
                <a:effectLst/>
                <a:uLnTx/>
                <a:uFillTx/>
                <a:latin typeface="Segoe UI"/>
                <a:ea typeface="+mn-ea"/>
                <a:cs typeface="+mn-cs"/>
              </a:rPr>
              <a:t>Manage Model</a:t>
            </a:r>
          </a:p>
        </p:txBody>
      </p:sp>
      <p:sp>
        <p:nvSpPr>
          <p:cNvPr id="122" name="TextBox 121">
            <a:extLst>
              <a:ext uri="{FF2B5EF4-FFF2-40B4-BE49-F238E27FC236}">
                <a16:creationId xmlns:a16="http://schemas.microsoft.com/office/drawing/2014/main" id="{3DFFBA51-DDB4-C446-8DDD-CA7D00BD282B}"/>
              </a:ext>
            </a:extLst>
          </p:cNvPr>
          <p:cNvSpPr txBox="1"/>
          <p:nvPr/>
        </p:nvSpPr>
        <p:spPr>
          <a:xfrm>
            <a:off x="4654178" y="5303350"/>
            <a:ext cx="1366269" cy="421910"/>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371" b="0" i="0" u="none" strike="noStrike" kern="1200" cap="none" spc="0" normalizeH="0" baseline="0" noProof="0" dirty="0">
                <a:ln>
                  <a:noFill/>
                </a:ln>
                <a:solidFill>
                  <a:prstClr val="black"/>
                </a:solidFill>
                <a:effectLst/>
                <a:uLnTx/>
                <a:uFillTx/>
                <a:latin typeface="Segoe UI"/>
                <a:ea typeface="+mn-ea"/>
                <a:cs typeface="+mn-cs"/>
              </a:rPr>
              <a:t>Train &amp; </a:t>
            </a:r>
            <a:br>
              <a:rPr kumimoji="0" lang="en-US" sz="1371" b="0" i="0" u="none" strike="noStrike" kern="1200" cap="none" spc="0" normalizeH="0" baseline="0" noProof="0" dirty="0">
                <a:ln>
                  <a:noFill/>
                </a:ln>
                <a:solidFill>
                  <a:prstClr val="black"/>
                </a:solidFill>
                <a:effectLst/>
                <a:uLnTx/>
                <a:uFillTx/>
                <a:latin typeface="Segoe UI"/>
                <a:ea typeface="+mn-ea"/>
                <a:cs typeface="+mn-cs"/>
              </a:rPr>
            </a:br>
            <a:r>
              <a:rPr kumimoji="0" lang="en-US" sz="1371" b="0" i="0" u="none" strike="noStrike" kern="1200" cap="none" spc="0" normalizeH="0" baseline="0" noProof="0" dirty="0">
                <a:ln>
                  <a:noFill/>
                </a:ln>
                <a:solidFill>
                  <a:prstClr val="black"/>
                </a:solidFill>
                <a:effectLst/>
                <a:uLnTx/>
                <a:uFillTx/>
                <a:latin typeface="Segoe UI"/>
                <a:ea typeface="+mn-ea"/>
                <a:cs typeface="+mn-cs"/>
              </a:rPr>
              <a:t>Test Model</a:t>
            </a:r>
          </a:p>
        </p:txBody>
      </p:sp>
      <p:sp>
        <p:nvSpPr>
          <p:cNvPr id="123" name="TextBox 122">
            <a:extLst>
              <a:ext uri="{FF2B5EF4-FFF2-40B4-BE49-F238E27FC236}">
                <a16:creationId xmlns:a16="http://schemas.microsoft.com/office/drawing/2014/main" id="{8542FC4E-F233-F749-81B5-9928E2FC680B}"/>
              </a:ext>
            </a:extLst>
          </p:cNvPr>
          <p:cNvSpPr txBox="1"/>
          <p:nvPr/>
        </p:nvSpPr>
        <p:spPr>
          <a:xfrm>
            <a:off x="8653406" y="5303350"/>
            <a:ext cx="857492" cy="421910"/>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371" b="0" i="0" u="none" strike="noStrike" kern="1200" cap="none" spc="0" normalizeH="0" baseline="0" noProof="0" dirty="0">
                <a:ln>
                  <a:noFill/>
                </a:ln>
                <a:solidFill>
                  <a:prstClr val="black"/>
                </a:solidFill>
                <a:effectLst/>
                <a:uLnTx/>
                <a:uFillTx/>
                <a:latin typeface="Segoe UI"/>
                <a:ea typeface="+mn-ea"/>
                <a:cs typeface="+mn-cs"/>
              </a:rPr>
              <a:t>Build Image</a:t>
            </a:r>
          </a:p>
        </p:txBody>
      </p:sp>
      <p:pic>
        <p:nvPicPr>
          <p:cNvPr id="79" name="Picture 78">
            <a:extLst>
              <a:ext uri="{FF2B5EF4-FFF2-40B4-BE49-F238E27FC236}">
                <a16:creationId xmlns:a16="http://schemas.microsoft.com/office/drawing/2014/main" id="{798BF1E4-1A37-C54E-8535-AC06D3124CB2}"/>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2966001" y="2907732"/>
            <a:ext cx="570513" cy="659042"/>
          </a:xfrm>
          <a:prstGeom prst="rect">
            <a:avLst/>
          </a:prstGeom>
        </p:spPr>
      </p:pic>
      <p:pic>
        <p:nvPicPr>
          <p:cNvPr id="82" name="Picture 10" descr="https://ih1.redbubble.net/image.361353434.1330/flat,800x800,075,f.jpg">
            <a:extLst>
              <a:ext uri="{FF2B5EF4-FFF2-40B4-BE49-F238E27FC236}">
                <a16:creationId xmlns:a16="http://schemas.microsoft.com/office/drawing/2014/main" id="{A73AD314-0081-A64B-9795-E5B91910C9ED}"/>
              </a:ext>
            </a:extLst>
          </p:cNvPr>
          <p:cNvPicPr>
            <a:picLocks noChangeAspect="1" noChangeArrowheads="1"/>
          </p:cNvPicPr>
          <p:nvPr/>
        </p:nvPicPr>
        <p:blipFill>
          <a:blip r:embed="rId4" cstate="email">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675626" y="4011924"/>
            <a:ext cx="1158470" cy="401121"/>
          </a:xfrm>
          <a:prstGeom prst="rect">
            <a:avLst/>
          </a:prstGeom>
          <a:noFill/>
          <a:extLst>
            <a:ext uri="{909E8E84-426E-40DD-AFC4-6F175D3DCCD1}">
              <a14:hiddenFill xmlns:a14="http://schemas.microsoft.com/office/drawing/2010/main">
                <a:solidFill>
                  <a:srgbClr val="FFFFFF"/>
                </a:solidFill>
              </a14:hiddenFill>
            </a:ext>
          </a:extLst>
        </p:spPr>
      </p:pic>
      <p:sp>
        <p:nvSpPr>
          <p:cNvPr id="85" name="TextBox 84">
            <a:extLst>
              <a:ext uri="{FF2B5EF4-FFF2-40B4-BE49-F238E27FC236}">
                <a16:creationId xmlns:a16="http://schemas.microsoft.com/office/drawing/2014/main" id="{9AD86C31-093C-5B43-9E5F-078F98C18134}"/>
              </a:ext>
            </a:extLst>
          </p:cNvPr>
          <p:cNvSpPr txBox="1"/>
          <p:nvPr/>
        </p:nvSpPr>
        <p:spPr>
          <a:xfrm>
            <a:off x="2762178" y="3455032"/>
            <a:ext cx="966608" cy="538680"/>
          </a:xfrm>
          <a:prstGeom prst="rect">
            <a:avLst/>
          </a:prstGeom>
          <a:noFill/>
        </p:spPr>
        <p:txBody>
          <a:bodyPr wrap="square" lIns="179158" tIns="143327" rIns="179158" bIns="143327" rtlCol="0" anchor="t">
            <a:spAutoFit/>
          </a:bodyPr>
          <a:lstStyle/>
          <a:p>
            <a:pPr marL="0" marR="0" lvl="0" indent="0" algn="ctr" defTabSz="895526"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a:t>
            </a:r>
          </a:p>
        </p:txBody>
      </p:sp>
      <p:sp>
        <p:nvSpPr>
          <p:cNvPr id="86" name="TextBox 85">
            <a:extLst>
              <a:ext uri="{FF2B5EF4-FFF2-40B4-BE49-F238E27FC236}">
                <a16:creationId xmlns:a16="http://schemas.microsoft.com/office/drawing/2014/main" id="{4C865F4A-240A-CB44-9831-2BE07351C4B7}"/>
              </a:ext>
            </a:extLst>
          </p:cNvPr>
          <p:cNvSpPr txBox="1"/>
          <p:nvPr/>
        </p:nvSpPr>
        <p:spPr>
          <a:xfrm>
            <a:off x="2473696" y="5303350"/>
            <a:ext cx="1543567" cy="421910"/>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371" b="0" i="0" u="none" strike="noStrike" kern="1200" cap="none" spc="0" normalizeH="0" baseline="0" noProof="0" dirty="0">
                <a:ln>
                  <a:noFill/>
                </a:ln>
                <a:solidFill>
                  <a:prstClr val="black"/>
                </a:solidFill>
                <a:effectLst/>
                <a:uLnTx/>
                <a:uFillTx/>
                <a:latin typeface="Segoe UI"/>
                <a:ea typeface="+mn-ea"/>
                <a:cs typeface="+mn-cs"/>
              </a:rPr>
              <a:t>Build model </a:t>
            </a:r>
            <a:br>
              <a:rPr kumimoji="0" lang="en-US" sz="1371" b="0" i="0" u="none" strike="noStrike" kern="1200" cap="none" spc="0" normalizeH="0" baseline="0" noProof="0" dirty="0">
                <a:ln>
                  <a:noFill/>
                </a:ln>
                <a:solidFill>
                  <a:prstClr val="black"/>
                </a:solidFill>
                <a:effectLst/>
                <a:uLnTx/>
                <a:uFillTx/>
                <a:latin typeface="Segoe UI"/>
                <a:ea typeface="+mn-ea"/>
                <a:cs typeface="+mn-cs"/>
              </a:rPr>
            </a:br>
            <a:r>
              <a:rPr kumimoji="0" lang="en-US" sz="1371" b="0" i="0" u="none" strike="noStrike" kern="1200" cap="none" spc="0" normalizeH="0" baseline="0" noProof="0" dirty="0">
                <a:ln>
                  <a:noFill/>
                </a:ln>
                <a:solidFill>
                  <a:prstClr val="black"/>
                </a:solidFill>
                <a:effectLst/>
                <a:uLnTx/>
                <a:uFillTx/>
                <a:latin typeface="Segoe UI"/>
                <a:ea typeface="+mn-ea"/>
                <a:cs typeface="+mn-cs"/>
              </a:rPr>
              <a:t>(your favorite IDE)</a:t>
            </a:r>
          </a:p>
        </p:txBody>
      </p:sp>
      <p:sp>
        <p:nvSpPr>
          <p:cNvPr id="89" name="TextBox 88">
            <a:extLst>
              <a:ext uri="{FF2B5EF4-FFF2-40B4-BE49-F238E27FC236}">
                <a16:creationId xmlns:a16="http://schemas.microsoft.com/office/drawing/2014/main" id="{2D472361-175F-1B47-8239-C02AA7E2D509}"/>
              </a:ext>
            </a:extLst>
          </p:cNvPr>
          <p:cNvSpPr txBox="1"/>
          <p:nvPr/>
        </p:nvSpPr>
        <p:spPr>
          <a:xfrm>
            <a:off x="10373984" y="5303350"/>
            <a:ext cx="1387676" cy="421910"/>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371" b="0" i="0" u="none" strike="noStrike" kern="1200" cap="none" spc="0" normalizeH="0" baseline="0" noProof="0" dirty="0">
                <a:ln>
                  <a:noFill/>
                </a:ln>
                <a:solidFill>
                  <a:prstClr val="black"/>
                </a:solidFill>
                <a:effectLst/>
                <a:uLnTx/>
                <a:uFillTx/>
                <a:latin typeface="Segoe UI"/>
                <a:ea typeface="+mn-ea"/>
                <a:cs typeface="+mn-cs"/>
              </a:rPr>
              <a:t>Deploy Service</a:t>
            </a:r>
          </a:p>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371" b="0" i="0" u="none" strike="noStrike" kern="1200" cap="none" spc="0" normalizeH="0" baseline="0" noProof="0" dirty="0">
                <a:ln>
                  <a:noFill/>
                </a:ln>
                <a:solidFill>
                  <a:prstClr val="black"/>
                </a:solidFill>
                <a:effectLst/>
                <a:uLnTx/>
                <a:uFillTx/>
                <a:latin typeface="Segoe UI"/>
                <a:ea typeface="+mn-ea"/>
                <a:cs typeface="+mn-cs"/>
              </a:rPr>
              <a:t>Monitor Model</a:t>
            </a:r>
          </a:p>
        </p:txBody>
      </p:sp>
      <p:sp>
        <p:nvSpPr>
          <p:cNvPr id="90" name="Rectangle 41">
            <a:extLst>
              <a:ext uri="{FF2B5EF4-FFF2-40B4-BE49-F238E27FC236}">
                <a16:creationId xmlns:a16="http://schemas.microsoft.com/office/drawing/2014/main" id="{5053CCA1-0AFE-0246-8FA9-0E40E00A87A9}"/>
              </a:ext>
            </a:extLst>
          </p:cNvPr>
          <p:cNvSpPr>
            <a:spLocks noChangeArrowheads="1"/>
          </p:cNvSpPr>
          <p:nvPr/>
        </p:nvSpPr>
        <p:spPr bwMode="auto">
          <a:xfrm>
            <a:off x="680972" y="1906666"/>
            <a:ext cx="95009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ctr" defTabSz="621707" rtl="0" eaLnBrk="0" fontAlgn="base" latinLnBrk="0" hangingPunct="0">
              <a:lnSpc>
                <a:spcPct val="100000"/>
              </a:lnSpc>
              <a:spcBef>
                <a:spcPct val="0"/>
              </a:spcBef>
              <a:spcAft>
                <a:spcPct val="0"/>
              </a:spcAft>
              <a:buClrTx/>
              <a:buSzTx/>
              <a:buFontTx/>
              <a:buNone/>
              <a:tabLst/>
              <a:defRPr/>
            </a:pPr>
            <a:r>
              <a:rPr kumimoji="0" lang="en-US" altLang="en-US" sz="2000" b="1" i="0" u="none" strike="noStrike" kern="0" cap="none" spc="0" normalizeH="0" baseline="0" noProof="0" dirty="0">
                <a:ln>
                  <a:noFill/>
                </a:ln>
                <a:solidFill>
                  <a:srgbClr val="0078D4"/>
                </a:solidFill>
                <a:effectLst/>
                <a:uLnTx/>
                <a:uFillTx/>
                <a:latin typeface="Segoe UI Semibold" panose="020B0702040204020203" pitchFamily="34" charset="0"/>
                <a:ea typeface="+mn-ea"/>
                <a:cs typeface="+mn-cs"/>
              </a:rPr>
              <a:t>Prepare</a:t>
            </a:r>
          </a:p>
        </p:txBody>
      </p:sp>
      <p:cxnSp>
        <p:nvCxnSpPr>
          <p:cNvPr id="91" name="Straight Connector 90">
            <a:extLst>
              <a:ext uri="{FF2B5EF4-FFF2-40B4-BE49-F238E27FC236}">
                <a16:creationId xmlns:a16="http://schemas.microsoft.com/office/drawing/2014/main" id="{0CB05A1D-CFE8-CF46-A024-8070001B6371}"/>
              </a:ext>
            </a:extLst>
          </p:cNvPr>
          <p:cNvCxnSpPr>
            <a:cxnSpLocks/>
          </p:cNvCxnSpPr>
          <p:nvPr/>
        </p:nvCxnSpPr>
        <p:spPr>
          <a:xfrm flipV="1">
            <a:off x="2070888" y="1949687"/>
            <a:ext cx="2223" cy="1477387"/>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355F4D9B-55CB-1947-B988-2A83C667EEB0}"/>
              </a:ext>
            </a:extLst>
          </p:cNvPr>
          <p:cNvCxnSpPr>
            <a:cxnSpLocks/>
          </p:cNvCxnSpPr>
          <p:nvPr/>
        </p:nvCxnSpPr>
        <p:spPr>
          <a:xfrm flipV="1">
            <a:off x="7189027" y="4247740"/>
            <a:ext cx="0" cy="947687"/>
          </a:xfrm>
          <a:prstGeom prst="line">
            <a:avLst/>
          </a:prstGeom>
          <a:ln w="12700">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95" name="Rectangle 41">
            <a:extLst>
              <a:ext uri="{FF2B5EF4-FFF2-40B4-BE49-F238E27FC236}">
                <a16:creationId xmlns:a16="http://schemas.microsoft.com/office/drawing/2014/main" id="{B44DF2BC-FFCE-BC42-B260-BB3FFB5592E4}"/>
              </a:ext>
            </a:extLst>
          </p:cNvPr>
          <p:cNvSpPr>
            <a:spLocks noChangeArrowheads="1"/>
          </p:cNvSpPr>
          <p:nvPr/>
        </p:nvSpPr>
        <p:spPr bwMode="auto">
          <a:xfrm>
            <a:off x="2027162" y="1914651"/>
            <a:ext cx="518375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ctr" defTabSz="621707" rtl="0" eaLnBrk="0" fontAlgn="base" latinLnBrk="0" hangingPunct="0">
              <a:lnSpc>
                <a:spcPct val="100000"/>
              </a:lnSpc>
              <a:spcBef>
                <a:spcPct val="0"/>
              </a:spcBef>
              <a:spcAft>
                <a:spcPct val="0"/>
              </a:spcAft>
              <a:buClrTx/>
              <a:buSzTx/>
              <a:buFontTx/>
              <a:buNone/>
              <a:tabLst/>
              <a:defRPr/>
            </a:pPr>
            <a:r>
              <a:rPr kumimoji="0" lang="en-US" altLang="en-US" sz="2000" b="1" i="0" u="none" strike="noStrike" kern="0" cap="none" spc="0" normalizeH="0" baseline="0" noProof="0" dirty="0">
                <a:ln>
                  <a:noFill/>
                </a:ln>
                <a:solidFill>
                  <a:srgbClr val="0078D4"/>
                </a:solidFill>
                <a:effectLst/>
                <a:uLnTx/>
                <a:uFillTx/>
                <a:latin typeface="Segoe UI Semibold" panose="020B0702040204020203" pitchFamily="34" charset="0"/>
                <a:ea typeface="+mn-ea"/>
                <a:cs typeface="+mn-cs"/>
              </a:rPr>
              <a:t>Experiment</a:t>
            </a:r>
          </a:p>
        </p:txBody>
      </p:sp>
      <p:sp>
        <p:nvSpPr>
          <p:cNvPr id="96" name="Rectangle 41">
            <a:extLst>
              <a:ext uri="{FF2B5EF4-FFF2-40B4-BE49-F238E27FC236}">
                <a16:creationId xmlns:a16="http://schemas.microsoft.com/office/drawing/2014/main" id="{C86DDABC-B80E-BF40-8A02-4A7F4D53B606}"/>
              </a:ext>
            </a:extLst>
          </p:cNvPr>
          <p:cNvSpPr>
            <a:spLocks noChangeArrowheads="1"/>
          </p:cNvSpPr>
          <p:nvPr/>
        </p:nvSpPr>
        <p:spPr bwMode="auto">
          <a:xfrm>
            <a:off x="7210916" y="1907362"/>
            <a:ext cx="451664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ctr" defTabSz="621707" rtl="0" eaLnBrk="0" fontAlgn="base" latinLnBrk="0" hangingPunct="0">
              <a:lnSpc>
                <a:spcPct val="100000"/>
              </a:lnSpc>
              <a:spcBef>
                <a:spcPct val="0"/>
              </a:spcBef>
              <a:spcAft>
                <a:spcPct val="0"/>
              </a:spcAft>
              <a:buClrTx/>
              <a:buSzTx/>
              <a:buFontTx/>
              <a:buNone/>
              <a:tabLst/>
              <a:defRPr/>
            </a:pPr>
            <a:r>
              <a:rPr kumimoji="0" lang="en-US" altLang="en-US" sz="2000" b="1" i="0" u="none" strike="noStrike" kern="0" cap="none" spc="0" normalizeH="0" baseline="0" noProof="0" dirty="0">
                <a:ln>
                  <a:noFill/>
                </a:ln>
                <a:solidFill>
                  <a:srgbClr val="0078D4"/>
                </a:solidFill>
                <a:effectLst/>
                <a:uLnTx/>
                <a:uFillTx/>
                <a:latin typeface="Segoe UI Semibold" panose="020B0702040204020203" pitchFamily="34" charset="0"/>
                <a:ea typeface="+mn-ea"/>
                <a:cs typeface="+mn-cs"/>
              </a:rPr>
              <a:t>Deploy</a:t>
            </a:r>
          </a:p>
        </p:txBody>
      </p:sp>
      <p:cxnSp>
        <p:nvCxnSpPr>
          <p:cNvPr id="107" name="Straight Connector 106">
            <a:extLst>
              <a:ext uri="{FF2B5EF4-FFF2-40B4-BE49-F238E27FC236}">
                <a16:creationId xmlns:a16="http://schemas.microsoft.com/office/drawing/2014/main" id="{D7CB6549-C183-D64D-8C74-E6F95C7E1134}"/>
              </a:ext>
            </a:extLst>
          </p:cNvPr>
          <p:cNvCxnSpPr>
            <a:cxnSpLocks/>
          </p:cNvCxnSpPr>
          <p:nvPr/>
        </p:nvCxnSpPr>
        <p:spPr>
          <a:xfrm flipV="1">
            <a:off x="2071999" y="4116987"/>
            <a:ext cx="0" cy="1730293"/>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Arrow Connector 2">
            <a:extLst>
              <a:ext uri="{FF2B5EF4-FFF2-40B4-BE49-F238E27FC236}">
                <a16:creationId xmlns:a16="http://schemas.microsoft.com/office/drawing/2014/main" id="{0FC0168D-6B02-9E41-8253-9997F1A48B6F}"/>
              </a:ext>
            </a:extLst>
          </p:cNvPr>
          <p:cNvCxnSpPr>
            <a:cxnSpLocks/>
          </p:cNvCxnSpPr>
          <p:nvPr/>
        </p:nvCxnSpPr>
        <p:spPr>
          <a:xfrm>
            <a:off x="5337311" y="3545747"/>
            <a:ext cx="0" cy="488533"/>
          </a:xfrm>
          <a:prstGeom prst="straightConnector1">
            <a:avLst/>
          </a:prstGeom>
          <a:ln w="12700">
            <a:solidFill>
              <a:schemeClr val="tx2"/>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D094F7A0-4E67-3C48-A4D8-13DD63409887}"/>
              </a:ext>
            </a:extLst>
          </p:cNvPr>
          <p:cNvSpPr>
            <a:spLocks noGrp="1"/>
          </p:cNvSpPr>
          <p:nvPr>
            <p:ph type="title"/>
          </p:nvPr>
        </p:nvSpPr>
        <p:spPr/>
        <p:txBody>
          <a:bodyPr/>
          <a:lstStyle/>
          <a:p>
            <a:r>
              <a:rPr lang="en-US" dirty="0"/>
              <a:t>DevOps loop for data science </a:t>
            </a:r>
          </a:p>
        </p:txBody>
      </p:sp>
      <p:grpSp>
        <p:nvGrpSpPr>
          <p:cNvPr id="71" name="Group 70">
            <a:extLst>
              <a:ext uri="{FF2B5EF4-FFF2-40B4-BE49-F238E27FC236}">
                <a16:creationId xmlns:a16="http://schemas.microsoft.com/office/drawing/2014/main" id="{E0491AF6-9B30-5F45-8EA4-D20DA8FF11E2}"/>
              </a:ext>
            </a:extLst>
          </p:cNvPr>
          <p:cNvGrpSpPr/>
          <p:nvPr/>
        </p:nvGrpSpPr>
        <p:grpSpPr>
          <a:xfrm>
            <a:off x="5073679" y="4209683"/>
            <a:ext cx="516121" cy="513990"/>
            <a:chOff x="7643146" y="2995601"/>
            <a:chExt cx="270958" cy="269839"/>
          </a:xfrm>
        </p:grpSpPr>
        <p:sp>
          <p:nvSpPr>
            <p:cNvPr id="72" name="Freeform 78">
              <a:extLst>
                <a:ext uri="{FF2B5EF4-FFF2-40B4-BE49-F238E27FC236}">
                  <a16:creationId xmlns:a16="http://schemas.microsoft.com/office/drawing/2014/main" id="{4C6F9623-FD65-A640-A22E-98B1E2B6687C}"/>
                </a:ext>
              </a:extLst>
            </p:cNvPr>
            <p:cNvSpPr>
              <a:spLocks/>
            </p:cNvSpPr>
            <p:nvPr/>
          </p:nvSpPr>
          <p:spPr bwMode="auto">
            <a:xfrm>
              <a:off x="7676736" y="3031430"/>
              <a:ext cx="201539" cy="200420"/>
            </a:xfrm>
            <a:custGeom>
              <a:avLst/>
              <a:gdLst>
                <a:gd name="T0" fmla="*/ 75 w 83"/>
                <a:gd name="T1" fmla="*/ 83 h 83"/>
                <a:gd name="T2" fmla="*/ 8 w 83"/>
                <a:gd name="T3" fmla="*/ 83 h 83"/>
                <a:gd name="T4" fmla="*/ 0 w 83"/>
                <a:gd name="T5" fmla="*/ 75 h 83"/>
                <a:gd name="T6" fmla="*/ 0 w 83"/>
                <a:gd name="T7" fmla="*/ 8 h 83"/>
                <a:gd name="T8" fmla="*/ 8 w 83"/>
                <a:gd name="T9" fmla="*/ 0 h 83"/>
                <a:gd name="T10" fmla="*/ 75 w 83"/>
                <a:gd name="T11" fmla="*/ 0 h 83"/>
                <a:gd name="T12" fmla="*/ 83 w 83"/>
                <a:gd name="T13" fmla="*/ 8 h 83"/>
                <a:gd name="T14" fmla="*/ 83 w 83"/>
                <a:gd name="T15" fmla="*/ 75 h 83"/>
                <a:gd name="T16" fmla="*/ 75 w 83"/>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3">
                  <a:moveTo>
                    <a:pt x="75" y="83"/>
                  </a:moveTo>
                  <a:cubicBezTo>
                    <a:pt x="8" y="83"/>
                    <a:pt x="8" y="83"/>
                    <a:pt x="8" y="83"/>
                  </a:cubicBezTo>
                  <a:cubicBezTo>
                    <a:pt x="4" y="83"/>
                    <a:pt x="0" y="79"/>
                    <a:pt x="0" y="75"/>
                  </a:cubicBezTo>
                  <a:cubicBezTo>
                    <a:pt x="0" y="8"/>
                    <a:pt x="0" y="8"/>
                    <a:pt x="0" y="8"/>
                  </a:cubicBezTo>
                  <a:cubicBezTo>
                    <a:pt x="0" y="3"/>
                    <a:pt x="4" y="0"/>
                    <a:pt x="8" y="0"/>
                  </a:cubicBezTo>
                  <a:cubicBezTo>
                    <a:pt x="75" y="0"/>
                    <a:pt x="75" y="0"/>
                    <a:pt x="75" y="0"/>
                  </a:cubicBezTo>
                  <a:cubicBezTo>
                    <a:pt x="80" y="0"/>
                    <a:pt x="83" y="3"/>
                    <a:pt x="83" y="8"/>
                  </a:cubicBezTo>
                  <a:cubicBezTo>
                    <a:pt x="83" y="75"/>
                    <a:pt x="83" y="75"/>
                    <a:pt x="83" y="75"/>
                  </a:cubicBezTo>
                  <a:cubicBezTo>
                    <a:pt x="83" y="79"/>
                    <a:pt x="80" y="83"/>
                    <a:pt x="75" y="83"/>
                  </a:cubicBezTo>
                  <a:close/>
                </a:path>
              </a:pathLst>
            </a:cu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73" name="Line 79">
              <a:extLst>
                <a:ext uri="{FF2B5EF4-FFF2-40B4-BE49-F238E27FC236}">
                  <a16:creationId xmlns:a16="http://schemas.microsoft.com/office/drawing/2014/main" id="{4C391E8A-F259-304C-9480-E7A97BF3DF41}"/>
                </a:ext>
              </a:extLst>
            </p:cNvPr>
            <p:cNvSpPr>
              <a:spLocks noChangeShapeType="1"/>
            </p:cNvSpPr>
            <p:nvPr/>
          </p:nvSpPr>
          <p:spPr bwMode="auto">
            <a:xfrm>
              <a:off x="7709206" y="2995601"/>
              <a:ext cx="0" cy="31351"/>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74" name="Line 80">
              <a:extLst>
                <a:ext uri="{FF2B5EF4-FFF2-40B4-BE49-F238E27FC236}">
                  <a16:creationId xmlns:a16="http://schemas.microsoft.com/office/drawing/2014/main" id="{D59AE738-D241-2C42-BA66-70196B7FEDF6}"/>
                </a:ext>
              </a:extLst>
            </p:cNvPr>
            <p:cNvSpPr>
              <a:spLocks noChangeShapeType="1"/>
            </p:cNvSpPr>
            <p:nvPr/>
          </p:nvSpPr>
          <p:spPr bwMode="auto">
            <a:xfrm>
              <a:off x="7742796" y="2995601"/>
              <a:ext cx="0" cy="31351"/>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75" name="Line 81">
              <a:extLst>
                <a:ext uri="{FF2B5EF4-FFF2-40B4-BE49-F238E27FC236}">
                  <a16:creationId xmlns:a16="http://schemas.microsoft.com/office/drawing/2014/main" id="{DEB3FE32-4A49-B445-B10D-93F4DEE8A81B}"/>
                </a:ext>
              </a:extLst>
            </p:cNvPr>
            <p:cNvSpPr>
              <a:spLocks noChangeShapeType="1"/>
            </p:cNvSpPr>
            <p:nvPr/>
          </p:nvSpPr>
          <p:spPr bwMode="auto">
            <a:xfrm>
              <a:off x="7778625" y="2995601"/>
              <a:ext cx="0" cy="31351"/>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76" name="Line 82">
              <a:extLst>
                <a:ext uri="{FF2B5EF4-FFF2-40B4-BE49-F238E27FC236}">
                  <a16:creationId xmlns:a16="http://schemas.microsoft.com/office/drawing/2014/main" id="{0F3ADCCB-9924-5249-8457-5DF762E39C27}"/>
                </a:ext>
              </a:extLst>
            </p:cNvPr>
            <p:cNvSpPr>
              <a:spLocks noChangeShapeType="1"/>
            </p:cNvSpPr>
            <p:nvPr/>
          </p:nvSpPr>
          <p:spPr bwMode="auto">
            <a:xfrm>
              <a:off x="7812215" y="2995601"/>
              <a:ext cx="0" cy="31351"/>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77" name="Line 83">
              <a:extLst>
                <a:ext uri="{FF2B5EF4-FFF2-40B4-BE49-F238E27FC236}">
                  <a16:creationId xmlns:a16="http://schemas.microsoft.com/office/drawing/2014/main" id="{CA2D10B3-7399-C94F-912D-7A734D6C7B07}"/>
                </a:ext>
              </a:extLst>
            </p:cNvPr>
            <p:cNvSpPr>
              <a:spLocks noChangeShapeType="1"/>
            </p:cNvSpPr>
            <p:nvPr/>
          </p:nvSpPr>
          <p:spPr bwMode="auto">
            <a:xfrm>
              <a:off x="7846924" y="2995601"/>
              <a:ext cx="0" cy="31351"/>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78" name="Line 84">
              <a:extLst>
                <a:ext uri="{FF2B5EF4-FFF2-40B4-BE49-F238E27FC236}">
                  <a16:creationId xmlns:a16="http://schemas.microsoft.com/office/drawing/2014/main" id="{26D3651B-F32E-1048-BF91-EF7A817E4497}"/>
                </a:ext>
              </a:extLst>
            </p:cNvPr>
            <p:cNvSpPr>
              <a:spLocks noChangeShapeType="1"/>
            </p:cNvSpPr>
            <p:nvPr/>
          </p:nvSpPr>
          <p:spPr bwMode="auto">
            <a:xfrm flipH="1">
              <a:off x="7882753" y="3060542"/>
              <a:ext cx="31351" cy="0"/>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80" name="Line 85">
              <a:extLst>
                <a:ext uri="{FF2B5EF4-FFF2-40B4-BE49-F238E27FC236}">
                  <a16:creationId xmlns:a16="http://schemas.microsoft.com/office/drawing/2014/main" id="{85EB7360-EAC0-8042-97D7-5B87DB68F959}"/>
                </a:ext>
              </a:extLst>
            </p:cNvPr>
            <p:cNvSpPr>
              <a:spLocks noChangeShapeType="1"/>
            </p:cNvSpPr>
            <p:nvPr/>
          </p:nvSpPr>
          <p:spPr bwMode="auto">
            <a:xfrm flipH="1">
              <a:off x="7882753" y="3096371"/>
              <a:ext cx="31351" cy="0"/>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81" name="Line 86">
              <a:extLst>
                <a:ext uri="{FF2B5EF4-FFF2-40B4-BE49-F238E27FC236}">
                  <a16:creationId xmlns:a16="http://schemas.microsoft.com/office/drawing/2014/main" id="{3BF7FF4C-5D0D-C94B-81FB-BE1C9A5130CE}"/>
                </a:ext>
              </a:extLst>
            </p:cNvPr>
            <p:cNvSpPr>
              <a:spLocks noChangeShapeType="1"/>
            </p:cNvSpPr>
            <p:nvPr/>
          </p:nvSpPr>
          <p:spPr bwMode="auto">
            <a:xfrm flipH="1">
              <a:off x="7882753" y="3129961"/>
              <a:ext cx="31351" cy="0"/>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83" name="Line 87">
              <a:extLst>
                <a:ext uri="{FF2B5EF4-FFF2-40B4-BE49-F238E27FC236}">
                  <a16:creationId xmlns:a16="http://schemas.microsoft.com/office/drawing/2014/main" id="{1A27CD68-47AE-9C4C-9B84-5F57EA3D97D3}"/>
                </a:ext>
              </a:extLst>
            </p:cNvPr>
            <p:cNvSpPr>
              <a:spLocks noChangeShapeType="1"/>
            </p:cNvSpPr>
            <p:nvPr/>
          </p:nvSpPr>
          <p:spPr bwMode="auto">
            <a:xfrm flipH="1">
              <a:off x="7882753" y="3164670"/>
              <a:ext cx="31351" cy="0"/>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84" name="Line 88">
              <a:extLst>
                <a:ext uri="{FF2B5EF4-FFF2-40B4-BE49-F238E27FC236}">
                  <a16:creationId xmlns:a16="http://schemas.microsoft.com/office/drawing/2014/main" id="{0AC950F5-7618-4B47-A240-5DD763FBE896}"/>
                </a:ext>
              </a:extLst>
            </p:cNvPr>
            <p:cNvSpPr>
              <a:spLocks noChangeShapeType="1"/>
            </p:cNvSpPr>
            <p:nvPr/>
          </p:nvSpPr>
          <p:spPr bwMode="auto">
            <a:xfrm flipH="1">
              <a:off x="7882753" y="3200500"/>
              <a:ext cx="31351" cy="0"/>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87" name="Line 89">
              <a:extLst>
                <a:ext uri="{FF2B5EF4-FFF2-40B4-BE49-F238E27FC236}">
                  <a16:creationId xmlns:a16="http://schemas.microsoft.com/office/drawing/2014/main" id="{AE13B044-149A-7842-BF90-03450C27B91E}"/>
                </a:ext>
              </a:extLst>
            </p:cNvPr>
            <p:cNvSpPr>
              <a:spLocks noChangeShapeType="1"/>
            </p:cNvSpPr>
            <p:nvPr/>
          </p:nvSpPr>
          <p:spPr bwMode="auto">
            <a:xfrm flipH="1">
              <a:off x="7643146" y="3060542"/>
              <a:ext cx="31351" cy="0"/>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88" name="Line 90">
              <a:extLst>
                <a:ext uri="{FF2B5EF4-FFF2-40B4-BE49-F238E27FC236}">
                  <a16:creationId xmlns:a16="http://schemas.microsoft.com/office/drawing/2014/main" id="{1283A89B-6582-B743-8162-71EA7292C2E4}"/>
                </a:ext>
              </a:extLst>
            </p:cNvPr>
            <p:cNvSpPr>
              <a:spLocks noChangeShapeType="1"/>
            </p:cNvSpPr>
            <p:nvPr/>
          </p:nvSpPr>
          <p:spPr bwMode="auto">
            <a:xfrm flipH="1">
              <a:off x="7643146" y="3096371"/>
              <a:ext cx="31351" cy="0"/>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94" name="Line 91">
              <a:extLst>
                <a:ext uri="{FF2B5EF4-FFF2-40B4-BE49-F238E27FC236}">
                  <a16:creationId xmlns:a16="http://schemas.microsoft.com/office/drawing/2014/main" id="{657C910C-4D02-414F-B3EF-2F0003FE5652}"/>
                </a:ext>
              </a:extLst>
            </p:cNvPr>
            <p:cNvSpPr>
              <a:spLocks noChangeShapeType="1"/>
            </p:cNvSpPr>
            <p:nvPr/>
          </p:nvSpPr>
          <p:spPr bwMode="auto">
            <a:xfrm flipH="1">
              <a:off x="7643146" y="3129961"/>
              <a:ext cx="31351" cy="0"/>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6" name="Line 92">
              <a:extLst>
                <a:ext uri="{FF2B5EF4-FFF2-40B4-BE49-F238E27FC236}">
                  <a16:creationId xmlns:a16="http://schemas.microsoft.com/office/drawing/2014/main" id="{D4459EC0-6F87-C14C-AB14-6EBB88211444}"/>
                </a:ext>
              </a:extLst>
            </p:cNvPr>
            <p:cNvSpPr>
              <a:spLocks noChangeShapeType="1"/>
            </p:cNvSpPr>
            <p:nvPr/>
          </p:nvSpPr>
          <p:spPr bwMode="auto">
            <a:xfrm flipH="1">
              <a:off x="7643146" y="3164670"/>
              <a:ext cx="31351" cy="0"/>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0" name="Line 93">
              <a:extLst>
                <a:ext uri="{FF2B5EF4-FFF2-40B4-BE49-F238E27FC236}">
                  <a16:creationId xmlns:a16="http://schemas.microsoft.com/office/drawing/2014/main" id="{358601D5-7679-0D48-9C8C-FAFAB79B9928}"/>
                </a:ext>
              </a:extLst>
            </p:cNvPr>
            <p:cNvSpPr>
              <a:spLocks noChangeShapeType="1"/>
            </p:cNvSpPr>
            <p:nvPr/>
          </p:nvSpPr>
          <p:spPr bwMode="auto">
            <a:xfrm flipH="1">
              <a:off x="7643146" y="3200500"/>
              <a:ext cx="31351" cy="0"/>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2" name="Line 94">
              <a:extLst>
                <a:ext uri="{FF2B5EF4-FFF2-40B4-BE49-F238E27FC236}">
                  <a16:creationId xmlns:a16="http://schemas.microsoft.com/office/drawing/2014/main" id="{3C9DC840-4E4A-0B4B-A8B1-B90D402F3BA2}"/>
                </a:ext>
              </a:extLst>
            </p:cNvPr>
            <p:cNvSpPr>
              <a:spLocks noChangeShapeType="1"/>
            </p:cNvSpPr>
            <p:nvPr/>
          </p:nvSpPr>
          <p:spPr bwMode="auto">
            <a:xfrm>
              <a:off x="7709206" y="3234089"/>
              <a:ext cx="0" cy="31351"/>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3" name="Line 95">
              <a:extLst>
                <a:ext uri="{FF2B5EF4-FFF2-40B4-BE49-F238E27FC236}">
                  <a16:creationId xmlns:a16="http://schemas.microsoft.com/office/drawing/2014/main" id="{9746E63B-2E18-374B-8E01-FB9A3F836ADB}"/>
                </a:ext>
              </a:extLst>
            </p:cNvPr>
            <p:cNvSpPr>
              <a:spLocks noChangeShapeType="1"/>
            </p:cNvSpPr>
            <p:nvPr/>
          </p:nvSpPr>
          <p:spPr bwMode="auto">
            <a:xfrm>
              <a:off x="7742796" y="3234089"/>
              <a:ext cx="0" cy="31351"/>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4" name="Line 96">
              <a:extLst>
                <a:ext uri="{FF2B5EF4-FFF2-40B4-BE49-F238E27FC236}">
                  <a16:creationId xmlns:a16="http://schemas.microsoft.com/office/drawing/2014/main" id="{96E8802E-A1EB-AF41-BC5E-EE511BE4701F}"/>
                </a:ext>
              </a:extLst>
            </p:cNvPr>
            <p:cNvSpPr>
              <a:spLocks noChangeShapeType="1"/>
            </p:cNvSpPr>
            <p:nvPr/>
          </p:nvSpPr>
          <p:spPr bwMode="auto">
            <a:xfrm>
              <a:off x="7778625" y="3234089"/>
              <a:ext cx="0" cy="31351"/>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5" name="Line 97">
              <a:extLst>
                <a:ext uri="{FF2B5EF4-FFF2-40B4-BE49-F238E27FC236}">
                  <a16:creationId xmlns:a16="http://schemas.microsoft.com/office/drawing/2014/main" id="{78BE8D6B-9196-D24D-9A7A-D9AEFFB94A98}"/>
                </a:ext>
              </a:extLst>
            </p:cNvPr>
            <p:cNvSpPr>
              <a:spLocks noChangeShapeType="1"/>
            </p:cNvSpPr>
            <p:nvPr/>
          </p:nvSpPr>
          <p:spPr bwMode="auto">
            <a:xfrm>
              <a:off x="7812215" y="3234089"/>
              <a:ext cx="0" cy="31351"/>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6" name="Line 98">
              <a:extLst>
                <a:ext uri="{FF2B5EF4-FFF2-40B4-BE49-F238E27FC236}">
                  <a16:creationId xmlns:a16="http://schemas.microsoft.com/office/drawing/2014/main" id="{4AFF0015-C80C-974B-B9BF-C828E1032873}"/>
                </a:ext>
              </a:extLst>
            </p:cNvPr>
            <p:cNvSpPr>
              <a:spLocks noChangeShapeType="1"/>
            </p:cNvSpPr>
            <p:nvPr/>
          </p:nvSpPr>
          <p:spPr bwMode="auto">
            <a:xfrm>
              <a:off x="7846924" y="3234089"/>
              <a:ext cx="0" cy="31351"/>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11" name="Group 10">
            <a:extLst>
              <a:ext uri="{FF2B5EF4-FFF2-40B4-BE49-F238E27FC236}">
                <a16:creationId xmlns:a16="http://schemas.microsoft.com/office/drawing/2014/main" id="{19EA6618-51C1-424B-885A-F37EE095BD01}"/>
              </a:ext>
            </a:extLst>
          </p:cNvPr>
          <p:cNvGrpSpPr/>
          <p:nvPr/>
        </p:nvGrpSpPr>
        <p:grpSpPr>
          <a:xfrm>
            <a:off x="4997786" y="2736758"/>
            <a:ext cx="661135" cy="661135"/>
            <a:chOff x="6064661" y="2331652"/>
            <a:chExt cx="674488" cy="674488"/>
          </a:xfrm>
        </p:grpSpPr>
        <p:grpSp>
          <p:nvGrpSpPr>
            <p:cNvPr id="10" name="Group 9">
              <a:extLst>
                <a:ext uri="{FF2B5EF4-FFF2-40B4-BE49-F238E27FC236}">
                  <a16:creationId xmlns:a16="http://schemas.microsoft.com/office/drawing/2014/main" id="{6683E531-888A-4243-9B60-83D497F0ECCC}"/>
                </a:ext>
              </a:extLst>
            </p:cNvPr>
            <p:cNvGrpSpPr/>
            <p:nvPr/>
          </p:nvGrpSpPr>
          <p:grpSpPr>
            <a:xfrm>
              <a:off x="6064661" y="2331652"/>
              <a:ext cx="674488" cy="674488"/>
              <a:chOff x="6064661" y="2331652"/>
              <a:chExt cx="674488" cy="674488"/>
            </a:xfrm>
          </p:grpSpPr>
          <p:sp>
            <p:nvSpPr>
              <p:cNvPr id="8" name="Oval 7">
                <a:extLst>
                  <a:ext uri="{FF2B5EF4-FFF2-40B4-BE49-F238E27FC236}">
                    <a16:creationId xmlns:a16="http://schemas.microsoft.com/office/drawing/2014/main" id="{DB307DB1-4514-2744-BC4C-94A4D941B2A6}"/>
                  </a:ext>
                </a:extLst>
              </p:cNvPr>
              <p:cNvSpPr/>
              <p:nvPr/>
            </p:nvSpPr>
            <p:spPr bwMode="auto">
              <a:xfrm>
                <a:off x="6211116" y="2331652"/>
                <a:ext cx="381577" cy="674488"/>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9DD50550-AC52-F842-B74C-1CC6290E7645}"/>
                  </a:ext>
                </a:extLst>
              </p:cNvPr>
              <p:cNvSpPr/>
              <p:nvPr/>
            </p:nvSpPr>
            <p:spPr bwMode="auto">
              <a:xfrm rot="3600000">
                <a:off x="6211116" y="2328651"/>
                <a:ext cx="381577" cy="674488"/>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Oval 117">
                <a:extLst>
                  <a:ext uri="{FF2B5EF4-FFF2-40B4-BE49-F238E27FC236}">
                    <a16:creationId xmlns:a16="http://schemas.microsoft.com/office/drawing/2014/main" id="{74BCF5A8-9D4B-9941-BE25-0CAB088AA337}"/>
                  </a:ext>
                </a:extLst>
              </p:cNvPr>
              <p:cNvSpPr/>
              <p:nvPr/>
            </p:nvSpPr>
            <p:spPr bwMode="auto">
              <a:xfrm rot="18000000">
                <a:off x="6211116" y="2328651"/>
                <a:ext cx="381577" cy="674488"/>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 name="Oval 8">
              <a:extLst>
                <a:ext uri="{FF2B5EF4-FFF2-40B4-BE49-F238E27FC236}">
                  <a16:creationId xmlns:a16="http://schemas.microsoft.com/office/drawing/2014/main" id="{A3DDCCEB-3463-074D-91AD-78F81170C724}"/>
                </a:ext>
              </a:extLst>
            </p:cNvPr>
            <p:cNvSpPr/>
            <p:nvPr/>
          </p:nvSpPr>
          <p:spPr bwMode="auto">
            <a:xfrm>
              <a:off x="6301928" y="2568919"/>
              <a:ext cx="199955" cy="199955"/>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90EF73BA-687F-5F48-8A74-FFE3F031F8BE}"/>
              </a:ext>
            </a:extLst>
          </p:cNvPr>
          <p:cNvGrpSpPr/>
          <p:nvPr/>
        </p:nvGrpSpPr>
        <p:grpSpPr>
          <a:xfrm>
            <a:off x="10524644" y="3545747"/>
            <a:ext cx="631478" cy="559507"/>
            <a:chOff x="10902845" y="2693238"/>
            <a:chExt cx="644231" cy="570807"/>
          </a:xfrm>
        </p:grpSpPr>
        <p:sp>
          <p:nvSpPr>
            <p:cNvPr id="119" name="Freeform 146">
              <a:extLst>
                <a:ext uri="{FF2B5EF4-FFF2-40B4-BE49-F238E27FC236}">
                  <a16:creationId xmlns:a16="http://schemas.microsoft.com/office/drawing/2014/main" id="{8E629EED-BBF2-0845-AEBA-FCEAA4918860}"/>
                </a:ext>
              </a:extLst>
            </p:cNvPr>
            <p:cNvSpPr>
              <a:spLocks noChangeAspect="1"/>
            </p:cNvSpPr>
            <p:nvPr/>
          </p:nvSpPr>
          <p:spPr bwMode="auto">
            <a:xfrm>
              <a:off x="10902845" y="2693238"/>
              <a:ext cx="644231" cy="40799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marL="0" marR="0" lvl="0" indent="0" algn="ctr" defTabSz="895751" rtl="0" eaLnBrk="1" fontAlgn="base" latinLnBrk="0" hangingPunct="1">
                <a:lnSpc>
                  <a:spcPct val="90000"/>
                </a:lnSpc>
                <a:spcBef>
                  <a:spcPct val="0"/>
                </a:spcBef>
                <a:spcAft>
                  <a:spcPct val="0"/>
                </a:spcAft>
                <a:buClrTx/>
                <a:buSzTx/>
                <a:buFontTx/>
                <a:buNone/>
                <a:tabLst/>
                <a:defRPr/>
              </a:pPr>
              <a:endParaRPr kumimoji="0" lang="en-IN" sz="192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FA201150-C846-1B49-A339-27D05CFE5E9E}"/>
                </a:ext>
              </a:extLst>
            </p:cNvPr>
            <p:cNvSpPr/>
            <p:nvPr/>
          </p:nvSpPr>
          <p:spPr bwMode="auto">
            <a:xfrm>
              <a:off x="11138157" y="3021086"/>
              <a:ext cx="205040" cy="1484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0" name="Straight Arrow Connector 119">
              <a:extLst>
                <a:ext uri="{FF2B5EF4-FFF2-40B4-BE49-F238E27FC236}">
                  <a16:creationId xmlns:a16="http://schemas.microsoft.com/office/drawing/2014/main" id="{7EF4ED0E-7D24-964A-B59A-B41D64AB7691}"/>
                </a:ext>
              </a:extLst>
            </p:cNvPr>
            <p:cNvCxnSpPr>
              <a:cxnSpLocks/>
            </p:cNvCxnSpPr>
            <p:nvPr/>
          </p:nvCxnSpPr>
          <p:spPr>
            <a:xfrm flipV="1">
              <a:off x="11245742" y="2947705"/>
              <a:ext cx="0" cy="31634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08025D7F-666B-8046-81E2-DCCAE897737A}"/>
              </a:ext>
            </a:extLst>
          </p:cNvPr>
          <p:cNvGrpSpPr/>
          <p:nvPr/>
        </p:nvGrpSpPr>
        <p:grpSpPr>
          <a:xfrm>
            <a:off x="901637" y="4082888"/>
            <a:ext cx="491513" cy="500986"/>
            <a:chOff x="7158422" y="1607015"/>
            <a:chExt cx="2726357" cy="2778897"/>
          </a:xfrm>
          <a:solidFill>
            <a:schemeClr val="bg1"/>
          </a:solidFill>
        </p:grpSpPr>
        <p:sp>
          <p:nvSpPr>
            <p:cNvPr id="124" name="Freeform 242">
              <a:extLst>
                <a:ext uri="{FF2B5EF4-FFF2-40B4-BE49-F238E27FC236}">
                  <a16:creationId xmlns:a16="http://schemas.microsoft.com/office/drawing/2014/main" id="{BF7E7839-82FA-E440-B559-74E96918514A}"/>
                </a:ext>
              </a:extLst>
            </p:cNvPr>
            <p:cNvSpPr/>
            <p:nvPr/>
          </p:nvSpPr>
          <p:spPr bwMode="auto">
            <a:xfrm>
              <a:off x="7158422" y="2971800"/>
              <a:ext cx="2726357" cy="1414112"/>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rnd">
              <a:solidFill>
                <a:schemeClr val="tx2"/>
              </a:solidFill>
              <a:miter lim="800000"/>
              <a:headEnd/>
              <a:tailEnd/>
            </a:ln>
            <a:effectLst/>
          </p:spPr>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25" name="Diamond 124">
              <a:extLst>
                <a:ext uri="{FF2B5EF4-FFF2-40B4-BE49-F238E27FC236}">
                  <a16:creationId xmlns:a16="http://schemas.microsoft.com/office/drawing/2014/main" id="{FE7B313F-3A79-634F-BD97-BDDF931C8213}"/>
                </a:ext>
              </a:extLst>
            </p:cNvPr>
            <p:cNvSpPr/>
            <p:nvPr/>
          </p:nvSpPr>
          <p:spPr bwMode="auto">
            <a:xfrm>
              <a:off x="7158422" y="2521415"/>
              <a:ext cx="2726357" cy="1414112"/>
            </a:xfrm>
            <a:prstGeom prst="diamond">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6" name="Freeform 243">
              <a:extLst>
                <a:ext uri="{FF2B5EF4-FFF2-40B4-BE49-F238E27FC236}">
                  <a16:creationId xmlns:a16="http://schemas.microsoft.com/office/drawing/2014/main" id="{41F2E185-D5A7-C84B-9401-202B03432948}"/>
                </a:ext>
              </a:extLst>
            </p:cNvPr>
            <p:cNvSpPr/>
            <p:nvPr/>
          </p:nvSpPr>
          <p:spPr bwMode="auto">
            <a:xfrm>
              <a:off x="7158422" y="2057400"/>
              <a:ext cx="2726357" cy="1414112"/>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rnd">
              <a:solidFill>
                <a:schemeClr val="tx2"/>
              </a:solidFill>
              <a:miter lim="800000"/>
              <a:headEnd/>
              <a:tailEnd/>
            </a:ln>
            <a:effectLst/>
          </p:spPr>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27" name="Diamond 126">
              <a:extLst>
                <a:ext uri="{FF2B5EF4-FFF2-40B4-BE49-F238E27FC236}">
                  <a16:creationId xmlns:a16="http://schemas.microsoft.com/office/drawing/2014/main" id="{306809B3-1773-1B44-B80F-977BB074F087}"/>
                </a:ext>
              </a:extLst>
            </p:cNvPr>
            <p:cNvSpPr/>
            <p:nvPr/>
          </p:nvSpPr>
          <p:spPr bwMode="auto">
            <a:xfrm>
              <a:off x="7158422" y="1607015"/>
              <a:ext cx="2726357" cy="1414112"/>
            </a:xfrm>
            <a:prstGeom prst="diamond">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28" name="Freeform: Shape 830">
            <a:extLst>
              <a:ext uri="{FF2B5EF4-FFF2-40B4-BE49-F238E27FC236}">
                <a16:creationId xmlns:a16="http://schemas.microsoft.com/office/drawing/2014/main" id="{D8C5F275-07C0-C74D-880F-B1647D309435}"/>
              </a:ext>
            </a:extLst>
          </p:cNvPr>
          <p:cNvSpPr>
            <a:spLocks noChangeArrowheads="1"/>
          </p:cNvSpPr>
          <p:nvPr/>
        </p:nvSpPr>
        <p:spPr bwMode="auto">
          <a:xfrm>
            <a:off x="939836" y="3174517"/>
            <a:ext cx="441681" cy="601179"/>
          </a:xfrm>
          <a:custGeom>
            <a:avLst/>
            <a:gdLst>
              <a:gd name="connsiteX0" fmla="*/ 1913 w 3330348"/>
              <a:gd name="connsiteY0" fmla="*/ 3068274 h 4532979"/>
              <a:gd name="connsiteX1" fmla="*/ 33829 w 3330348"/>
              <a:gd name="connsiteY1" fmla="*/ 3129345 h 4532979"/>
              <a:gd name="connsiteX2" fmla="*/ 1665174 w 3330348"/>
              <a:gd name="connsiteY2" fmla="*/ 3385824 h 4532979"/>
              <a:gd name="connsiteX3" fmla="*/ 3296519 w 3330348"/>
              <a:gd name="connsiteY3" fmla="*/ 3129345 h 4532979"/>
              <a:gd name="connsiteX4" fmla="*/ 3328434 w 3330348"/>
              <a:gd name="connsiteY4" fmla="*/ 3068274 h 4532979"/>
              <a:gd name="connsiteX5" fmla="*/ 3330348 w 3330348"/>
              <a:gd name="connsiteY5" fmla="*/ 4211766 h 4532979"/>
              <a:gd name="connsiteX6" fmla="*/ 1665174 w 3330348"/>
              <a:gd name="connsiteY6" fmla="*/ 4532979 h 4532979"/>
              <a:gd name="connsiteX7" fmla="*/ 0 w 3330348"/>
              <a:gd name="connsiteY7" fmla="*/ 4211766 h 4532979"/>
              <a:gd name="connsiteX8" fmla="*/ 1913 w 3330348"/>
              <a:gd name="connsiteY8" fmla="*/ 3068274 h 4532979"/>
              <a:gd name="connsiteX9" fmla="*/ 1913 w 3330348"/>
              <a:gd name="connsiteY9" fmla="*/ 1762531 h 4532979"/>
              <a:gd name="connsiteX10" fmla="*/ 33829 w 3330348"/>
              <a:gd name="connsiteY10" fmla="*/ 1823602 h 4532979"/>
              <a:gd name="connsiteX11" fmla="*/ 1665174 w 3330348"/>
              <a:gd name="connsiteY11" fmla="*/ 2080081 h 4532979"/>
              <a:gd name="connsiteX12" fmla="*/ 3296519 w 3330348"/>
              <a:gd name="connsiteY12" fmla="*/ 1823602 h 4532979"/>
              <a:gd name="connsiteX13" fmla="*/ 3328434 w 3330348"/>
              <a:gd name="connsiteY13" fmla="*/ 1762531 h 4532979"/>
              <a:gd name="connsiteX14" fmla="*/ 3330348 w 3330348"/>
              <a:gd name="connsiteY14" fmla="*/ 2906023 h 4532979"/>
              <a:gd name="connsiteX15" fmla="*/ 1665174 w 3330348"/>
              <a:gd name="connsiteY15" fmla="*/ 3227236 h 4532979"/>
              <a:gd name="connsiteX16" fmla="*/ 0 w 3330348"/>
              <a:gd name="connsiteY16" fmla="*/ 2906023 h 4532979"/>
              <a:gd name="connsiteX17" fmla="*/ 1913 w 3330348"/>
              <a:gd name="connsiteY17" fmla="*/ 1762531 h 4532979"/>
              <a:gd name="connsiteX18" fmla="*/ 1913 w 3330348"/>
              <a:gd name="connsiteY18" fmla="*/ 456788 h 4532979"/>
              <a:gd name="connsiteX19" fmla="*/ 33829 w 3330348"/>
              <a:gd name="connsiteY19" fmla="*/ 517859 h 4532979"/>
              <a:gd name="connsiteX20" fmla="*/ 1665174 w 3330348"/>
              <a:gd name="connsiteY20" fmla="*/ 774338 h 4532979"/>
              <a:gd name="connsiteX21" fmla="*/ 3296519 w 3330348"/>
              <a:gd name="connsiteY21" fmla="*/ 517859 h 4532979"/>
              <a:gd name="connsiteX22" fmla="*/ 3328434 w 3330348"/>
              <a:gd name="connsiteY22" fmla="*/ 456788 h 4532979"/>
              <a:gd name="connsiteX23" fmla="*/ 3330348 w 3330348"/>
              <a:gd name="connsiteY23" fmla="*/ 1600280 h 4532979"/>
              <a:gd name="connsiteX24" fmla="*/ 1665174 w 3330348"/>
              <a:gd name="connsiteY24" fmla="*/ 1921493 h 4532979"/>
              <a:gd name="connsiteX25" fmla="*/ 0 w 3330348"/>
              <a:gd name="connsiteY25" fmla="*/ 1600280 h 4532979"/>
              <a:gd name="connsiteX26" fmla="*/ 1913 w 3330348"/>
              <a:gd name="connsiteY26" fmla="*/ 456788 h 4532979"/>
              <a:gd name="connsiteX27" fmla="*/ 1665174 w 3330348"/>
              <a:gd name="connsiteY27" fmla="*/ 0 h 4532979"/>
              <a:gd name="connsiteX28" fmla="*/ 3267703 w 3330348"/>
              <a:gd name="connsiteY28" fmla="*/ 309127 h 4532979"/>
              <a:gd name="connsiteX29" fmla="*/ 1665174 w 3330348"/>
              <a:gd name="connsiteY29" fmla="*/ 618254 h 4532979"/>
              <a:gd name="connsiteX30" fmla="*/ 62645 w 3330348"/>
              <a:gd name="connsiteY30" fmla="*/ 309127 h 4532979"/>
              <a:gd name="connsiteX31" fmla="*/ 1665174 w 3330348"/>
              <a:gd name="connsiteY31" fmla="*/ 0 h 4532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30348" h="4532979">
                <a:moveTo>
                  <a:pt x="1913" y="3068274"/>
                </a:moveTo>
                <a:cubicBezTo>
                  <a:pt x="12552" y="3088631"/>
                  <a:pt x="12431" y="3109172"/>
                  <a:pt x="33829" y="3129345"/>
                </a:cubicBezTo>
                <a:cubicBezTo>
                  <a:pt x="189101" y="3275719"/>
                  <a:pt x="860482" y="3385824"/>
                  <a:pt x="1665174" y="3385824"/>
                </a:cubicBezTo>
                <a:cubicBezTo>
                  <a:pt x="2469867" y="3385824"/>
                  <a:pt x="3141247" y="3275719"/>
                  <a:pt x="3296519" y="3129345"/>
                </a:cubicBezTo>
                <a:cubicBezTo>
                  <a:pt x="3312446" y="3112160"/>
                  <a:pt x="3317796" y="3088631"/>
                  <a:pt x="3328434" y="3068274"/>
                </a:cubicBezTo>
                <a:cubicBezTo>
                  <a:pt x="3329074" y="3449438"/>
                  <a:pt x="3329709" y="3830602"/>
                  <a:pt x="3330348" y="4211766"/>
                </a:cubicBezTo>
                <a:cubicBezTo>
                  <a:pt x="3330348" y="4389168"/>
                  <a:pt x="2584823" y="4532979"/>
                  <a:pt x="1665174" y="4532979"/>
                </a:cubicBezTo>
                <a:cubicBezTo>
                  <a:pt x="745525" y="4532979"/>
                  <a:pt x="0" y="4389168"/>
                  <a:pt x="0" y="4211766"/>
                </a:cubicBezTo>
                <a:cubicBezTo>
                  <a:pt x="639" y="3830602"/>
                  <a:pt x="1274" y="3449438"/>
                  <a:pt x="1913" y="3068274"/>
                </a:cubicBezTo>
                <a:close/>
                <a:moveTo>
                  <a:pt x="1913" y="1762531"/>
                </a:moveTo>
                <a:cubicBezTo>
                  <a:pt x="12552" y="1782888"/>
                  <a:pt x="12431" y="1803429"/>
                  <a:pt x="33829" y="1823602"/>
                </a:cubicBezTo>
                <a:cubicBezTo>
                  <a:pt x="189101" y="1969976"/>
                  <a:pt x="860482" y="2080081"/>
                  <a:pt x="1665174" y="2080081"/>
                </a:cubicBezTo>
                <a:cubicBezTo>
                  <a:pt x="2469867" y="2080081"/>
                  <a:pt x="3141247" y="1969976"/>
                  <a:pt x="3296519" y="1823602"/>
                </a:cubicBezTo>
                <a:cubicBezTo>
                  <a:pt x="3312446" y="1806417"/>
                  <a:pt x="3317796" y="1782888"/>
                  <a:pt x="3328434" y="1762531"/>
                </a:cubicBezTo>
                <a:cubicBezTo>
                  <a:pt x="3329074" y="2143695"/>
                  <a:pt x="3329709" y="2524859"/>
                  <a:pt x="3330348" y="2906023"/>
                </a:cubicBezTo>
                <a:cubicBezTo>
                  <a:pt x="3330348" y="3083425"/>
                  <a:pt x="2584823" y="3227236"/>
                  <a:pt x="1665174" y="3227236"/>
                </a:cubicBezTo>
                <a:cubicBezTo>
                  <a:pt x="745525" y="3227236"/>
                  <a:pt x="0" y="3083425"/>
                  <a:pt x="0" y="2906023"/>
                </a:cubicBezTo>
                <a:cubicBezTo>
                  <a:pt x="639" y="2524859"/>
                  <a:pt x="1274" y="2143695"/>
                  <a:pt x="1913" y="1762531"/>
                </a:cubicBezTo>
                <a:close/>
                <a:moveTo>
                  <a:pt x="1913" y="456788"/>
                </a:moveTo>
                <a:cubicBezTo>
                  <a:pt x="12552" y="477145"/>
                  <a:pt x="12431" y="497686"/>
                  <a:pt x="33829" y="517859"/>
                </a:cubicBezTo>
                <a:cubicBezTo>
                  <a:pt x="189101" y="664233"/>
                  <a:pt x="860482" y="774338"/>
                  <a:pt x="1665174" y="774338"/>
                </a:cubicBezTo>
                <a:cubicBezTo>
                  <a:pt x="2469867" y="774338"/>
                  <a:pt x="3141247" y="664233"/>
                  <a:pt x="3296519" y="517859"/>
                </a:cubicBezTo>
                <a:cubicBezTo>
                  <a:pt x="3312446" y="500674"/>
                  <a:pt x="3317796" y="477145"/>
                  <a:pt x="3328434" y="456788"/>
                </a:cubicBezTo>
                <a:cubicBezTo>
                  <a:pt x="3329074" y="837952"/>
                  <a:pt x="3329709" y="1219116"/>
                  <a:pt x="3330348" y="1600280"/>
                </a:cubicBezTo>
                <a:cubicBezTo>
                  <a:pt x="3330348" y="1777682"/>
                  <a:pt x="2584823" y="1921493"/>
                  <a:pt x="1665174" y="1921493"/>
                </a:cubicBezTo>
                <a:cubicBezTo>
                  <a:pt x="745525" y="1921493"/>
                  <a:pt x="0" y="1777682"/>
                  <a:pt x="0" y="1600280"/>
                </a:cubicBezTo>
                <a:cubicBezTo>
                  <a:pt x="639" y="1219116"/>
                  <a:pt x="1274" y="837952"/>
                  <a:pt x="1913" y="456788"/>
                </a:cubicBezTo>
                <a:close/>
                <a:moveTo>
                  <a:pt x="1665174" y="0"/>
                </a:moveTo>
                <a:cubicBezTo>
                  <a:pt x="2550226" y="0"/>
                  <a:pt x="3267703" y="138401"/>
                  <a:pt x="3267703" y="309127"/>
                </a:cubicBezTo>
                <a:cubicBezTo>
                  <a:pt x="3267703" y="479853"/>
                  <a:pt x="2550226" y="618254"/>
                  <a:pt x="1665174" y="618254"/>
                </a:cubicBezTo>
                <a:cubicBezTo>
                  <a:pt x="780122" y="618254"/>
                  <a:pt x="62645" y="479853"/>
                  <a:pt x="62645" y="309127"/>
                </a:cubicBezTo>
                <a:cubicBezTo>
                  <a:pt x="62645" y="138401"/>
                  <a:pt x="780122" y="0"/>
                  <a:pt x="1665174" y="0"/>
                </a:cubicBezTo>
                <a:close/>
              </a:path>
            </a:pathLst>
          </a:custGeom>
          <a:solidFill>
            <a:schemeClr val="bg1"/>
          </a:solidFill>
          <a:ln w="12700">
            <a:solidFill>
              <a:schemeClr val="tx2"/>
            </a:solidFill>
            <a:round/>
            <a:headEnd/>
            <a:tailEnd/>
          </a:ln>
        </p:spPr>
        <p:txBody>
          <a:bodyPr vert="horz" wrap="square" lIns="89604" tIns="44802" rIns="89604" bIns="44802" numCol="1" anchor="t" anchorCtr="0" compatLnSpc="1">
            <a:prstTxWarp prst="textNoShape">
              <a:avLst/>
            </a:prstTxWarp>
            <a:no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36" name="Group 35">
            <a:extLst>
              <a:ext uri="{FF2B5EF4-FFF2-40B4-BE49-F238E27FC236}">
                <a16:creationId xmlns:a16="http://schemas.microsoft.com/office/drawing/2014/main" id="{A90E460A-9C70-F14D-858C-8DB8D728BF62}"/>
              </a:ext>
            </a:extLst>
          </p:cNvPr>
          <p:cNvGrpSpPr/>
          <p:nvPr/>
        </p:nvGrpSpPr>
        <p:grpSpPr>
          <a:xfrm rot="1800000">
            <a:off x="6890378" y="3434252"/>
            <a:ext cx="597302" cy="692222"/>
            <a:chOff x="6281977" y="1925712"/>
            <a:chExt cx="609366" cy="706203"/>
          </a:xfrm>
        </p:grpSpPr>
        <p:sp>
          <p:nvSpPr>
            <p:cNvPr id="18" name="Hexagon 17">
              <a:extLst>
                <a:ext uri="{FF2B5EF4-FFF2-40B4-BE49-F238E27FC236}">
                  <a16:creationId xmlns:a16="http://schemas.microsoft.com/office/drawing/2014/main" id="{AF160ACA-E317-7843-A564-126A5A36EFC2}"/>
                </a:ext>
              </a:extLst>
            </p:cNvPr>
            <p:cNvSpPr/>
            <p:nvPr/>
          </p:nvSpPr>
          <p:spPr bwMode="auto">
            <a:xfrm rot="16200000">
              <a:off x="6261742" y="2000529"/>
              <a:ext cx="651443" cy="557784"/>
            </a:xfrm>
            <a:prstGeom prst="hexagon">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FE754B18-4F9B-374E-8126-A6D157270B71}"/>
                </a:ext>
              </a:extLst>
            </p:cNvPr>
            <p:cNvCxnSpPr>
              <a:stCxn id="18" idx="3"/>
              <a:endCxn id="18" idx="0"/>
            </p:cNvCxnSpPr>
            <p:nvPr/>
          </p:nvCxnSpPr>
          <p:spPr>
            <a:xfrm flipV="1">
              <a:off x="6587464" y="1953700"/>
              <a:ext cx="0" cy="651443"/>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87836A71-D889-3B4D-AB22-C605A9A8CA59}"/>
                </a:ext>
              </a:extLst>
            </p:cNvPr>
            <p:cNvGrpSpPr/>
            <p:nvPr/>
          </p:nvGrpSpPr>
          <p:grpSpPr>
            <a:xfrm>
              <a:off x="6584950" y="2093649"/>
              <a:ext cx="281406" cy="372551"/>
              <a:chOff x="6584950" y="2093146"/>
              <a:chExt cx="281406" cy="372551"/>
            </a:xfrm>
          </p:grpSpPr>
          <p:cxnSp>
            <p:nvCxnSpPr>
              <p:cNvPr id="26" name="Straight Connector 25">
                <a:extLst>
                  <a:ext uri="{FF2B5EF4-FFF2-40B4-BE49-F238E27FC236}">
                    <a16:creationId xmlns:a16="http://schemas.microsoft.com/office/drawing/2014/main" id="{4769026C-FEFE-9F4B-A04A-2F053588B82D}"/>
                  </a:ext>
                </a:extLst>
              </p:cNvPr>
              <p:cNvCxnSpPr>
                <a:cxnSpLocks/>
                <a:stCxn id="18" idx="2"/>
              </p:cNvCxnSpPr>
              <p:nvPr/>
            </p:nvCxnSpPr>
            <p:spPr>
              <a:xfrm flipH="1" flipV="1">
                <a:off x="6584950" y="2415525"/>
                <a:ext cx="281406" cy="50172"/>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CEA1AA3-A4BB-0148-B4CE-FB86085C2F60}"/>
                  </a:ext>
                </a:extLst>
              </p:cNvPr>
              <p:cNvCxnSpPr>
                <a:stCxn id="18" idx="1"/>
              </p:cNvCxnSpPr>
              <p:nvPr/>
            </p:nvCxnSpPr>
            <p:spPr>
              <a:xfrm flipH="1">
                <a:off x="6584950" y="2093146"/>
                <a:ext cx="281406" cy="110304"/>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14C19EC-E569-6046-AD25-9C0915A610B2}"/>
                  </a:ext>
                </a:extLst>
              </p:cNvPr>
              <p:cNvCxnSpPr>
                <a:cxnSpLocks/>
                <a:stCxn id="18" idx="1"/>
              </p:cNvCxnSpPr>
              <p:nvPr/>
            </p:nvCxnSpPr>
            <p:spPr>
              <a:xfrm flipH="1">
                <a:off x="6584950" y="2093146"/>
                <a:ext cx="281406" cy="32237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0" name="Group 129">
              <a:extLst>
                <a:ext uri="{FF2B5EF4-FFF2-40B4-BE49-F238E27FC236}">
                  <a16:creationId xmlns:a16="http://schemas.microsoft.com/office/drawing/2014/main" id="{FE22AA46-5C7A-FB4F-B3B4-C824A3FAF2DE}"/>
                </a:ext>
              </a:extLst>
            </p:cNvPr>
            <p:cNvGrpSpPr/>
            <p:nvPr/>
          </p:nvGrpSpPr>
          <p:grpSpPr>
            <a:xfrm flipH="1">
              <a:off x="6304801" y="2093649"/>
              <a:ext cx="281406" cy="372551"/>
              <a:chOff x="6584950" y="2093146"/>
              <a:chExt cx="281406" cy="372551"/>
            </a:xfrm>
          </p:grpSpPr>
          <p:cxnSp>
            <p:nvCxnSpPr>
              <p:cNvPr id="131" name="Straight Connector 130">
                <a:extLst>
                  <a:ext uri="{FF2B5EF4-FFF2-40B4-BE49-F238E27FC236}">
                    <a16:creationId xmlns:a16="http://schemas.microsoft.com/office/drawing/2014/main" id="{5B13F7B4-58D2-1540-A909-8E33A81753B6}"/>
                  </a:ext>
                </a:extLst>
              </p:cNvPr>
              <p:cNvCxnSpPr>
                <a:cxnSpLocks/>
              </p:cNvCxnSpPr>
              <p:nvPr/>
            </p:nvCxnSpPr>
            <p:spPr>
              <a:xfrm flipH="1" flipV="1">
                <a:off x="6584950" y="2415525"/>
                <a:ext cx="281406" cy="50172"/>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1C94D041-D1B2-944B-8A4B-A1CC33A27B47}"/>
                  </a:ext>
                </a:extLst>
              </p:cNvPr>
              <p:cNvCxnSpPr/>
              <p:nvPr/>
            </p:nvCxnSpPr>
            <p:spPr>
              <a:xfrm flipH="1">
                <a:off x="6584950" y="2093146"/>
                <a:ext cx="281406" cy="110304"/>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1C554105-D40F-344F-AB4D-981B388DAB23}"/>
                  </a:ext>
                </a:extLst>
              </p:cNvPr>
              <p:cNvCxnSpPr>
                <a:cxnSpLocks/>
              </p:cNvCxnSpPr>
              <p:nvPr/>
            </p:nvCxnSpPr>
            <p:spPr>
              <a:xfrm flipH="1">
                <a:off x="6584950" y="2093146"/>
                <a:ext cx="281406" cy="32237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5" name="Oval 34">
              <a:extLst>
                <a:ext uri="{FF2B5EF4-FFF2-40B4-BE49-F238E27FC236}">
                  <a16:creationId xmlns:a16="http://schemas.microsoft.com/office/drawing/2014/main" id="{8CC92139-8474-BB43-8E88-D968DDA7F2A3}"/>
                </a:ext>
              </a:extLst>
            </p:cNvPr>
            <p:cNvSpPr/>
            <p:nvPr/>
          </p:nvSpPr>
          <p:spPr bwMode="auto">
            <a:xfrm>
              <a:off x="6281977" y="2066999"/>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F6E59F5C-6D69-0C49-8943-09C13CFAD6DA}"/>
                </a:ext>
              </a:extLst>
            </p:cNvPr>
            <p:cNvSpPr/>
            <p:nvPr/>
          </p:nvSpPr>
          <p:spPr bwMode="auto">
            <a:xfrm>
              <a:off x="6558202" y="2173362"/>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Oval 135">
              <a:extLst>
                <a:ext uri="{FF2B5EF4-FFF2-40B4-BE49-F238E27FC236}">
                  <a16:creationId xmlns:a16="http://schemas.microsoft.com/office/drawing/2014/main" id="{2E2691A0-59DA-6F47-A3E8-0C98CBD01CD3}"/>
                </a:ext>
              </a:extLst>
            </p:cNvPr>
            <p:cNvSpPr/>
            <p:nvPr/>
          </p:nvSpPr>
          <p:spPr bwMode="auto">
            <a:xfrm>
              <a:off x="6831252" y="2066999"/>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D0ADD5EE-16CD-6D45-BA20-CEE6DFFF32F8}"/>
                </a:ext>
              </a:extLst>
            </p:cNvPr>
            <p:cNvSpPr/>
            <p:nvPr/>
          </p:nvSpPr>
          <p:spPr bwMode="auto">
            <a:xfrm>
              <a:off x="6558202" y="2387674"/>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Oval 137">
              <a:extLst>
                <a:ext uri="{FF2B5EF4-FFF2-40B4-BE49-F238E27FC236}">
                  <a16:creationId xmlns:a16="http://schemas.microsoft.com/office/drawing/2014/main" id="{37CEA329-00D8-2C49-B8C3-3BE3F517B0A6}"/>
                </a:ext>
              </a:extLst>
            </p:cNvPr>
            <p:cNvSpPr/>
            <p:nvPr/>
          </p:nvSpPr>
          <p:spPr bwMode="auto">
            <a:xfrm>
              <a:off x="6834427" y="2438474"/>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Oval 138">
              <a:extLst>
                <a:ext uri="{FF2B5EF4-FFF2-40B4-BE49-F238E27FC236}">
                  <a16:creationId xmlns:a16="http://schemas.microsoft.com/office/drawing/2014/main" id="{C0F91D38-427B-9042-8D3C-04E04A8D6F36}"/>
                </a:ext>
              </a:extLst>
            </p:cNvPr>
            <p:cNvSpPr/>
            <p:nvPr/>
          </p:nvSpPr>
          <p:spPr bwMode="auto">
            <a:xfrm>
              <a:off x="6558202" y="2574999"/>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Oval 139">
              <a:extLst>
                <a:ext uri="{FF2B5EF4-FFF2-40B4-BE49-F238E27FC236}">
                  <a16:creationId xmlns:a16="http://schemas.microsoft.com/office/drawing/2014/main" id="{35CFC60B-57B0-3C47-A200-8A0BD902F79E}"/>
                </a:ext>
              </a:extLst>
            </p:cNvPr>
            <p:cNvSpPr/>
            <p:nvPr/>
          </p:nvSpPr>
          <p:spPr bwMode="auto">
            <a:xfrm>
              <a:off x="6291502" y="2438474"/>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Oval 140">
              <a:extLst>
                <a:ext uri="{FF2B5EF4-FFF2-40B4-BE49-F238E27FC236}">
                  <a16:creationId xmlns:a16="http://schemas.microsoft.com/office/drawing/2014/main" id="{86CF1A0E-A076-4F42-8236-B1AF63F4FE6A}"/>
                </a:ext>
              </a:extLst>
            </p:cNvPr>
            <p:cNvSpPr/>
            <p:nvPr/>
          </p:nvSpPr>
          <p:spPr bwMode="auto">
            <a:xfrm>
              <a:off x="6558202" y="1925712"/>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2" name="Group 141">
            <a:extLst>
              <a:ext uri="{FF2B5EF4-FFF2-40B4-BE49-F238E27FC236}">
                <a16:creationId xmlns:a16="http://schemas.microsoft.com/office/drawing/2014/main" id="{ECF2AE12-B2D1-E746-BE70-8A4EADB65800}"/>
              </a:ext>
            </a:extLst>
          </p:cNvPr>
          <p:cNvGrpSpPr/>
          <p:nvPr/>
        </p:nvGrpSpPr>
        <p:grpSpPr>
          <a:xfrm>
            <a:off x="8742470" y="3451232"/>
            <a:ext cx="687355" cy="543450"/>
            <a:chOff x="967154" y="1481462"/>
            <a:chExt cx="5331069" cy="4214950"/>
          </a:xfrm>
          <a:noFill/>
        </p:grpSpPr>
        <p:cxnSp>
          <p:nvCxnSpPr>
            <p:cNvPr id="143" name="Straight Connector 142">
              <a:extLst>
                <a:ext uri="{FF2B5EF4-FFF2-40B4-BE49-F238E27FC236}">
                  <a16:creationId xmlns:a16="http://schemas.microsoft.com/office/drawing/2014/main" id="{64089B54-8DB0-B04E-9823-7BE8382A2547}"/>
                </a:ext>
              </a:extLst>
            </p:cNvPr>
            <p:cNvCxnSpPr>
              <a:cxnSpLocks/>
            </p:cNvCxnSpPr>
            <p:nvPr/>
          </p:nvCxnSpPr>
          <p:spPr>
            <a:xfrm>
              <a:off x="967154" y="5696412"/>
              <a:ext cx="5331069" cy="0"/>
            </a:xfrm>
            <a:prstGeom prst="line">
              <a:avLst/>
            </a:prstGeom>
            <a:grpFill/>
            <a:ln w="1270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44" name="Rectangle 143">
              <a:extLst>
                <a:ext uri="{FF2B5EF4-FFF2-40B4-BE49-F238E27FC236}">
                  <a16:creationId xmlns:a16="http://schemas.microsoft.com/office/drawing/2014/main" id="{3CBD3BC3-2F7C-DB4D-BF73-A2CF4B5E2EB1}"/>
                </a:ext>
              </a:extLst>
            </p:cNvPr>
            <p:cNvSpPr/>
            <p:nvPr/>
          </p:nvSpPr>
          <p:spPr bwMode="auto">
            <a:xfrm>
              <a:off x="1286608" y="2696308"/>
              <a:ext cx="2793023" cy="3000104"/>
            </a:xfrm>
            <a:prstGeom prst="rect">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Rectangle 144">
              <a:extLst>
                <a:ext uri="{FF2B5EF4-FFF2-40B4-BE49-F238E27FC236}">
                  <a16:creationId xmlns:a16="http://schemas.microsoft.com/office/drawing/2014/main" id="{55B47254-3D1A-EE4F-A78A-2BE132CE500B}"/>
                </a:ext>
              </a:extLst>
            </p:cNvPr>
            <p:cNvSpPr/>
            <p:nvPr/>
          </p:nvSpPr>
          <p:spPr bwMode="auto">
            <a:xfrm>
              <a:off x="2225919" y="4700954"/>
              <a:ext cx="914400" cy="995458"/>
            </a:xfrm>
            <a:prstGeom prst="rect">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Freeform: Shape 404">
              <a:extLst>
                <a:ext uri="{FF2B5EF4-FFF2-40B4-BE49-F238E27FC236}">
                  <a16:creationId xmlns:a16="http://schemas.microsoft.com/office/drawing/2014/main" id="{B473EF98-2A77-D645-8470-93AC438D260B}"/>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Freeform: Shape 405">
              <a:extLst>
                <a:ext uri="{FF2B5EF4-FFF2-40B4-BE49-F238E27FC236}">
                  <a16:creationId xmlns:a16="http://schemas.microsoft.com/office/drawing/2014/main" id="{9B4C1DF2-30C7-2340-82CF-A5FDAF802A14}"/>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48" name="Straight Connector 147">
            <a:extLst>
              <a:ext uri="{FF2B5EF4-FFF2-40B4-BE49-F238E27FC236}">
                <a16:creationId xmlns:a16="http://schemas.microsoft.com/office/drawing/2014/main" id="{C55AAC20-8B17-4E4A-8ECF-457329EBB6FA}"/>
              </a:ext>
            </a:extLst>
          </p:cNvPr>
          <p:cNvCxnSpPr>
            <a:cxnSpLocks/>
          </p:cNvCxnSpPr>
          <p:nvPr/>
        </p:nvCxnSpPr>
        <p:spPr>
          <a:xfrm flipV="1">
            <a:off x="7189027" y="1949687"/>
            <a:ext cx="0" cy="1341106"/>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52" name="Freeform 151">
            <a:extLst>
              <a:ext uri="{FF2B5EF4-FFF2-40B4-BE49-F238E27FC236}">
                <a16:creationId xmlns:a16="http://schemas.microsoft.com/office/drawing/2014/main" id="{615C6FEC-BB4E-0947-83BA-D52AC7DFD493}"/>
              </a:ext>
            </a:extLst>
          </p:cNvPr>
          <p:cNvSpPr/>
          <p:nvPr/>
        </p:nvSpPr>
        <p:spPr bwMode="auto">
          <a:xfrm flipH="1">
            <a:off x="2014165" y="3642576"/>
            <a:ext cx="115670" cy="25890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54" name="Freeform 153">
            <a:extLst>
              <a:ext uri="{FF2B5EF4-FFF2-40B4-BE49-F238E27FC236}">
                <a16:creationId xmlns:a16="http://schemas.microsoft.com/office/drawing/2014/main" id="{4342671D-B324-CC45-B54F-4B018589CCE1}"/>
              </a:ext>
            </a:extLst>
          </p:cNvPr>
          <p:cNvSpPr/>
          <p:nvPr/>
        </p:nvSpPr>
        <p:spPr bwMode="auto">
          <a:xfrm flipH="1">
            <a:off x="4407686" y="3642576"/>
            <a:ext cx="115670" cy="25890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55" name="Freeform 154">
            <a:extLst>
              <a:ext uri="{FF2B5EF4-FFF2-40B4-BE49-F238E27FC236}">
                <a16:creationId xmlns:a16="http://schemas.microsoft.com/office/drawing/2014/main" id="{D85E2878-6302-DF4C-A2DD-9DDF2DD478A6}"/>
              </a:ext>
            </a:extLst>
          </p:cNvPr>
          <p:cNvSpPr/>
          <p:nvPr/>
        </p:nvSpPr>
        <p:spPr bwMode="auto">
          <a:xfrm flipH="1">
            <a:off x="6190096" y="3642576"/>
            <a:ext cx="115670" cy="25890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56" name="Freeform 155">
            <a:extLst>
              <a:ext uri="{FF2B5EF4-FFF2-40B4-BE49-F238E27FC236}">
                <a16:creationId xmlns:a16="http://schemas.microsoft.com/office/drawing/2014/main" id="{B3668756-9080-3548-A0EF-C9F633A98E1C}"/>
              </a:ext>
            </a:extLst>
          </p:cNvPr>
          <p:cNvSpPr/>
          <p:nvPr/>
        </p:nvSpPr>
        <p:spPr bwMode="auto">
          <a:xfrm flipH="1">
            <a:off x="8083243" y="3642576"/>
            <a:ext cx="115670" cy="25890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57" name="Freeform 156">
            <a:extLst>
              <a:ext uri="{FF2B5EF4-FFF2-40B4-BE49-F238E27FC236}">
                <a16:creationId xmlns:a16="http://schemas.microsoft.com/office/drawing/2014/main" id="{69AF45C1-2E1D-7B4D-B017-691498B72DB5}"/>
              </a:ext>
            </a:extLst>
          </p:cNvPr>
          <p:cNvSpPr/>
          <p:nvPr/>
        </p:nvSpPr>
        <p:spPr bwMode="auto">
          <a:xfrm flipH="1">
            <a:off x="9916581" y="3642576"/>
            <a:ext cx="115670" cy="25890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3574709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0" presetClass="entr" presetSubtype="0" fill="hold" nodeType="withEffect">
                                  <p:stCondLst>
                                    <p:cond delay="0"/>
                                  </p:stCondLst>
                                  <p:childTnLst>
                                    <p:set>
                                      <p:cBhvr>
                                        <p:cTn id="9" dur="1" fill="hold">
                                          <p:stCondLst>
                                            <p:cond delay="0"/>
                                          </p:stCondLst>
                                        </p:cTn>
                                        <p:tgtEl>
                                          <p:spTgt spid="121"/>
                                        </p:tgtEl>
                                        <p:attrNameLst>
                                          <p:attrName>style.visibility</p:attrName>
                                        </p:attrNameLst>
                                      </p:cBhvr>
                                      <p:to>
                                        <p:strVal val="visible"/>
                                      </p:to>
                                    </p:set>
                                    <p:animEffect transition="in" filter="fade">
                                      <p:cBhvr>
                                        <p:cTn id="10" dur="500"/>
                                        <p:tgtEl>
                                          <p:spTgt spid="12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childTnLst>
                          </p:cTn>
                        </p:par>
                        <p:par>
                          <p:cTn id="14" fill="hold">
                            <p:stCondLst>
                              <p:cond delay="500"/>
                            </p:stCondLst>
                            <p:childTnLst>
                              <p:par>
                                <p:cTn id="15" presetID="10" presetClass="entr" presetSubtype="0" fill="hold" nodeType="afterEffect">
                                  <p:stCondLst>
                                    <p:cond delay="500"/>
                                  </p:stCondLst>
                                  <p:childTnLst>
                                    <p:set>
                                      <p:cBhvr>
                                        <p:cTn id="16" dur="1" fill="hold">
                                          <p:stCondLst>
                                            <p:cond delay="0"/>
                                          </p:stCondLst>
                                        </p:cTn>
                                        <p:tgtEl>
                                          <p:spTgt spid="79"/>
                                        </p:tgtEl>
                                        <p:attrNameLst>
                                          <p:attrName>style.visibility</p:attrName>
                                        </p:attrNameLst>
                                      </p:cBhvr>
                                      <p:to>
                                        <p:strVal val="visible"/>
                                      </p:to>
                                    </p:set>
                                    <p:animEffect transition="in" filter="fade">
                                      <p:cBhvr>
                                        <p:cTn id="17" dur="500"/>
                                        <p:tgtEl>
                                          <p:spTgt spid="79"/>
                                        </p:tgtEl>
                                      </p:cBhvr>
                                    </p:animEffect>
                                  </p:childTnLst>
                                </p:cTn>
                              </p:par>
                              <p:par>
                                <p:cTn id="18" presetID="10" presetClass="entr" presetSubtype="0" fill="hold" nodeType="withEffect">
                                  <p:stCondLst>
                                    <p:cond delay="500"/>
                                  </p:stCondLst>
                                  <p:childTnLst>
                                    <p:set>
                                      <p:cBhvr>
                                        <p:cTn id="19" dur="1" fill="hold">
                                          <p:stCondLst>
                                            <p:cond delay="0"/>
                                          </p:stCondLst>
                                        </p:cTn>
                                        <p:tgtEl>
                                          <p:spTgt spid="82"/>
                                        </p:tgtEl>
                                        <p:attrNameLst>
                                          <p:attrName>style.visibility</p:attrName>
                                        </p:attrNameLst>
                                      </p:cBhvr>
                                      <p:to>
                                        <p:strVal val="visible"/>
                                      </p:to>
                                    </p:set>
                                    <p:animEffect transition="in" filter="fade">
                                      <p:cBhvr>
                                        <p:cTn id="20" dur="500"/>
                                        <p:tgtEl>
                                          <p:spTgt spid="82"/>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85"/>
                                        </p:tgtEl>
                                        <p:attrNameLst>
                                          <p:attrName>style.visibility</p:attrName>
                                        </p:attrNameLst>
                                      </p:cBhvr>
                                      <p:to>
                                        <p:strVal val="visible"/>
                                      </p:to>
                                    </p:set>
                                    <p:animEffect transition="in" filter="fade">
                                      <p:cBhvr>
                                        <p:cTn id="23" dur="500"/>
                                        <p:tgtEl>
                                          <p:spTgt spid="85"/>
                                        </p:tgtEl>
                                      </p:cBhvr>
                                    </p:animEffect>
                                  </p:childTnLst>
                                </p:cTn>
                              </p:par>
                              <p:par>
                                <p:cTn id="24" presetID="10" presetClass="entr" presetSubtype="0" fill="hold" nodeType="withEffect">
                                  <p:stCondLst>
                                    <p:cond delay="500"/>
                                  </p:stCondLst>
                                  <p:childTnLst>
                                    <p:set>
                                      <p:cBhvr>
                                        <p:cTn id="25" dur="1" fill="hold">
                                          <p:stCondLst>
                                            <p:cond delay="0"/>
                                          </p:stCondLst>
                                        </p:cTn>
                                        <p:tgtEl>
                                          <p:spTgt spid="91"/>
                                        </p:tgtEl>
                                        <p:attrNameLst>
                                          <p:attrName>style.visibility</p:attrName>
                                        </p:attrNameLst>
                                      </p:cBhvr>
                                      <p:to>
                                        <p:strVal val="visible"/>
                                      </p:to>
                                    </p:set>
                                    <p:animEffect transition="in" filter="fade">
                                      <p:cBhvr>
                                        <p:cTn id="26" dur="500"/>
                                        <p:tgtEl>
                                          <p:spTgt spid="91"/>
                                        </p:tgtEl>
                                      </p:cBhvr>
                                    </p:animEffect>
                                  </p:childTnLst>
                                </p:cTn>
                              </p:par>
                              <p:par>
                                <p:cTn id="27" presetID="10" presetClass="entr" presetSubtype="0" fill="hold" nodeType="withEffect">
                                  <p:stCondLst>
                                    <p:cond delay="500"/>
                                  </p:stCondLst>
                                  <p:childTnLst>
                                    <p:set>
                                      <p:cBhvr>
                                        <p:cTn id="28" dur="1" fill="hold">
                                          <p:stCondLst>
                                            <p:cond delay="0"/>
                                          </p:stCondLst>
                                        </p:cTn>
                                        <p:tgtEl>
                                          <p:spTgt spid="107"/>
                                        </p:tgtEl>
                                        <p:attrNameLst>
                                          <p:attrName>style.visibility</p:attrName>
                                        </p:attrNameLst>
                                      </p:cBhvr>
                                      <p:to>
                                        <p:strVal val="visible"/>
                                      </p:to>
                                    </p:set>
                                    <p:animEffect transition="in" filter="fade">
                                      <p:cBhvr>
                                        <p:cTn id="29" dur="500"/>
                                        <p:tgtEl>
                                          <p:spTgt spid="107"/>
                                        </p:tgtEl>
                                      </p:cBhvr>
                                    </p:animEffect>
                                  </p:childTnLst>
                                </p:cTn>
                              </p:par>
                              <p:par>
                                <p:cTn id="30" presetID="10" presetClass="entr" presetSubtype="0" fill="hold" grpId="0" nodeType="withEffect">
                                  <p:stCondLst>
                                    <p:cond delay="500"/>
                                  </p:stCondLst>
                                  <p:childTnLst>
                                    <p:set>
                                      <p:cBhvr>
                                        <p:cTn id="31" dur="1" fill="hold">
                                          <p:stCondLst>
                                            <p:cond delay="0"/>
                                          </p:stCondLst>
                                        </p:cTn>
                                        <p:tgtEl>
                                          <p:spTgt spid="152"/>
                                        </p:tgtEl>
                                        <p:attrNameLst>
                                          <p:attrName>style.visibility</p:attrName>
                                        </p:attrNameLst>
                                      </p:cBhvr>
                                      <p:to>
                                        <p:strVal val="visible"/>
                                      </p:to>
                                    </p:set>
                                    <p:animEffect transition="in" filter="fade">
                                      <p:cBhvr>
                                        <p:cTn id="32" dur="500"/>
                                        <p:tgtEl>
                                          <p:spTgt spid="152"/>
                                        </p:tgtEl>
                                      </p:cBhvr>
                                    </p:animEffect>
                                  </p:childTnLst>
                                </p:cTn>
                              </p:par>
                              <p:par>
                                <p:cTn id="33" presetID="10" presetClass="entr" presetSubtype="0" fill="hold" grpId="0" nodeType="withEffect">
                                  <p:stCondLst>
                                    <p:cond delay="500"/>
                                  </p:stCondLst>
                                  <p:childTnLst>
                                    <p:set>
                                      <p:cBhvr>
                                        <p:cTn id="34" dur="1" fill="hold">
                                          <p:stCondLst>
                                            <p:cond delay="0"/>
                                          </p:stCondLst>
                                        </p:cTn>
                                        <p:tgtEl>
                                          <p:spTgt spid="86"/>
                                        </p:tgtEl>
                                        <p:attrNameLst>
                                          <p:attrName>style.visibility</p:attrName>
                                        </p:attrNameLst>
                                      </p:cBhvr>
                                      <p:to>
                                        <p:strVal val="visible"/>
                                      </p:to>
                                    </p:set>
                                    <p:animEffect transition="in" filter="fade">
                                      <p:cBhvr>
                                        <p:cTn id="35" dur="500"/>
                                        <p:tgtEl>
                                          <p:spTgt spid="86"/>
                                        </p:tgtEl>
                                      </p:cBhvr>
                                    </p:animEffect>
                                  </p:childTnLst>
                                </p:cTn>
                              </p:par>
                            </p:childTnLst>
                          </p:cTn>
                        </p:par>
                        <p:par>
                          <p:cTn id="36" fill="hold">
                            <p:stCondLst>
                              <p:cond delay="1500"/>
                            </p:stCondLst>
                            <p:childTnLst>
                              <p:par>
                                <p:cTn id="37" presetID="10" presetClass="entr" presetSubtype="0" fill="hold" nodeType="afterEffect">
                                  <p:stCondLst>
                                    <p:cond delay="50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par>
                                <p:cTn id="40" presetID="10" presetClass="entr" presetSubtype="0" fill="hold" nodeType="withEffect">
                                  <p:stCondLst>
                                    <p:cond delay="500"/>
                                  </p:stCondLst>
                                  <p:childTnLst>
                                    <p:set>
                                      <p:cBhvr>
                                        <p:cTn id="41" dur="1" fill="hold">
                                          <p:stCondLst>
                                            <p:cond delay="0"/>
                                          </p:stCondLst>
                                        </p:cTn>
                                        <p:tgtEl>
                                          <p:spTgt spid="71"/>
                                        </p:tgtEl>
                                        <p:attrNameLst>
                                          <p:attrName>style.visibility</p:attrName>
                                        </p:attrNameLst>
                                      </p:cBhvr>
                                      <p:to>
                                        <p:strVal val="visible"/>
                                      </p:to>
                                    </p:set>
                                    <p:animEffect transition="in" filter="fade">
                                      <p:cBhvr>
                                        <p:cTn id="42" dur="500"/>
                                        <p:tgtEl>
                                          <p:spTgt spid="71"/>
                                        </p:tgtEl>
                                      </p:cBhvr>
                                    </p:animEffect>
                                  </p:childTnLst>
                                </p:cTn>
                              </p:par>
                              <p:par>
                                <p:cTn id="43" presetID="10" presetClass="entr" presetSubtype="0" fill="hold" nodeType="withEffect">
                                  <p:stCondLst>
                                    <p:cond delay="50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500"/>
                                        <p:tgtEl>
                                          <p:spTgt spid="11"/>
                                        </p:tgtEl>
                                      </p:cBhvr>
                                    </p:animEffect>
                                  </p:childTnLst>
                                </p:cTn>
                              </p:par>
                              <p:par>
                                <p:cTn id="46" presetID="10" presetClass="entr" presetSubtype="0" fill="hold" grpId="0" nodeType="withEffect">
                                  <p:stCondLst>
                                    <p:cond delay="500"/>
                                  </p:stCondLst>
                                  <p:childTnLst>
                                    <p:set>
                                      <p:cBhvr>
                                        <p:cTn id="47" dur="1" fill="hold">
                                          <p:stCondLst>
                                            <p:cond delay="0"/>
                                          </p:stCondLst>
                                        </p:cTn>
                                        <p:tgtEl>
                                          <p:spTgt spid="154"/>
                                        </p:tgtEl>
                                        <p:attrNameLst>
                                          <p:attrName>style.visibility</p:attrName>
                                        </p:attrNameLst>
                                      </p:cBhvr>
                                      <p:to>
                                        <p:strVal val="visible"/>
                                      </p:to>
                                    </p:set>
                                    <p:animEffect transition="in" filter="fade">
                                      <p:cBhvr>
                                        <p:cTn id="48" dur="500"/>
                                        <p:tgtEl>
                                          <p:spTgt spid="154"/>
                                        </p:tgtEl>
                                      </p:cBhvr>
                                    </p:animEffect>
                                  </p:childTnLst>
                                </p:cTn>
                              </p:par>
                              <p:par>
                                <p:cTn id="49" presetID="10" presetClass="entr" presetSubtype="0" fill="hold" grpId="0" nodeType="withEffect">
                                  <p:stCondLst>
                                    <p:cond delay="500"/>
                                  </p:stCondLst>
                                  <p:childTnLst>
                                    <p:set>
                                      <p:cBhvr>
                                        <p:cTn id="50" dur="1" fill="hold">
                                          <p:stCondLst>
                                            <p:cond delay="0"/>
                                          </p:stCondLst>
                                        </p:cTn>
                                        <p:tgtEl>
                                          <p:spTgt spid="122"/>
                                        </p:tgtEl>
                                        <p:attrNameLst>
                                          <p:attrName>style.visibility</p:attrName>
                                        </p:attrNameLst>
                                      </p:cBhvr>
                                      <p:to>
                                        <p:strVal val="visible"/>
                                      </p:to>
                                    </p:set>
                                    <p:animEffect transition="in" filter="fade">
                                      <p:cBhvr>
                                        <p:cTn id="51" dur="500"/>
                                        <p:tgtEl>
                                          <p:spTgt spid="122"/>
                                        </p:tgtEl>
                                      </p:cBhvr>
                                    </p:animEffect>
                                  </p:childTnLst>
                                </p:cTn>
                              </p:par>
                            </p:childTnLst>
                          </p:cTn>
                        </p:par>
                        <p:par>
                          <p:cTn id="52" fill="hold">
                            <p:stCondLst>
                              <p:cond delay="2500"/>
                            </p:stCondLst>
                            <p:childTnLst>
                              <p:par>
                                <p:cTn id="53" presetID="10" presetClass="entr" presetSubtype="0" fill="hold" grpId="0" nodeType="afterEffect">
                                  <p:stCondLst>
                                    <p:cond delay="500"/>
                                  </p:stCondLst>
                                  <p:childTnLst>
                                    <p:set>
                                      <p:cBhvr>
                                        <p:cTn id="54" dur="1" fill="hold">
                                          <p:stCondLst>
                                            <p:cond delay="0"/>
                                          </p:stCondLst>
                                        </p:cTn>
                                        <p:tgtEl>
                                          <p:spTgt spid="62"/>
                                        </p:tgtEl>
                                        <p:attrNameLst>
                                          <p:attrName>style.visibility</p:attrName>
                                        </p:attrNameLst>
                                      </p:cBhvr>
                                      <p:to>
                                        <p:strVal val="visible"/>
                                      </p:to>
                                    </p:set>
                                    <p:animEffect transition="in" filter="fade">
                                      <p:cBhvr>
                                        <p:cTn id="55" dur="500"/>
                                        <p:tgtEl>
                                          <p:spTgt spid="62"/>
                                        </p:tgtEl>
                                      </p:cBhvr>
                                    </p:animEffect>
                                  </p:childTnLst>
                                </p:cTn>
                              </p:par>
                              <p:par>
                                <p:cTn id="56" presetID="10" presetClass="entr" presetSubtype="0" fill="hold" nodeType="withEffect">
                                  <p:stCondLst>
                                    <p:cond delay="500"/>
                                  </p:stCondLst>
                                  <p:childTnLst>
                                    <p:set>
                                      <p:cBhvr>
                                        <p:cTn id="57" dur="1" fill="hold">
                                          <p:stCondLst>
                                            <p:cond delay="0"/>
                                          </p:stCondLst>
                                        </p:cTn>
                                        <p:tgtEl>
                                          <p:spTgt spid="93"/>
                                        </p:tgtEl>
                                        <p:attrNameLst>
                                          <p:attrName>style.visibility</p:attrName>
                                        </p:attrNameLst>
                                      </p:cBhvr>
                                      <p:to>
                                        <p:strVal val="visible"/>
                                      </p:to>
                                    </p:set>
                                    <p:animEffect transition="in" filter="fade">
                                      <p:cBhvr>
                                        <p:cTn id="58" dur="500"/>
                                        <p:tgtEl>
                                          <p:spTgt spid="93"/>
                                        </p:tgtEl>
                                      </p:cBhvr>
                                    </p:animEffect>
                                  </p:childTnLst>
                                </p:cTn>
                              </p:par>
                              <p:par>
                                <p:cTn id="59" presetID="10" presetClass="entr" presetSubtype="0" fill="hold" nodeType="withEffect">
                                  <p:stCondLst>
                                    <p:cond delay="50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par>
                                <p:cTn id="62" presetID="10" presetClass="entr" presetSubtype="0" fill="hold" nodeType="withEffect">
                                  <p:stCondLst>
                                    <p:cond delay="500"/>
                                  </p:stCondLst>
                                  <p:childTnLst>
                                    <p:set>
                                      <p:cBhvr>
                                        <p:cTn id="63" dur="1" fill="hold">
                                          <p:stCondLst>
                                            <p:cond delay="0"/>
                                          </p:stCondLst>
                                        </p:cTn>
                                        <p:tgtEl>
                                          <p:spTgt spid="148"/>
                                        </p:tgtEl>
                                        <p:attrNameLst>
                                          <p:attrName>style.visibility</p:attrName>
                                        </p:attrNameLst>
                                      </p:cBhvr>
                                      <p:to>
                                        <p:strVal val="visible"/>
                                      </p:to>
                                    </p:set>
                                    <p:animEffect transition="in" filter="fade">
                                      <p:cBhvr>
                                        <p:cTn id="64" dur="500"/>
                                        <p:tgtEl>
                                          <p:spTgt spid="148"/>
                                        </p:tgtEl>
                                      </p:cBhvr>
                                    </p:animEffect>
                                  </p:childTnLst>
                                </p:cTn>
                              </p:par>
                              <p:par>
                                <p:cTn id="65" presetID="10" presetClass="entr" presetSubtype="0" fill="hold" grpId="0" nodeType="withEffect">
                                  <p:stCondLst>
                                    <p:cond delay="500"/>
                                  </p:stCondLst>
                                  <p:childTnLst>
                                    <p:set>
                                      <p:cBhvr>
                                        <p:cTn id="66" dur="1" fill="hold">
                                          <p:stCondLst>
                                            <p:cond delay="0"/>
                                          </p:stCondLst>
                                        </p:cTn>
                                        <p:tgtEl>
                                          <p:spTgt spid="155"/>
                                        </p:tgtEl>
                                        <p:attrNameLst>
                                          <p:attrName>style.visibility</p:attrName>
                                        </p:attrNameLst>
                                      </p:cBhvr>
                                      <p:to>
                                        <p:strVal val="visible"/>
                                      </p:to>
                                    </p:set>
                                    <p:animEffect transition="in" filter="fade">
                                      <p:cBhvr>
                                        <p:cTn id="67" dur="500"/>
                                        <p:tgtEl>
                                          <p:spTgt spid="155"/>
                                        </p:tgtEl>
                                      </p:cBhvr>
                                    </p:animEffect>
                                  </p:childTnLst>
                                </p:cTn>
                              </p:par>
                            </p:childTnLst>
                          </p:cTn>
                        </p:par>
                        <p:par>
                          <p:cTn id="68" fill="hold">
                            <p:stCondLst>
                              <p:cond delay="3500"/>
                            </p:stCondLst>
                            <p:childTnLst>
                              <p:par>
                                <p:cTn id="69" presetID="10" presetClass="entr" presetSubtype="0" fill="hold" grpId="0" nodeType="afterEffect">
                                  <p:stCondLst>
                                    <p:cond delay="500"/>
                                  </p:stCondLst>
                                  <p:childTnLst>
                                    <p:set>
                                      <p:cBhvr>
                                        <p:cTn id="70" dur="1" fill="hold">
                                          <p:stCondLst>
                                            <p:cond delay="0"/>
                                          </p:stCondLst>
                                        </p:cTn>
                                        <p:tgtEl>
                                          <p:spTgt spid="123"/>
                                        </p:tgtEl>
                                        <p:attrNameLst>
                                          <p:attrName>style.visibility</p:attrName>
                                        </p:attrNameLst>
                                      </p:cBhvr>
                                      <p:to>
                                        <p:strVal val="visible"/>
                                      </p:to>
                                    </p:set>
                                    <p:animEffect transition="in" filter="fade">
                                      <p:cBhvr>
                                        <p:cTn id="71" dur="500"/>
                                        <p:tgtEl>
                                          <p:spTgt spid="123"/>
                                        </p:tgtEl>
                                      </p:cBhvr>
                                    </p:animEffect>
                                  </p:childTnLst>
                                </p:cTn>
                              </p:par>
                              <p:par>
                                <p:cTn id="72" presetID="10" presetClass="entr" presetSubtype="0" fill="hold" nodeType="withEffect">
                                  <p:stCondLst>
                                    <p:cond delay="500"/>
                                  </p:stCondLst>
                                  <p:childTnLst>
                                    <p:set>
                                      <p:cBhvr>
                                        <p:cTn id="73" dur="1" fill="hold">
                                          <p:stCondLst>
                                            <p:cond delay="0"/>
                                          </p:stCondLst>
                                        </p:cTn>
                                        <p:tgtEl>
                                          <p:spTgt spid="142"/>
                                        </p:tgtEl>
                                        <p:attrNameLst>
                                          <p:attrName>style.visibility</p:attrName>
                                        </p:attrNameLst>
                                      </p:cBhvr>
                                      <p:to>
                                        <p:strVal val="visible"/>
                                      </p:to>
                                    </p:set>
                                    <p:animEffect transition="in" filter="fade">
                                      <p:cBhvr>
                                        <p:cTn id="74" dur="500"/>
                                        <p:tgtEl>
                                          <p:spTgt spid="142"/>
                                        </p:tgtEl>
                                      </p:cBhvr>
                                    </p:animEffect>
                                  </p:childTnLst>
                                </p:cTn>
                              </p:par>
                              <p:par>
                                <p:cTn id="75" presetID="10" presetClass="entr" presetSubtype="0" fill="hold" grpId="0" nodeType="withEffect">
                                  <p:stCondLst>
                                    <p:cond delay="500"/>
                                  </p:stCondLst>
                                  <p:childTnLst>
                                    <p:set>
                                      <p:cBhvr>
                                        <p:cTn id="76" dur="1" fill="hold">
                                          <p:stCondLst>
                                            <p:cond delay="0"/>
                                          </p:stCondLst>
                                        </p:cTn>
                                        <p:tgtEl>
                                          <p:spTgt spid="156"/>
                                        </p:tgtEl>
                                        <p:attrNameLst>
                                          <p:attrName>style.visibility</p:attrName>
                                        </p:attrNameLst>
                                      </p:cBhvr>
                                      <p:to>
                                        <p:strVal val="visible"/>
                                      </p:to>
                                    </p:set>
                                    <p:animEffect transition="in" filter="fade">
                                      <p:cBhvr>
                                        <p:cTn id="77" dur="500"/>
                                        <p:tgtEl>
                                          <p:spTgt spid="156"/>
                                        </p:tgtEl>
                                      </p:cBhvr>
                                    </p:animEffect>
                                  </p:childTnLst>
                                </p:cTn>
                              </p:par>
                            </p:childTnLst>
                          </p:cTn>
                        </p:par>
                        <p:par>
                          <p:cTn id="78" fill="hold">
                            <p:stCondLst>
                              <p:cond delay="4500"/>
                            </p:stCondLst>
                            <p:childTnLst>
                              <p:par>
                                <p:cTn id="79" presetID="10" presetClass="entr" presetSubtype="0" fill="hold" grpId="0" nodeType="afterEffect">
                                  <p:stCondLst>
                                    <p:cond delay="500"/>
                                  </p:stCondLst>
                                  <p:childTnLst>
                                    <p:set>
                                      <p:cBhvr>
                                        <p:cTn id="80" dur="1" fill="hold">
                                          <p:stCondLst>
                                            <p:cond delay="0"/>
                                          </p:stCondLst>
                                        </p:cTn>
                                        <p:tgtEl>
                                          <p:spTgt spid="89"/>
                                        </p:tgtEl>
                                        <p:attrNameLst>
                                          <p:attrName>style.visibility</p:attrName>
                                        </p:attrNameLst>
                                      </p:cBhvr>
                                      <p:to>
                                        <p:strVal val="visible"/>
                                      </p:to>
                                    </p:set>
                                    <p:animEffect transition="in" filter="fade">
                                      <p:cBhvr>
                                        <p:cTn id="81" dur="500"/>
                                        <p:tgtEl>
                                          <p:spTgt spid="89"/>
                                        </p:tgtEl>
                                      </p:cBhvr>
                                    </p:animEffect>
                                  </p:childTnLst>
                                </p:cTn>
                              </p:par>
                              <p:par>
                                <p:cTn id="82" presetID="10" presetClass="entr" presetSubtype="0" fill="hold" nodeType="withEffect">
                                  <p:stCondLst>
                                    <p:cond delay="500"/>
                                  </p:stCondLst>
                                  <p:childTnLst>
                                    <p:set>
                                      <p:cBhvr>
                                        <p:cTn id="83" dur="1" fill="hold">
                                          <p:stCondLst>
                                            <p:cond delay="0"/>
                                          </p:stCondLst>
                                        </p:cTn>
                                        <p:tgtEl>
                                          <p:spTgt spid="17"/>
                                        </p:tgtEl>
                                        <p:attrNameLst>
                                          <p:attrName>style.visibility</p:attrName>
                                        </p:attrNameLst>
                                      </p:cBhvr>
                                      <p:to>
                                        <p:strVal val="visible"/>
                                      </p:to>
                                    </p:set>
                                    <p:animEffect transition="in" filter="fade">
                                      <p:cBhvr>
                                        <p:cTn id="84" dur="500"/>
                                        <p:tgtEl>
                                          <p:spTgt spid="17"/>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157"/>
                                        </p:tgtEl>
                                        <p:attrNameLst>
                                          <p:attrName>style.visibility</p:attrName>
                                        </p:attrNameLst>
                                      </p:cBhvr>
                                      <p:to>
                                        <p:strVal val="visible"/>
                                      </p:to>
                                    </p:set>
                                    <p:animEffect transition="in" filter="fade">
                                      <p:cBhvr>
                                        <p:cTn id="87" dur="500"/>
                                        <p:tgtEl>
                                          <p:spTgt spid="1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62" grpId="0"/>
      <p:bldP spid="122" grpId="0"/>
      <p:bldP spid="123" grpId="0"/>
      <p:bldP spid="85" grpId="0"/>
      <p:bldP spid="86" grpId="0"/>
      <p:bldP spid="89" grpId="0"/>
      <p:bldP spid="128" grpId="0" animBg="1"/>
      <p:bldP spid="152" grpId="0" animBg="1"/>
      <p:bldP spid="154" grpId="0" animBg="1"/>
      <p:bldP spid="155" grpId="0" animBg="1"/>
      <p:bldP spid="156" grpId="0" animBg="1"/>
      <p:bldP spid="157"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51C0DF2-3DB4-4E53-B090-90339AC32E84}"/>
              </a:ext>
            </a:extLst>
          </p:cNvPr>
          <p:cNvSpPr txBox="1"/>
          <p:nvPr/>
        </p:nvSpPr>
        <p:spPr>
          <a:xfrm>
            <a:off x="-12995700" y="3408306"/>
            <a:ext cx="12970399" cy="738585"/>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a:ea typeface="+mn-ea"/>
                <a:cs typeface="+mn-cs"/>
              </a:rPr>
              <a:t>01010100101001011101101001001001011010100100010001111010010101010010100101010010100101110110100100100101101010010001000111101001010101001010001010010111011010010010010110101001000100011110100101010100101001010100101001011101101001</a:t>
            </a:r>
          </a:p>
        </p:txBody>
      </p:sp>
      <p:sp>
        <p:nvSpPr>
          <p:cNvPr id="12" name="Rectangle 11">
            <a:extLst>
              <a:ext uri="{FF2B5EF4-FFF2-40B4-BE49-F238E27FC236}">
                <a16:creationId xmlns:a16="http://schemas.microsoft.com/office/drawing/2014/main" id="{B252A604-69C1-4219-A4D6-A0B60DE21CD3}"/>
              </a:ext>
            </a:extLst>
          </p:cNvPr>
          <p:cNvSpPr/>
          <p:nvPr/>
        </p:nvSpPr>
        <p:spPr bwMode="auto">
          <a:xfrm>
            <a:off x="2014165" y="3267449"/>
            <a:ext cx="10177836" cy="11697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Oval 1">
            <a:extLst>
              <a:ext uri="{FF2B5EF4-FFF2-40B4-BE49-F238E27FC236}">
                <a16:creationId xmlns:a16="http://schemas.microsoft.com/office/drawing/2014/main" id="{D36671B2-4E12-4BC1-8BE4-D4F2BCF2BF04}"/>
              </a:ext>
            </a:extLst>
          </p:cNvPr>
          <p:cNvSpPr/>
          <p:nvPr/>
        </p:nvSpPr>
        <p:spPr bwMode="auto">
          <a:xfrm>
            <a:off x="3411800" y="1679472"/>
            <a:ext cx="4571352" cy="4571352"/>
          </a:xfrm>
          <a:prstGeom prst="ellipse">
            <a:avLst/>
          </a:prstGeom>
          <a:ln w="12700" cap="sq">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1B76C33A-6A1B-49F3-9D07-E2C6BF2A6241}"/>
              </a:ext>
            </a:extLst>
          </p:cNvPr>
          <p:cNvSpPr/>
          <p:nvPr/>
        </p:nvSpPr>
        <p:spPr bwMode="auto">
          <a:xfrm rot="20621471">
            <a:off x="7467590" y="2694127"/>
            <a:ext cx="594471" cy="134273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2" name="Rectangle 231">
            <a:extLst>
              <a:ext uri="{FF2B5EF4-FFF2-40B4-BE49-F238E27FC236}">
                <a16:creationId xmlns:a16="http://schemas.microsoft.com/office/drawing/2014/main" id="{6ACD0EFB-3AC7-0D4B-B247-3A3CF740EE93}"/>
              </a:ext>
            </a:extLst>
          </p:cNvPr>
          <p:cNvSpPr/>
          <p:nvPr/>
        </p:nvSpPr>
        <p:spPr bwMode="auto">
          <a:xfrm>
            <a:off x="3893572" y="4981096"/>
            <a:ext cx="855548" cy="12946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1" name="Rectangle 230">
            <a:extLst>
              <a:ext uri="{FF2B5EF4-FFF2-40B4-BE49-F238E27FC236}">
                <a16:creationId xmlns:a16="http://schemas.microsoft.com/office/drawing/2014/main" id="{92F9C066-AD08-7A4A-ACC1-A6EE38C27EA2}"/>
              </a:ext>
            </a:extLst>
          </p:cNvPr>
          <p:cNvSpPr/>
          <p:nvPr/>
        </p:nvSpPr>
        <p:spPr bwMode="auto">
          <a:xfrm>
            <a:off x="7072816" y="5204915"/>
            <a:ext cx="997214" cy="10772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E701A103-15AE-AE4A-9B9F-68B0C0A71AEA}"/>
              </a:ext>
            </a:extLst>
          </p:cNvPr>
          <p:cNvSpPr/>
          <p:nvPr/>
        </p:nvSpPr>
        <p:spPr bwMode="auto">
          <a:xfrm>
            <a:off x="2998073" y="2888820"/>
            <a:ext cx="875809" cy="1744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DE017E3F-3E60-6646-95ED-C8AC58A29378}"/>
              </a:ext>
            </a:extLst>
          </p:cNvPr>
          <p:cNvSpPr>
            <a:spLocks noGrp="1"/>
          </p:cNvSpPr>
          <p:nvPr>
            <p:ph type="title"/>
          </p:nvPr>
        </p:nvSpPr>
        <p:spPr/>
        <p:txBody>
          <a:bodyPr/>
          <a:lstStyle/>
          <a:p>
            <a:r>
              <a:rPr lang="en-US" dirty="0"/>
              <a:t>DevOps loop for data science </a:t>
            </a:r>
          </a:p>
        </p:txBody>
      </p:sp>
      <p:sp>
        <p:nvSpPr>
          <p:cNvPr id="66" name="TextBox 65">
            <a:extLst>
              <a:ext uri="{FF2B5EF4-FFF2-40B4-BE49-F238E27FC236}">
                <a16:creationId xmlns:a16="http://schemas.microsoft.com/office/drawing/2014/main" id="{8FA439E5-4D66-114D-8614-9F56DC680B52}"/>
              </a:ext>
            </a:extLst>
          </p:cNvPr>
          <p:cNvSpPr txBox="1"/>
          <p:nvPr/>
        </p:nvSpPr>
        <p:spPr>
          <a:xfrm>
            <a:off x="635778" y="5303350"/>
            <a:ext cx="954542" cy="421910"/>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371" b="0" i="0" u="none" strike="noStrike" kern="1200" cap="none" spc="0" normalizeH="0" baseline="0" noProof="0" dirty="0">
                <a:ln>
                  <a:noFill/>
                </a:ln>
                <a:solidFill>
                  <a:prstClr val="black"/>
                </a:solidFill>
                <a:effectLst/>
                <a:uLnTx/>
                <a:uFillTx/>
                <a:latin typeface="Segoe UI"/>
                <a:ea typeface="+mn-ea"/>
                <a:cs typeface="+mn-cs"/>
              </a:rPr>
              <a:t>Prepare Data</a:t>
            </a:r>
          </a:p>
        </p:txBody>
      </p:sp>
      <p:sp>
        <p:nvSpPr>
          <p:cNvPr id="71" name="Rectangle 41">
            <a:extLst>
              <a:ext uri="{FF2B5EF4-FFF2-40B4-BE49-F238E27FC236}">
                <a16:creationId xmlns:a16="http://schemas.microsoft.com/office/drawing/2014/main" id="{E408D5CA-3289-DC43-AAA8-A7CF8AA7B237}"/>
              </a:ext>
            </a:extLst>
          </p:cNvPr>
          <p:cNvSpPr>
            <a:spLocks noChangeArrowheads="1"/>
          </p:cNvSpPr>
          <p:nvPr/>
        </p:nvSpPr>
        <p:spPr bwMode="auto">
          <a:xfrm>
            <a:off x="680972" y="1906666"/>
            <a:ext cx="95009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ctr" defTabSz="621707" rtl="0" eaLnBrk="0" fontAlgn="base" latinLnBrk="0" hangingPunct="0">
              <a:lnSpc>
                <a:spcPct val="100000"/>
              </a:lnSpc>
              <a:spcBef>
                <a:spcPct val="0"/>
              </a:spcBef>
              <a:spcAft>
                <a:spcPct val="0"/>
              </a:spcAft>
              <a:buClrTx/>
              <a:buSzTx/>
              <a:buFontTx/>
              <a:buNone/>
              <a:tabLst/>
              <a:defRPr/>
            </a:pPr>
            <a:r>
              <a:rPr kumimoji="0" lang="en-US" altLang="en-US" sz="2000" b="1" i="0" u="none" strike="noStrike" kern="0" cap="none" spc="0" normalizeH="0" baseline="0" noProof="0" dirty="0">
                <a:ln>
                  <a:noFill/>
                </a:ln>
                <a:solidFill>
                  <a:srgbClr val="0078D4"/>
                </a:solidFill>
                <a:effectLst/>
                <a:uLnTx/>
                <a:uFillTx/>
                <a:latin typeface="Segoe UI Semibold" panose="020B0702040204020203" pitchFamily="34" charset="0"/>
                <a:ea typeface="+mn-ea"/>
                <a:cs typeface="+mn-cs"/>
              </a:rPr>
              <a:t>Prepare</a:t>
            </a:r>
          </a:p>
        </p:txBody>
      </p:sp>
      <p:cxnSp>
        <p:nvCxnSpPr>
          <p:cNvPr id="72" name="Straight Connector 71">
            <a:extLst>
              <a:ext uri="{FF2B5EF4-FFF2-40B4-BE49-F238E27FC236}">
                <a16:creationId xmlns:a16="http://schemas.microsoft.com/office/drawing/2014/main" id="{746CF7DB-25B4-F349-A833-6E872F5FB3AE}"/>
              </a:ext>
            </a:extLst>
          </p:cNvPr>
          <p:cNvCxnSpPr>
            <a:cxnSpLocks/>
          </p:cNvCxnSpPr>
          <p:nvPr/>
        </p:nvCxnSpPr>
        <p:spPr>
          <a:xfrm flipV="1">
            <a:off x="2070888" y="1949687"/>
            <a:ext cx="2223" cy="1477387"/>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0E6ED5B-A379-7547-A9BA-8AF3184E8E91}"/>
              </a:ext>
            </a:extLst>
          </p:cNvPr>
          <p:cNvCxnSpPr>
            <a:cxnSpLocks/>
          </p:cNvCxnSpPr>
          <p:nvPr/>
        </p:nvCxnSpPr>
        <p:spPr>
          <a:xfrm flipV="1">
            <a:off x="2071999" y="4116987"/>
            <a:ext cx="0" cy="1730293"/>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4" name="Group 73">
            <a:extLst>
              <a:ext uri="{FF2B5EF4-FFF2-40B4-BE49-F238E27FC236}">
                <a16:creationId xmlns:a16="http://schemas.microsoft.com/office/drawing/2014/main" id="{74DFD6A6-4106-A94A-A4E9-0C97AFD2F402}"/>
              </a:ext>
            </a:extLst>
          </p:cNvPr>
          <p:cNvGrpSpPr/>
          <p:nvPr/>
        </p:nvGrpSpPr>
        <p:grpSpPr>
          <a:xfrm>
            <a:off x="901637" y="4229014"/>
            <a:ext cx="491513" cy="500986"/>
            <a:chOff x="7158422" y="1607015"/>
            <a:chExt cx="2726357" cy="2778897"/>
          </a:xfrm>
          <a:solidFill>
            <a:schemeClr val="bg1"/>
          </a:solidFill>
        </p:grpSpPr>
        <p:sp>
          <p:nvSpPr>
            <p:cNvPr id="75" name="Freeform 242">
              <a:extLst>
                <a:ext uri="{FF2B5EF4-FFF2-40B4-BE49-F238E27FC236}">
                  <a16:creationId xmlns:a16="http://schemas.microsoft.com/office/drawing/2014/main" id="{6C9E158D-2B62-DC40-9621-C10AA50EC951}"/>
                </a:ext>
              </a:extLst>
            </p:cNvPr>
            <p:cNvSpPr/>
            <p:nvPr/>
          </p:nvSpPr>
          <p:spPr bwMode="auto">
            <a:xfrm>
              <a:off x="7158422" y="2971800"/>
              <a:ext cx="2726357" cy="1414112"/>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rnd">
              <a:solidFill>
                <a:schemeClr val="tx2"/>
              </a:solidFill>
              <a:miter lim="800000"/>
              <a:headEnd/>
              <a:tailEnd/>
            </a:ln>
            <a:effectLst/>
          </p:spPr>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6" name="Diamond 75">
              <a:extLst>
                <a:ext uri="{FF2B5EF4-FFF2-40B4-BE49-F238E27FC236}">
                  <a16:creationId xmlns:a16="http://schemas.microsoft.com/office/drawing/2014/main" id="{1BF9F361-A908-084A-A6A9-5386662A013B}"/>
                </a:ext>
              </a:extLst>
            </p:cNvPr>
            <p:cNvSpPr/>
            <p:nvPr/>
          </p:nvSpPr>
          <p:spPr bwMode="auto">
            <a:xfrm>
              <a:off x="7158422" y="2521415"/>
              <a:ext cx="2726357" cy="1414112"/>
            </a:xfrm>
            <a:prstGeom prst="diamond">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7" name="Freeform 243">
              <a:extLst>
                <a:ext uri="{FF2B5EF4-FFF2-40B4-BE49-F238E27FC236}">
                  <a16:creationId xmlns:a16="http://schemas.microsoft.com/office/drawing/2014/main" id="{718CF2BE-B935-524B-8086-F5FEBF936D80}"/>
                </a:ext>
              </a:extLst>
            </p:cNvPr>
            <p:cNvSpPr/>
            <p:nvPr/>
          </p:nvSpPr>
          <p:spPr bwMode="auto">
            <a:xfrm>
              <a:off x="7158422" y="2057400"/>
              <a:ext cx="2726357" cy="1414112"/>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rnd">
              <a:solidFill>
                <a:schemeClr val="tx2"/>
              </a:solidFill>
              <a:miter lim="800000"/>
              <a:headEnd/>
              <a:tailEnd/>
            </a:ln>
            <a:effectLst/>
          </p:spPr>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8" name="Diamond 77">
              <a:extLst>
                <a:ext uri="{FF2B5EF4-FFF2-40B4-BE49-F238E27FC236}">
                  <a16:creationId xmlns:a16="http://schemas.microsoft.com/office/drawing/2014/main" id="{7FAAF3D0-EBBD-E341-A6DC-5F52661CA651}"/>
                </a:ext>
              </a:extLst>
            </p:cNvPr>
            <p:cNvSpPr/>
            <p:nvPr/>
          </p:nvSpPr>
          <p:spPr bwMode="auto">
            <a:xfrm>
              <a:off x="7158422" y="1607015"/>
              <a:ext cx="2726357" cy="1414112"/>
            </a:xfrm>
            <a:prstGeom prst="diamond">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80" name="Freeform: Shape 830">
            <a:extLst>
              <a:ext uri="{FF2B5EF4-FFF2-40B4-BE49-F238E27FC236}">
                <a16:creationId xmlns:a16="http://schemas.microsoft.com/office/drawing/2014/main" id="{C4539FC2-1636-2F4E-8331-200A17A6A478}"/>
              </a:ext>
            </a:extLst>
          </p:cNvPr>
          <p:cNvSpPr>
            <a:spLocks noChangeArrowheads="1"/>
          </p:cNvSpPr>
          <p:nvPr/>
        </p:nvSpPr>
        <p:spPr bwMode="auto">
          <a:xfrm>
            <a:off x="939836" y="2825295"/>
            <a:ext cx="441681" cy="601179"/>
          </a:xfrm>
          <a:custGeom>
            <a:avLst/>
            <a:gdLst>
              <a:gd name="connsiteX0" fmla="*/ 1913 w 3330348"/>
              <a:gd name="connsiteY0" fmla="*/ 3068274 h 4532979"/>
              <a:gd name="connsiteX1" fmla="*/ 33829 w 3330348"/>
              <a:gd name="connsiteY1" fmla="*/ 3129345 h 4532979"/>
              <a:gd name="connsiteX2" fmla="*/ 1665174 w 3330348"/>
              <a:gd name="connsiteY2" fmla="*/ 3385824 h 4532979"/>
              <a:gd name="connsiteX3" fmla="*/ 3296519 w 3330348"/>
              <a:gd name="connsiteY3" fmla="*/ 3129345 h 4532979"/>
              <a:gd name="connsiteX4" fmla="*/ 3328434 w 3330348"/>
              <a:gd name="connsiteY4" fmla="*/ 3068274 h 4532979"/>
              <a:gd name="connsiteX5" fmla="*/ 3330348 w 3330348"/>
              <a:gd name="connsiteY5" fmla="*/ 4211766 h 4532979"/>
              <a:gd name="connsiteX6" fmla="*/ 1665174 w 3330348"/>
              <a:gd name="connsiteY6" fmla="*/ 4532979 h 4532979"/>
              <a:gd name="connsiteX7" fmla="*/ 0 w 3330348"/>
              <a:gd name="connsiteY7" fmla="*/ 4211766 h 4532979"/>
              <a:gd name="connsiteX8" fmla="*/ 1913 w 3330348"/>
              <a:gd name="connsiteY8" fmla="*/ 3068274 h 4532979"/>
              <a:gd name="connsiteX9" fmla="*/ 1913 w 3330348"/>
              <a:gd name="connsiteY9" fmla="*/ 1762531 h 4532979"/>
              <a:gd name="connsiteX10" fmla="*/ 33829 w 3330348"/>
              <a:gd name="connsiteY10" fmla="*/ 1823602 h 4532979"/>
              <a:gd name="connsiteX11" fmla="*/ 1665174 w 3330348"/>
              <a:gd name="connsiteY11" fmla="*/ 2080081 h 4532979"/>
              <a:gd name="connsiteX12" fmla="*/ 3296519 w 3330348"/>
              <a:gd name="connsiteY12" fmla="*/ 1823602 h 4532979"/>
              <a:gd name="connsiteX13" fmla="*/ 3328434 w 3330348"/>
              <a:gd name="connsiteY13" fmla="*/ 1762531 h 4532979"/>
              <a:gd name="connsiteX14" fmla="*/ 3330348 w 3330348"/>
              <a:gd name="connsiteY14" fmla="*/ 2906023 h 4532979"/>
              <a:gd name="connsiteX15" fmla="*/ 1665174 w 3330348"/>
              <a:gd name="connsiteY15" fmla="*/ 3227236 h 4532979"/>
              <a:gd name="connsiteX16" fmla="*/ 0 w 3330348"/>
              <a:gd name="connsiteY16" fmla="*/ 2906023 h 4532979"/>
              <a:gd name="connsiteX17" fmla="*/ 1913 w 3330348"/>
              <a:gd name="connsiteY17" fmla="*/ 1762531 h 4532979"/>
              <a:gd name="connsiteX18" fmla="*/ 1913 w 3330348"/>
              <a:gd name="connsiteY18" fmla="*/ 456788 h 4532979"/>
              <a:gd name="connsiteX19" fmla="*/ 33829 w 3330348"/>
              <a:gd name="connsiteY19" fmla="*/ 517859 h 4532979"/>
              <a:gd name="connsiteX20" fmla="*/ 1665174 w 3330348"/>
              <a:gd name="connsiteY20" fmla="*/ 774338 h 4532979"/>
              <a:gd name="connsiteX21" fmla="*/ 3296519 w 3330348"/>
              <a:gd name="connsiteY21" fmla="*/ 517859 h 4532979"/>
              <a:gd name="connsiteX22" fmla="*/ 3328434 w 3330348"/>
              <a:gd name="connsiteY22" fmla="*/ 456788 h 4532979"/>
              <a:gd name="connsiteX23" fmla="*/ 3330348 w 3330348"/>
              <a:gd name="connsiteY23" fmla="*/ 1600280 h 4532979"/>
              <a:gd name="connsiteX24" fmla="*/ 1665174 w 3330348"/>
              <a:gd name="connsiteY24" fmla="*/ 1921493 h 4532979"/>
              <a:gd name="connsiteX25" fmla="*/ 0 w 3330348"/>
              <a:gd name="connsiteY25" fmla="*/ 1600280 h 4532979"/>
              <a:gd name="connsiteX26" fmla="*/ 1913 w 3330348"/>
              <a:gd name="connsiteY26" fmla="*/ 456788 h 4532979"/>
              <a:gd name="connsiteX27" fmla="*/ 1665174 w 3330348"/>
              <a:gd name="connsiteY27" fmla="*/ 0 h 4532979"/>
              <a:gd name="connsiteX28" fmla="*/ 3267703 w 3330348"/>
              <a:gd name="connsiteY28" fmla="*/ 309127 h 4532979"/>
              <a:gd name="connsiteX29" fmla="*/ 1665174 w 3330348"/>
              <a:gd name="connsiteY29" fmla="*/ 618254 h 4532979"/>
              <a:gd name="connsiteX30" fmla="*/ 62645 w 3330348"/>
              <a:gd name="connsiteY30" fmla="*/ 309127 h 4532979"/>
              <a:gd name="connsiteX31" fmla="*/ 1665174 w 3330348"/>
              <a:gd name="connsiteY31" fmla="*/ 0 h 4532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30348" h="4532979">
                <a:moveTo>
                  <a:pt x="1913" y="3068274"/>
                </a:moveTo>
                <a:cubicBezTo>
                  <a:pt x="12552" y="3088631"/>
                  <a:pt x="12431" y="3109172"/>
                  <a:pt x="33829" y="3129345"/>
                </a:cubicBezTo>
                <a:cubicBezTo>
                  <a:pt x="189101" y="3275719"/>
                  <a:pt x="860482" y="3385824"/>
                  <a:pt x="1665174" y="3385824"/>
                </a:cubicBezTo>
                <a:cubicBezTo>
                  <a:pt x="2469867" y="3385824"/>
                  <a:pt x="3141247" y="3275719"/>
                  <a:pt x="3296519" y="3129345"/>
                </a:cubicBezTo>
                <a:cubicBezTo>
                  <a:pt x="3312446" y="3112160"/>
                  <a:pt x="3317796" y="3088631"/>
                  <a:pt x="3328434" y="3068274"/>
                </a:cubicBezTo>
                <a:cubicBezTo>
                  <a:pt x="3329074" y="3449438"/>
                  <a:pt x="3329709" y="3830602"/>
                  <a:pt x="3330348" y="4211766"/>
                </a:cubicBezTo>
                <a:cubicBezTo>
                  <a:pt x="3330348" y="4389168"/>
                  <a:pt x="2584823" y="4532979"/>
                  <a:pt x="1665174" y="4532979"/>
                </a:cubicBezTo>
                <a:cubicBezTo>
                  <a:pt x="745525" y="4532979"/>
                  <a:pt x="0" y="4389168"/>
                  <a:pt x="0" y="4211766"/>
                </a:cubicBezTo>
                <a:cubicBezTo>
                  <a:pt x="639" y="3830602"/>
                  <a:pt x="1274" y="3449438"/>
                  <a:pt x="1913" y="3068274"/>
                </a:cubicBezTo>
                <a:close/>
                <a:moveTo>
                  <a:pt x="1913" y="1762531"/>
                </a:moveTo>
                <a:cubicBezTo>
                  <a:pt x="12552" y="1782888"/>
                  <a:pt x="12431" y="1803429"/>
                  <a:pt x="33829" y="1823602"/>
                </a:cubicBezTo>
                <a:cubicBezTo>
                  <a:pt x="189101" y="1969976"/>
                  <a:pt x="860482" y="2080081"/>
                  <a:pt x="1665174" y="2080081"/>
                </a:cubicBezTo>
                <a:cubicBezTo>
                  <a:pt x="2469867" y="2080081"/>
                  <a:pt x="3141247" y="1969976"/>
                  <a:pt x="3296519" y="1823602"/>
                </a:cubicBezTo>
                <a:cubicBezTo>
                  <a:pt x="3312446" y="1806417"/>
                  <a:pt x="3317796" y="1782888"/>
                  <a:pt x="3328434" y="1762531"/>
                </a:cubicBezTo>
                <a:cubicBezTo>
                  <a:pt x="3329074" y="2143695"/>
                  <a:pt x="3329709" y="2524859"/>
                  <a:pt x="3330348" y="2906023"/>
                </a:cubicBezTo>
                <a:cubicBezTo>
                  <a:pt x="3330348" y="3083425"/>
                  <a:pt x="2584823" y="3227236"/>
                  <a:pt x="1665174" y="3227236"/>
                </a:cubicBezTo>
                <a:cubicBezTo>
                  <a:pt x="745525" y="3227236"/>
                  <a:pt x="0" y="3083425"/>
                  <a:pt x="0" y="2906023"/>
                </a:cubicBezTo>
                <a:cubicBezTo>
                  <a:pt x="639" y="2524859"/>
                  <a:pt x="1274" y="2143695"/>
                  <a:pt x="1913" y="1762531"/>
                </a:cubicBezTo>
                <a:close/>
                <a:moveTo>
                  <a:pt x="1913" y="456788"/>
                </a:moveTo>
                <a:cubicBezTo>
                  <a:pt x="12552" y="477145"/>
                  <a:pt x="12431" y="497686"/>
                  <a:pt x="33829" y="517859"/>
                </a:cubicBezTo>
                <a:cubicBezTo>
                  <a:pt x="189101" y="664233"/>
                  <a:pt x="860482" y="774338"/>
                  <a:pt x="1665174" y="774338"/>
                </a:cubicBezTo>
                <a:cubicBezTo>
                  <a:pt x="2469867" y="774338"/>
                  <a:pt x="3141247" y="664233"/>
                  <a:pt x="3296519" y="517859"/>
                </a:cubicBezTo>
                <a:cubicBezTo>
                  <a:pt x="3312446" y="500674"/>
                  <a:pt x="3317796" y="477145"/>
                  <a:pt x="3328434" y="456788"/>
                </a:cubicBezTo>
                <a:cubicBezTo>
                  <a:pt x="3329074" y="837952"/>
                  <a:pt x="3329709" y="1219116"/>
                  <a:pt x="3330348" y="1600280"/>
                </a:cubicBezTo>
                <a:cubicBezTo>
                  <a:pt x="3330348" y="1777682"/>
                  <a:pt x="2584823" y="1921493"/>
                  <a:pt x="1665174" y="1921493"/>
                </a:cubicBezTo>
                <a:cubicBezTo>
                  <a:pt x="745525" y="1921493"/>
                  <a:pt x="0" y="1777682"/>
                  <a:pt x="0" y="1600280"/>
                </a:cubicBezTo>
                <a:cubicBezTo>
                  <a:pt x="639" y="1219116"/>
                  <a:pt x="1274" y="837952"/>
                  <a:pt x="1913" y="456788"/>
                </a:cubicBezTo>
                <a:close/>
                <a:moveTo>
                  <a:pt x="1665174" y="0"/>
                </a:moveTo>
                <a:cubicBezTo>
                  <a:pt x="2550226" y="0"/>
                  <a:pt x="3267703" y="138401"/>
                  <a:pt x="3267703" y="309127"/>
                </a:cubicBezTo>
                <a:cubicBezTo>
                  <a:pt x="3267703" y="479853"/>
                  <a:pt x="2550226" y="618254"/>
                  <a:pt x="1665174" y="618254"/>
                </a:cubicBezTo>
                <a:cubicBezTo>
                  <a:pt x="780122" y="618254"/>
                  <a:pt x="62645" y="479853"/>
                  <a:pt x="62645" y="309127"/>
                </a:cubicBezTo>
                <a:cubicBezTo>
                  <a:pt x="62645" y="138401"/>
                  <a:pt x="780122" y="0"/>
                  <a:pt x="1665174" y="0"/>
                </a:cubicBezTo>
                <a:close/>
              </a:path>
            </a:pathLst>
          </a:custGeom>
          <a:solidFill>
            <a:schemeClr val="bg1"/>
          </a:solidFill>
          <a:ln w="12700">
            <a:solidFill>
              <a:schemeClr val="tx2"/>
            </a:solidFill>
            <a:round/>
            <a:headEnd/>
            <a:tailEnd/>
          </a:ln>
        </p:spPr>
        <p:txBody>
          <a:bodyPr vert="horz" wrap="square" lIns="89604" tIns="44802" rIns="89604" bIns="44802" numCol="1" anchor="t" anchorCtr="0" compatLnSpc="1">
            <a:prstTxWarp prst="textNoShape">
              <a:avLst/>
            </a:prstTxWarp>
            <a:no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81" name="Freeform 80">
            <a:extLst>
              <a:ext uri="{FF2B5EF4-FFF2-40B4-BE49-F238E27FC236}">
                <a16:creationId xmlns:a16="http://schemas.microsoft.com/office/drawing/2014/main" id="{37817C08-B07A-3448-AA5E-1985B342F85C}"/>
              </a:ext>
            </a:extLst>
          </p:cNvPr>
          <p:cNvSpPr/>
          <p:nvPr/>
        </p:nvSpPr>
        <p:spPr bwMode="auto">
          <a:xfrm flipH="1">
            <a:off x="2014165" y="3642576"/>
            <a:ext cx="115670" cy="25890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35" name="TextBox 134">
            <a:extLst>
              <a:ext uri="{FF2B5EF4-FFF2-40B4-BE49-F238E27FC236}">
                <a16:creationId xmlns:a16="http://schemas.microsoft.com/office/drawing/2014/main" id="{0609D5E1-9135-7944-9D38-BB89E4A0E250}"/>
              </a:ext>
            </a:extLst>
          </p:cNvPr>
          <p:cNvSpPr txBox="1"/>
          <p:nvPr/>
        </p:nvSpPr>
        <p:spPr>
          <a:xfrm>
            <a:off x="7121174" y="3315566"/>
            <a:ext cx="1380113" cy="362072"/>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prstClr val="black"/>
                </a:solidFill>
                <a:effectLst/>
                <a:uLnTx/>
                <a:uFillTx/>
                <a:latin typeface="Segoe UI"/>
                <a:ea typeface="+mn-ea"/>
                <a:cs typeface="+mn-cs"/>
              </a:rPr>
              <a:t>Register and </a:t>
            </a:r>
            <a:br>
              <a:rPr kumimoji="0" lang="en-US" sz="1176" b="0" i="0" u="none" strike="noStrike" kern="1200" cap="none" spc="0" normalizeH="0" baseline="0" noProof="0" dirty="0">
                <a:ln>
                  <a:noFill/>
                </a:ln>
                <a:solidFill>
                  <a:prstClr val="black"/>
                </a:solidFill>
                <a:effectLst/>
                <a:uLnTx/>
                <a:uFillTx/>
                <a:latin typeface="Segoe UI"/>
                <a:ea typeface="+mn-ea"/>
                <a:cs typeface="+mn-cs"/>
              </a:rPr>
            </a:br>
            <a:r>
              <a:rPr kumimoji="0" lang="en-US" sz="1176" b="0" i="0" u="none" strike="noStrike" kern="1200" cap="none" spc="0" normalizeH="0" baseline="0" noProof="0" dirty="0">
                <a:ln>
                  <a:noFill/>
                </a:ln>
                <a:solidFill>
                  <a:prstClr val="black"/>
                </a:solidFill>
                <a:effectLst/>
                <a:uLnTx/>
                <a:uFillTx/>
                <a:latin typeface="Segoe UI"/>
                <a:ea typeface="+mn-ea"/>
                <a:cs typeface="+mn-cs"/>
              </a:rPr>
              <a:t>Manage Model</a:t>
            </a:r>
          </a:p>
        </p:txBody>
      </p:sp>
      <p:sp>
        <p:nvSpPr>
          <p:cNvPr id="137" name="TextBox 136">
            <a:extLst>
              <a:ext uri="{FF2B5EF4-FFF2-40B4-BE49-F238E27FC236}">
                <a16:creationId xmlns:a16="http://schemas.microsoft.com/office/drawing/2014/main" id="{8A00FAC3-AEC4-4944-AB77-F6BFB8241EE7}"/>
              </a:ext>
            </a:extLst>
          </p:cNvPr>
          <p:cNvSpPr txBox="1"/>
          <p:nvPr/>
        </p:nvSpPr>
        <p:spPr>
          <a:xfrm>
            <a:off x="7047957" y="5870175"/>
            <a:ext cx="720832" cy="362072"/>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prstClr val="black"/>
                </a:solidFill>
                <a:effectLst/>
                <a:uLnTx/>
                <a:uFillTx/>
                <a:latin typeface="Segoe UI"/>
                <a:ea typeface="+mn-ea"/>
                <a:cs typeface="+mn-cs"/>
              </a:rPr>
              <a:t>Build Image</a:t>
            </a:r>
          </a:p>
        </p:txBody>
      </p:sp>
      <p:pic>
        <p:nvPicPr>
          <p:cNvPr id="138" name="Picture 137">
            <a:extLst>
              <a:ext uri="{FF2B5EF4-FFF2-40B4-BE49-F238E27FC236}">
                <a16:creationId xmlns:a16="http://schemas.microsoft.com/office/drawing/2014/main" id="{0650047C-199C-6245-B15F-21D093C61AF0}"/>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233050" y="2948347"/>
            <a:ext cx="479590" cy="554008"/>
          </a:xfrm>
          <a:prstGeom prst="rect">
            <a:avLst/>
          </a:prstGeom>
        </p:spPr>
      </p:pic>
      <p:pic>
        <p:nvPicPr>
          <p:cNvPr id="139" name="Picture 10" descr="https://ih1.redbubble.net/image.361353434.1330/flat,800x800,075,f.jpg">
            <a:extLst>
              <a:ext uri="{FF2B5EF4-FFF2-40B4-BE49-F238E27FC236}">
                <a16:creationId xmlns:a16="http://schemas.microsoft.com/office/drawing/2014/main" id="{B9F39449-1DB6-7C45-8416-47F08FFA42E7}"/>
              </a:ext>
            </a:extLst>
          </p:cNvPr>
          <p:cNvPicPr>
            <a:picLocks noChangeAspect="1" noChangeArrowheads="1"/>
          </p:cNvPicPr>
          <p:nvPr/>
        </p:nvPicPr>
        <p:blipFill>
          <a:blip r:embed="rId4" cstate="email">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988954" y="3671045"/>
            <a:ext cx="973842" cy="337194"/>
          </a:xfrm>
          <a:prstGeom prst="rect">
            <a:avLst/>
          </a:prstGeom>
          <a:noFill/>
          <a:extLst>
            <a:ext uri="{909E8E84-426E-40DD-AFC4-6F175D3DCCD1}">
              <a14:hiddenFill xmlns:a14="http://schemas.microsoft.com/office/drawing/2010/main">
                <a:solidFill>
                  <a:srgbClr val="FFFFFF"/>
                </a:solidFill>
              </a14:hiddenFill>
            </a:ext>
          </a:extLst>
        </p:spPr>
      </p:pic>
      <p:sp>
        <p:nvSpPr>
          <p:cNvPr id="140" name="TextBox 139">
            <a:extLst>
              <a:ext uri="{FF2B5EF4-FFF2-40B4-BE49-F238E27FC236}">
                <a16:creationId xmlns:a16="http://schemas.microsoft.com/office/drawing/2014/main" id="{B2E138F8-BB2B-764C-8044-73F033797431}"/>
              </a:ext>
            </a:extLst>
          </p:cNvPr>
          <p:cNvSpPr txBox="1"/>
          <p:nvPr/>
        </p:nvSpPr>
        <p:spPr>
          <a:xfrm>
            <a:off x="3061711" y="3267449"/>
            <a:ext cx="812558" cy="543654"/>
          </a:xfrm>
          <a:prstGeom prst="rect">
            <a:avLst/>
          </a:prstGeom>
          <a:noFill/>
        </p:spPr>
        <p:txBody>
          <a:bodyPr wrap="square" lIns="179158" tIns="143327" rIns="179158" bIns="143327" rtlCol="0" anchor="t">
            <a:spAutoFit/>
          </a:bodyPr>
          <a:lstStyle/>
          <a:p>
            <a:pPr marL="0" marR="0" lvl="0" indent="0" algn="ctr" defTabSz="895526"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a:t>
            </a:r>
          </a:p>
        </p:txBody>
      </p:sp>
      <p:sp>
        <p:nvSpPr>
          <p:cNvPr id="141" name="TextBox 140">
            <a:extLst>
              <a:ext uri="{FF2B5EF4-FFF2-40B4-BE49-F238E27FC236}">
                <a16:creationId xmlns:a16="http://schemas.microsoft.com/office/drawing/2014/main" id="{730F2D3D-4A4E-1846-A0C1-0B556171E2C2}"/>
              </a:ext>
            </a:extLst>
          </p:cNvPr>
          <p:cNvSpPr txBox="1"/>
          <p:nvPr/>
        </p:nvSpPr>
        <p:spPr>
          <a:xfrm>
            <a:off x="2470072" y="4148802"/>
            <a:ext cx="1995835" cy="421910"/>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371" b="0" i="0" u="none" strike="noStrike" kern="1200" cap="none" spc="0" normalizeH="0" baseline="0" noProof="0" dirty="0">
                <a:ln>
                  <a:noFill/>
                </a:ln>
                <a:solidFill>
                  <a:prstClr val="black"/>
                </a:solidFill>
                <a:effectLst/>
                <a:uLnTx/>
                <a:uFillTx/>
                <a:latin typeface="Segoe UI"/>
                <a:ea typeface="+mn-ea"/>
                <a:cs typeface="+mn-cs"/>
              </a:rPr>
              <a:t>Build model </a:t>
            </a:r>
            <a:br>
              <a:rPr kumimoji="0" lang="en-US" sz="1371" b="0" i="0" u="none" strike="noStrike" kern="1200" cap="none" spc="0" normalizeH="0" baseline="0" noProof="0" dirty="0">
                <a:ln>
                  <a:noFill/>
                </a:ln>
                <a:solidFill>
                  <a:prstClr val="black"/>
                </a:solidFill>
                <a:effectLst/>
                <a:uLnTx/>
                <a:uFillTx/>
                <a:latin typeface="Segoe UI"/>
                <a:ea typeface="+mn-ea"/>
                <a:cs typeface="+mn-cs"/>
              </a:rPr>
            </a:br>
            <a:r>
              <a:rPr kumimoji="0" lang="en-US" sz="1371" b="0" i="0" u="none" strike="noStrike" kern="1200" cap="none" spc="0" normalizeH="0" baseline="0" noProof="0" dirty="0">
                <a:ln>
                  <a:noFill/>
                </a:ln>
                <a:solidFill>
                  <a:prstClr val="black"/>
                </a:solidFill>
                <a:effectLst/>
                <a:uLnTx/>
                <a:uFillTx/>
                <a:latin typeface="Segoe UI"/>
                <a:ea typeface="+mn-ea"/>
                <a:cs typeface="+mn-cs"/>
              </a:rPr>
              <a:t>(your favorite IDE)</a:t>
            </a:r>
          </a:p>
        </p:txBody>
      </p:sp>
      <p:sp>
        <p:nvSpPr>
          <p:cNvPr id="142" name="TextBox 141">
            <a:extLst>
              <a:ext uri="{FF2B5EF4-FFF2-40B4-BE49-F238E27FC236}">
                <a16:creationId xmlns:a16="http://schemas.microsoft.com/office/drawing/2014/main" id="{746F5C88-567F-5548-98EB-AB897B28E1E7}"/>
              </a:ext>
            </a:extLst>
          </p:cNvPr>
          <p:cNvSpPr txBox="1"/>
          <p:nvPr/>
        </p:nvSpPr>
        <p:spPr>
          <a:xfrm>
            <a:off x="3624030" y="5730517"/>
            <a:ext cx="1420349" cy="362072"/>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prstClr val="black"/>
                </a:solidFill>
                <a:effectLst/>
                <a:uLnTx/>
                <a:uFillTx/>
                <a:latin typeface="Segoe UI"/>
                <a:ea typeface="+mn-ea"/>
                <a:cs typeface="+mn-cs"/>
              </a:rPr>
              <a:t>Deploy Service</a:t>
            </a:r>
          </a:p>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prstClr val="black"/>
                </a:solidFill>
                <a:effectLst/>
                <a:uLnTx/>
                <a:uFillTx/>
                <a:latin typeface="Segoe UI"/>
                <a:ea typeface="+mn-ea"/>
                <a:cs typeface="+mn-cs"/>
              </a:rPr>
              <a:t>Monitor Model</a:t>
            </a:r>
          </a:p>
        </p:txBody>
      </p:sp>
      <p:grpSp>
        <p:nvGrpSpPr>
          <p:cNvPr id="172" name="Group 171">
            <a:extLst>
              <a:ext uri="{FF2B5EF4-FFF2-40B4-BE49-F238E27FC236}">
                <a16:creationId xmlns:a16="http://schemas.microsoft.com/office/drawing/2014/main" id="{099025A5-4D5D-E740-8A49-61CE2A0DA3C8}"/>
              </a:ext>
            </a:extLst>
          </p:cNvPr>
          <p:cNvGrpSpPr/>
          <p:nvPr/>
        </p:nvGrpSpPr>
        <p:grpSpPr>
          <a:xfrm>
            <a:off x="4000909" y="5172743"/>
            <a:ext cx="530838" cy="470337"/>
            <a:chOff x="10902845" y="2693238"/>
            <a:chExt cx="644231" cy="570807"/>
          </a:xfrm>
        </p:grpSpPr>
        <p:sp>
          <p:nvSpPr>
            <p:cNvPr id="173" name="Freeform 146">
              <a:extLst>
                <a:ext uri="{FF2B5EF4-FFF2-40B4-BE49-F238E27FC236}">
                  <a16:creationId xmlns:a16="http://schemas.microsoft.com/office/drawing/2014/main" id="{FA98D7FB-324E-6042-9CC0-C9155CD31395}"/>
                </a:ext>
              </a:extLst>
            </p:cNvPr>
            <p:cNvSpPr>
              <a:spLocks noChangeAspect="1"/>
            </p:cNvSpPr>
            <p:nvPr/>
          </p:nvSpPr>
          <p:spPr bwMode="auto">
            <a:xfrm>
              <a:off x="10902845" y="2693238"/>
              <a:ext cx="644231" cy="40799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marL="0" marR="0" lvl="0" indent="0" algn="ctr" defTabSz="895751" rtl="0" eaLnBrk="1" fontAlgn="base" latinLnBrk="0" hangingPunct="1">
                <a:lnSpc>
                  <a:spcPct val="90000"/>
                </a:lnSpc>
                <a:spcBef>
                  <a:spcPct val="0"/>
                </a:spcBef>
                <a:spcAft>
                  <a:spcPct val="0"/>
                </a:spcAft>
                <a:buClrTx/>
                <a:buSzTx/>
                <a:buFontTx/>
                <a:buNone/>
                <a:tabLst/>
                <a:defRPr/>
              </a:pPr>
              <a:endParaRPr kumimoji="0" lang="en-IN" sz="192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74" name="Rectangle 173">
              <a:extLst>
                <a:ext uri="{FF2B5EF4-FFF2-40B4-BE49-F238E27FC236}">
                  <a16:creationId xmlns:a16="http://schemas.microsoft.com/office/drawing/2014/main" id="{8D7E42D0-D9EC-F944-9892-610A464CAAE7}"/>
                </a:ext>
              </a:extLst>
            </p:cNvPr>
            <p:cNvSpPr/>
            <p:nvPr/>
          </p:nvSpPr>
          <p:spPr bwMode="auto">
            <a:xfrm>
              <a:off x="11138157" y="3021086"/>
              <a:ext cx="205040" cy="1484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75" name="Straight Arrow Connector 174">
              <a:extLst>
                <a:ext uri="{FF2B5EF4-FFF2-40B4-BE49-F238E27FC236}">
                  <a16:creationId xmlns:a16="http://schemas.microsoft.com/office/drawing/2014/main" id="{00DEBDC6-6492-F148-8E12-49D6CD21A2EE}"/>
                </a:ext>
              </a:extLst>
            </p:cNvPr>
            <p:cNvCxnSpPr>
              <a:cxnSpLocks/>
            </p:cNvCxnSpPr>
            <p:nvPr/>
          </p:nvCxnSpPr>
          <p:spPr>
            <a:xfrm flipV="1">
              <a:off x="11245742" y="2947705"/>
              <a:ext cx="0" cy="31634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6" name="Group 175">
            <a:extLst>
              <a:ext uri="{FF2B5EF4-FFF2-40B4-BE49-F238E27FC236}">
                <a16:creationId xmlns:a16="http://schemas.microsoft.com/office/drawing/2014/main" id="{A86BB0FF-4AC9-DF44-A0D3-7DA0508F9A30}"/>
              </a:ext>
            </a:extLst>
          </p:cNvPr>
          <p:cNvGrpSpPr/>
          <p:nvPr/>
        </p:nvGrpSpPr>
        <p:grpSpPr>
          <a:xfrm rot="1800000">
            <a:off x="7560175" y="2645745"/>
            <a:ext cx="502109" cy="581902"/>
            <a:chOff x="6281977" y="1925712"/>
            <a:chExt cx="609366" cy="706203"/>
          </a:xfrm>
        </p:grpSpPr>
        <p:sp>
          <p:nvSpPr>
            <p:cNvPr id="177" name="Hexagon 176">
              <a:extLst>
                <a:ext uri="{FF2B5EF4-FFF2-40B4-BE49-F238E27FC236}">
                  <a16:creationId xmlns:a16="http://schemas.microsoft.com/office/drawing/2014/main" id="{525929D0-BBE2-7549-BF50-EE6F390F4136}"/>
                </a:ext>
              </a:extLst>
            </p:cNvPr>
            <p:cNvSpPr/>
            <p:nvPr/>
          </p:nvSpPr>
          <p:spPr bwMode="auto">
            <a:xfrm rot="16200000">
              <a:off x="6261742" y="2000529"/>
              <a:ext cx="651443" cy="557784"/>
            </a:xfrm>
            <a:prstGeom prst="hexagon">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78" name="Straight Connector 177">
              <a:extLst>
                <a:ext uri="{FF2B5EF4-FFF2-40B4-BE49-F238E27FC236}">
                  <a16:creationId xmlns:a16="http://schemas.microsoft.com/office/drawing/2014/main" id="{9C105D50-BBEE-1845-90BC-0EF30FC08E51}"/>
                </a:ext>
              </a:extLst>
            </p:cNvPr>
            <p:cNvCxnSpPr>
              <a:stCxn id="177" idx="3"/>
              <a:endCxn id="177" idx="0"/>
            </p:cNvCxnSpPr>
            <p:nvPr/>
          </p:nvCxnSpPr>
          <p:spPr>
            <a:xfrm flipV="1">
              <a:off x="6587464" y="1953700"/>
              <a:ext cx="0" cy="651443"/>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79" name="Group 178">
              <a:extLst>
                <a:ext uri="{FF2B5EF4-FFF2-40B4-BE49-F238E27FC236}">
                  <a16:creationId xmlns:a16="http://schemas.microsoft.com/office/drawing/2014/main" id="{5666BB99-699A-BB4A-A87F-433E1A3B07F5}"/>
                </a:ext>
              </a:extLst>
            </p:cNvPr>
            <p:cNvGrpSpPr/>
            <p:nvPr/>
          </p:nvGrpSpPr>
          <p:grpSpPr>
            <a:xfrm>
              <a:off x="6584950" y="2093649"/>
              <a:ext cx="281406" cy="372551"/>
              <a:chOff x="6584950" y="2093146"/>
              <a:chExt cx="281406" cy="372551"/>
            </a:xfrm>
          </p:grpSpPr>
          <p:cxnSp>
            <p:nvCxnSpPr>
              <p:cNvPr id="192" name="Straight Connector 191">
                <a:extLst>
                  <a:ext uri="{FF2B5EF4-FFF2-40B4-BE49-F238E27FC236}">
                    <a16:creationId xmlns:a16="http://schemas.microsoft.com/office/drawing/2014/main" id="{A7077814-1982-794A-B409-3D6FBED1A944}"/>
                  </a:ext>
                </a:extLst>
              </p:cNvPr>
              <p:cNvCxnSpPr>
                <a:cxnSpLocks/>
                <a:stCxn id="177" idx="2"/>
              </p:cNvCxnSpPr>
              <p:nvPr/>
            </p:nvCxnSpPr>
            <p:spPr>
              <a:xfrm flipH="1" flipV="1">
                <a:off x="6584950" y="2415525"/>
                <a:ext cx="281406" cy="50172"/>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C4E38DD5-96BD-6E4A-BD6D-9806C6143270}"/>
                  </a:ext>
                </a:extLst>
              </p:cNvPr>
              <p:cNvCxnSpPr>
                <a:stCxn id="177" idx="1"/>
              </p:cNvCxnSpPr>
              <p:nvPr/>
            </p:nvCxnSpPr>
            <p:spPr>
              <a:xfrm flipH="1">
                <a:off x="6584950" y="2093146"/>
                <a:ext cx="281406" cy="110304"/>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94323C2B-5C8D-D940-8C97-7697AFFA4C4E}"/>
                  </a:ext>
                </a:extLst>
              </p:cNvPr>
              <p:cNvCxnSpPr>
                <a:cxnSpLocks/>
                <a:stCxn id="177" idx="1"/>
              </p:cNvCxnSpPr>
              <p:nvPr/>
            </p:nvCxnSpPr>
            <p:spPr>
              <a:xfrm flipH="1">
                <a:off x="6584950" y="2093146"/>
                <a:ext cx="281406" cy="32237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0" name="Group 179">
              <a:extLst>
                <a:ext uri="{FF2B5EF4-FFF2-40B4-BE49-F238E27FC236}">
                  <a16:creationId xmlns:a16="http://schemas.microsoft.com/office/drawing/2014/main" id="{50BC3873-06AC-EF47-9509-95E76B7BAE33}"/>
                </a:ext>
              </a:extLst>
            </p:cNvPr>
            <p:cNvGrpSpPr/>
            <p:nvPr/>
          </p:nvGrpSpPr>
          <p:grpSpPr>
            <a:xfrm flipH="1">
              <a:off x="6304801" y="2093649"/>
              <a:ext cx="281406" cy="372551"/>
              <a:chOff x="6584950" y="2093146"/>
              <a:chExt cx="281406" cy="372551"/>
            </a:xfrm>
          </p:grpSpPr>
          <p:cxnSp>
            <p:nvCxnSpPr>
              <p:cNvPr id="189" name="Straight Connector 188">
                <a:extLst>
                  <a:ext uri="{FF2B5EF4-FFF2-40B4-BE49-F238E27FC236}">
                    <a16:creationId xmlns:a16="http://schemas.microsoft.com/office/drawing/2014/main" id="{021D98BA-5720-0D4F-BC0F-E2B3C6C0A60D}"/>
                  </a:ext>
                </a:extLst>
              </p:cNvPr>
              <p:cNvCxnSpPr>
                <a:cxnSpLocks/>
              </p:cNvCxnSpPr>
              <p:nvPr/>
            </p:nvCxnSpPr>
            <p:spPr>
              <a:xfrm flipH="1" flipV="1">
                <a:off x="6584950" y="2415525"/>
                <a:ext cx="281406" cy="50172"/>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C28ED1E1-FE46-D14E-B6B5-FA134E8017A7}"/>
                  </a:ext>
                </a:extLst>
              </p:cNvPr>
              <p:cNvCxnSpPr/>
              <p:nvPr/>
            </p:nvCxnSpPr>
            <p:spPr>
              <a:xfrm flipH="1">
                <a:off x="6584950" y="2093146"/>
                <a:ext cx="281406" cy="110304"/>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52B3EA98-E9C3-9241-BF96-AF61696A0B95}"/>
                  </a:ext>
                </a:extLst>
              </p:cNvPr>
              <p:cNvCxnSpPr>
                <a:cxnSpLocks/>
              </p:cNvCxnSpPr>
              <p:nvPr/>
            </p:nvCxnSpPr>
            <p:spPr>
              <a:xfrm flipH="1">
                <a:off x="6584950" y="2093146"/>
                <a:ext cx="281406" cy="32237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81" name="Oval 180">
              <a:extLst>
                <a:ext uri="{FF2B5EF4-FFF2-40B4-BE49-F238E27FC236}">
                  <a16:creationId xmlns:a16="http://schemas.microsoft.com/office/drawing/2014/main" id="{28D8B1C0-9C53-DA40-8086-BD304ADF2DA6}"/>
                </a:ext>
              </a:extLst>
            </p:cNvPr>
            <p:cNvSpPr/>
            <p:nvPr/>
          </p:nvSpPr>
          <p:spPr bwMode="auto">
            <a:xfrm>
              <a:off x="6281977" y="2066999"/>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2" name="Oval 181">
              <a:extLst>
                <a:ext uri="{FF2B5EF4-FFF2-40B4-BE49-F238E27FC236}">
                  <a16:creationId xmlns:a16="http://schemas.microsoft.com/office/drawing/2014/main" id="{61BA9DB7-16AE-A14C-85C2-1A70346706A5}"/>
                </a:ext>
              </a:extLst>
            </p:cNvPr>
            <p:cNvSpPr/>
            <p:nvPr/>
          </p:nvSpPr>
          <p:spPr bwMode="auto">
            <a:xfrm>
              <a:off x="6558202" y="2173362"/>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3" name="Oval 182">
              <a:extLst>
                <a:ext uri="{FF2B5EF4-FFF2-40B4-BE49-F238E27FC236}">
                  <a16:creationId xmlns:a16="http://schemas.microsoft.com/office/drawing/2014/main" id="{F92A4BCE-3077-D54C-ABDB-62E0CC9D0B6C}"/>
                </a:ext>
              </a:extLst>
            </p:cNvPr>
            <p:cNvSpPr/>
            <p:nvPr/>
          </p:nvSpPr>
          <p:spPr bwMode="auto">
            <a:xfrm>
              <a:off x="6831252" y="2066999"/>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4" name="Oval 183">
              <a:extLst>
                <a:ext uri="{FF2B5EF4-FFF2-40B4-BE49-F238E27FC236}">
                  <a16:creationId xmlns:a16="http://schemas.microsoft.com/office/drawing/2014/main" id="{9B860905-C32B-BE49-912A-0B52BE6419D4}"/>
                </a:ext>
              </a:extLst>
            </p:cNvPr>
            <p:cNvSpPr/>
            <p:nvPr/>
          </p:nvSpPr>
          <p:spPr bwMode="auto">
            <a:xfrm>
              <a:off x="6558202" y="2387674"/>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Oval 184">
              <a:extLst>
                <a:ext uri="{FF2B5EF4-FFF2-40B4-BE49-F238E27FC236}">
                  <a16:creationId xmlns:a16="http://schemas.microsoft.com/office/drawing/2014/main" id="{E6A6F9AD-E5FB-FC45-8D91-7E2039D38A65}"/>
                </a:ext>
              </a:extLst>
            </p:cNvPr>
            <p:cNvSpPr/>
            <p:nvPr/>
          </p:nvSpPr>
          <p:spPr bwMode="auto">
            <a:xfrm>
              <a:off x="6834427" y="2438474"/>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Oval 185">
              <a:extLst>
                <a:ext uri="{FF2B5EF4-FFF2-40B4-BE49-F238E27FC236}">
                  <a16:creationId xmlns:a16="http://schemas.microsoft.com/office/drawing/2014/main" id="{0CF31637-10F1-E94E-95A2-882CEF5D600B}"/>
                </a:ext>
              </a:extLst>
            </p:cNvPr>
            <p:cNvSpPr/>
            <p:nvPr/>
          </p:nvSpPr>
          <p:spPr bwMode="auto">
            <a:xfrm>
              <a:off x="6558202" y="2574999"/>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Oval 186">
              <a:extLst>
                <a:ext uri="{FF2B5EF4-FFF2-40B4-BE49-F238E27FC236}">
                  <a16:creationId xmlns:a16="http://schemas.microsoft.com/office/drawing/2014/main" id="{61037609-1A15-3E4A-B6FB-8D3444D07326}"/>
                </a:ext>
              </a:extLst>
            </p:cNvPr>
            <p:cNvSpPr/>
            <p:nvPr/>
          </p:nvSpPr>
          <p:spPr bwMode="auto">
            <a:xfrm>
              <a:off x="6291502" y="2438474"/>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Oval 187">
              <a:extLst>
                <a:ext uri="{FF2B5EF4-FFF2-40B4-BE49-F238E27FC236}">
                  <a16:creationId xmlns:a16="http://schemas.microsoft.com/office/drawing/2014/main" id="{21E30766-5BEA-014A-A71E-0DD9D456F5DF}"/>
                </a:ext>
              </a:extLst>
            </p:cNvPr>
            <p:cNvSpPr/>
            <p:nvPr/>
          </p:nvSpPr>
          <p:spPr bwMode="auto">
            <a:xfrm>
              <a:off x="6558202" y="1925712"/>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95" name="Group 194">
            <a:extLst>
              <a:ext uri="{FF2B5EF4-FFF2-40B4-BE49-F238E27FC236}">
                <a16:creationId xmlns:a16="http://schemas.microsoft.com/office/drawing/2014/main" id="{31BA5C6F-0674-7C48-9056-BD48849AA1ED}"/>
              </a:ext>
            </a:extLst>
          </p:cNvPr>
          <p:cNvGrpSpPr/>
          <p:nvPr/>
        </p:nvGrpSpPr>
        <p:grpSpPr>
          <a:xfrm>
            <a:off x="7122826" y="5295160"/>
            <a:ext cx="577810" cy="456839"/>
            <a:chOff x="967154" y="1481462"/>
            <a:chExt cx="5331069" cy="4214950"/>
          </a:xfrm>
          <a:noFill/>
        </p:grpSpPr>
        <p:cxnSp>
          <p:nvCxnSpPr>
            <p:cNvPr id="196" name="Straight Connector 195">
              <a:extLst>
                <a:ext uri="{FF2B5EF4-FFF2-40B4-BE49-F238E27FC236}">
                  <a16:creationId xmlns:a16="http://schemas.microsoft.com/office/drawing/2014/main" id="{BEC7017F-7AD2-304C-BE14-D4E66475C6DB}"/>
                </a:ext>
              </a:extLst>
            </p:cNvPr>
            <p:cNvCxnSpPr>
              <a:cxnSpLocks/>
            </p:cNvCxnSpPr>
            <p:nvPr/>
          </p:nvCxnSpPr>
          <p:spPr>
            <a:xfrm>
              <a:off x="967154" y="5696412"/>
              <a:ext cx="5331069" cy="0"/>
            </a:xfrm>
            <a:prstGeom prst="line">
              <a:avLst/>
            </a:prstGeom>
            <a:grpFill/>
            <a:ln w="1270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97" name="Rectangle 196">
              <a:extLst>
                <a:ext uri="{FF2B5EF4-FFF2-40B4-BE49-F238E27FC236}">
                  <a16:creationId xmlns:a16="http://schemas.microsoft.com/office/drawing/2014/main" id="{149C43B7-28BE-CA40-9275-5359BAF500B4}"/>
                </a:ext>
              </a:extLst>
            </p:cNvPr>
            <p:cNvSpPr/>
            <p:nvPr/>
          </p:nvSpPr>
          <p:spPr bwMode="auto">
            <a:xfrm>
              <a:off x="1286608" y="2696308"/>
              <a:ext cx="2793023" cy="3000104"/>
            </a:xfrm>
            <a:prstGeom prst="rect">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8" name="Rectangle 197">
              <a:extLst>
                <a:ext uri="{FF2B5EF4-FFF2-40B4-BE49-F238E27FC236}">
                  <a16:creationId xmlns:a16="http://schemas.microsoft.com/office/drawing/2014/main" id="{EF98AB08-028C-F543-B507-412E1111B133}"/>
                </a:ext>
              </a:extLst>
            </p:cNvPr>
            <p:cNvSpPr/>
            <p:nvPr/>
          </p:nvSpPr>
          <p:spPr bwMode="auto">
            <a:xfrm>
              <a:off x="2225919" y="4700954"/>
              <a:ext cx="914400" cy="995458"/>
            </a:xfrm>
            <a:prstGeom prst="rect">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9" name="Freeform: Shape 404">
              <a:extLst>
                <a:ext uri="{FF2B5EF4-FFF2-40B4-BE49-F238E27FC236}">
                  <a16:creationId xmlns:a16="http://schemas.microsoft.com/office/drawing/2014/main" id="{30CF6A7F-B14F-8440-9BE6-2616D465776D}"/>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Freeform: Shape 405">
              <a:extLst>
                <a:ext uri="{FF2B5EF4-FFF2-40B4-BE49-F238E27FC236}">
                  <a16:creationId xmlns:a16="http://schemas.microsoft.com/office/drawing/2014/main" id="{955D3493-950B-6647-8376-6CD561B3CAFE}"/>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 name="Rectangle 13">
            <a:extLst>
              <a:ext uri="{FF2B5EF4-FFF2-40B4-BE49-F238E27FC236}">
                <a16:creationId xmlns:a16="http://schemas.microsoft.com/office/drawing/2014/main" id="{71099D9F-7ED2-6541-8648-491FB43A7D14}"/>
              </a:ext>
            </a:extLst>
          </p:cNvPr>
          <p:cNvSpPr/>
          <p:nvPr/>
        </p:nvSpPr>
        <p:spPr bwMode="auto">
          <a:xfrm>
            <a:off x="4992441" y="1173859"/>
            <a:ext cx="1474194" cy="8992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4" name="Group 223">
            <a:extLst>
              <a:ext uri="{FF2B5EF4-FFF2-40B4-BE49-F238E27FC236}">
                <a16:creationId xmlns:a16="http://schemas.microsoft.com/office/drawing/2014/main" id="{F316505D-6F16-E44C-9488-23A4FE7EF7C6}"/>
              </a:ext>
            </a:extLst>
          </p:cNvPr>
          <p:cNvGrpSpPr/>
          <p:nvPr/>
        </p:nvGrpSpPr>
        <p:grpSpPr>
          <a:xfrm>
            <a:off x="5417064" y="1188264"/>
            <a:ext cx="555768" cy="555768"/>
            <a:chOff x="6064661" y="2331652"/>
            <a:chExt cx="674488" cy="674488"/>
          </a:xfrm>
        </p:grpSpPr>
        <p:grpSp>
          <p:nvGrpSpPr>
            <p:cNvPr id="225" name="Group 224">
              <a:extLst>
                <a:ext uri="{FF2B5EF4-FFF2-40B4-BE49-F238E27FC236}">
                  <a16:creationId xmlns:a16="http://schemas.microsoft.com/office/drawing/2014/main" id="{9EB5162E-3CF7-2E41-A757-63A916103FFC}"/>
                </a:ext>
              </a:extLst>
            </p:cNvPr>
            <p:cNvGrpSpPr/>
            <p:nvPr/>
          </p:nvGrpSpPr>
          <p:grpSpPr>
            <a:xfrm>
              <a:off x="6064661" y="2331652"/>
              <a:ext cx="674488" cy="674488"/>
              <a:chOff x="6064661" y="2331652"/>
              <a:chExt cx="674488" cy="674488"/>
            </a:xfrm>
          </p:grpSpPr>
          <p:sp>
            <p:nvSpPr>
              <p:cNvPr id="227" name="Oval 226">
                <a:extLst>
                  <a:ext uri="{FF2B5EF4-FFF2-40B4-BE49-F238E27FC236}">
                    <a16:creationId xmlns:a16="http://schemas.microsoft.com/office/drawing/2014/main" id="{1308D21E-DFB2-404E-B765-286424858CCB}"/>
                  </a:ext>
                </a:extLst>
              </p:cNvPr>
              <p:cNvSpPr/>
              <p:nvPr/>
            </p:nvSpPr>
            <p:spPr bwMode="auto">
              <a:xfrm>
                <a:off x="6211116" y="2331652"/>
                <a:ext cx="381577" cy="674488"/>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8" name="Oval 227">
                <a:extLst>
                  <a:ext uri="{FF2B5EF4-FFF2-40B4-BE49-F238E27FC236}">
                    <a16:creationId xmlns:a16="http://schemas.microsoft.com/office/drawing/2014/main" id="{90A188FC-44AC-4645-A65B-0637B8C096B3}"/>
                  </a:ext>
                </a:extLst>
              </p:cNvPr>
              <p:cNvSpPr/>
              <p:nvPr/>
            </p:nvSpPr>
            <p:spPr bwMode="auto">
              <a:xfrm rot="3600000">
                <a:off x="6211116" y="2328651"/>
                <a:ext cx="381577" cy="674488"/>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9" name="Oval 228">
                <a:extLst>
                  <a:ext uri="{FF2B5EF4-FFF2-40B4-BE49-F238E27FC236}">
                    <a16:creationId xmlns:a16="http://schemas.microsoft.com/office/drawing/2014/main" id="{BA6C7214-66BB-414A-895A-E7FEA722AEB2}"/>
                  </a:ext>
                </a:extLst>
              </p:cNvPr>
              <p:cNvSpPr/>
              <p:nvPr/>
            </p:nvSpPr>
            <p:spPr bwMode="auto">
              <a:xfrm rot="18000000">
                <a:off x="6211116" y="2328651"/>
                <a:ext cx="381577" cy="674488"/>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26" name="Oval 225">
              <a:extLst>
                <a:ext uri="{FF2B5EF4-FFF2-40B4-BE49-F238E27FC236}">
                  <a16:creationId xmlns:a16="http://schemas.microsoft.com/office/drawing/2014/main" id="{DEB97B26-EFED-2E40-A7AE-076E16A751C0}"/>
                </a:ext>
              </a:extLst>
            </p:cNvPr>
            <p:cNvSpPr/>
            <p:nvPr/>
          </p:nvSpPr>
          <p:spPr bwMode="auto">
            <a:xfrm>
              <a:off x="6301928" y="2568919"/>
              <a:ext cx="199955" cy="199955"/>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useBgFill="1">
        <p:nvSpPr>
          <p:cNvPr id="239" name="Freeform 238">
            <a:extLst>
              <a:ext uri="{FF2B5EF4-FFF2-40B4-BE49-F238E27FC236}">
                <a16:creationId xmlns:a16="http://schemas.microsoft.com/office/drawing/2014/main" id="{BF84D008-0197-DB4B-A0C2-9548A308D674}"/>
              </a:ext>
            </a:extLst>
          </p:cNvPr>
          <p:cNvSpPr/>
          <p:nvPr/>
        </p:nvSpPr>
        <p:spPr bwMode="auto">
          <a:xfrm rot="19841501" flipH="1">
            <a:off x="4172713" y="2063812"/>
            <a:ext cx="115670" cy="25890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useBgFill="1">
        <p:nvSpPr>
          <p:cNvPr id="240" name="Freeform 239">
            <a:extLst>
              <a:ext uri="{FF2B5EF4-FFF2-40B4-BE49-F238E27FC236}">
                <a16:creationId xmlns:a16="http://schemas.microsoft.com/office/drawing/2014/main" id="{0EA015D6-8970-F442-96D2-12A12E0331D4}"/>
              </a:ext>
            </a:extLst>
          </p:cNvPr>
          <p:cNvSpPr/>
          <p:nvPr/>
        </p:nvSpPr>
        <p:spPr bwMode="auto">
          <a:xfrm rot="1583341" flipH="1">
            <a:off x="7101775" y="2078287"/>
            <a:ext cx="115670" cy="25890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useBgFill="1">
        <p:nvSpPr>
          <p:cNvPr id="241" name="Freeform 240">
            <a:extLst>
              <a:ext uri="{FF2B5EF4-FFF2-40B4-BE49-F238E27FC236}">
                <a16:creationId xmlns:a16="http://schemas.microsoft.com/office/drawing/2014/main" id="{6B0D99FF-B2E7-624A-B45A-9634031CA932}"/>
              </a:ext>
            </a:extLst>
          </p:cNvPr>
          <p:cNvSpPr/>
          <p:nvPr/>
        </p:nvSpPr>
        <p:spPr bwMode="auto">
          <a:xfrm rot="6586313" flipH="1">
            <a:off x="7855111" y="4441758"/>
            <a:ext cx="115670" cy="25890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useBgFill="1">
        <p:nvSpPr>
          <p:cNvPr id="242" name="Freeform 241">
            <a:extLst>
              <a:ext uri="{FF2B5EF4-FFF2-40B4-BE49-F238E27FC236}">
                <a16:creationId xmlns:a16="http://schemas.microsoft.com/office/drawing/2014/main" id="{F4F68F41-8CEF-A649-9EA5-926EC4FBDD9F}"/>
              </a:ext>
            </a:extLst>
          </p:cNvPr>
          <p:cNvSpPr/>
          <p:nvPr/>
        </p:nvSpPr>
        <p:spPr bwMode="auto">
          <a:xfrm rot="10800000" flipH="1">
            <a:off x="5665013" y="6117408"/>
            <a:ext cx="115670" cy="25890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useBgFill="1">
        <p:nvSpPr>
          <p:cNvPr id="243" name="Freeform 242">
            <a:extLst>
              <a:ext uri="{FF2B5EF4-FFF2-40B4-BE49-F238E27FC236}">
                <a16:creationId xmlns:a16="http://schemas.microsoft.com/office/drawing/2014/main" id="{0ADB20F3-7508-1E48-AF72-636595DAC877}"/>
              </a:ext>
            </a:extLst>
          </p:cNvPr>
          <p:cNvSpPr/>
          <p:nvPr/>
        </p:nvSpPr>
        <p:spPr bwMode="auto">
          <a:xfrm rot="13939501" flipH="1">
            <a:off x="3594852" y="4827904"/>
            <a:ext cx="115670" cy="25890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D66D741F-9E32-4325-80E2-0E237C1A40B6}"/>
              </a:ext>
            </a:extLst>
          </p:cNvPr>
          <p:cNvGrpSpPr/>
          <p:nvPr/>
        </p:nvGrpSpPr>
        <p:grpSpPr>
          <a:xfrm rot="1758133">
            <a:off x="4929275" y="1014935"/>
            <a:ext cx="1545534" cy="1526999"/>
            <a:chOff x="8588574" y="428487"/>
            <a:chExt cx="1780248" cy="1758899"/>
          </a:xfrm>
        </p:grpSpPr>
        <p:sp>
          <p:nvSpPr>
            <p:cNvPr id="106" name="Oval 105">
              <a:extLst>
                <a:ext uri="{FF2B5EF4-FFF2-40B4-BE49-F238E27FC236}">
                  <a16:creationId xmlns:a16="http://schemas.microsoft.com/office/drawing/2014/main" id="{45353630-40F6-4E37-AD43-550A263DCFD9}"/>
                </a:ext>
              </a:extLst>
            </p:cNvPr>
            <p:cNvSpPr/>
            <p:nvPr/>
          </p:nvSpPr>
          <p:spPr bwMode="auto">
            <a:xfrm>
              <a:off x="8671754" y="459948"/>
              <a:ext cx="1626863" cy="1626863"/>
            </a:xfrm>
            <a:prstGeom prst="ellipse">
              <a:avLst/>
            </a:prstGeom>
            <a:ln w="12700" cap="sq">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07" name="Rectangle 106">
              <a:extLst>
                <a:ext uri="{FF2B5EF4-FFF2-40B4-BE49-F238E27FC236}">
                  <a16:creationId xmlns:a16="http://schemas.microsoft.com/office/drawing/2014/main" id="{4605EE45-72F0-410F-96CC-92D0209F2B13}"/>
                </a:ext>
              </a:extLst>
            </p:cNvPr>
            <p:cNvSpPr/>
            <p:nvPr/>
          </p:nvSpPr>
          <p:spPr bwMode="auto">
            <a:xfrm>
              <a:off x="9715808" y="428487"/>
              <a:ext cx="203200" cy="1668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07">
              <a:extLst>
                <a:ext uri="{FF2B5EF4-FFF2-40B4-BE49-F238E27FC236}">
                  <a16:creationId xmlns:a16="http://schemas.microsoft.com/office/drawing/2014/main" id="{07EA252C-F2D3-448B-8D0C-6D5A39BD1C4C}"/>
                </a:ext>
              </a:extLst>
            </p:cNvPr>
            <p:cNvSpPr/>
            <p:nvPr/>
          </p:nvSpPr>
          <p:spPr bwMode="auto">
            <a:xfrm>
              <a:off x="8588574" y="935160"/>
              <a:ext cx="203200" cy="1668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08">
              <a:extLst>
                <a:ext uri="{FF2B5EF4-FFF2-40B4-BE49-F238E27FC236}">
                  <a16:creationId xmlns:a16="http://schemas.microsoft.com/office/drawing/2014/main" id="{86E866F2-F256-47FD-B1F0-8B9848D87388}"/>
                </a:ext>
              </a:extLst>
            </p:cNvPr>
            <p:cNvSpPr/>
            <p:nvPr/>
          </p:nvSpPr>
          <p:spPr bwMode="auto">
            <a:xfrm>
              <a:off x="9156857" y="1957996"/>
              <a:ext cx="203200" cy="22939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ectangle 109">
              <a:extLst>
                <a:ext uri="{FF2B5EF4-FFF2-40B4-BE49-F238E27FC236}">
                  <a16:creationId xmlns:a16="http://schemas.microsoft.com/office/drawing/2014/main" id="{A7E64E60-949F-41B3-8BF1-9993B12A97D3}"/>
                </a:ext>
              </a:extLst>
            </p:cNvPr>
            <p:cNvSpPr/>
            <p:nvPr/>
          </p:nvSpPr>
          <p:spPr bwMode="auto">
            <a:xfrm>
              <a:off x="10165622" y="1425236"/>
              <a:ext cx="203200" cy="1668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useBgFill="1">
          <p:nvSpPr>
            <p:cNvPr id="111" name="Freeform 238">
              <a:extLst>
                <a:ext uri="{FF2B5EF4-FFF2-40B4-BE49-F238E27FC236}">
                  <a16:creationId xmlns:a16="http://schemas.microsoft.com/office/drawing/2014/main" id="{48EFFA72-4B3A-4E85-B30B-D686A510C2A6}"/>
                </a:ext>
              </a:extLst>
            </p:cNvPr>
            <p:cNvSpPr/>
            <p:nvPr/>
          </p:nvSpPr>
          <p:spPr bwMode="auto">
            <a:xfrm rot="951750" flipH="1">
              <a:off x="9787594" y="434273"/>
              <a:ext cx="68095" cy="15242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useBgFill="1">
          <p:nvSpPr>
            <p:cNvPr id="112" name="Freeform 238">
              <a:extLst>
                <a:ext uri="{FF2B5EF4-FFF2-40B4-BE49-F238E27FC236}">
                  <a16:creationId xmlns:a16="http://schemas.microsoft.com/office/drawing/2014/main" id="{418A59EC-FF1D-46DA-AEE6-5EFE24995F91}"/>
                </a:ext>
              </a:extLst>
            </p:cNvPr>
            <p:cNvSpPr/>
            <p:nvPr/>
          </p:nvSpPr>
          <p:spPr bwMode="auto">
            <a:xfrm rot="12271368" flipH="1">
              <a:off x="9210188" y="1956381"/>
              <a:ext cx="68095" cy="15242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useBgFill="1">
          <p:nvSpPr>
            <p:cNvPr id="113" name="Freeform 238">
              <a:extLst>
                <a:ext uri="{FF2B5EF4-FFF2-40B4-BE49-F238E27FC236}">
                  <a16:creationId xmlns:a16="http://schemas.microsoft.com/office/drawing/2014/main" id="{235452A9-F16F-45AF-95DE-AB6479BF394E}"/>
                </a:ext>
              </a:extLst>
            </p:cNvPr>
            <p:cNvSpPr/>
            <p:nvPr/>
          </p:nvSpPr>
          <p:spPr bwMode="auto">
            <a:xfrm rot="6703119" flipH="1">
              <a:off x="10232242" y="1446507"/>
              <a:ext cx="68095" cy="15242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useBgFill="1">
          <p:nvSpPr>
            <p:cNvPr id="114" name="Freeform 238">
              <a:extLst>
                <a:ext uri="{FF2B5EF4-FFF2-40B4-BE49-F238E27FC236}">
                  <a16:creationId xmlns:a16="http://schemas.microsoft.com/office/drawing/2014/main" id="{260BAC64-88C5-4C33-AFE5-308445E49DE1}"/>
                </a:ext>
              </a:extLst>
            </p:cNvPr>
            <p:cNvSpPr/>
            <p:nvPr/>
          </p:nvSpPr>
          <p:spPr bwMode="auto">
            <a:xfrm rot="17572891" flipH="1">
              <a:off x="8689051" y="934765"/>
              <a:ext cx="68095" cy="15242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sp>
        <p:nvSpPr>
          <p:cNvPr id="136" name="TextBox 135">
            <a:extLst>
              <a:ext uri="{FF2B5EF4-FFF2-40B4-BE49-F238E27FC236}">
                <a16:creationId xmlns:a16="http://schemas.microsoft.com/office/drawing/2014/main" id="{21C7EB02-38D6-F449-B54A-AA4153E5EEE8}"/>
              </a:ext>
            </a:extLst>
          </p:cNvPr>
          <p:cNvSpPr txBox="1"/>
          <p:nvPr/>
        </p:nvSpPr>
        <p:spPr>
          <a:xfrm>
            <a:off x="5138816" y="1801886"/>
            <a:ext cx="1148523" cy="421910"/>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371" b="0" i="0" u="none" strike="noStrike" kern="1200" cap="none" spc="0" normalizeH="0" baseline="0" noProof="0" dirty="0">
                <a:ln>
                  <a:noFill/>
                </a:ln>
                <a:solidFill>
                  <a:prstClr val="black"/>
                </a:solidFill>
                <a:effectLst/>
                <a:uLnTx/>
                <a:uFillTx/>
                <a:latin typeface="Segoe UI"/>
                <a:ea typeface="+mn-ea"/>
                <a:cs typeface="+mn-cs"/>
              </a:rPr>
              <a:t>Train &amp; </a:t>
            </a:r>
            <a:br>
              <a:rPr kumimoji="0" lang="en-US" sz="1371" b="0" i="0" u="none" strike="noStrike" kern="1200" cap="none" spc="0" normalizeH="0" baseline="0" noProof="0" dirty="0">
                <a:ln>
                  <a:noFill/>
                </a:ln>
                <a:solidFill>
                  <a:prstClr val="black"/>
                </a:solidFill>
                <a:effectLst/>
                <a:uLnTx/>
                <a:uFillTx/>
                <a:latin typeface="Segoe UI"/>
                <a:ea typeface="+mn-ea"/>
                <a:cs typeface="+mn-cs"/>
              </a:rPr>
            </a:br>
            <a:r>
              <a:rPr kumimoji="0" lang="en-US" sz="1371" b="0" i="0" u="none" strike="noStrike" kern="1200" cap="none" spc="0" normalizeH="0" baseline="0" noProof="0" dirty="0">
                <a:ln>
                  <a:noFill/>
                </a:ln>
                <a:solidFill>
                  <a:prstClr val="black"/>
                </a:solidFill>
                <a:effectLst/>
                <a:uLnTx/>
                <a:uFillTx/>
                <a:latin typeface="Segoe UI"/>
                <a:ea typeface="+mn-ea"/>
                <a:cs typeface="+mn-cs"/>
              </a:rPr>
              <a:t>Test Model</a:t>
            </a:r>
          </a:p>
        </p:txBody>
      </p:sp>
    </p:spTree>
    <p:extLst>
      <p:ext uri="{BB962C8B-B14F-4D97-AF65-F5344CB8AC3E}">
        <p14:creationId xmlns:p14="http://schemas.microsoft.com/office/powerpoint/2010/main" val="34250296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8)">
                                      <p:cBhvr>
                                        <p:cTn id="7" dur="1000"/>
                                        <p:tgtEl>
                                          <p:spTgt spid="2"/>
                                        </p:tgtEl>
                                      </p:cBhvr>
                                    </p:animEffect>
                                  </p:childTnLst>
                                </p:cTn>
                              </p:par>
                              <p:par>
                                <p:cTn id="8" presetID="10" presetClass="emph" presetSubtype="0" repeatCount="3000" fill="hold" grpId="0" nodeType="withEffect">
                                  <p:stCondLst>
                                    <p:cond delay="0"/>
                                  </p:stCondLst>
                                  <p:childTnLst>
                                    <p:anim calcmode="discrete" valueType="str">
                                      <p:cBhvr override="childStyle">
                                        <p:cTn id="9" dur="2500" fill="hold"/>
                                        <p:tgtEl>
                                          <p:spTgt spid="136"/>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par>
                                <p:cTn id="10" presetID="10" presetClass="emph" presetSubtype="0" repeatCount="3000" fill="hold" grpId="0" nodeType="withEffect">
                                  <p:stCondLst>
                                    <p:cond delay="500"/>
                                  </p:stCondLst>
                                  <p:childTnLst>
                                    <p:anim calcmode="discrete" valueType="str">
                                      <p:cBhvr override="childStyle">
                                        <p:cTn id="11" dur="2500" fill="hold"/>
                                        <p:tgtEl>
                                          <p:spTgt spid="135"/>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par>
                                <p:cTn id="12" presetID="10" presetClass="emph" presetSubtype="0" repeatCount="3000" fill="hold" grpId="0" nodeType="withEffect">
                                  <p:stCondLst>
                                    <p:cond delay="1000"/>
                                  </p:stCondLst>
                                  <p:childTnLst>
                                    <p:anim calcmode="discrete" valueType="str">
                                      <p:cBhvr override="childStyle">
                                        <p:cTn id="13" dur="2500" fill="hold"/>
                                        <p:tgtEl>
                                          <p:spTgt spid="142"/>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par>
                                <p:cTn id="14" presetID="10" presetClass="emph" presetSubtype="0" repeatCount="3000" fill="hold" grpId="0" nodeType="withEffect">
                                  <p:stCondLst>
                                    <p:cond delay="1500"/>
                                  </p:stCondLst>
                                  <p:childTnLst>
                                    <p:anim calcmode="discrete" valueType="str">
                                      <p:cBhvr override="childStyle">
                                        <p:cTn id="15" dur="2500" fill="hold"/>
                                        <p:tgtEl>
                                          <p:spTgt spid="137"/>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par>
                                <p:cTn id="16" presetID="10" presetClass="emph" presetSubtype="0" repeatCount="3000" fill="hold" grpId="0" nodeType="withEffect">
                                  <p:stCondLst>
                                    <p:cond delay="2000"/>
                                  </p:stCondLst>
                                  <p:childTnLst>
                                    <p:anim calcmode="discrete" valueType="str">
                                      <p:cBhvr override="childStyle">
                                        <p:cTn id="17" dur="2500" fill="hold"/>
                                        <p:tgtEl>
                                          <p:spTgt spid="141"/>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par>
                                <p:cTn id="18" presetID="8" presetClass="emph" presetSubtype="0" decel="14706" fill="hold" grpId="1" nodeType="withEffect">
                                  <p:stCondLst>
                                    <p:cond delay="1000"/>
                                  </p:stCondLst>
                                  <p:childTnLst>
                                    <p:animRot by="21600000">
                                      <p:cBhvr>
                                        <p:cTn id="19" dur="8500" fill="hold"/>
                                        <p:tgtEl>
                                          <p:spTgt spid="2"/>
                                        </p:tgtEl>
                                        <p:attrNameLst>
                                          <p:attrName>r</p:attrName>
                                        </p:attrNameLst>
                                      </p:cBhvr>
                                    </p:animRot>
                                  </p:childTnLst>
                                </p:cTn>
                              </p:par>
                              <p:par>
                                <p:cTn id="20" presetID="63" presetClass="path" presetSubtype="0" accel="11765" decel="17647" fill="hold" grpId="0" nodeType="withEffect">
                                  <p:stCondLst>
                                    <p:cond delay="0"/>
                                  </p:stCondLst>
                                  <p:childTnLst>
                                    <p:animMotion origin="layout" path="M 4.375E-6 -4.44444E-6 L 1.2375 -4.44444E-6 " pathEditMode="relative" rAng="0" ptsTypes="AA">
                                      <p:cBhvr>
                                        <p:cTn id="21" dur="9500" fill="hold"/>
                                        <p:tgtEl>
                                          <p:spTgt spid="5"/>
                                        </p:tgtEl>
                                        <p:attrNameLst>
                                          <p:attrName>ppt_x</p:attrName>
                                          <p:attrName>ppt_y</p:attrName>
                                        </p:attrNameLst>
                                      </p:cBhvr>
                                      <p:rCtr x="61875" y="0"/>
                                    </p:animMotion>
                                  </p:childTnLst>
                                </p:cTn>
                              </p:par>
                              <p:par>
                                <p:cTn id="22" presetID="21" presetClass="entr" presetSubtype="8" fill="hold" nodeType="withEffect">
                                  <p:stCondLst>
                                    <p:cond delay="500"/>
                                  </p:stCondLst>
                                  <p:childTnLst>
                                    <p:set>
                                      <p:cBhvr>
                                        <p:cTn id="23" dur="1" fill="hold">
                                          <p:stCondLst>
                                            <p:cond delay="0"/>
                                          </p:stCondLst>
                                        </p:cTn>
                                        <p:tgtEl>
                                          <p:spTgt spid="105"/>
                                        </p:tgtEl>
                                        <p:attrNameLst>
                                          <p:attrName>style.visibility</p:attrName>
                                        </p:attrNameLst>
                                      </p:cBhvr>
                                      <p:to>
                                        <p:strVal val="visible"/>
                                      </p:to>
                                    </p:set>
                                    <p:animEffect transition="in" filter="wheel(8)">
                                      <p:cBhvr>
                                        <p:cTn id="24" dur="1000"/>
                                        <p:tgtEl>
                                          <p:spTgt spid="105"/>
                                        </p:tgtEl>
                                      </p:cBhvr>
                                    </p:animEffect>
                                  </p:childTnLst>
                                </p:cTn>
                              </p:par>
                              <p:par>
                                <p:cTn id="25" presetID="8" presetClass="emph" presetSubtype="0" decel="14706" fill="hold" nodeType="withEffect">
                                  <p:stCondLst>
                                    <p:cond delay="500"/>
                                  </p:stCondLst>
                                  <p:childTnLst>
                                    <p:animRot by="21600000">
                                      <p:cBhvr>
                                        <p:cTn id="26" dur="8500" fill="hold"/>
                                        <p:tgtEl>
                                          <p:spTgt spid="10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 grpId="0" animBg="1"/>
      <p:bldP spid="2" grpId="1" animBg="1"/>
      <p:bldP spid="135" grpId="0"/>
      <p:bldP spid="137" grpId="0"/>
      <p:bldP spid="141" grpId="0"/>
      <p:bldP spid="142" grpId="0"/>
      <p:bldP spid="136"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54D31BD3-BB62-4F0D-8DAF-7835383F56F3}"/>
              </a:ext>
            </a:extLst>
          </p:cNvPr>
          <p:cNvSpPr/>
          <p:nvPr/>
        </p:nvSpPr>
        <p:spPr bwMode="auto">
          <a:xfrm>
            <a:off x="2900719" y="1489542"/>
            <a:ext cx="6475899" cy="4982463"/>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EDD1F22-5953-46D8-8D95-BE68DAA80DC4}"/>
              </a:ext>
            </a:extLst>
          </p:cNvPr>
          <p:cNvSpPr>
            <a:spLocks noGrp="1"/>
          </p:cNvSpPr>
          <p:nvPr>
            <p:ph type="title"/>
          </p:nvPr>
        </p:nvSpPr>
        <p:spPr/>
        <p:txBody>
          <a:bodyPr/>
          <a:lstStyle/>
          <a:p>
            <a:r>
              <a:rPr lang="en-US" dirty="0"/>
              <a:t>Model management in Azure Machine Learning </a:t>
            </a:r>
          </a:p>
        </p:txBody>
      </p:sp>
      <p:grpSp>
        <p:nvGrpSpPr>
          <p:cNvPr id="2" name="Group 1">
            <a:extLst>
              <a:ext uri="{FF2B5EF4-FFF2-40B4-BE49-F238E27FC236}">
                <a16:creationId xmlns:a16="http://schemas.microsoft.com/office/drawing/2014/main" id="{5C05E201-78F0-2043-AB50-4C9995D08AEA}"/>
              </a:ext>
            </a:extLst>
          </p:cNvPr>
          <p:cNvGrpSpPr/>
          <p:nvPr/>
        </p:nvGrpSpPr>
        <p:grpSpPr>
          <a:xfrm>
            <a:off x="4744878" y="1633334"/>
            <a:ext cx="2652724" cy="1000792"/>
            <a:chOff x="4840022" y="1665589"/>
            <a:chExt cx="2705917" cy="1020860"/>
          </a:xfrm>
        </p:grpSpPr>
        <p:sp>
          <p:nvSpPr>
            <p:cNvPr id="100" name="Oval 99">
              <a:extLst>
                <a:ext uri="{FF2B5EF4-FFF2-40B4-BE49-F238E27FC236}">
                  <a16:creationId xmlns:a16="http://schemas.microsoft.com/office/drawing/2014/main" id="{C4989E93-80AB-694A-935B-C85C9185F43D}"/>
                </a:ext>
              </a:extLst>
            </p:cNvPr>
            <p:cNvSpPr/>
            <p:nvPr/>
          </p:nvSpPr>
          <p:spPr bwMode="auto">
            <a:xfrm>
              <a:off x="5734594" y="1962091"/>
              <a:ext cx="923409" cy="72435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5" name="Rectangle 74">
              <a:extLst>
                <a:ext uri="{FF2B5EF4-FFF2-40B4-BE49-F238E27FC236}">
                  <a16:creationId xmlns:a16="http://schemas.microsoft.com/office/drawing/2014/main" id="{1B7C165C-C301-4E43-AD15-003E2D075DD4}"/>
                </a:ext>
              </a:extLst>
            </p:cNvPr>
            <p:cNvSpPr/>
            <p:nvPr/>
          </p:nvSpPr>
          <p:spPr>
            <a:xfrm>
              <a:off x="4840022" y="1665589"/>
              <a:ext cx="2705917" cy="27699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196"/>
                </a:spcAft>
                <a:buClrTx/>
                <a:buSzTx/>
                <a:buFontTx/>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sym typeface="Arial" panose="020B0604020202020204" pitchFamily="34" charset="0"/>
                </a:rPr>
                <a:t>Create/retrain model</a:t>
              </a:r>
              <a:endParaRPr kumimoji="0" lang="en-US" sz="1176"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84" name="Group 83">
              <a:extLst>
                <a:ext uri="{FF2B5EF4-FFF2-40B4-BE49-F238E27FC236}">
                  <a16:creationId xmlns:a16="http://schemas.microsoft.com/office/drawing/2014/main" id="{CC7E8C1F-1C07-894F-9D4A-E68BC574769B}"/>
                </a:ext>
              </a:extLst>
            </p:cNvPr>
            <p:cNvGrpSpPr/>
            <p:nvPr/>
          </p:nvGrpSpPr>
          <p:grpSpPr>
            <a:xfrm>
              <a:off x="5908348" y="2012862"/>
              <a:ext cx="569267" cy="548196"/>
              <a:chOff x="8604015" y="4747099"/>
              <a:chExt cx="1221773" cy="1176550"/>
            </a:xfrm>
          </p:grpSpPr>
          <p:grpSp>
            <p:nvGrpSpPr>
              <p:cNvPr id="85" name="Group 84">
                <a:extLst>
                  <a:ext uri="{FF2B5EF4-FFF2-40B4-BE49-F238E27FC236}">
                    <a16:creationId xmlns:a16="http://schemas.microsoft.com/office/drawing/2014/main" id="{A1E8E782-AB7C-BA41-B174-D84663035D1C}"/>
                  </a:ext>
                </a:extLst>
              </p:cNvPr>
              <p:cNvGrpSpPr/>
              <p:nvPr/>
            </p:nvGrpSpPr>
            <p:grpSpPr>
              <a:xfrm>
                <a:off x="9214901" y="4915118"/>
                <a:ext cx="610887" cy="672077"/>
                <a:chOff x="6053699" y="2879832"/>
                <a:chExt cx="279256" cy="307228"/>
              </a:xfrm>
            </p:grpSpPr>
            <p:sp>
              <p:nvSpPr>
                <p:cNvPr id="96" name="Freeform: Shape 843">
                  <a:extLst>
                    <a:ext uri="{FF2B5EF4-FFF2-40B4-BE49-F238E27FC236}">
                      <a16:creationId xmlns:a16="http://schemas.microsoft.com/office/drawing/2014/main" id="{68DDB9B0-849C-584D-BA45-5D0801C7302C}"/>
                    </a:ext>
                  </a:extLst>
                </p:cNvPr>
                <p:cNvSpPr/>
                <p:nvPr/>
              </p:nvSpPr>
              <p:spPr bwMode="auto">
                <a:xfrm>
                  <a:off x="6053699" y="2879832"/>
                  <a:ext cx="279256" cy="307228"/>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EB7F09AD-B9B0-7140-B4E2-1A82D2DBBFCC}"/>
                    </a:ext>
                  </a:extLst>
                </p:cNvPr>
                <p:cNvCxnSpPr>
                  <a:cxnSpLocks/>
                </p:cNvCxnSpPr>
                <p:nvPr/>
              </p:nvCxnSpPr>
              <p:spPr>
                <a:xfrm>
                  <a:off x="6053699" y="2956449"/>
                  <a:ext cx="139628" cy="76997"/>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1C4C95D7-BB1A-0944-87D2-3C403B840472}"/>
                    </a:ext>
                  </a:extLst>
                </p:cNvPr>
                <p:cNvCxnSpPr>
                  <a:cxnSpLocks/>
                </p:cNvCxnSpPr>
                <p:nvPr/>
              </p:nvCxnSpPr>
              <p:spPr>
                <a:xfrm flipV="1">
                  <a:off x="6193327" y="2956449"/>
                  <a:ext cx="139628" cy="76997"/>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313AC115-E19E-A042-9C1B-BFA197463150}"/>
                    </a:ext>
                  </a:extLst>
                </p:cNvPr>
                <p:cNvCxnSpPr>
                  <a:cxnSpLocks/>
                </p:cNvCxnSpPr>
                <p:nvPr/>
              </p:nvCxnSpPr>
              <p:spPr>
                <a:xfrm flipV="1">
                  <a:off x="6193327" y="3033446"/>
                  <a:ext cx="0" cy="153614"/>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a16="http://schemas.microsoft.com/office/drawing/2014/main" id="{1FF5B42E-3430-C446-B9C9-538E22F9C79F}"/>
                  </a:ext>
                </a:extLst>
              </p:cNvPr>
              <p:cNvGrpSpPr/>
              <p:nvPr/>
            </p:nvGrpSpPr>
            <p:grpSpPr>
              <a:xfrm>
                <a:off x="8604015" y="5251572"/>
                <a:ext cx="610887" cy="672077"/>
                <a:chOff x="6053699" y="2879832"/>
                <a:chExt cx="279256" cy="307228"/>
              </a:xfrm>
            </p:grpSpPr>
            <p:sp>
              <p:nvSpPr>
                <p:cNvPr id="92" name="Freeform: Shape 843">
                  <a:extLst>
                    <a:ext uri="{FF2B5EF4-FFF2-40B4-BE49-F238E27FC236}">
                      <a16:creationId xmlns:a16="http://schemas.microsoft.com/office/drawing/2014/main" id="{DE89988C-FCDD-E141-8512-92F1F0FA8FB6}"/>
                    </a:ext>
                  </a:extLst>
                </p:cNvPr>
                <p:cNvSpPr/>
                <p:nvPr/>
              </p:nvSpPr>
              <p:spPr bwMode="auto">
                <a:xfrm>
                  <a:off x="6053699" y="2879832"/>
                  <a:ext cx="279256" cy="307228"/>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id="{02B8B972-5158-B143-80A3-69D8B8AF2F5E}"/>
                    </a:ext>
                  </a:extLst>
                </p:cNvPr>
                <p:cNvCxnSpPr>
                  <a:cxnSpLocks/>
                </p:cNvCxnSpPr>
                <p:nvPr/>
              </p:nvCxnSpPr>
              <p:spPr>
                <a:xfrm>
                  <a:off x="6053699" y="2956449"/>
                  <a:ext cx="139628" cy="76997"/>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3DCA494-D80B-2A44-BD59-94E5C352FE45}"/>
                    </a:ext>
                  </a:extLst>
                </p:cNvPr>
                <p:cNvCxnSpPr>
                  <a:cxnSpLocks/>
                </p:cNvCxnSpPr>
                <p:nvPr/>
              </p:nvCxnSpPr>
              <p:spPr>
                <a:xfrm flipV="1">
                  <a:off x="6193327" y="2956449"/>
                  <a:ext cx="139628" cy="76997"/>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4C824365-4D3B-CD47-95DC-B21C7BF4A2D4}"/>
                    </a:ext>
                  </a:extLst>
                </p:cNvPr>
                <p:cNvCxnSpPr>
                  <a:cxnSpLocks/>
                </p:cNvCxnSpPr>
                <p:nvPr/>
              </p:nvCxnSpPr>
              <p:spPr>
                <a:xfrm flipV="1">
                  <a:off x="6193327" y="3033446"/>
                  <a:ext cx="0" cy="153614"/>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843D2561-AD79-8E48-BF8C-C5431837233D}"/>
                  </a:ext>
                </a:extLst>
              </p:cNvPr>
              <p:cNvGrpSpPr/>
              <p:nvPr/>
            </p:nvGrpSpPr>
            <p:grpSpPr>
              <a:xfrm>
                <a:off x="8909458" y="4747099"/>
                <a:ext cx="610887" cy="672077"/>
                <a:chOff x="6053699" y="2879832"/>
                <a:chExt cx="279256" cy="307228"/>
              </a:xfrm>
              <a:solidFill>
                <a:schemeClr val="bg1"/>
              </a:solidFill>
            </p:grpSpPr>
            <p:sp>
              <p:nvSpPr>
                <p:cNvPr id="88" name="Freeform: Shape 843">
                  <a:extLst>
                    <a:ext uri="{FF2B5EF4-FFF2-40B4-BE49-F238E27FC236}">
                      <a16:creationId xmlns:a16="http://schemas.microsoft.com/office/drawing/2014/main" id="{65A5CB79-9CFD-6249-8B97-E6D7E6483E5F}"/>
                    </a:ext>
                  </a:extLst>
                </p:cNvPr>
                <p:cNvSpPr/>
                <p:nvPr/>
              </p:nvSpPr>
              <p:spPr bwMode="auto">
                <a:xfrm>
                  <a:off x="6053699" y="2879832"/>
                  <a:ext cx="279256" cy="307228"/>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5E0D3E29-9721-0240-A20D-6CCEB2669726}"/>
                    </a:ext>
                  </a:extLst>
                </p:cNvPr>
                <p:cNvCxnSpPr>
                  <a:cxnSpLocks/>
                </p:cNvCxnSpPr>
                <p:nvPr/>
              </p:nvCxnSpPr>
              <p:spPr>
                <a:xfrm>
                  <a:off x="6053699" y="2956449"/>
                  <a:ext cx="139628" cy="76997"/>
                </a:xfrm>
                <a:prstGeom prst="line">
                  <a:avLst/>
                </a:prstGeom>
                <a:grpFill/>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2713337F-1F20-D14B-9723-E56E6963C63A}"/>
                    </a:ext>
                  </a:extLst>
                </p:cNvPr>
                <p:cNvCxnSpPr>
                  <a:cxnSpLocks/>
                </p:cNvCxnSpPr>
                <p:nvPr/>
              </p:nvCxnSpPr>
              <p:spPr>
                <a:xfrm flipV="1">
                  <a:off x="6193327" y="2956449"/>
                  <a:ext cx="139628" cy="76997"/>
                </a:xfrm>
                <a:prstGeom prst="line">
                  <a:avLst/>
                </a:prstGeom>
                <a:grpFill/>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EEE3E36-6E26-A24A-94DA-F85044D8B498}"/>
                    </a:ext>
                  </a:extLst>
                </p:cNvPr>
                <p:cNvCxnSpPr>
                  <a:cxnSpLocks/>
                </p:cNvCxnSpPr>
                <p:nvPr/>
              </p:nvCxnSpPr>
              <p:spPr>
                <a:xfrm flipV="1">
                  <a:off x="6193327" y="3033446"/>
                  <a:ext cx="0" cy="153614"/>
                </a:xfrm>
                <a:prstGeom prst="line">
                  <a:avLst/>
                </a:prstGeom>
                <a:grpFill/>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4" name="Group 3">
            <a:extLst>
              <a:ext uri="{FF2B5EF4-FFF2-40B4-BE49-F238E27FC236}">
                <a16:creationId xmlns:a16="http://schemas.microsoft.com/office/drawing/2014/main" id="{D5310C38-DA0D-614E-9795-9C16348D6506}"/>
              </a:ext>
            </a:extLst>
          </p:cNvPr>
          <p:cNvGrpSpPr/>
          <p:nvPr/>
        </p:nvGrpSpPr>
        <p:grpSpPr>
          <a:xfrm>
            <a:off x="7369476" y="4443568"/>
            <a:ext cx="1860380" cy="811834"/>
            <a:chOff x="7517249" y="4532174"/>
            <a:chExt cx="1897684" cy="828113"/>
          </a:xfrm>
        </p:grpSpPr>
        <p:sp>
          <p:nvSpPr>
            <p:cNvPr id="77" name="Rectangle 76">
              <a:extLst>
                <a:ext uri="{FF2B5EF4-FFF2-40B4-BE49-F238E27FC236}">
                  <a16:creationId xmlns:a16="http://schemas.microsoft.com/office/drawing/2014/main" id="{BD788131-D59F-964D-A903-EE1E73CBDB40}"/>
                </a:ext>
              </a:extLst>
            </p:cNvPr>
            <p:cNvSpPr/>
            <p:nvPr/>
          </p:nvSpPr>
          <p:spPr>
            <a:xfrm>
              <a:off x="8133543" y="4654964"/>
              <a:ext cx="1281390" cy="646331"/>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196"/>
                </a:spcAft>
                <a:buClrTx/>
                <a:buSzTx/>
                <a:buFontTx/>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sym typeface="Arial" panose="020B0604020202020204" pitchFamily="34" charset="0"/>
                </a:rPr>
                <a:t>Create scoring files and dependencies</a:t>
              </a:r>
              <a:endParaRPr kumimoji="0" lang="en-US" sz="1176"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06" name="Oval 105">
              <a:extLst>
                <a:ext uri="{FF2B5EF4-FFF2-40B4-BE49-F238E27FC236}">
                  <a16:creationId xmlns:a16="http://schemas.microsoft.com/office/drawing/2014/main" id="{EB368205-847F-9444-9F7B-CABCCF8E66B0}"/>
                </a:ext>
              </a:extLst>
            </p:cNvPr>
            <p:cNvSpPr/>
            <p:nvPr/>
          </p:nvSpPr>
          <p:spPr bwMode="auto">
            <a:xfrm>
              <a:off x="7517249" y="4532174"/>
              <a:ext cx="724358" cy="82811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07" name="Group 106">
              <a:extLst>
                <a:ext uri="{FF2B5EF4-FFF2-40B4-BE49-F238E27FC236}">
                  <a16:creationId xmlns:a16="http://schemas.microsoft.com/office/drawing/2014/main" id="{DB5F8891-5C38-8340-8C6F-B57D125EE569}"/>
                </a:ext>
              </a:extLst>
            </p:cNvPr>
            <p:cNvGrpSpPr/>
            <p:nvPr/>
          </p:nvGrpSpPr>
          <p:grpSpPr>
            <a:xfrm>
              <a:off x="7539341" y="4723887"/>
              <a:ext cx="558505" cy="314757"/>
              <a:chOff x="831850" y="2057400"/>
              <a:chExt cx="923925" cy="520700"/>
            </a:xfrm>
          </p:grpSpPr>
          <p:sp>
            <p:nvSpPr>
              <p:cNvPr id="108" name="Freeform 107">
                <a:extLst>
                  <a:ext uri="{FF2B5EF4-FFF2-40B4-BE49-F238E27FC236}">
                    <a16:creationId xmlns:a16="http://schemas.microsoft.com/office/drawing/2014/main" id="{AA30E7D5-C977-584C-9FB8-BF0EA0BC07F6}"/>
                  </a:ext>
                </a:extLst>
              </p:cNvPr>
              <p:cNvSpPr/>
              <p:nvPr/>
            </p:nvSpPr>
            <p:spPr bwMode="auto">
              <a:xfrm>
                <a:off x="831850" y="2181225"/>
                <a:ext cx="250825" cy="269875"/>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09" name="Freeform 108">
                <a:extLst>
                  <a:ext uri="{FF2B5EF4-FFF2-40B4-BE49-F238E27FC236}">
                    <a16:creationId xmlns:a16="http://schemas.microsoft.com/office/drawing/2014/main" id="{F1717919-8DB5-7749-95D2-DAF351F861CB}"/>
                  </a:ext>
                </a:extLst>
              </p:cNvPr>
              <p:cNvSpPr/>
              <p:nvPr/>
            </p:nvSpPr>
            <p:spPr bwMode="auto">
              <a:xfrm flipH="1">
                <a:off x="1504950" y="2181225"/>
                <a:ext cx="250825" cy="269875"/>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cxnSp>
            <p:nvCxnSpPr>
              <p:cNvPr id="110" name="Straight Connector 109">
                <a:extLst>
                  <a:ext uri="{FF2B5EF4-FFF2-40B4-BE49-F238E27FC236}">
                    <a16:creationId xmlns:a16="http://schemas.microsoft.com/office/drawing/2014/main" id="{CEEF7E34-28E5-0846-ACF2-EF8EC421A1DD}"/>
                  </a:ext>
                </a:extLst>
              </p:cNvPr>
              <p:cNvCxnSpPr/>
              <p:nvPr/>
            </p:nvCxnSpPr>
            <p:spPr>
              <a:xfrm flipH="1">
                <a:off x="1181100" y="2057400"/>
                <a:ext cx="215900" cy="52070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9" name="Group 8">
            <a:extLst>
              <a:ext uri="{FF2B5EF4-FFF2-40B4-BE49-F238E27FC236}">
                <a16:creationId xmlns:a16="http://schemas.microsoft.com/office/drawing/2014/main" id="{FBC2E4A8-FA68-F54E-BBB1-EE1F6E3779A3}"/>
              </a:ext>
            </a:extLst>
          </p:cNvPr>
          <p:cNvGrpSpPr/>
          <p:nvPr/>
        </p:nvGrpSpPr>
        <p:grpSpPr>
          <a:xfrm>
            <a:off x="5306305" y="5343927"/>
            <a:ext cx="2031969" cy="864638"/>
            <a:chOff x="5412707" y="5450587"/>
            <a:chExt cx="2072714" cy="881976"/>
          </a:xfrm>
        </p:grpSpPr>
        <p:sp>
          <p:nvSpPr>
            <p:cNvPr id="111" name="Oval 110">
              <a:extLst>
                <a:ext uri="{FF2B5EF4-FFF2-40B4-BE49-F238E27FC236}">
                  <a16:creationId xmlns:a16="http://schemas.microsoft.com/office/drawing/2014/main" id="{308D41C6-63E8-8441-8095-2C51623F2754}"/>
                </a:ext>
              </a:extLst>
            </p:cNvPr>
            <p:cNvSpPr/>
            <p:nvPr/>
          </p:nvSpPr>
          <p:spPr bwMode="auto">
            <a:xfrm>
              <a:off x="5995185" y="5450587"/>
              <a:ext cx="724358" cy="72435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6" name="Group 5">
              <a:extLst>
                <a:ext uri="{FF2B5EF4-FFF2-40B4-BE49-F238E27FC236}">
                  <a16:creationId xmlns:a16="http://schemas.microsoft.com/office/drawing/2014/main" id="{F8C02F94-BE59-034B-8B40-38DC314BC2C6}"/>
                </a:ext>
              </a:extLst>
            </p:cNvPr>
            <p:cNvGrpSpPr/>
            <p:nvPr/>
          </p:nvGrpSpPr>
          <p:grpSpPr>
            <a:xfrm>
              <a:off x="5412707" y="5576782"/>
              <a:ext cx="2072714" cy="755781"/>
              <a:chOff x="5412707" y="5576782"/>
              <a:chExt cx="2072714" cy="755781"/>
            </a:xfrm>
          </p:grpSpPr>
          <p:grpSp>
            <p:nvGrpSpPr>
              <p:cNvPr id="112" name="Group 111">
                <a:extLst>
                  <a:ext uri="{FF2B5EF4-FFF2-40B4-BE49-F238E27FC236}">
                    <a16:creationId xmlns:a16="http://schemas.microsoft.com/office/drawing/2014/main" id="{DBD8AB2B-7735-9F41-8797-8CC0348C5562}"/>
                  </a:ext>
                </a:extLst>
              </p:cNvPr>
              <p:cNvGrpSpPr/>
              <p:nvPr/>
            </p:nvGrpSpPr>
            <p:grpSpPr>
              <a:xfrm>
                <a:off x="6076567" y="5576782"/>
                <a:ext cx="517461" cy="431739"/>
                <a:chOff x="3428310" y="907009"/>
                <a:chExt cx="3119607" cy="2602811"/>
              </a:xfrm>
              <a:noFill/>
            </p:grpSpPr>
            <p:sp>
              <p:nvSpPr>
                <p:cNvPr id="113" name="Freeform: Shape 463">
                  <a:extLst>
                    <a:ext uri="{FF2B5EF4-FFF2-40B4-BE49-F238E27FC236}">
                      <a16:creationId xmlns:a16="http://schemas.microsoft.com/office/drawing/2014/main" id="{847DA02F-EDB6-594A-BF34-99FA0A6FA8EF}"/>
                    </a:ext>
                  </a:extLst>
                </p:cNvPr>
                <p:cNvSpPr/>
                <p:nvPr/>
              </p:nvSpPr>
              <p:spPr>
                <a:xfrm>
                  <a:off x="3428310" y="907009"/>
                  <a:ext cx="1785134" cy="1128449"/>
                </a:xfrm>
                <a:custGeom>
                  <a:avLst/>
                  <a:gdLst>
                    <a:gd name="connsiteX0" fmla="*/ 931081 w 1785134"/>
                    <a:gd name="connsiteY0" fmla="*/ 0 h 1128449"/>
                    <a:gd name="connsiteX1" fmla="*/ 1376556 w 1785134"/>
                    <a:gd name="connsiteY1" fmla="*/ 281108 h 1128449"/>
                    <a:gd name="connsiteX2" fmla="*/ 1589259 w 1785134"/>
                    <a:gd name="connsiteY2" fmla="*/ 224887 h 1128449"/>
                    <a:gd name="connsiteX3" fmla="*/ 1765091 w 1785134"/>
                    <a:gd name="connsiteY3" fmla="*/ 260778 h 1128449"/>
                    <a:gd name="connsiteX4" fmla="*/ 1785134 w 1785134"/>
                    <a:gd name="connsiteY4" fmla="*/ 271720 h 1128449"/>
                    <a:gd name="connsiteX5" fmla="*/ 1247159 w 1785134"/>
                    <a:gd name="connsiteY5" fmla="*/ 651620 h 1128449"/>
                    <a:gd name="connsiteX6" fmla="*/ 1247159 w 1785134"/>
                    <a:gd name="connsiteY6" fmla="*/ 1128449 h 1128449"/>
                    <a:gd name="connsiteX7" fmla="*/ 1140187 w 1785134"/>
                    <a:gd name="connsiteY7" fmla="*/ 1128449 h 1128449"/>
                    <a:gd name="connsiteX8" fmla="*/ 228757 w 1785134"/>
                    <a:gd name="connsiteY8" fmla="*/ 1128449 h 1128449"/>
                    <a:gd name="connsiteX9" fmla="*/ 0 w 1785134"/>
                    <a:gd name="connsiteY9" fmla="*/ 895531 h 1128449"/>
                    <a:gd name="connsiteX10" fmla="*/ 172571 w 1785134"/>
                    <a:gd name="connsiteY10" fmla="*/ 674660 h 1128449"/>
                    <a:gd name="connsiteX11" fmla="*/ 441461 w 1785134"/>
                    <a:gd name="connsiteY11" fmla="*/ 465837 h 1128449"/>
                    <a:gd name="connsiteX12" fmla="*/ 931081 w 1785134"/>
                    <a:gd name="connsiteY12" fmla="*/ 0 h 1128449"/>
                    <a:gd name="connsiteX0" fmla="*/ 1247159 w 1785134"/>
                    <a:gd name="connsiteY0" fmla="*/ 651620 h 1128449"/>
                    <a:gd name="connsiteX1" fmla="*/ 1247159 w 1785134"/>
                    <a:gd name="connsiteY1" fmla="*/ 1128449 h 1128449"/>
                    <a:gd name="connsiteX2" fmla="*/ 1140187 w 1785134"/>
                    <a:gd name="connsiteY2" fmla="*/ 1128449 h 1128449"/>
                    <a:gd name="connsiteX3" fmla="*/ 228757 w 1785134"/>
                    <a:gd name="connsiteY3" fmla="*/ 1128449 h 1128449"/>
                    <a:gd name="connsiteX4" fmla="*/ 0 w 1785134"/>
                    <a:gd name="connsiteY4" fmla="*/ 895531 h 1128449"/>
                    <a:gd name="connsiteX5" fmla="*/ 172571 w 1785134"/>
                    <a:gd name="connsiteY5" fmla="*/ 674660 h 1128449"/>
                    <a:gd name="connsiteX6" fmla="*/ 441461 w 1785134"/>
                    <a:gd name="connsiteY6" fmla="*/ 465837 h 1128449"/>
                    <a:gd name="connsiteX7" fmla="*/ 931081 w 1785134"/>
                    <a:gd name="connsiteY7" fmla="*/ 0 h 1128449"/>
                    <a:gd name="connsiteX8" fmla="*/ 1376556 w 1785134"/>
                    <a:gd name="connsiteY8" fmla="*/ 281108 h 1128449"/>
                    <a:gd name="connsiteX9" fmla="*/ 1589259 w 1785134"/>
                    <a:gd name="connsiteY9" fmla="*/ 224887 h 1128449"/>
                    <a:gd name="connsiteX10" fmla="*/ 1765091 w 1785134"/>
                    <a:gd name="connsiteY10" fmla="*/ 260778 h 1128449"/>
                    <a:gd name="connsiteX11" fmla="*/ 1785134 w 1785134"/>
                    <a:gd name="connsiteY11" fmla="*/ 271720 h 1128449"/>
                    <a:gd name="connsiteX12" fmla="*/ 1338599 w 1785134"/>
                    <a:gd name="connsiteY12" fmla="*/ 743060 h 1128449"/>
                    <a:gd name="connsiteX0" fmla="*/ 1247159 w 1785134"/>
                    <a:gd name="connsiteY0" fmla="*/ 651620 h 1128449"/>
                    <a:gd name="connsiteX1" fmla="*/ 1247159 w 1785134"/>
                    <a:gd name="connsiteY1" fmla="*/ 1128449 h 1128449"/>
                    <a:gd name="connsiteX2" fmla="*/ 1140187 w 1785134"/>
                    <a:gd name="connsiteY2" fmla="*/ 1128449 h 1128449"/>
                    <a:gd name="connsiteX3" fmla="*/ 228757 w 1785134"/>
                    <a:gd name="connsiteY3" fmla="*/ 1128449 h 1128449"/>
                    <a:gd name="connsiteX4" fmla="*/ 0 w 1785134"/>
                    <a:gd name="connsiteY4" fmla="*/ 895531 h 1128449"/>
                    <a:gd name="connsiteX5" fmla="*/ 172571 w 1785134"/>
                    <a:gd name="connsiteY5" fmla="*/ 674660 h 1128449"/>
                    <a:gd name="connsiteX6" fmla="*/ 441461 w 1785134"/>
                    <a:gd name="connsiteY6" fmla="*/ 465837 h 1128449"/>
                    <a:gd name="connsiteX7" fmla="*/ 931081 w 1785134"/>
                    <a:gd name="connsiteY7" fmla="*/ 0 h 1128449"/>
                    <a:gd name="connsiteX8" fmla="*/ 1376556 w 1785134"/>
                    <a:gd name="connsiteY8" fmla="*/ 281108 h 1128449"/>
                    <a:gd name="connsiteX9" fmla="*/ 1589259 w 1785134"/>
                    <a:gd name="connsiteY9" fmla="*/ 224887 h 1128449"/>
                    <a:gd name="connsiteX10" fmla="*/ 1765091 w 1785134"/>
                    <a:gd name="connsiteY10" fmla="*/ 260778 h 1128449"/>
                    <a:gd name="connsiteX11" fmla="*/ 1785134 w 1785134"/>
                    <a:gd name="connsiteY11" fmla="*/ 271720 h 1128449"/>
                    <a:gd name="connsiteX0" fmla="*/ 1247159 w 1785134"/>
                    <a:gd name="connsiteY0" fmla="*/ 1128449 h 1128449"/>
                    <a:gd name="connsiteX1" fmla="*/ 1140187 w 1785134"/>
                    <a:gd name="connsiteY1" fmla="*/ 1128449 h 1128449"/>
                    <a:gd name="connsiteX2" fmla="*/ 228757 w 1785134"/>
                    <a:gd name="connsiteY2" fmla="*/ 1128449 h 1128449"/>
                    <a:gd name="connsiteX3" fmla="*/ 0 w 1785134"/>
                    <a:gd name="connsiteY3" fmla="*/ 895531 h 1128449"/>
                    <a:gd name="connsiteX4" fmla="*/ 172571 w 1785134"/>
                    <a:gd name="connsiteY4" fmla="*/ 674660 h 1128449"/>
                    <a:gd name="connsiteX5" fmla="*/ 441461 w 1785134"/>
                    <a:gd name="connsiteY5" fmla="*/ 465837 h 1128449"/>
                    <a:gd name="connsiteX6" fmla="*/ 931081 w 1785134"/>
                    <a:gd name="connsiteY6" fmla="*/ 0 h 1128449"/>
                    <a:gd name="connsiteX7" fmla="*/ 1376556 w 1785134"/>
                    <a:gd name="connsiteY7" fmla="*/ 281108 h 1128449"/>
                    <a:gd name="connsiteX8" fmla="*/ 1589259 w 1785134"/>
                    <a:gd name="connsiteY8" fmla="*/ 224887 h 1128449"/>
                    <a:gd name="connsiteX9" fmla="*/ 1765091 w 1785134"/>
                    <a:gd name="connsiteY9" fmla="*/ 260778 h 1128449"/>
                    <a:gd name="connsiteX10" fmla="*/ 1785134 w 1785134"/>
                    <a:gd name="connsiteY10" fmla="*/ 271720 h 1128449"/>
                    <a:gd name="connsiteX0" fmla="*/ 1247159 w 1785134"/>
                    <a:gd name="connsiteY0" fmla="*/ 1128449 h 1128449"/>
                    <a:gd name="connsiteX1" fmla="*/ 228757 w 1785134"/>
                    <a:gd name="connsiteY1" fmla="*/ 1128449 h 1128449"/>
                    <a:gd name="connsiteX2" fmla="*/ 0 w 1785134"/>
                    <a:gd name="connsiteY2" fmla="*/ 895531 h 1128449"/>
                    <a:gd name="connsiteX3" fmla="*/ 172571 w 1785134"/>
                    <a:gd name="connsiteY3" fmla="*/ 674660 h 1128449"/>
                    <a:gd name="connsiteX4" fmla="*/ 441461 w 1785134"/>
                    <a:gd name="connsiteY4" fmla="*/ 465837 h 1128449"/>
                    <a:gd name="connsiteX5" fmla="*/ 931081 w 1785134"/>
                    <a:gd name="connsiteY5" fmla="*/ 0 h 1128449"/>
                    <a:gd name="connsiteX6" fmla="*/ 1376556 w 1785134"/>
                    <a:gd name="connsiteY6" fmla="*/ 281108 h 1128449"/>
                    <a:gd name="connsiteX7" fmla="*/ 1589259 w 1785134"/>
                    <a:gd name="connsiteY7" fmla="*/ 224887 h 1128449"/>
                    <a:gd name="connsiteX8" fmla="*/ 1765091 w 1785134"/>
                    <a:gd name="connsiteY8" fmla="*/ 260778 h 1128449"/>
                    <a:gd name="connsiteX9" fmla="*/ 1785134 w 1785134"/>
                    <a:gd name="connsiteY9" fmla="*/ 271720 h 112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5134" h="1128449">
                      <a:moveTo>
                        <a:pt x="1247159" y="1128449"/>
                      </a:moveTo>
                      <a:lnTo>
                        <a:pt x="228757" y="1128449"/>
                      </a:lnTo>
                      <a:cubicBezTo>
                        <a:pt x="104345" y="1128449"/>
                        <a:pt x="0" y="1024037"/>
                        <a:pt x="0" y="895531"/>
                      </a:cubicBezTo>
                      <a:cubicBezTo>
                        <a:pt x="0" y="787103"/>
                        <a:pt x="72239" y="698755"/>
                        <a:pt x="172571" y="674660"/>
                      </a:cubicBezTo>
                      <a:cubicBezTo>
                        <a:pt x="220731" y="562217"/>
                        <a:pt x="321063" y="481900"/>
                        <a:pt x="441461" y="465837"/>
                      </a:cubicBezTo>
                      <a:cubicBezTo>
                        <a:pt x="453501" y="208823"/>
                        <a:pt x="670218" y="0"/>
                        <a:pt x="931081" y="0"/>
                      </a:cubicBezTo>
                      <a:cubicBezTo>
                        <a:pt x="1123719" y="0"/>
                        <a:pt x="1296290" y="112443"/>
                        <a:pt x="1376556" y="281108"/>
                      </a:cubicBezTo>
                      <a:cubicBezTo>
                        <a:pt x="1440768" y="244966"/>
                        <a:pt x="1513007" y="224887"/>
                        <a:pt x="1589259" y="224887"/>
                      </a:cubicBezTo>
                      <a:cubicBezTo>
                        <a:pt x="1651465" y="224887"/>
                        <a:pt x="1710912" y="237688"/>
                        <a:pt x="1765091" y="260778"/>
                      </a:cubicBezTo>
                      <a:lnTo>
                        <a:pt x="1785134" y="271720"/>
                      </a:lnTo>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nvGrpSpPr>
                <p:cNvPr id="114" name="Group 113">
                  <a:extLst>
                    <a:ext uri="{FF2B5EF4-FFF2-40B4-BE49-F238E27FC236}">
                      <a16:creationId xmlns:a16="http://schemas.microsoft.com/office/drawing/2014/main" id="{A71D9A89-E77C-E24E-9060-1C9361ADCBAB}"/>
                    </a:ext>
                  </a:extLst>
                </p:cNvPr>
                <p:cNvGrpSpPr/>
                <p:nvPr/>
              </p:nvGrpSpPr>
              <p:grpSpPr>
                <a:xfrm>
                  <a:off x="4223912" y="999906"/>
                  <a:ext cx="2324005" cy="2509914"/>
                  <a:chOff x="5140719" y="5534213"/>
                  <a:chExt cx="1095071" cy="1182675"/>
                </a:xfrm>
                <a:grpFill/>
              </p:grpSpPr>
              <p:grpSp>
                <p:nvGrpSpPr>
                  <p:cNvPr id="115" name="Group 114">
                    <a:extLst>
                      <a:ext uri="{FF2B5EF4-FFF2-40B4-BE49-F238E27FC236}">
                        <a16:creationId xmlns:a16="http://schemas.microsoft.com/office/drawing/2014/main" id="{B7A8C969-BF7D-0841-BBE5-31FCA8086351}"/>
                      </a:ext>
                    </a:extLst>
                  </p:cNvPr>
                  <p:cNvGrpSpPr/>
                  <p:nvPr/>
                </p:nvGrpSpPr>
                <p:grpSpPr>
                  <a:xfrm>
                    <a:off x="5140719" y="5851083"/>
                    <a:ext cx="1095071" cy="865805"/>
                    <a:chOff x="967154" y="1481462"/>
                    <a:chExt cx="5331069" cy="4214950"/>
                  </a:xfrm>
                  <a:grpFill/>
                </p:grpSpPr>
                <p:cxnSp>
                  <p:nvCxnSpPr>
                    <p:cNvPr id="117" name="Straight Connector 116">
                      <a:extLst>
                        <a:ext uri="{FF2B5EF4-FFF2-40B4-BE49-F238E27FC236}">
                          <a16:creationId xmlns:a16="http://schemas.microsoft.com/office/drawing/2014/main" id="{35BCDC7D-2414-414B-848A-A30C68AE5E28}"/>
                        </a:ext>
                      </a:extLst>
                    </p:cNvPr>
                    <p:cNvCxnSpPr>
                      <a:cxnSpLocks/>
                    </p:cNvCxnSpPr>
                    <p:nvPr/>
                  </p:nvCxnSpPr>
                  <p:spPr>
                    <a:xfrm>
                      <a:off x="967154" y="5696412"/>
                      <a:ext cx="5331069" cy="0"/>
                    </a:xfrm>
                    <a:prstGeom prst="line">
                      <a:avLst/>
                    </a:prstGeom>
                    <a:grpFill/>
                    <a:ln w="1270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117">
                      <a:extLst>
                        <a:ext uri="{FF2B5EF4-FFF2-40B4-BE49-F238E27FC236}">
                          <a16:creationId xmlns:a16="http://schemas.microsoft.com/office/drawing/2014/main" id="{CA576DDB-F0A1-CD48-8FAD-9471E931C9A1}"/>
                        </a:ext>
                      </a:extLst>
                    </p:cNvPr>
                    <p:cNvSpPr/>
                    <p:nvPr/>
                  </p:nvSpPr>
                  <p:spPr bwMode="auto">
                    <a:xfrm>
                      <a:off x="1286608" y="2696308"/>
                      <a:ext cx="2793023" cy="3000104"/>
                    </a:xfrm>
                    <a:prstGeom prst="rect">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Rectangle 118">
                      <a:extLst>
                        <a:ext uri="{FF2B5EF4-FFF2-40B4-BE49-F238E27FC236}">
                          <a16:creationId xmlns:a16="http://schemas.microsoft.com/office/drawing/2014/main" id="{B7292C94-A1ED-0143-8B4B-7C3649AC3F39}"/>
                        </a:ext>
                      </a:extLst>
                    </p:cNvPr>
                    <p:cNvSpPr/>
                    <p:nvPr/>
                  </p:nvSpPr>
                  <p:spPr bwMode="auto">
                    <a:xfrm>
                      <a:off x="2225919" y="4700954"/>
                      <a:ext cx="914400" cy="995458"/>
                    </a:xfrm>
                    <a:prstGeom prst="rect">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Freeform: Shape 404">
                      <a:extLst>
                        <a:ext uri="{FF2B5EF4-FFF2-40B4-BE49-F238E27FC236}">
                          <a16:creationId xmlns:a16="http://schemas.microsoft.com/office/drawing/2014/main" id="{DD8E60EB-64FD-4E4F-BFF3-B7A61AC68A4D}"/>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Freeform: Shape 405">
                      <a:extLst>
                        <a:ext uri="{FF2B5EF4-FFF2-40B4-BE49-F238E27FC236}">
                          <a16:creationId xmlns:a16="http://schemas.microsoft.com/office/drawing/2014/main" id="{16CCD134-CC31-AF4E-B953-15005FA503F0}"/>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6" name="Freeform 346">
                    <a:extLst>
                      <a:ext uri="{FF2B5EF4-FFF2-40B4-BE49-F238E27FC236}">
                        <a16:creationId xmlns:a16="http://schemas.microsoft.com/office/drawing/2014/main" id="{291FA9CE-23F7-134A-9855-FC411CD319E1}"/>
                      </a:ext>
                    </a:extLst>
                  </p:cNvPr>
                  <p:cNvSpPr/>
                  <p:nvPr/>
                </p:nvSpPr>
                <p:spPr bwMode="auto">
                  <a:xfrm>
                    <a:off x="5455403" y="5534213"/>
                    <a:ext cx="330632" cy="499794"/>
                  </a:xfrm>
                  <a:custGeom>
                    <a:avLst/>
                    <a:gdLst>
                      <a:gd name="connsiteX0" fmla="*/ 0 w 222142"/>
                      <a:gd name="connsiteY0" fmla="*/ 335797 h 335797"/>
                      <a:gd name="connsiteX1" fmla="*/ 0 w 222142"/>
                      <a:gd name="connsiteY1" fmla="*/ 165315 h 335797"/>
                      <a:gd name="connsiteX2" fmla="*/ 222142 w 222142"/>
                      <a:gd name="connsiteY2" fmla="*/ 0 h 335797"/>
                      <a:gd name="connsiteX3" fmla="*/ 222142 w 222142"/>
                      <a:gd name="connsiteY3" fmla="*/ 165315 h 335797"/>
                    </a:gdLst>
                    <a:ahLst/>
                    <a:cxnLst>
                      <a:cxn ang="0">
                        <a:pos x="connsiteX0" y="connsiteY0"/>
                      </a:cxn>
                      <a:cxn ang="0">
                        <a:pos x="connsiteX1" y="connsiteY1"/>
                      </a:cxn>
                      <a:cxn ang="0">
                        <a:pos x="connsiteX2" y="connsiteY2"/>
                      </a:cxn>
                      <a:cxn ang="0">
                        <a:pos x="connsiteX3" y="connsiteY3"/>
                      </a:cxn>
                    </a:cxnLst>
                    <a:rect l="l" t="t" r="r" b="b"/>
                    <a:pathLst>
                      <a:path w="222142" h="335797">
                        <a:moveTo>
                          <a:pt x="0" y="335797"/>
                        </a:moveTo>
                        <a:lnTo>
                          <a:pt x="0" y="165315"/>
                        </a:lnTo>
                        <a:lnTo>
                          <a:pt x="222142" y="0"/>
                        </a:lnTo>
                        <a:lnTo>
                          <a:pt x="222142" y="165315"/>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171" name="Rectangle 170">
                <a:extLst>
                  <a:ext uri="{FF2B5EF4-FFF2-40B4-BE49-F238E27FC236}">
                    <a16:creationId xmlns:a16="http://schemas.microsoft.com/office/drawing/2014/main" id="{D16AFA9F-89CE-9A47-96D6-A04726293C52}"/>
                  </a:ext>
                </a:extLst>
              </p:cNvPr>
              <p:cNvSpPr/>
              <p:nvPr/>
            </p:nvSpPr>
            <p:spPr>
              <a:xfrm>
                <a:off x="5412707" y="6055564"/>
                <a:ext cx="2072714" cy="27699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196"/>
                  </a:spcAft>
                  <a:buClrTx/>
                  <a:buSzTx/>
                  <a:buFontTx/>
                  <a:buNone/>
                  <a:tabLst/>
                  <a:defRPr/>
                </a:pPr>
                <a:r>
                  <a:rPr kumimoji="0" 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sym typeface="Arial" panose="020B0604020202020204" pitchFamily="34" charset="0"/>
                  </a:rPr>
                  <a:t>Create and register image</a:t>
                </a:r>
                <a:endParaRPr kumimoji="0" lang="en-US" sz="1176"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grpSp>
        <p:nvGrpSpPr>
          <p:cNvPr id="8" name="Group 7">
            <a:extLst>
              <a:ext uri="{FF2B5EF4-FFF2-40B4-BE49-F238E27FC236}">
                <a16:creationId xmlns:a16="http://schemas.microsoft.com/office/drawing/2014/main" id="{EBC5EB97-C7FA-624F-89CE-B4B873D5E247}"/>
              </a:ext>
            </a:extLst>
          </p:cNvPr>
          <p:cNvGrpSpPr/>
          <p:nvPr/>
        </p:nvGrpSpPr>
        <p:grpSpPr>
          <a:xfrm>
            <a:off x="2978635" y="2723849"/>
            <a:ext cx="2031970" cy="803879"/>
            <a:chOff x="3038362" y="2777971"/>
            <a:chExt cx="2072715" cy="819998"/>
          </a:xfrm>
        </p:grpSpPr>
        <p:sp>
          <p:nvSpPr>
            <p:cNvPr id="80" name="Rectangle 79">
              <a:extLst>
                <a:ext uri="{FF2B5EF4-FFF2-40B4-BE49-F238E27FC236}">
                  <a16:creationId xmlns:a16="http://schemas.microsoft.com/office/drawing/2014/main" id="{85A47E6B-2C0E-804B-8DE5-66D05B9A6599}"/>
                </a:ext>
              </a:extLst>
            </p:cNvPr>
            <p:cNvSpPr/>
            <p:nvPr/>
          </p:nvSpPr>
          <p:spPr>
            <a:xfrm>
              <a:off x="3038362" y="2966600"/>
              <a:ext cx="2072715" cy="27699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196"/>
                </a:spcAft>
                <a:buClrTx/>
                <a:buSzTx/>
                <a:buFontTx/>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sym typeface="Arial" panose="020B0604020202020204" pitchFamily="34" charset="0"/>
                </a:rPr>
                <a:t>Monitor</a:t>
              </a:r>
              <a:endParaRPr kumimoji="0" lang="en-US" sz="1176"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23" name="Oval 122">
              <a:extLst>
                <a:ext uri="{FF2B5EF4-FFF2-40B4-BE49-F238E27FC236}">
                  <a16:creationId xmlns:a16="http://schemas.microsoft.com/office/drawing/2014/main" id="{3E788781-8F0B-404F-9A91-AD30972E754E}"/>
                </a:ext>
              </a:extLst>
            </p:cNvPr>
            <p:cNvSpPr/>
            <p:nvPr/>
          </p:nvSpPr>
          <p:spPr bwMode="auto">
            <a:xfrm>
              <a:off x="4371494" y="2777971"/>
              <a:ext cx="724358" cy="81999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speedometer_2">
              <a:extLst>
                <a:ext uri="{FF2B5EF4-FFF2-40B4-BE49-F238E27FC236}">
                  <a16:creationId xmlns:a16="http://schemas.microsoft.com/office/drawing/2014/main" id="{D4F9920C-346F-684E-B5AF-206E7CA4A5C1}"/>
                </a:ext>
              </a:extLst>
            </p:cNvPr>
            <p:cNvSpPr>
              <a:spLocks noChangeAspect="1" noEditPoints="1"/>
            </p:cNvSpPr>
            <p:nvPr/>
          </p:nvSpPr>
          <p:spPr bwMode="auto">
            <a:xfrm>
              <a:off x="4488678" y="2923334"/>
              <a:ext cx="403517" cy="403517"/>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 name="Group 2">
            <a:extLst>
              <a:ext uri="{FF2B5EF4-FFF2-40B4-BE49-F238E27FC236}">
                <a16:creationId xmlns:a16="http://schemas.microsoft.com/office/drawing/2014/main" id="{D58667BB-D2A4-A546-A0A4-7B4552F81936}"/>
              </a:ext>
            </a:extLst>
          </p:cNvPr>
          <p:cNvGrpSpPr/>
          <p:nvPr/>
        </p:nvGrpSpPr>
        <p:grpSpPr>
          <a:xfrm>
            <a:off x="7206744" y="2644074"/>
            <a:ext cx="2169874" cy="803880"/>
            <a:chOff x="7351254" y="2696596"/>
            <a:chExt cx="2213384" cy="819999"/>
          </a:xfrm>
        </p:grpSpPr>
        <p:sp>
          <p:nvSpPr>
            <p:cNvPr id="101" name="Oval 100">
              <a:extLst>
                <a:ext uri="{FF2B5EF4-FFF2-40B4-BE49-F238E27FC236}">
                  <a16:creationId xmlns:a16="http://schemas.microsoft.com/office/drawing/2014/main" id="{EBCB70F0-A763-064E-A8A5-45A2072378F1}"/>
                </a:ext>
              </a:extLst>
            </p:cNvPr>
            <p:cNvSpPr/>
            <p:nvPr/>
          </p:nvSpPr>
          <p:spPr bwMode="auto">
            <a:xfrm>
              <a:off x="7351254" y="2696596"/>
              <a:ext cx="755157" cy="81999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02" name="Group 101">
              <a:extLst>
                <a:ext uri="{FF2B5EF4-FFF2-40B4-BE49-F238E27FC236}">
                  <a16:creationId xmlns:a16="http://schemas.microsoft.com/office/drawing/2014/main" id="{6FF3E51C-A5EB-784E-BDB2-BC01184A74A6}"/>
                </a:ext>
              </a:extLst>
            </p:cNvPr>
            <p:cNvGrpSpPr/>
            <p:nvPr/>
          </p:nvGrpSpPr>
          <p:grpSpPr>
            <a:xfrm>
              <a:off x="7450881" y="2734966"/>
              <a:ext cx="502768" cy="537601"/>
              <a:chOff x="8882196" y="3721867"/>
              <a:chExt cx="285941" cy="305752"/>
            </a:xfrm>
            <a:solidFill>
              <a:schemeClr val="bg1"/>
            </a:solidFill>
          </p:grpSpPr>
          <p:sp>
            <p:nvSpPr>
              <p:cNvPr id="103" name="Rectangle 102">
                <a:extLst>
                  <a:ext uri="{FF2B5EF4-FFF2-40B4-BE49-F238E27FC236}">
                    <a16:creationId xmlns:a16="http://schemas.microsoft.com/office/drawing/2014/main" id="{29103002-45A3-794D-B381-6561AF9DE502}"/>
                  </a:ext>
                </a:extLst>
              </p:cNvPr>
              <p:cNvSpPr/>
              <p:nvPr/>
            </p:nvSpPr>
            <p:spPr bwMode="auto">
              <a:xfrm>
                <a:off x="8901347" y="3950022"/>
                <a:ext cx="247639" cy="77597"/>
              </a:xfrm>
              <a:prstGeom prst="rect">
                <a:avLst/>
              </a:prstGeom>
              <a:grp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Freeform 123">
                <a:extLst>
                  <a:ext uri="{FF2B5EF4-FFF2-40B4-BE49-F238E27FC236}">
                    <a16:creationId xmlns:a16="http://schemas.microsoft.com/office/drawing/2014/main" id="{92410C45-1FE9-9A4A-977F-E7F17498C94E}"/>
                  </a:ext>
                </a:extLst>
              </p:cNvPr>
              <p:cNvSpPr/>
              <p:nvPr/>
            </p:nvSpPr>
            <p:spPr bwMode="auto">
              <a:xfrm>
                <a:off x="8882196" y="3721867"/>
                <a:ext cx="180942" cy="305752"/>
              </a:xfrm>
              <a:custGeom>
                <a:avLst/>
                <a:gdLst>
                  <a:gd name="connsiteX0" fmla="*/ 1641764 w 2847109"/>
                  <a:gd name="connsiteY0" fmla="*/ 0 h 4810991"/>
                  <a:gd name="connsiteX1" fmla="*/ 2847109 w 2847109"/>
                  <a:gd name="connsiteY1" fmla="*/ 0 h 4810991"/>
                  <a:gd name="connsiteX2" fmla="*/ 2847109 w 2847109"/>
                  <a:gd name="connsiteY2" fmla="*/ 1797627 h 4810991"/>
                  <a:gd name="connsiteX3" fmla="*/ 290946 w 2847109"/>
                  <a:gd name="connsiteY3" fmla="*/ 4810991 h 4810991"/>
                  <a:gd name="connsiteX4" fmla="*/ 0 w 2847109"/>
                  <a:gd name="connsiteY4" fmla="*/ 3647209 h 4810991"/>
                  <a:gd name="connsiteX5" fmla="*/ 1662546 w 2847109"/>
                  <a:gd name="connsiteY5" fmla="*/ 1787236 h 4810991"/>
                  <a:gd name="connsiteX6" fmla="*/ 1641764 w 2847109"/>
                  <a:gd name="connsiteY6" fmla="*/ 0 h 481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7109" h="4810991">
                    <a:moveTo>
                      <a:pt x="1641764" y="0"/>
                    </a:moveTo>
                    <a:lnTo>
                      <a:pt x="2847109" y="0"/>
                    </a:lnTo>
                    <a:lnTo>
                      <a:pt x="2847109" y="1797627"/>
                    </a:lnTo>
                    <a:lnTo>
                      <a:pt x="290946" y="4810991"/>
                    </a:lnTo>
                    <a:lnTo>
                      <a:pt x="0" y="3647209"/>
                    </a:lnTo>
                    <a:lnTo>
                      <a:pt x="1662546" y="1787236"/>
                    </a:lnTo>
                    <a:lnTo>
                      <a:pt x="1641764" y="0"/>
                    </a:lnTo>
                    <a:close/>
                  </a:path>
                </a:pathLst>
              </a:custGeom>
              <a:grp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Freeform 124">
                <a:extLst>
                  <a:ext uri="{FF2B5EF4-FFF2-40B4-BE49-F238E27FC236}">
                    <a16:creationId xmlns:a16="http://schemas.microsoft.com/office/drawing/2014/main" id="{32F0047F-A3AB-0C4F-9E97-58B9B1861526}"/>
                  </a:ext>
                </a:extLst>
              </p:cNvPr>
              <p:cNvSpPr/>
              <p:nvPr/>
            </p:nvSpPr>
            <p:spPr bwMode="auto">
              <a:xfrm>
                <a:off x="9035402" y="3857904"/>
                <a:ext cx="132735" cy="169715"/>
              </a:xfrm>
              <a:custGeom>
                <a:avLst/>
                <a:gdLst>
                  <a:gd name="connsiteX0" fmla="*/ 0 w 2088573"/>
                  <a:gd name="connsiteY0" fmla="*/ 883227 h 2670464"/>
                  <a:gd name="connsiteX1" fmla="*/ 737755 w 2088573"/>
                  <a:gd name="connsiteY1" fmla="*/ 0 h 2670464"/>
                  <a:gd name="connsiteX2" fmla="*/ 2088573 w 2088573"/>
                  <a:gd name="connsiteY2" fmla="*/ 1517073 h 2670464"/>
                  <a:gd name="connsiteX3" fmla="*/ 1797627 w 2088573"/>
                  <a:gd name="connsiteY3" fmla="*/ 2670464 h 2670464"/>
                  <a:gd name="connsiteX4" fmla="*/ 0 w 2088573"/>
                  <a:gd name="connsiteY4" fmla="*/ 883227 h 2670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573" h="2670464">
                    <a:moveTo>
                      <a:pt x="0" y="883227"/>
                    </a:moveTo>
                    <a:lnTo>
                      <a:pt x="737755" y="0"/>
                    </a:lnTo>
                    <a:lnTo>
                      <a:pt x="2088573" y="1517073"/>
                    </a:lnTo>
                    <a:lnTo>
                      <a:pt x="1797627" y="2670464"/>
                    </a:lnTo>
                    <a:lnTo>
                      <a:pt x="0" y="883227"/>
                    </a:lnTo>
                    <a:close/>
                  </a:path>
                </a:pathLst>
              </a:custGeom>
              <a:grp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2" name="Rectangle 121">
              <a:extLst>
                <a:ext uri="{FF2B5EF4-FFF2-40B4-BE49-F238E27FC236}">
                  <a16:creationId xmlns:a16="http://schemas.microsoft.com/office/drawing/2014/main" id="{06D61A00-31E3-6246-957B-E8B13350E3A3}"/>
                </a:ext>
              </a:extLst>
            </p:cNvPr>
            <p:cNvSpPr/>
            <p:nvPr/>
          </p:nvSpPr>
          <p:spPr>
            <a:xfrm>
              <a:off x="7609955" y="2878033"/>
              <a:ext cx="1954683" cy="27699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196"/>
                </a:spcAft>
                <a:buClrTx/>
                <a:buSzTx/>
                <a:buFontTx/>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sym typeface="Arial" panose="020B0604020202020204" pitchFamily="34" charset="0"/>
                </a:rPr>
                <a:t>Register model</a:t>
              </a:r>
              <a:endParaRPr kumimoji="0" lang="en-US" sz="1176"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nvGrpSpPr>
          <p:cNvPr id="7" name="Group 6">
            <a:extLst>
              <a:ext uri="{FF2B5EF4-FFF2-40B4-BE49-F238E27FC236}">
                <a16:creationId xmlns:a16="http://schemas.microsoft.com/office/drawing/2014/main" id="{D5776F0B-1EEA-454F-9A2A-50B658AB93BE}"/>
              </a:ext>
            </a:extLst>
          </p:cNvPr>
          <p:cNvGrpSpPr/>
          <p:nvPr/>
        </p:nvGrpSpPr>
        <p:grpSpPr>
          <a:xfrm>
            <a:off x="2900719" y="4308016"/>
            <a:ext cx="2559904" cy="977443"/>
            <a:chOff x="2958884" y="4393903"/>
            <a:chExt cx="2611235" cy="997043"/>
          </a:xfrm>
        </p:grpSpPr>
        <p:sp>
          <p:nvSpPr>
            <p:cNvPr id="170" name="Rectangle 169">
              <a:extLst>
                <a:ext uri="{FF2B5EF4-FFF2-40B4-BE49-F238E27FC236}">
                  <a16:creationId xmlns:a16="http://schemas.microsoft.com/office/drawing/2014/main" id="{07F5F7E6-3287-5543-9F24-6CB65FBBCDB3}"/>
                </a:ext>
              </a:extLst>
            </p:cNvPr>
            <p:cNvSpPr/>
            <p:nvPr/>
          </p:nvSpPr>
          <p:spPr bwMode="auto">
            <a:xfrm>
              <a:off x="3739453" y="4393903"/>
              <a:ext cx="1830666" cy="9970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Freeform 146">
              <a:extLst>
                <a:ext uri="{FF2B5EF4-FFF2-40B4-BE49-F238E27FC236}">
                  <a16:creationId xmlns:a16="http://schemas.microsoft.com/office/drawing/2014/main" id="{02276E7C-646F-BC40-B045-726FB1B1244E}"/>
                </a:ext>
              </a:extLst>
            </p:cNvPr>
            <p:cNvSpPr>
              <a:spLocks noChangeAspect="1"/>
            </p:cNvSpPr>
            <p:nvPr/>
          </p:nvSpPr>
          <p:spPr bwMode="auto">
            <a:xfrm>
              <a:off x="3986030" y="4565713"/>
              <a:ext cx="374249" cy="23701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IN" sz="1922"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126" name="Group 125">
              <a:extLst>
                <a:ext uri="{FF2B5EF4-FFF2-40B4-BE49-F238E27FC236}">
                  <a16:creationId xmlns:a16="http://schemas.microsoft.com/office/drawing/2014/main" id="{D4AAC330-87DA-814C-81E2-C91490C4E019}"/>
                </a:ext>
              </a:extLst>
            </p:cNvPr>
            <p:cNvGrpSpPr/>
            <p:nvPr/>
          </p:nvGrpSpPr>
          <p:grpSpPr>
            <a:xfrm>
              <a:off x="5066083" y="4544840"/>
              <a:ext cx="310968" cy="277889"/>
              <a:chOff x="1275510" y="6073983"/>
              <a:chExt cx="508602" cy="454499"/>
            </a:xfrm>
          </p:grpSpPr>
          <p:grpSp>
            <p:nvGrpSpPr>
              <p:cNvPr id="127" name="Group 126">
                <a:extLst>
                  <a:ext uri="{FF2B5EF4-FFF2-40B4-BE49-F238E27FC236}">
                    <a16:creationId xmlns:a16="http://schemas.microsoft.com/office/drawing/2014/main" id="{6742E77D-416C-654C-80F7-9498105A7A41}"/>
                  </a:ext>
                </a:extLst>
              </p:cNvPr>
              <p:cNvGrpSpPr/>
              <p:nvPr/>
            </p:nvGrpSpPr>
            <p:grpSpPr>
              <a:xfrm>
                <a:off x="1275510" y="6224584"/>
                <a:ext cx="508602" cy="151498"/>
                <a:chOff x="551886" y="4945335"/>
                <a:chExt cx="508602" cy="151498"/>
              </a:xfrm>
            </p:grpSpPr>
            <p:sp>
              <p:nvSpPr>
                <p:cNvPr id="136" name="Rectangle 135">
                  <a:extLst>
                    <a:ext uri="{FF2B5EF4-FFF2-40B4-BE49-F238E27FC236}">
                      <a16:creationId xmlns:a16="http://schemas.microsoft.com/office/drawing/2014/main" id="{7ED10CC8-E2D8-A34B-8AB9-2514CF870E22}"/>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BE663349-FDAE-F04C-A1AD-5A94BB662251}"/>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8" name="Straight Connector 137">
                  <a:extLst>
                    <a:ext uri="{FF2B5EF4-FFF2-40B4-BE49-F238E27FC236}">
                      <a16:creationId xmlns:a16="http://schemas.microsoft.com/office/drawing/2014/main" id="{5487E2B3-B9A8-CA4A-BD47-3961DF3519ED}"/>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8" name="Group 127">
                <a:extLst>
                  <a:ext uri="{FF2B5EF4-FFF2-40B4-BE49-F238E27FC236}">
                    <a16:creationId xmlns:a16="http://schemas.microsoft.com/office/drawing/2014/main" id="{699B8438-6467-0C42-AEA4-980F21622EDF}"/>
                  </a:ext>
                </a:extLst>
              </p:cNvPr>
              <p:cNvGrpSpPr/>
              <p:nvPr/>
            </p:nvGrpSpPr>
            <p:grpSpPr>
              <a:xfrm>
                <a:off x="1275510" y="6376984"/>
                <a:ext cx="508602" cy="151498"/>
                <a:chOff x="551886" y="4945335"/>
                <a:chExt cx="508602" cy="151498"/>
              </a:xfrm>
            </p:grpSpPr>
            <p:sp>
              <p:nvSpPr>
                <p:cNvPr id="133" name="Rectangle 132">
                  <a:extLst>
                    <a:ext uri="{FF2B5EF4-FFF2-40B4-BE49-F238E27FC236}">
                      <a16:creationId xmlns:a16="http://schemas.microsoft.com/office/drawing/2014/main" id="{480AC11F-337E-8D42-8164-1F01E49ECEC5}"/>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Oval 133">
                  <a:extLst>
                    <a:ext uri="{FF2B5EF4-FFF2-40B4-BE49-F238E27FC236}">
                      <a16:creationId xmlns:a16="http://schemas.microsoft.com/office/drawing/2014/main" id="{68EC219D-EA06-244A-B4D7-0F902C1F9D29}"/>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5" name="Straight Connector 134">
                  <a:extLst>
                    <a:ext uri="{FF2B5EF4-FFF2-40B4-BE49-F238E27FC236}">
                      <a16:creationId xmlns:a16="http://schemas.microsoft.com/office/drawing/2014/main" id="{3B613F57-61CD-134C-B010-2F419173026D}"/>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9" name="Group 128">
                <a:extLst>
                  <a:ext uri="{FF2B5EF4-FFF2-40B4-BE49-F238E27FC236}">
                    <a16:creationId xmlns:a16="http://schemas.microsoft.com/office/drawing/2014/main" id="{E8B522B8-4B3B-EC4B-8465-52998E47AB0D}"/>
                  </a:ext>
                </a:extLst>
              </p:cNvPr>
              <p:cNvGrpSpPr/>
              <p:nvPr/>
            </p:nvGrpSpPr>
            <p:grpSpPr>
              <a:xfrm>
                <a:off x="1275510" y="6073983"/>
                <a:ext cx="508602" cy="151498"/>
                <a:chOff x="551886" y="4947134"/>
                <a:chExt cx="508602" cy="151498"/>
              </a:xfrm>
            </p:grpSpPr>
            <p:sp>
              <p:nvSpPr>
                <p:cNvPr id="130" name="Rectangle 129">
                  <a:extLst>
                    <a:ext uri="{FF2B5EF4-FFF2-40B4-BE49-F238E27FC236}">
                      <a16:creationId xmlns:a16="http://schemas.microsoft.com/office/drawing/2014/main" id="{61449346-A91B-F94D-90D9-49B864F2D14F}"/>
                    </a:ext>
                  </a:extLst>
                </p:cNvPr>
                <p:cNvSpPr/>
                <p:nvPr/>
              </p:nvSpPr>
              <p:spPr bwMode="auto">
                <a:xfrm>
                  <a:off x="551886" y="4947134"/>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296B32A1-5B94-8942-88A1-EBEF310C78DF}"/>
                    </a:ext>
                  </a:extLst>
                </p:cNvPr>
                <p:cNvSpPr/>
                <p:nvPr/>
              </p:nvSpPr>
              <p:spPr bwMode="auto">
                <a:xfrm flipH="1">
                  <a:off x="955040" y="4995439"/>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2" name="Straight Connector 131">
                  <a:extLst>
                    <a:ext uri="{FF2B5EF4-FFF2-40B4-BE49-F238E27FC236}">
                      <a16:creationId xmlns:a16="http://schemas.microsoft.com/office/drawing/2014/main" id="{CAF63FFA-E50F-3B42-9051-CAA30D658E8C}"/>
                    </a:ext>
                  </a:extLst>
                </p:cNvPr>
                <p:cNvCxnSpPr/>
                <p:nvPr/>
              </p:nvCxnSpPr>
              <p:spPr>
                <a:xfrm>
                  <a:off x="625475" y="5021474"/>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39" name="Group 138">
              <a:extLst>
                <a:ext uri="{FF2B5EF4-FFF2-40B4-BE49-F238E27FC236}">
                  <a16:creationId xmlns:a16="http://schemas.microsoft.com/office/drawing/2014/main" id="{31FB534A-FEB8-364D-B0BF-1BBB56D0EB38}"/>
                </a:ext>
              </a:extLst>
            </p:cNvPr>
            <p:cNvGrpSpPr/>
            <p:nvPr/>
          </p:nvGrpSpPr>
          <p:grpSpPr>
            <a:xfrm>
              <a:off x="4457351" y="4530425"/>
              <a:ext cx="428526" cy="355048"/>
              <a:chOff x="1536274" y="4999772"/>
              <a:chExt cx="511270" cy="423604"/>
            </a:xfrm>
          </p:grpSpPr>
          <p:grpSp>
            <p:nvGrpSpPr>
              <p:cNvPr id="140" name="Group 139">
                <a:extLst>
                  <a:ext uri="{FF2B5EF4-FFF2-40B4-BE49-F238E27FC236}">
                    <a16:creationId xmlns:a16="http://schemas.microsoft.com/office/drawing/2014/main" id="{11811C3C-D7FE-DC42-B6A0-0464CE4F2E3C}"/>
                  </a:ext>
                </a:extLst>
              </p:cNvPr>
              <p:cNvGrpSpPr/>
              <p:nvPr/>
            </p:nvGrpSpPr>
            <p:grpSpPr>
              <a:xfrm>
                <a:off x="1536274" y="4999772"/>
                <a:ext cx="391684" cy="311239"/>
                <a:chOff x="1693079" y="4720470"/>
                <a:chExt cx="391684" cy="311239"/>
              </a:xfrm>
            </p:grpSpPr>
            <p:grpSp>
              <p:nvGrpSpPr>
                <p:cNvPr id="152" name="Group 151">
                  <a:extLst>
                    <a:ext uri="{FF2B5EF4-FFF2-40B4-BE49-F238E27FC236}">
                      <a16:creationId xmlns:a16="http://schemas.microsoft.com/office/drawing/2014/main" id="{0D6DC66A-DACF-6D43-B7EB-1844975A960F}"/>
                    </a:ext>
                  </a:extLst>
                </p:cNvPr>
                <p:cNvGrpSpPr/>
                <p:nvPr/>
              </p:nvGrpSpPr>
              <p:grpSpPr>
                <a:xfrm>
                  <a:off x="1725801" y="4753364"/>
                  <a:ext cx="326240" cy="231386"/>
                  <a:chOff x="992778" y="1508263"/>
                  <a:chExt cx="2777318" cy="1969814"/>
                </a:xfrm>
              </p:grpSpPr>
              <p:sp useBgFill="1">
                <p:nvSpPr>
                  <p:cNvPr id="154" name="Freeform 52">
                    <a:extLst>
                      <a:ext uri="{FF2B5EF4-FFF2-40B4-BE49-F238E27FC236}">
                        <a16:creationId xmlns:a16="http://schemas.microsoft.com/office/drawing/2014/main" id="{1594499F-961F-114C-9B0B-1E0CBBF05503}"/>
                      </a:ext>
                    </a:extLst>
                  </p:cNvPr>
                  <p:cNvSpPr>
                    <a:spLocks noChangeArrowheads="1"/>
                  </p:cNvSpPr>
                  <p:nvPr/>
                </p:nvSpPr>
                <p:spPr bwMode="auto">
                  <a:xfrm>
                    <a:off x="992778" y="1508263"/>
                    <a:ext cx="2777318" cy="1969814"/>
                  </a:xfrm>
                  <a:custGeom>
                    <a:avLst/>
                    <a:gdLst>
                      <a:gd name="T0" fmla="*/ 1249 w 2500"/>
                      <a:gd name="T1" fmla="*/ 1577 h 1578"/>
                      <a:gd name="T2" fmla="*/ 0 w 2500"/>
                      <a:gd name="T3" fmla="*/ 1577 h 1578"/>
                      <a:gd name="T4" fmla="*/ 0 w 2500"/>
                      <a:gd name="T5" fmla="*/ 0 h 1578"/>
                      <a:gd name="T6" fmla="*/ 2499 w 2500"/>
                      <a:gd name="T7" fmla="*/ 0 h 1578"/>
                      <a:gd name="T8" fmla="*/ 2499 w 2500"/>
                      <a:gd name="T9" fmla="*/ 1577 h 1578"/>
                      <a:gd name="T10" fmla="*/ 1249 w 2500"/>
                      <a:gd name="T11" fmla="*/ 1577 h 1578"/>
                    </a:gdLst>
                    <a:ahLst/>
                    <a:cxnLst>
                      <a:cxn ang="0">
                        <a:pos x="T0" y="T1"/>
                      </a:cxn>
                      <a:cxn ang="0">
                        <a:pos x="T2" y="T3"/>
                      </a:cxn>
                      <a:cxn ang="0">
                        <a:pos x="T4" y="T5"/>
                      </a:cxn>
                      <a:cxn ang="0">
                        <a:pos x="T6" y="T7"/>
                      </a:cxn>
                      <a:cxn ang="0">
                        <a:pos x="T8" y="T9"/>
                      </a:cxn>
                      <a:cxn ang="0">
                        <a:pos x="T10" y="T11"/>
                      </a:cxn>
                    </a:cxnLst>
                    <a:rect l="0" t="0" r="r" b="b"/>
                    <a:pathLst>
                      <a:path w="2500" h="1578">
                        <a:moveTo>
                          <a:pt x="1249" y="1577"/>
                        </a:moveTo>
                        <a:lnTo>
                          <a:pt x="0" y="1577"/>
                        </a:lnTo>
                        <a:lnTo>
                          <a:pt x="0" y="0"/>
                        </a:lnTo>
                        <a:lnTo>
                          <a:pt x="2499" y="0"/>
                        </a:lnTo>
                        <a:lnTo>
                          <a:pt x="2499" y="1577"/>
                        </a:lnTo>
                        <a:lnTo>
                          <a:pt x="1249" y="1577"/>
                        </a:lnTo>
                      </a:path>
                    </a:pathLst>
                  </a:custGeom>
                  <a:ln w="12700" cap="sq">
                    <a:solidFill>
                      <a:schemeClr val="tx2"/>
                    </a:solidFill>
                    <a:miter lim="800000"/>
                    <a:headEnd/>
                    <a:tailEnd/>
                  </a:ln>
                  <a:effec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55" name="Line 54">
                    <a:extLst>
                      <a:ext uri="{FF2B5EF4-FFF2-40B4-BE49-F238E27FC236}">
                        <a16:creationId xmlns:a16="http://schemas.microsoft.com/office/drawing/2014/main" id="{3FDF6477-6053-724B-A1E1-6711F04D8E83}"/>
                      </a:ext>
                    </a:extLst>
                  </p:cNvPr>
                  <p:cNvSpPr>
                    <a:spLocks noChangeShapeType="1"/>
                  </p:cNvSpPr>
                  <p:nvPr/>
                </p:nvSpPr>
                <p:spPr bwMode="auto">
                  <a:xfrm flipH="1">
                    <a:off x="2619004" y="2828347"/>
                    <a:ext cx="935572" cy="0"/>
                  </a:xfrm>
                  <a:prstGeom prst="line">
                    <a:avLst/>
                  </a:prstGeom>
                  <a:ln w="12700" cap="sq">
                    <a:solidFill>
                      <a:schemeClr val="tx2"/>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56" name="Line 55">
                    <a:extLst>
                      <a:ext uri="{FF2B5EF4-FFF2-40B4-BE49-F238E27FC236}">
                        <a16:creationId xmlns:a16="http://schemas.microsoft.com/office/drawing/2014/main" id="{167EA35D-C328-D344-BE53-21617AC8C45C}"/>
                      </a:ext>
                    </a:extLst>
                  </p:cNvPr>
                  <p:cNvSpPr>
                    <a:spLocks noChangeShapeType="1"/>
                  </p:cNvSpPr>
                  <p:nvPr/>
                </p:nvSpPr>
                <p:spPr bwMode="auto">
                  <a:xfrm flipH="1">
                    <a:off x="3123527" y="3026726"/>
                    <a:ext cx="431049" cy="0"/>
                  </a:xfrm>
                  <a:prstGeom prst="line">
                    <a:avLst/>
                  </a:prstGeom>
                  <a:ln w="12700" cap="sq">
                    <a:solidFill>
                      <a:schemeClr val="tx2"/>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57" name="Line 56">
                    <a:extLst>
                      <a:ext uri="{FF2B5EF4-FFF2-40B4-BE49-F238E27FC236}">
                        <a16:creationId xmlns:a16="http://schemas.microsoft.com/office/drawing/2014/main" id="{B076C072-0321-C545-A9FD-5E6FA4103DBA}"/>
                      </a:ext>
                    </a:extLst>
                  </p:cNvPr>
                  <p:cNvSpPr>
                    <a:spLocks noChangeShapeType="1"/>
                  </p:cNvSpPr>
                  <p:nvPr/>
                </p:nvSpPr>
                <p:spPr bwMode="auto">
                  <a:xfrm flipH="1">
                    <a:off x="2619004" y="2629966"/>
                    <a:ext cx="935572" cy="0"/>
                  </a:xfrm>
                  <a:prstGeom prst="line">
                    <a:avLst/>
                  </a:prstGeom>
                  <a:ln w="12700" cap="sq">
                    <a:solidFill>
                      <a:schemeClr val="tx2"/>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58" name="Freeform 57">
                    <a:extLst>
                      <a:ext uri="{FF2B5EF4-FFF2-40B4-BE49-F238E27FC236}">
                        <a16:creationId xmlns:a16="http://schemas.microsoft.com/office/drawing/2014/main" id="{E25BBA5B-4D32-1F41-9F37-C2DEE8A67BF9}"/>
                      </a:ext>
                    </a:extLst>
                  </p:cNvPr>
                  <p:cNvSpPr>
                    <a:spLocks noChangeArrowheads="1"/>
                  </p:cNvSpPr>
                  <p:nvPr/>
                </p:nvSpPr>
                <p:spPr bwMode="auto">
                  <a:xfrm>
                    <a:off x="2819836" y="2100952"/>
                    <a:ext cx="298792" cy="298796"/>
                  </a:xfrm>
                  <a:prstGeom prst="ellipse">
                    <a:avLst/>
                  </a:prstGeom>
                  <a:ln w="12700" cap="sq">
                    <a:solidFill>
                      <a:schemeClr val="tx2"/>
                    </a:solidFill>
                    <a:miter lim="800000"/>
                    <a:headEnd/>
                    <a:tailEnd/>
                  </a:ln>
                  <a:effec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59" name="Freeform 58">
                    <a:extLst>
                      <a:ext uri="{FF2B5EF4-FFF2-40B4-BE49-F238E27FC236}">
                        <a16:creationId xmlns:a16="http://schemas.microsoft.com/office/drawing/2014/main" id="{42DD3D4F-6F49-FC40-A4BA-A4204BE3A13A}"/>
                      </a:ext>
                    </a:extLst>
                  </p:cNvPr>
                  <p:cNvSpPr>
                    <a:spLocks noChangeArrowheads="1"/>
                  </p:cNvSpPr>
                  <p:nvPr/>
                </p:nvSpPr>
                <p:spPr bwMode="auto">
                  <a:xfrm>
                    <a:off x="1825483" y="2350766"/>
                    <a:ext cx="298797" cy="298792"/>
                  </a:xfrm>
                  <a:prstGeom prst="ellipse">
                    <a:avLst/>
                  </a:prstGeom>
                  <a:ln w="12700" cap="sq">
                    <a:solidFill>
                      <a:schemeClr val="tx2"/>
                    </a:solidFill>
                    <a:miter lim="800000"/>
                    <a:headEnd/>
                    <a:tailEnd/>
                  </a:ln>
                  <a:effec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60" name="Freeform 59">
                    <a:extLst>
                      <a:ext uri="{FF2B5EF4-FFF2-40B4-BE49-F238E27FC236}">
                        <a16:creationId xmlns:a16="http://schemas.microsoft.com/office/drawing/2014/main" id="{1FCBF26A-E370-7E4A-B0ED-6A8297098179}"/>
                      </a:ext>
                    </a:extLst>
                  </p:cNvPr>
                  <p:cNvSpPr>
                    <a:spLocks noChangeArrowheads="1"/>
                  </p:cNvSpPr>
                  <p:nvPr/>
                </p:nvSpPr>
                <p:spPr bwMode="auto">
                  <a:xfrm>
                    <a:off x="1325860" y="1851143"/>
                    <a:ext cx="298797" cy="298792"/>
                  </a:xfrm>
                  <a:prstGeom prst="ellipse">
                    <a:avLst/>
                  </a:prstGeom>
                  <a:ln w="12700" cap="sq">
                    <a:solidFill>
                      <a:schemeClr val="tx2"/>
                    </a:solidFill>
                    <a:miter lim="800000"/>
                    <a:headEnd/>
                    <a:tailEnd/>
                  </a:ln>
                  <a:effec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61" name="Freeform 60">
                    <a:extLst>
                      <a:ext uri="{FF2B5EF4-FFF2-40B4-BE49-F238E27FC236}">
                        <a16:creationId xmlns:a16="http://schemas.microsoft.com/office/drawing/2014/main" id="{B9D3FF09-BA8E-E34B-BD43-91289589443F}"/>
                      </a:ext>
                    </a:extLst>
                  </p:cNvPr>
                  <p:cNvSpPr>
                    <a:spLocks noChangeArrowheads="1"/>
                  </p:cNvSpPr>
                  <p:nvPr/>
                </p:nvSpPr>
                <p:spPr bwMode="auto">
                  <a:xfrm>
                    <a:off x="2472058" y="1753178"/>
                    <a:ext cx="298797" cy="298792"/>
                  </a:xfrm>
                  <a:prstGeom prst="ellipse">
                    <a:avLst/>
                  </a:prstGeom>
                  <a:ln w="12700" cap="sq">
                    <a:solidFill>
                      <a:schemeClr val="tx2"/>
                    </a:solidFill>
                    <a:miter lim="800000"/>
                    <a:headEnd/>
                    <a:tailEnd/>
                  </a:ln>
                  <a:effec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Arial" charset="0"/>
                      <a:ea typeface="Arial" charset="0"/>
                      <a:cs typeface="Arial" charset="0"/>
                    </a:endParaRPr>
                  </a:p>
                </p:txBody>
              </p:sp>
              <p:sp useBgFill="1">
                <p:nvSpPr>
                  <p:cNvPr id="162" name="Freeform 61">
                    <a:extLst>
                      <a:ext uri="{FF2B5EF4-FFF2-40B4-BE49-F238E27FC236}">
                        <a16:creationId xmlns:a16="http://schemas.microsoft.com/office/drawing/2014/main" id="{BE80E2B4-1476-F742-94AF-44F47FC5D2A2}"/>
                      </a:ext>
                    </a:extLst>
                  </p:cNvPr>
                  <p:cNvSpPr>
                    <a:spLocks noChangeArrowheads="1"/>
                  </p:cNvSpPr>
                  <p:nvPr/>
                </p:nvSpPr>
                <p:spPr bwMode="auto">
                  <a:xfrm>
                    <a:off x="3172509" y="1753178"/>
                    <a:ext cx="298792" cy="298792"/>
                  </a:xfrm>
                  <a:prstGeom prst="ellipse">
                    <a:avLst/>
                  </a:prstGeom>
                  <a:ln w="12700" cap="sq">
                    <a:solidFill>
                      <a:schemeClr val="tx2"/>
                    </a:solidFill>
                    <a:miter lim="800000"/>
                    <a:headEnd/>
                    <a:tailEnd/>
                  </a:ln>
                  <a:effec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Arial" charset="0"/>
                      <a:ea typeface="Arial" charset="0"/>
                      <a:cs typeface="Arial" charset="0"/>
                    </a:endParaRPr>
                  </a:p>
                </p:txBody>
              </p:sp>
              <p:cxnSp>
                <p:nvCxnSpPr>
                  <p:cNvPr id="163" name="Straight Connector 162">
                    <a:extLst>
                      <a:ext uri="{FF2B5EF4-FFF2-40B4-BE49-F238E27FC236}">
                        <a16:creationId xmlns:a16="http://schemas.microsoft.com/office/drawing/2014/main" id="{AA306AA0-0EA8-2D4A-A393-22A8AE4AC5D4}"/>
                      </a:ext>
                    </a:extLst>
                  </p:cNvPr>
                  <p:cNvCxnSpPr>
                    <a:stCxn id="161" idx="3"/>
                    <a:endCxn id="159" idx="7"/>
                  </p:cNvCxnSpPr>
                  <p:nvPr/>
                </p:nvCxnSpPr>
                <p:spPr>
                  <a:xfrm flipH="1">
                    <a:off x="2080522" y="2008213"/>
                    <a:ext cx="435294" cy="38631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D154A1DC-585B-1D4E-B94C-99B59046A52E}"/>
                      </a:ext>
                    </a:extLst>
                  </p:cNvPr>
                  <p:cNvCxnSpPr>
                    <a:cxnSpLocks/>
                    <a:stCxn id="160" idx="5"/>
                    <a:endCxn id="159" idx="1"/>
                  </p:cNvCxnSpPr>
                  <p:nvPr/>
                </p:nvCxnSpPr>
                <p:spPr>
                  <a:xfrm>
                    <a:off x="1580899" y="2106178"/>
                    <a:ext cx="288342" cy="288345"/>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3B9F3380-A253-D148-9D11-F07A84FBA33D}"/>
                      </a:ext>
                    </a:extLst>
                  </p:cNvPr>
                  <p:cNvCxnSpPr>
                    <a:cxnSpLocks/>
                    <a:stCxn id="161" idx="5"/>
                    <a:endCxn id="158" idx="1"/>
                  </p:cNvCxnSpPr>
                  <p:nvPr/>
                </p:nvCxnSpPr>
                <p:spPr>
                  <a:xfrm>
                    <a:off x="2727097" y="2008213"/>
                    <a:ext cx="136496" cy="136497"/>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6BB60E06-0C21-BF4B-B653-923A657B981B}"/>
                      </a:ext>
                    </a:extLst>
                  </p:cNvPr>
                  <p:cNvCxnSpPr>
                    <a:cxnSpLocks/>
                    <a:stCxn id="158" idx="7"/>
                    <a:endCxn id="162" idx="3"/>
                  </p:cNvCxnSpPr>
                  <p:nvPr/>
                </p:nvCxnSpPr>
                <p:spPr>
                  <a:xfrm flipV="1">
                    <a:off x="3074871" y="2008213"/>
                    <a:ext cx="141395" cy="136497"/>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53" name="Rounded Rectangle 152">
                  <a:extLst>
                    <a:ext uri="{FF2B5EF4-FFF2-40B4-BE49-F238E27FC236}">
                      <a16:creationId xmlns:a16="http://schemas.microsoft.com/office/drawing/2014/main" id="{09B7B872-447E-174C-874F-0DBF83930D96}"/>
                    </a:ext>
                  </a:extLst>
                </p:cNvPr>
                <p:cNvSpPr/>
                <p:nvPr/>
              </p:nvSpPr>
              <p:spPr bwMode="auto">
                <a:xfrm>
                  <a:off x="1693079" y="4720470"/>
                  <a:ext cx="391684" cy="311239"/>
                </a:xfrm>
                <a:prstGeom prst="roundRect">
                  <a:avLst>
                    <a:gd name="adj" fmla="val 7486"/>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1" name="Group 140">
                <a:extLst>
                  <a:ext uri="{FF2B5EF4-FFF2-40B4-BE49-F238E27FC236}">
                    <a16:creationId xmlns:a16="http://schemas.microsoft.com/office/drawing/2014/main" id="{184FC3F1-BDE3-0E41-8716-1DF19D2AC182}"/>
                  </a:ext>
                </a:extLst>
              </p:cNvPr>
              <p:cNvGrpSpPr/>
              <p:nvPr/>
            </p:nvGrpSpPr>
            <p:grpSpPr>
              <a:xfrm>
                <a:off x="1736551" y="5158821"/>
                <a:ext cx="310993" cy="264555"/>
                <a:chOff x="2107244" y="1575258"/>
                <a:chExt cx="310993" cy="264555"/>
              </a:xfrm>
            </p:grpSpPr>
            <p:grpSp>
              <p:nvGrpSpPr>
                <p:cNvPr id="142" name="Group 141">
                  <a:extLst>
                    <a:ext uri="{FF2B5EF4-FFF2-40B4-BE49-F238E27FC236}">
                      <a16:creationId xmlns:a16="http://schemas.microsoft.com/office/drawing/2014/main" id="{6FF7B0B4-491C-0B45-9104-03F4430EC040}"/>
                    </a:ext>
                  </a:extLst>
                </p:cNvPr>
                <p:cNvGrpSpPr/>
                <p:nvPr/>
              </p:nvGrpSpPr>
              <p:grpSpPr>
                <a:xfrm>
                  <a:off x="2107244" y="1575258"/>
                  <a:ext cx="310993" cy="264555"/>
                  <a:chOff x="2107244" y="1575258"/>
                  <a:chExt cx="310993" cy="264555"/>
                </a:xfrm>
              </p:grpSpPr>
              <p:sp>
                <p:nvSpPr>
                  <p:cNvPr id="150" name="Rectangle 9">
                    <a:extLst>
                      <a:ext uri="{FF2B5EF4-FFF2-40B4-BE49-F238E27FC236}">
                        <a16:creationId xmlns:a16="http://schemas.microsoft.com/office/drawing/2014/main" id="{44311FDE-608E-544C-8199-2CFA5DD903B0}"/>
                      </a:ext>
                    </a:extLst>
                  </p:cNvPr>
                  <p:cNvSpPr>
                    <a:spLocks noChangeArrowheads="1"/>
                  </p:cNvSpPr>
                  <p:nvPr/>
                </p:nvSpPr>
                <p:spPr bwMode="auto">
                  <a:xfrm>
                    <a:off x="2107244" y="1575258"/>
                    <a:ext cx="310993" cy="264555"/>
                  </a:xfrm>
                  <a:prstGeom prst="rect">
                    <a:avLst/>
                  </a:prstGeom>
                  <a:solidFill>
                    <a:srgbClr val="FFFFFF"/>
                  </a:solidFill>
                  <a:ln w="1270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sp>
                <p:nvSpPr>
                  <p:cNvPr id="151" name="Line 10">
                    <a:extLst>
                      <a:ext uri="{FF2B5EF4-FFF2-40B4-BE49-F238E27FC236}">
                        <a16:creationId xmlns:a16="http://schemas.microsoft.com/office/drawing/2014/main" id="{BD9093A1-0ACF-5847-A685-6A19C2840436}"/>
                      </a:ext>
                    </a:extLst>
                  </p:cNvPr>
                  <p:cNvSpPr>
                    <a:spLocks noChangeShapeType="1"/>
                  </p:cNvSpPr>
                  <p:nvPr/>
                </p:nvSpPr>
                <p:spPr bwMode="auto">
                  <a:xfrm flipH="1">
                    <a:off x="2107244" y="1647026"/>
                    <a:ext cx="31099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143" name="Group 142">
                  <a:extLst>
                    <a:ext uri="{FF2B5EF4-FFF2-40B4-BE49-F238E27FC236}">
                      <a16:creationId xmlns:a16="http://schemas.microsoft.com/office/drawing/2014/main" id="{0E36A0CF-2FAD-A048-B4C4-D74AA379AB31}"/>
                    </a:ext>
                  </a:extLst>
                </p:cNvPr>
                <p:cNvGrpSpPr/>
                <p:nvPr/>
              </p:nvGrpSpPr>
              <p:grpSpPr>
                <a:xfrm>
                  <a:off x="2287367" y="1599181"/>
                  <a:ext cx="95690" cy="23923"/>
                  <a:chOff x="2287367" y="1599181"/>
                  <a:chExt cx="95690" cy="23923"/>
                </a:xfrm>
              </p:grpSpPr>
              <p:sp>
                <p:nvSpPr>
                  <p:cNvPr id="147" name="Oval 11">
                    <a:extLst>
                      <a:ext uri="{FF2B5EF4-FFF2-40B4-BE49-F238E27FC236}">
                        <a16:creationId xmlns:a16="http://schemas.microsoft.com/office/drawing/2014/main" id="{EDCC28E9-354E-8148-8B12-5584CD0511F3}"/>
                      </a:ext>
                    </a:extLst>
                  </p:cNvPr>
                  <p:cNvSpPr>
                    <a:spLocks noChangeArrowheads="1"/>
                  </p:cNvSpPr>
                  <p:nvPr/>
                </p:nvSpPr>
                <p:spPr bwMode="auto">
                  <a:xfrm>
                    <a:off x="2287367" y="1599181"/>
                    <a:ext cx="23923" cy="23923"/>
                  </a:xfrm>
                  <a:prstGeom prst="ellipse">
                    <a:avLst/>
                  </a:prstGeom>
                  <a:solidFill>
                    <a:schemeClr val="tx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sp>
                <p:nvSpPr>
                  <p:cNvPr id="148" name="Oval 12">
                    <a:extLst>
                      <a:ext uri="{FF2B5EF4-FFF2-40B4-BE49-F238E27FC236}">
                        <a16:creationId xmlns:a16="http://schemas.microsoft.com/office/drawing/2014/main" id="{99D6336D-E280-2F47-89C5-EBDD516CC62D}"/>
                      </a:ext>
                    </a:extLst>
                  </p:cNvPr>
                  <p:cNvSpPr>
                    <a:spLocks noChangeArrowheads="1"/>
                  </p:cNvSpPr>
                  <p:nvPr/>
                </p:nvSpPr>
                <p:spPr bwMode="auto">
                  <a:xfrm>
                    <a:off x="2322547" y="1599181"/>
                    <a:ext cx="23923" cy="23923"/>
                  </a:xfrm>
                  <a:prstGeom prst="ellipse">
                    <a:avLst/>
                  </a:prstGeom>
                  <a:solidFill>
                    <a:schemeClr val="tx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sp>
                <p:nvSpPr>
                  <p:cNvPr id="149" name="Oval 13">
                    <a:extLst>
                      <a:ext uri="{FF2B5EF4-FFF2-40B4-BE49-F238E27FC236}">
                        <a16:creationId xmlns:a16="http://schemas.microsoft.com/office/drawing/2014/main" id="{2BE296A9-A0DA-9849-8699-69223251D105}"/>
                      </a:ext>
                    </a:extLst>
                  </p:cNvPr>
                  <p:cNvSpPr>
                    <a:spLocks noChangeArrowheads="1"/>
                  </p:cNvSpPr>
                  <p:nvPr/>
                </p:nvSpPr>
                <p:spPr bwMode="auto">
                  <a:xfrm>
                    <a:off x="2359134" y="1599181"/>
                    <a:ext cx="23923" cy="23923"/>
                  </a:xfrm>
                  <a:prstGeom prst="ellipse">
                    <a:avLst/>
                  </a:prstGeom>
                  <a:solidFill>
                    <a:schemeClr val="tx2"/>
                  </a:solidFill>
                  <a:ln w="1270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144" name="Group 143">
                  <a:extLst>
                    <a:ext uri="{FF2B5EF4-FFF2-40B4-BE49-F238E27FC236}">
                      <a16:creationId xmlns:a16="http://schemas.microsoft.com/office/drawing/2014/main" id="{B6712802-9C4B-8241-B48E-2D67CECB3E2E}"/>
                    </a:ext>
                  </a:extLst>
                </p:cNvPr>
                <p:cNvGrpSpPr/>
                <p:nvPr/>
              </p:nvGrpSpPr>
              <p:grpSpPr>
                <a:xfrm>
                  <a:off x="2202934" y="1701907"/>
                  <a:ext cx="95690" cy="90061"/>
                  <a:chOff x="2202934" y="1701907"/>
                  <a:chExt cx="95690" cy="90061"/>
                </a:xfrm>
              </p:grpSpPr>
              <p:sp>
                <p:nvSpPr>
                  <p:cNvPr id="145" name="Freeform 14">
                    <a:extLst>
                      <a:ext uri="{FF2B5EF4-FFF2-40B4-BE49-F238E27FC236}">
                        <a16:creationId xmlns:a16="http://schemas.microsoft.com/office/drawing/2014/main" id="{054680D8-567B-F84B-A2EA-A61B91D3E12D}"/>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sp>
                <p:nvSpPr>
                  <p:cNvPr id="146" name="Line 15">
                    <a:extLst>
                      <a:ext uri="{FF2B5EF4-FFF2-40B4-BE49-F238E27FC236}">
                        <a16:creationId xmlns:a16="http://schemas.microsoft.com/office/drawing/2014/main" id="{3D79FB50-C8F6-0745-921B-FE9385C2A3FD}"/>
                      </a:ext>
                    </a:extLst>
                  </p:cNvPr>
                  <p:cNvSpPr>
                    <a:spLocks noChangeShapeType="1"/>
                  </p:cNvSpPr>
                  <p:nvPr/>
                </p:nvSpPr>
                <p:spPr bwMode="auto">
                  <a:xfrm>
                    <a:off x="2253117" y="1755381"/>
                    <a:ext cx="0" cy="36587"/>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grpSp>
        </p:grpSp>
        <p:sp>
          <p:nvSpPr>
            <p:cNvPr id="167" name="Rectangle 166">
              <a:extLst>
                <a:ext uri="{FF2B5EF4-FFF2-40B4-BE49-F238E27FC236}">
                  <a16:creationId xmlns:a16="http://schemas.microsoft.com/office/drawing/2014/main" id="{E464F8F9-0EE5-6A47-9084-C8F97117F7F4}"/>
                </a:ext>
              </a:extLst>
            </p:cNvPr>
            <p:cNvSpPr/>
            <p:nvPr/>
          </p:nvSpPr>
          <p:spPr>
            <a:xfrm>
              <a:off x="3855473" y="4866867"/>
              <a:ext cx="617186" cy="230832"/>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loud</a:t>
              </a:r>
            </a:p>
          </p:txBody>
        </p:sp>
        <p:sp>
          <p:nvSpPr>
            <p:cNvPr id="168" name="Rectangle 167">
              <a:extLst>
                <a:ext uri="{FF2B5EF4-FFF2-40B4-BE49-F238E27FC236}">
                  <a16:creationId xmlns:a16="http://schemas.microsoft.com/office/drawing/2014/main" id="{06A752EB-1EC7-024F-9803-3B11718FA41A}"/>
                </a:ext>
              </a:extLst>
            </p:cNvPr>
            <p:cNvSpPr/>
            <p:nvPr/>
          </p:nvSpPr>
          <p:spPr>
            <a:xfrm>
              <a:off x="4425547" y="4866867"/>
              <a:ext cx="617186" cy="369332"/>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ight Edge</a:t>
              </a:r>
            </a:p>
          </p:txBody>
        </p:sp>
        <p:sp>
          <p:nvSpPr>
            <p:cNvPr id="169" name="Rectangle 168">
              <a:extLst>
                <a:ext uri="{FF2B5EF4-FFF2-40B4-BE49-F238E27FC236}">
                  <a16:creationId xmlns:a16="http://schemas.microsoft.com/office/drawing/2014/main" id="{DAE6A36A-9ECF-EC46-9696-65E5E52EE05F}"/>
                </a:ext>
              </a:extLst>
            </p:cNvPr>
            <p:cNvSpPr/>
            <p:nvPr/>
          </p:nvSpPr>
          <p:spPr>
            <a:xfrm>
              <a:off x="4952933" y="4866867"/>
              <a:ext cx="617186" cy="369332"/>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Heavy Edge</a:t>
              </a:r>
            </a:p>
          </p:txBody>
        </p:sp>
        <p:sp>
          <p:nvSpPr>
            <p:cNvPr id="173" name="Rectangle 172">
              <a:extLst>
                <a:ext uri="{FF2B5EF4-FFF2-40B4-BE49-F238E27FC236}">
                  <a16:creationId xmlns:a16="http://schemas.microsoft.com/office/drawing/2014/main" id="{1448EFA3-CF39-6549-B2FB-4D0F7C567377}"/>
                </a:ext>
              </a:extLst>
            </p:cNvPr>
            <p:cNvSpPr/>
            <p:nvPr/>
          </p:nvSpPr>
          <p:spPr>
            <a:xfrm>
              <a:off x="2958884" y="4670362"/>
              <a:ext cx="976239" cy="461665"/>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196"/>
                </a:spcAft>
                <a:buClrTx/>
                <a:buSzTx/>
                <a:buFontTx/>
                <a:buNone/>
                <a:tabLst/>
                <a:defRPr/>
              </a:pPr>
              <a:r>
                <a:rPr kumimoji="0" 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sym typeface="Arial" panose="020B0604020202020204" pitchFamily="34" charset="0"/>
                </a:rPr>
                <a:t>Deploy image</a:t>
              </a:r>
              <a:endParaRPr kumimoji="0" lang="en-US" sz="1176"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cxnSp>
        <p:nvCxnSpPr>
          <p:cNvPr id="13" name="Straight Arrow Connector 12">
            <a:extLst>
              <a:ext uri="{FF2B5EF4-FFF2-40B4-BE49-F238E27FC236}">
                <a16:creationId xmlns:a16="http://schemas.microsoft.com/office/drawing/2014/main" id="{5B79351B-BC6B-4ECB-85F9-F6AF9E577611}"/>
              </a:ext>
            </a:extLst>
          </p:cNvPr>
          <p:cNvCxnSpPr/>
          <p:nvPr/>
        </p:nvCxnSpPr>
        <p:spPr>
          <a:xfrm>
            <a:off x="8026458" y="3489123"/>
            <a:ext cx="0" cy="679142"/>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67FB5661-0ECE-41D1-9D5E-978421C07C6F}"/>
              </a:ext>
            </a:extLst>
          </p:cNvPr>
          <p:cNvCxnSpPr>
            <a:cxnSpLocks/>
          </p:cNvCxnSpPr>
          <p:nvPr/>
        </p:nvCxnSpPr>
        <p:spPr>
          <a:xfrm flipV="1">
            <a:off x="4298745" y="3447953"/>
            <a:ext cx="0" cy="720312"/>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6BB960AE-3216-4AED-8BCD-6902609D39DD}"/>
              </a:ext>
            </a:extLst>
          </p:cNvPr>
          <p:cNvCxnSpPr>
            <a:cxnSpLocks/>
          </p:cNvCxnSpPr>
          <p:nvPr/>
        </p:nvCxnSpPr>
        <p:spPr>
          <a:xfrm flipV="1">
            <a:off x="4247751" y="2064600"/>
            <a:ext cx="695853" cy="460863"/>
          </a:xfrm>
          <a:prstGeom prst="bentConnector3">
            <a:avLst>
              <a:gd name="adj1" fmla="val -993"/>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8" name="Connector: Elbow 177">
            <a:extLst>
              <a:ext uri="{FF2B5EF4-FFF2-40B4-BE49-F238E27FC236}">
                <a16:creationId xmlns:a16="http://schemas.microsoft.com/office/drawing/2014/main" id="{BDF5C554-87BE-4084-A3BA-CA53D890FAAE}"/>
              </a:ext>
            </a:extLst>
          </p:cNvPr>
          <p:cNvCxnSpPr>
            <a:cxnSpLocks/>
          </p:cNvCxnSpPr>
          <p:nvPr/>
        </p:nvCxnSpPr>
        <p:spPr>
          <a:xfrm>
            <a:off x="7398150" y="2038054"/>
            <a:ext cx="609633" cy="525854"/>
          </a:xfrm>
          <a:prstGeom prst="bentConnector3">
            <a:avLst>
              <a:gd name="adj1" fmla="val 100546"/>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1" name="Connector: Elbow 180">
            <a:extLst>
              <a:ext uri="{FF2B5EF4-FFF2-40B4-BE49-F238E27FC236}">
                <a16:creationId xmlns:a16="http://schemas.microsoft.com/office/drawing/2014/main" id="{B7B8E4A8-002A-4F5D-BE60-3B44AB966171}"/>
              </a:ext>
            </a:extLst>
          </p:cNvPr>
          <p:cNvCxnSpPr>
            <a:cxnSpLocks/>
          </p:cNvCxnSpPr>
          <p:nvPr/>
        </p:nvCxnSpPr>
        <p:spPr>
          <a:xfrm rot="5400000">
            <a:off x="7449005" y="5518923"/>
            <a:ext cx="625134" cy="522573"/>
          </a:xfrm>
          <a:prstGeom prst="bentConnector3">
            <a:avLst>
              <a:gd name="adj1" fmla="val 9920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2" name="Connector: Elbow 181">
            <a:extLst>
              <a:ext uri="{FF2B5EF4-FFF2-40B4-BE49-F238E27FC236}">
                <a16:creationId xmlns:a16="http://schemas.microsoft.com/office/drawing/2014/main" id="{87C59888-03BD-4A54-BF92-CAEB118514BF}"/>
              </a:ext>
            </a:extLst>
          </p:cNvPr>
          <p:cNvCxnSpPr>
            <a:cxnSpLocks/>
          </p:cNvCxnSpPr>
          <p:nvPr/>
        </p:nvCxnSpPr>
        <p:spPr>
          <a:xfrm rot="10800000">
            <a:off x="4339346" y="5510348"/>
            <a:ext cx="729208" cy="582430"/>
          </a:xfrm>
          <a:prstGeom prst="bentConnector3">
            <a:avLst>
              <a:gd name="adj1" fmla="val 9994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97121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750"/>
                                        <p:tgtEl>
                                          <p:spTgt spid="3"/>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750"/>
                                        <p:tgtEl>
                                          <p:spTgt spid="4"/>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750"/>
                                        <p:tgtEl>
                                          <p:spTgt spid="9"/>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750"/>
                                        <p:tgtEl>
                                          <p:spTgt spid="7"/>
                                        </p:tgtEl>
                                      </p:cBhvr>
                                    </p:animEffect>
                                  </p:childTnLst>
                                </p:cTn>
                              </p:par>
                            </p:childTnLst>
                          </p:cTn>
                        </p:par>
                        <p:par>
                          <p:cTn id="24" fill="hold">
                            <p:stCondLst>
                              <p:cond delay="3750"/>
                            </p:stCondLst>
                            <p:childTnLst>
                              <p:par>
                                <p:cTn id="25" presetID="10" presetClass="entr" presetSubtype="0"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BC419D0-071D-47AB-B4B3-AD382E5EE5FC}"/>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53568" t="12249" r="2575" b="-93"/>
          <a:stretch/>
        </p:blipFill>
        <p:spPr>
          <a:xfrm>
            <a:off x="-122237" y="-1"/>
            <a:ext cx="6156953" cy="6858001"/>
          </a:xfrm>
          <a:prstGeom prst="rect">
            <a:avLst/>
          </a:prstGeom>
        </p:spPr>
      </p:pic>
      <p:sp>
        <p:nvSpPr>
          <p:cNvPr id="3" name="Rectangle 2">
            <a:extLst>
              <a:ext uri="{FF2B5EF4-FFF2-40B4-BE49-F238E27FC236}">
                <a16:creationId xmlns:a16="http://schemas.microsoft.com/office/drawing/2014/main" id="{EDF0681D-FEB4-4DB4-AEED-4340FBA169AC}"/>
              </a:ext>
            </a:extLst>
          </p:cNvPr>
          <p:cNvSpPr/>
          <p:nvPr/>
        </p:nvSpPr>
        <p:spPr bwMode="auto">
          <a:xfrm>
            <a:off x="-122236" y="-1"/>
            <a:ext cx="6156954" cy="6858001"/>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30562A4C-0C12-43FC-BF6B-10C52014B5F0}"/>
              </a:ext>
            </a:extLst>
          </p:cNvPr>
          <p:cNvSpPr/>
          <p:nvPr/>
        </p:nvSpPr>
        <p:spPr>
          <a:xfrm>
            <a:off x="312738" y="2927863"/>
            <a:ext cx="5783263" cy="992404"/>
          </a:xfrm>
          <a:prstGeom prst="rect">
            <a:avLst/>
          </a:prstGeom>
        </p:spPr>
        <p:txBody>
          <a:bodyPr wrap="square" lIns="0" tIns="0" rIns="274320" bIns="0" anchor="ctr">
            <a:noAutofit/>
          </a:bodyPr>
          <a:lstStyle/>
          <a:p>
            <a:pPr marL="0" marR="0" lvl="0" indent="0" algn="r" defTabSz="932688"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light (Headings)"/>
                <a:ea typeface="+mn-ea"/>
                <a:cs typeface="+mn-cs"/>
              </a:rPr>
              <a:t>Azure</a:t>
            </a:r>
            <a:r>
              <a:rPr kumimoji="0" lang="en-US" sz="2400" b="0" i="0" u="none" strike="noStrike" kern="1200" cap="none" spc="0" normalizeH="0" baseline="0" noProof="0">
                <a:ln>
                  <a:noFill/>
                </a:ln>
                <a:solidFill>
                  <a:srgbClr val="FFFFFF"/>
                </a:solidFill>
                <a:effectLst/>
                <a:uLnTx/>
                <a:uFillTx/>
                <a:latin typeface="Segoe UI Semibold"/>
                <a:ea typeface="+mn-ea"/>
                <a:cs typeface="+mn-cs"/>
              </a:rPr>
              <a:t> </a:t>
            </a:r>
            <a:r>
              <a:rPr kumimoji="0" lang="en-US" sz="3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oT Central</a:t>
            </a:r>
          </a:p>
        </p:txBody>
      </p:sp>
      <p:grpSp>
        <p:nvGrpSpPr>
          <p:cNvPr id="111" name="Group 110">
            <a:extLst>
              <a:ext uri="{FF2B5EF4-FFF2-40B4-BE49-F238E27FC236}">
                <a16:creationId xmlns:a16="http://schemas.microsoft.com/office/drawing/2014/main" id="{1C65F342-F477-47A4-A1E0-A3AA011C7C0E}"/>
              </a:ext>
            </a:extLst>
          </p:cNvPr>
          <p:cNvGrpSpPr/>
          <p:nvPr/>
        </p:nvGrpSpPr>
        <p:grpSpPr>
          <a:xfrm>
            <a:off x="6469690" y="4765456"/>
            <a:ext cx="4754880" cy="784167"/>
            <a:chOff x="7041838" y="4978096"/>
            <a:chExt cx="4754880" cy="784167"/>
          </a:xfrm>
        </p:grpSpPr>
        <p:cxnSp>
          <p:nvCxnSpPr>
            <p:cNvPr id="81" name="Straight Connector 80">
              <a:extLst>
                <a:ext uri="{FF2B5EF4-FFF2-40B4-BE49-F238E27FC236}">
                  <a16:creationId xmlns:a16="http://schemas.microsoft.com/office/drawing/2014/main" id="{D285A0D8-C81F-46A9-AE55-4F7CBEBE908B}"/>
                </a:ext>
              </a:extLst>
            </p:cNvPr>
            <p:cNvCxnSpPr>
              <a:cxnSpLocks/>
            </p:cNvCxnSpPr>
            <p:nvPr/>
          </p:nvCxnSpPr>
          <p:spPr>
            <a:xfrm>
              <a:off x="7041838" y="5762262"/>
              <a:ext cx="4754880" cy="1"/>
            </a:xfrm>
            <a:prstGeom prst="line">
              <a:avLst/>
            </a:prstGeom>
            <a:ln w="9525">
              <a:solidFill>
                <a:schemeClr val="tx2"/>
              </a:solidFill>
              <a:headEnd type="none"/>
              <a:tailEnd type="none"/>
            </a:ln>
          </p:spPr>
          <p:style>
            <a:lnRef idx="2">
              <a:schemeClr val="accent1"/>
            </a:lnRef>
            <a:fillRef idx="0">
              <a:schemeClr val="accent1"/>
            </a:fillRef>
            <a:effectRef idx="1">
              <a:schemeClr val="accent1"/>
            </a:effectRef>
            <a:fontRef idx="minor">
              <a:schemeClr val="tx1"/>
            </a:fontRef>
          </p:style>
        </p:cxnSp>
        <p:grpSp>
          <p:nvGrpSpPr>
            <p:cNvPr id="99" name="Group 98">
              <a:extLst>
                <a:ext uri="{FF2B5EF4-FFF2-40B4-BE49-F238E27FC236}">
                  <a16:creationId xmlns:a16="http://schemas.microsoft.com/office/drawing/2014/main" id="{ECCDA6CE-0683-4768-9AEE-0FA8546139F1}"/>
                </a:ext>
              </a:extLst>
            </p:cNvPr>
            <p:cNvGrpSpPr/>
            <p:nvPr/>
          </p:nvGrpSpPr>
          <p:grpSpPr>
            <a:xfrm>
              <a:off x="7043853" y="4978096"/>
              <a:ext cx="3967705" cy="669921"/>
              <a:chOff x="7043853" y="5095766"/>
              <a:chExt cx="3967705" cy="669921"/>
            </a:xfrm>
          </p:grpSpPr>
          <p:sp>
            <p:nvSpPr>
              <p:cNvPr id="53" name="Rectangle 52">
                <a:extLst>
                  <a:ext uri="{FF2B5EF4-FFF2-40B4-BE49-F238E27FC236}">
                    <a16:creationId xmlns:a16="http://schemas.microsoft.com/office/drawing/2014/main" id="{DCD72B43-BD48-433F-9C15-1C6B963CE69F}"/>
                  </a:ext>
                </a:extLst>
              </p:cNvPr>
              <p:cNvSpPr/>
              <p:nvPr/>
            </p:nvSpPr>
            <p:spPr>
              <a:xfrm>
                <a:off x="7847294" y="5333777"/>
                <a:ext cx="3164264" cy="193899"/>
              </a:xfrm>
              <a:prstGeom prst="rect">
                <a:avLst/>
              </a:prstGeom>
            </p:spPr>
            <p:txBody>
              <a:bodyPr wrap="non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Analytics, dashboards and visualization</a:t>
                </a:r>
              </a:p>
            </p:txBody>
          </p:sp>
          <p:grpSp>
            <p:nvGrpSpPr>
              <p:cNvPr id="89" name="Group 88">
                <a:extLst>
                  <a:ext uri="{FF2B5EF4-FFF2-40B4-BE49-F238E27FC236}">
                    <a16:creationId xmlns:a16="http://schemas.microsoft.com/office/drawing/2014/main" id="{8F1EE954-7EA3-4749-B683-7B53A68D502F}"/>
                  </a:ext>
                </a:extLst>
              </p:cNvPr>
              <p:cNvGrpSpPr/>
              <p:nvPr/>
            </p:nvGrpSpPr>
            <p:grpSpPr>
              <a:xfrm>
                <a:off x="7043853" y="5095766"/>
                <a:ext cx="669921" cy="669921"/>
                <a:chOff x="7043853" y="5095766"/>
                <a:chExt cx="669921" cy="669921"/>
              </a:xfrm>
            </p:grpSpPr>
            <p:sp>
              <p:nvSpPr>
                <p:cNvPr id="55" name="Oval 54">
                  <a:extLst>
                    <a:ext uri="{FF2B5EF4-FFF2-40B4-BE49-F238E27FC236}">
                      <a16:creationId xmlns:a16="http://schemas.microsoft.com/office/drawing/2014/main" id="{656C9BF3-6748-4D1C-84C2-D53626DBD140}"/>
                    </a:ext>
                  </a:extLst>
                </p:cNvPr>
                <p:cNvSpPr/>
                <p:nvPr/>
              </p:nvSpPr>
              <p:spPr bwMode="auto">
                <a:xfrm>
                  <a:off x="7043853" y="5095766"/>
                  <a:ext cx="669921" cy="669921"/>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82" name="BarChartHorizontal_E9EB" title="Icon of a horizontal bar graph">
                  <a:extLst>
                    <a:ext uri="{FF2B5EF4-FFF2-40B4-BE49-F238E27FC236}">
                      <a16:creationId xmlns:a16="http://schemas.microsoft.com/office/drawing/2014/main" id="{3C13B259-B00A-4200-B74B-3EA1C9B144C2}"/>
                    </a:ext>
                  </a:extLst>
                </p:cNvPr>
                <p:cNvSpPr>
                  <a:spLocks noChangeAspect="1" noEditPoints="1"/>
                </p:cNvSpPr>
                <p:nvPr/>
              </p:nvSpPr>
              <p:spPr bwMode="auto">
                <a:xfrm>
                  <a:off x="7241653" y="5293566"/>
                  <a:ext cx="274320" cy="274320"/>
                </a:xfrm>
                <a:custGeom>
                  <a:avLst/>
                  <a:gdLst>
                    <a:gd name="T0" fmla="*/ 105 w 709"/>
                    <a:gd name="T1" fmla="*/ 184 h 709"/>
                    <a:gd name="T2" fmla="*/ 105 w 709"/>
                    <a:gd name="T3" fmla="*/ 79 h 709"/>
                    <a:gd name="T4" fmla="*/ 525 w 709"/>
                    <a:gd name="T5" fmla="*/ 79 h 709"/>
                    <a:gd name="T6" fmla="*/ 525 w 709"/>
                    <a:gd name="T7" fmla="*/ 184 h 709"/>
                    <a:gd name="T8" fmla="*/ 105 w 709"/>
                    <a:gd name="T9" fmla="*/ 184 h 709"/>
                    <a:gd name="T10" fmla="*/ 420 w 709"/>
                    <a:gd name="T11" fmla="*/ 394 h 709"/>
                    <a:gd name="T12" fmla="*/ 420 w 709"/>
                    <a:gd name="T13" fmla="*/ 289 h 709"/>
                    <a:gd name="T14" fmla="*/ 105 w 709"/>
                    <a:gd name="T15" fmla="*/ 289 h 709"/>
                    <a:gd name="T16" fmla="*/ 105 w 709"/>
                    <a:gd name="T17" fmla="*/ 394 h 709"/>
                    <a:gd name="T18" fmla="*/ 420 w 709"/>
                    <a:gd name="T19" fmla="*/ 394 h 709"/>
                    <a:gd name="T20" fmla="*/ 630 w 709"/>
                    <a:gd name="T21" fmla="*/ 604 h 709"/>
                    <a:gd name="T22" fmla="*/ 630 w 709"/>
                    <a:gd name="T23" fmla="*/ 499 h 709"/>
                    <a:gd name="T24" fmla="*/ 105 w 709"/>
                    <a:gd name="T25" fmla="*/ 499 h 709"/>
                    <a:gd name="T26" fmla="*/ 105 w 709"/>
                    <a:gd name="T27" fmla="*/ 604 h 709"/>
                    <a:gd name="T28" fmla="*/ 630 w 709"/>
                    <a:gd name="T29" fmla="*/ 604 h 709"/>
                    <a:gd name="T30" fmla="*/ 0 w 709"/>
                    <a:gd name="T31" fmla="*/ 0 h 709"/>
                    <a:gd name="T32" fmla="*/ 0 w 709"/>
                    <a:gd name="T33" fmla="*/ 709 h 709"/>
                    <a:gd name="T34" fmla="*/ 709 w 709"/>
                    <a:gd name="T35"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9" h="709">
                      <a:moveTo>
                        <a:pt x="105" y="184"/>
                      </a:moveTo>
                      <a:lnTo>
                        <a:pt x="105" y="79"/>
                      </a:lnTo>
                      <a:lnTo>
                        <a:pt x="525" y="79"/>
                      </a:lnTo>
                      <a:lnTo>
                        <a:pt x="525" y="184"/>
                      </a:lnTo>
                      <a:lnTo>
                        <a:pt x="105" y="184"/>
                      </a:lnTo>
                      <a:moveTo>
                        <a:pt x="420" y="394"/>
                      </a:moveTo>
                      <a:lnTo>
                        <a:pt x="420" y="289"/>
                      </a:lnTo>
                      <a:lnTo>
                        <a:pt x="105" y="289"/>
                      </a:lnTo>
                      <a:lnTo>
                        <a:pt x="105" y="394"/>
                      </a:lnTo>
                      <a:lnTo>
                        <a:pt x="420" y="394"/>
                      </a:lnTo>
                      <a:moveTo>
                        <a:pt x="630" y="604"/>
                      </a:moveTo>
                      <a:lnTo>
                        <a:pt x="630" y="499"/>
                      </a:lnTo>
                      <a:lnTo>
                        <a:pt x="105" y="499"/>
                      </a:lnTo>
                      <a:lnTo>
                        <a:pt x="105" y="604"/>
                      </a:lnTo>
                      <a:lnTo>
                        <a:pt x="630" y="604"/>
                      </a:lnTo>
                      <a:moveTo>
                        <a:pt x="0" y="0"/>
                      </a:moveTo>
                      <a:lnTo>
                        <a:pt x="0" y="709"/>
                      </a:lnTo>
                      <a:lnTo>
                        <a:pt x="709" y="709"/>
                      </a:ln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grpSp>
      <p:grpSp>
        <p:nvGrpSpPr>
          <p:cNvPr id="110" name="Group 109">
            <a:extLst>
              <a:ext uri="{FF2B5EF4-FFF2-40B4-BE49-F238E27FC236}">
                <a16:creationId xmlns:a16="http://schemas.microsoft.com/office/drawing/2014/main" id="{6DEB98AC-9BA4-46D4-8C0D-F55EBC6E971A}"/>
              </a:ext>
            </a:extLst>
          </p:cNvPr>
          <p:cNvGrpSpPr/>
          <p:nvPr/>
        </p:nvGrpSpPr>
        <p:grpSpPr>
          <a:xfrm>
            <a:off x="6435818" y="3867044"/>
            <a:ext cx="4990359" cy="784167"/>
            <a:chOff x="7007965" y="4079684"/>
            <a:chExt cx="4990359" cy="784167"/>
          </a:xfrm>
        </p:grpSpPr>
        <p:cxnSp>
          <p:nvCxnSpPr>
            <p:cNvPr id="48" name="Straight Connector 47">
              <a:extLst>
                <a:ext uri="{FF2B5EF4-FFF2-40B4-BE49-F238E27FC236}">
                  <a16:creationId xmlns:a16="http://schemas.microsoft.com/office/drawing/2014/main" id="{15BD7CCE-F927-4149-9ED8-073308173ED6}"/>
                </a:ext>
              </a:extLst>
            </p:cNvPr>
            <p:cNvCxnSpPr>
              <a:cxnSpLocks/>
            </p:cNvCxnSpPr>
            <p:nvPr/>
          </p:nvCxnSpPr>
          <p:spPr>
            <a:xfrm>
              <a:off x="7007965" y="4863850"/>
              <a:ext cx="4754880" cy="1"/>
            </a:xfrm>
            <a:prstGeom prst="line">
              <a:avLst/>
            </a:prstGeom>
            <a:ln w="9525">
              <a:solidFill>
                <a:schemeClr val="tx2"/>
              </a:solidFill>
              <a:headEnd type="none"/>
              <a:tailEnd type="none"/>
            </a:ln>
          </p:spPr>
          <p:style>
            <a:lnRef idx="2">
              <a:schemeClr val="accent1"/>
            </a:lnRef>
            <a:fillRef idx="0">
              <a:schemeClr val="accent1"/>
            </a:fillRef>
            <a:effectRef idx="1">
              <a:schemeClr val="accent1"/>
            </a:effectRef>
            <a:fontRef idx="minor">
              <a:schemeClr val="tx1"/>
            </a:fontRef>
          </p:style>
        </p:cxnSp>
        <p:grpSp>
          <p:nvGrpSpPr>
            <p:cNvPr id="100" name="Group 99">
              <a:extLst>
                <a:ext uri="{FF2B5EF4-FFF2-40B4-BE49-F238E27FC236}">
                  <a16:creationId xmlns:a16="http://schemas.microsoft.com/office/drawing/2014/main" id="{DE6968C6-F812-4316-89F1-4F8698E8E75B}"/>
                </a:ext>
              </a:extLst>
            </p:cNvPr>
            <p:cNvGrpSpPr/>
            <p:nvPr/>
          </p:nvGrpSpPr>
          <p:grpSpPr>
            <a:xfrm>
              <a:off x="7043853" y="4079684"/>
              <a:ext cx="4954471" cy="669921"/>
              <a:chOff x="7043853" y="4173820"/>
              <a:chExt cx="4954471" cy="669921"/>
            </a:xfrm>
          </p:grpSpPr>
          <p:sp>
            <p:nvSpPr>
              <p:cNvPr id="47" name="Rectangle 46">
                <a:extLst>
                  <a:ext uri="{FF2B5EF4-FFF2-40B4-BE49-F238E27FC236}">
                    <a16:creationId xmlns:a16="http://schemas.microsoft.com/office/drawing/2014/main" id="{DFC09BB9-2415-4360-B83E-18AA23AB28F6}"/>
                  </a:ext>
                </a:extLst>
              </p:cNvPr>
              <p:cNvSpPr/>
              <p:nvPr/>
            </p:nvSpPr>
            <p:spPr>
              <a:xfrm>
                <a:off x="7847294" y="4411831"/>
                <a:ext cx="4151030" cy="193899"/>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User roles and permissions</a:t>
                </a:r>
              </a:p>
            </p:txBody>
          </p:sp>
          <p:grpSp>
            <p:nvGrpSpPr>
              <p:cNvPr id="94" name="Group 93">
                <a:extLst>
                  <a:ext uri="{FF2B5EF4-FFF2-40B4-BE49-F238E27FC236}">
                    <a16:creationId xmlns:a16="http://schemas.microsoft.com/office/drawing/2014/main" id="{B937E63F-57FA-4726-B343-93D0CA2C2376}"/>
                  </a:ext>
                </a:extLst>
              </p:cNvPr>
              <p:cNvGrpSpPr/>
              <p:nvPr/>
            </p:nvGrpSpPr>
            <p:grpSpPr>
              <a:xfrm>
                <a:off x="7043853" y="4173820"/>
                <a:ext cx="669921" cy="669921"/>
                <a:chOff x="7043853" y="4173820"/>
                <a:chExt cx="669921" cy="669921"/>
              </a:xfrm>
            </p:grpSpPr>
            <p:sp>
              <p:nvSpPr>
                <p:cNvPr id="50" name="Oval 49">
                  <a:extLst>
                    <a:ext uri="{FF2B5EF4-FFF2-40B4-BE49-F238E27FC236}">
                      <a16:creationId xmlns:a16="http://schemas.microsoft.com/office/drawing/2014/main" id="{0DE6BC47-8377-4281-B13F-549B3DA61557}"/>
                    </a:ext>
                  </a:extLst>
                </p:cNvPr>
                <p:cNvSpPr/>
                <p:nvPr/>
              </p:nvSpPr>
              <p:spPr bwMode="auto">
                <a:xfrm>
                  <a:off x="7043853" y="4173820"/>
                  <a:ext cx="669921" cy="669921"/>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83" name="people_3" title="Icon of a person surrounded by brackets">
                  <a:extLst>
                    <a:ext uri="{FF2B5EF4-FFF2-40B4-BE49-F238E27FC236}">
                      <a16:creationId xmlns:a16="http://schemas.microsoft.com/office/drawing/2014/main" id="{F9301484-B66B-4BDC-AAAF-DB23BD52DEF2}"/>
                    </a:ext>
                  </a:extLst>
                </p:cNvPr>
                <p:cNvSpPr>
                  <a:spLocks noChangeAspect="1" noEditPoints="1"/>
                </p:cNvSpPr>
                <p:nvPr/>
              </p:nvSpPr>
              <p:spPr bwMode="auto">
                <a:xfrm>
                  <a:off x="7220063" y="4348760"/>
                  <a:ext cx="317501" cy="320040"/>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grpSp>
      <p:grpSp>
        <p:nvGrpSpPr>
          <p:cNvPr id="109" name="Group 108">
            <a:extLst>
              <a:ext uri="{FF2B5EF4-FFF2-40B4-BE49-F238E27FC236}">
                <a16:creationId xmlns:a16="http://schemas.microsoft.com/office/drawing/2014/main" id="{27429E5C-DD8B-4960-BAFE-E64DF8F3B369}"/>
              </a:ext>
            </a:extLst>
          </p:cNvPr>
          <p:cNvGrpSpPr/>
          <p:nvPr/>
        </p:nvGrpSpPr>
        <p:grpSpPr>
          <a:xfrm>
            <a:off x="6435817" y="2968633"/>
            <a:ext cx="4754880" cy="784166"/>
            <a:chOff x="7007965" y="3181273"/>
            <a:chExt cx="4754880" cy="784166"/>
          </a:xfrm>
        </p:grpSpPr>
        <p:cxnSp>
          <p:nvCxnSpPr>
            <p:cNvPr id="42" name="Straight Connector 41">
              <a:extLst>
                <a:ext uri="{FF2B5EF4-FFF2-40B4-BE49-F238E27FC236}">
                  <a16:creationId xmlns:a16="http://schemas.microsoft.com/office/drawing/2014/main" id="{40246077-74A9-4B2F-A143-680275FDE829}"/>
                </a:ext>
              </a:extLst>
            </p:cNvPr>
            <p:cNvCxnSpPr>
              <a:cxnSpLocks/>
            </p:cNvCxnSpPr>
            <p:nvPr/>
          </p:nvCxnSpPr>
          <p:spPr>
            <a:xfrm>
              <a:off x="7007965" y="3965439"/>
              <a:ext cx="4754880" cy="0"/>
            </a:xfrm>
            <a:prstGeom prst="line">
              <a:avLst/>
            </a:prstGeom>
            <a:ln w="9525">
              <a:solidFill>
                <a:schemeClr val="tx2"/>
              </a:solidFill>
              <a:headEnd type="none"/>
              <a:tailEnd type="none"/>
            </a:ln>
          </p:spPr>
          <p:style>
            <a:lnRef idx="2">
              <a:schemeClr val="accent1"/>
            </a:lnRef>
            <a:fillRef idx="0">
              <a:schemeClr val="accent1"/>
            </a:fillRef>
            <a:effectRef idx="1">
              <a:schemeClr val="accent1"/>
            </a:effectRef>
            <a:fontRef idx="minor">
              <a:schemeClr val="tx1"/>
            </a:fontRef>
          </p:style>
        </p:cxnSp>
        <p:grpSp>
          <p:nvGrpSpPr>
            <p:cNvPr id="101" name="Group 100">
              <a:extLst>
                <a:ext uri="{FF2B5EF4-FFF2-40B4-BE49-F238E27FC236}">
                  <a16:creationId xmlns:a16="http://schemas.microsoft.com/office/drawing/2014/main" id="{24DF20E7-32DE-420F-8E1E-19427066B6CC}"/>
                </a:ext>
              </a:extLst>
            </p:cNvPr>
            <p:cNvGrpSpPr/>
            <p:nvPr/>
          </p:nvGrpSpPr>
          <p:grpSpPr>
            <a:xfrm>
              <a:off x="7043853" y="3181273"/>
              <a:ext cx="4311900" cy="669921"/>
              <a:chOff x="7043853" y="3251875"/>
              <a:chExt cx="4311900" cy="669921"/>
            </a:xfrm>
          </p:grpSpPr>
          <p:sp>
            <p:nvSpPr>
              <p:cNvPr id="41" name="Rectangle 40">
                <a:extLst>
                  <a:ext uri="{FF2B5EF4-FFF2-40B4-BE49-F238E27FC236}">
                    <a16:creationId xmlns:a16="http://schemas.microsoft.com/office/drawing/2014/main" id="{B2FCE184-77FE-435B-BCAC-385283A0999F}"/>
                  </a:ext>
                </a:extLst>
              </p:cNvPr>
              <p:cNvSpPr/>
              <p:nvPr/>
            </p:nvSpPr>
            <p:spPr>
              <a:xfrm>
                <a:off x="7847294" y="3489886"/>
                <a:ext cx="3508459" cy="193899"/>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Monitoring rules and triggered actions</a:t>
                </a:r>
              </a:p>
            </p:txBody>
          </p:sp>
          <p:grpSp>
            <p:nvGrpSpPr>
              <p:cNvPr id="93" name="Group 92">
                <a:extLst>
                  <a:ext uri="{FF2B5EF4-FFF2-40B4-BE49-F238E27FC236}">
                    <a16:creationId xmlns:a16="http://schemas.microsoft.com/office/drawing/2014/main" id="{8B425DCB-CAED-43BC-9FD8-9FD245D30054}"/>
                  </a:ext>
                </a:extLst>
              </p:cNvPr>
              <p:cNvGrpSpPr/>
              <p:nvPr/>
            </p:nvGrpSpPr>
            <p:grpSpPr>
              <a:xfrm>
                <a:off x="7043853" y="3251875"/>
                <a:ext cx="669921" cy="669921"/>
                <a:chOff x="7043853" y="3251875"/>
                <a:chExt cx="669921" cy="669921"/>
              </a:xfrm>
            </p:grpSpPr>
            <p:sp>
              <p:nvSpPr>
                <p:cNvPr id="44" name="Oval 43">
                  <a:extLst>
                    <a:ext uri="{FF2B5EF4-FFF2-40B4-BE49-F238E27FC236}">
                      <a16:creationId xmlns:a16="http://schemas.microsoft.com/office/drawing/2014/main" id="{04ED9587-012D-4562-A34E-06B5CB3C0353}"/>
                    </a:ext>
                  </a:extLst>
                </p:cNvPr>
                <p:cNvSpPr/>
                <p:nvPr/>
              </p:nvSpPr>
              <p:spPr bwMode="auto">
                <a:xfrm>
                  <a:off x="7043853" y="3251875"/>
                  <a:ext cx="669921" cy="669921"/>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84" name="browser_3" title="Icon of a browser window with an arrow pointing from the outside to the center">
                  <a:extLst>
                    <a:ext uri="{FF2B5EF4-FFF2-40B4-BE49-F238E27FC236}">
                      <a16:creationId xmlns:a16="http://schemas.microsoft.com/office/drawing/2014/main" id="{0115D903-CE42-4D83-95A5-F389342BDF4C}"/>
                    </a:ext>
                  </a:extLst>
                </p:cNvPr>
                <p:cNvSpPr>
                  <a:spLocks noChangeAspect="1" noEditPoints="1"/>
                </p:cNvSpPr>
                <p:nvPr/>
              </p:nvSpPr>
              <p:spPr bwMode="auto">
                <a:xfrm>
                  <a:off x="7234613" y="3449675"/>
                  <a:ext cx="288400" cy="274320"/>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grpSp>
      <p:grpSp>
        <p:nvGrpSpPr>
          <p:cNvPr id="106" name="Group 105">
            <a:extLst>
              <a:ext uri="{FF2B5EF4-FFF2-40B4-BE49-F238E27FC236}">
                <a16:creationId xmlns:a16="http://schemas.microsoft.com/office/drawing/2014/main" id="{1271F9B1-63BF-4F2A-94E4-77CA8D138389}"/>
              </a:ext>
            </a:extLst>
          </p:cNvPr>
          <p:cNvGrpSpPr/>
          <p:nvPr/>
        </p:nvGrpSpPr>
        <p:grpSpPr>
          <a:xfrm>
            <a:off x="6435817" y="273400"/>
            <a:ext cx="4990360" cy="784166"/>
            <a:chOff x="7007965" y="486040"/>
            <a:chExt cx="4990360" cy="784166"/>
          </a:xfrm>
        </p:grpSpPr>
        <p:cxnSp>
          <p:nvCxnSpPr>
            <p:cNvPr id="59" name="Straight Connector 58">
              <a:extLst>
                <a:ext uri="{FF2B5EF4-FFF2-40B4-BE49-F238E27FC236}">
                  <a16:creationId xmlns:a16="http://schemas.microsoft.com/office/drawing/2014/main" id="{895FBB2D-9F10-4F00-94A9-EB39BA7565CD}"/>
                </a:ext>
              </a:extLst>
            </p:cNvPr>
            <p:cNvCxnSpPr>
              <a:cxnSpLocks/>
            </p:cNvCxnSpPr>
            <p:nvPr/>
          </p:nvCxnSpPr>
          <p:spPr>
            <a:xfrm>
              <a:off x="7007965" y="1270206"/>
              <a:ext cx="4754880" cy="0"/>
            </a:xfrm>
            <a:prstGeom prst="line">
              <a:avLst/>
            </a:prstGeom>
            <a:ln w="9525">
              <a:solidFill>
                <a:schemeClr val="tx2"/>
              </a:solidFill>
              <a:headEnd type="none"/>
              <a:tailEnd type="none"/>
            </a:ln>
          </p:spPr>
          <p:style>
            <a:lnRef idx="2">
              <a:schemeClr val="accent1"/>
            </a:lnRef>
            <a:fillRef idx="0">
              <a:schemeClr val="accent1"/>
            </a:fillRef>
            <a:effectRef idx="1">
              <a:schemeClr val="accent1"/>
            </a:effectRef>
            <a:fontRef idx="minor">
              <a:schemeClr val="tx1"/>
            </a:fontRef>
          </p:style>
        </p:cxnSp>
        <p:grpSp>
          <p:nvGrpSpPr>
            <p:cNvPr id="105" name="Group 104">
              <a:extLst>
                <a:ext uri="{FF2B5EF4-FFF2-40B4-BE49-F238E27FC236}">
                  <a16:creationId xmlns:a16="http://schemas.microsoft.com/office/drawing/2014/main" id="{AFC9B5FF-2F21-4D9B-97F1-F0B738E4ACAB}"/>
                </a:ext>
              </a:extLst>
            </p:cNvPr>
            <p:cNvGrpSpPr/>
            <p:nvPr/>
          </p:nvGrpSpPr>
          <p:grpSpPr>
            <a:xfrm>
              <a:off x="7043853" y="486040"/>
              <a:ext cx="4954472" cy="669921"/>
              <a:chOff x="7043853" y="486040"/>
              <a:chExt cx="4954472" cy="669921"/>
            </a:xfrm>
          </p:grpSpPr>
          <p:sp>
            <p:nvSpPr>
              <p:cNvPr id="58" name="Rectangle 57">
                <a:extLst>
                  <a:ext uri="{FF2B5EF4-FFF2-40B4-BE49-F238E27FC236}">
                    <a16:creationId xmlns:a16="http://schemas.microsoft.com/office/drawing/2014/main" id="{5FF75E4E-5CF4-4002-A38E-C5B40F8541BE}"/>
                  </a:ext>
                </a:extLst>
              </p:cNvPr>
              <p:cNvSpPr/>
              <p:nvPr/>
            </p:nvSpPr>
            <p:spPr>
              <a:xfrm>
                <a:off x="7847294" y="724051"/>
                <a:ext cx="4151031" cy="193899"/>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Fully hosted and managed by Microsoft</a:t>
                </a:r>
              </a:p>
            </p:txBody>
          </p:sp>
          <p:grpSp>
            <p:nvGrpSpPr>
              <p:cNvPr id="92" name="Group 91">
                <a:extLst>
                  <a:ext uri="{FF2B5EF4-FFF2-40B4-BE49-F238E27FC236}">
                    <a16:creationId xmlns:a16="http://schemas.microsoft.com/office/drawing/2014/main" id="{D8CB3A3B-DF73-45D3-A850-F88709B9B0EA}"/>
                  </a:ext>
                </a:extLst>
              </p:cNvPr>
              <p:cNvGrpSpPr/>
              <p:nvPr/>
            </p:nvGrpSpPr>
            <p:grpSpPr>
              <a:xfrm>
                <a:off x="7043853" y="486040"/>
                <a:ext cx="669921" cy="669921"/>
                <a:chOff x="7043853" y="486040"/>
                <a:chExt cx="669921" cy="669921"/>
              </a:xfrm>
            </p:grpSpPr>
            <p:sp>
              <p:nvSpPr>
                <p:cNvPr id="61" name="Oval 60">
                  <a:extLst>
                    <a:ext uri="{FF2B5EF4-FFF2-40B4-BE49-F238E27FC236}">
                      <a16:creationId xmlns:a16="http://schemas.microsoft.com/office/drawing/2014/main" id="{99230EE7-4045-4E9A-9AB4-DB702F69CF60}"/>
                    </a:ext>
                  </a:extLst>
                </p:cNvPr>
                <p:cNvSpPr/>
                <p:nvPr/>
              </p:nvSpPr>
              <p:spPr bwMode="auto">
                <a:xfrm>
                  <a:off x="7043853" y="486040"/>
                  <a:ext cx="669921" cy="669921"/>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85" name="Telemarketer_E7B9" title="Icon of a person wearing a headset">
                  <a:extLst>
                    <a:ext uri="{FF2B5EF4-FFF2-40B4-BE49-F238E27FC236}">
                      <a16:creationId xmlns:a16="http://schemas.microsoft.com/office/drawing/2014/main" id="{DB98A226-B62D-42A8-9CA8-99B7DC6522B4}"/>
                    </a:ext>
                  </a:extLst>
                </p:cNvPr>
                <p:cNvSpPr>
                  <a:spLocks noChangeAspect="1" noEditPoints="1"/>
                </p:cNvSpPr>
                <p:nvPr/>
              </p:nvSpPr>
              <p:spPr bwMode="auto">
                <a:xfrm>
                  <a:off x="7244639" y="660980"/>
                  <a:ext cx="268349" cy="320040"/>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grpSp>
      <p:grpSp>
        <p:nvGrpSpPr>
          <p:cNvPr id="108" name="Group 107">
            <a:extLst>
              <a:ext uri="{FF2B5EF4-FFF2-40B4-BE49-F238E27FC236}">
                <a16:creationId xmlns:a16="http://schemas.microsoft.com/office/drawing/2014/main" id="{6779F5E1-988F-4B7F-A745-9D4A87F77485}"/>
              </a:ext>
            </a:extLst>
          </p:cNvPr>
          <p:cNvGrpSpPr/>
          <p:nvPr/>
        </p:nvGrpSpPr>
        <p:grpSpPr>
          <a:xfrm>
            <a:off x="6435818" y="2070222"/>
            <a:ext cx="4990359" cy="784166"/>
            <a:chOff x="7007965" y="2282862"/>
            <a:chExt cx="4990359" cy="784166"/>
          </a:xfrm>
        </p:grpSpPr>
        <p:cxnSp>
          <p:nvCxnSpPr>
            <p:cNvPr id="71" name="Straight Connector 70">
              <a:extLst>
                <a:ext uri="{FF2B5EF4-FFF2-40B4-BE49-F238E27FC236}">
                  <a16:creationId xmlns:a16="http://schemas.microsoft.com/office/drawing/2014/main" id="{6E444D31-DDCF-4484-9A90-FE697FF6807D}"/>
                </a:ext>
              </a:extLst>
            </p:cNvPr>
            <p:cNvCxnSpPr>
              <a:cxnSpLocks/>
            </p:cNvCxnSpPr>
            <p:nvPr/>
          </p:nvCxnSpPr>
          <p:spPr>
            <a:xfrm>
              <a:off x="7007965" y="3067028"/>
              <a:ext cx="4754880" cy="0"/>
            </a:xfrm>
            <a:prstGeom prst="line">
              <a:avLst/>
            </a:prstGeom>
            <a:ln w="9525">
              <a:solidFill>
                <a:schemeClr val="tx2"/>
              </a:solidFill>
              <a:headEnd type="none"/>
              <a:tailEnd type="none"/>
            </a:ln>
          </p:spPr>
          <p:style>
            <a:lnRef idx="2">
              <a:schemeClr val="accent1"/>
            </a:lnRef>
            <a:fillRef idx="0">
              <a:schemeClr val="accent1"/>
            </a:fillRef>
            <a:effectRef idx="1">
              <a:schemeClr val="accent1"/>
            </a:effectRef>
            <a:fontRef idx="minor">
              <a:schemeClr val="tx1"/>
            </a:fontRef>
          </p:style>
        </p:cxnSp>
        <p:grpSp>
          <p:nvGrpSpPr>
            <p:cNvPr id="102" name="Group 101">
              <a:extLst>
                <a:ext uri="{FF2B5EF4-FFF2-40B4-BE49-F238E27FC236}">
                  <a16:creationId xmlns:a16="http://schemas.microsoft.com/office/drawing/2014/main" id="{23A30368-0583-400A-966A-87745D48E31B}"/>
                </a:ext>
              </a:extLst>
            </p:cNvPr>
            <p:cNvGrpSpPr/>
            <p:nvPr/>
          </p:nvGrpSpPr>
          <p:grpSpPr>
            <a:xfrm>
              <a:off x="7041838" y="2282862"/>
              <a:ext cx="4956486" cy="669921"/>
              <a:chOff x="7041838" y="2329930"/>
              <a:chExt cx="4956486" cy="669921"/>
            </a:xfrm>
          </p:grpSpPr>
          <p:sp>
            <p:nvSpPr>
              <p:cNvPr id="70" name="Rectangle 69">
                <a:extLst>
                  <a:ext uri="{FF2B5EF4-FFF2-40B4-BE49-F238E27FC236}">
                    <a16:creationId xmlns:a16="http://schemas.microsoft.com/office/drawing/2014/main" id="{12E24059-B719-44A2-BAD2-5F19D2563EA7}"/>
                  </a:ext>
                </a:extLst>
              </p:cNvPr>
              <p:cNvSpPr/>
              <p:nvPr/>
            </p:nvSpPr>
            <p:spPr>
              <a:xfrm>
                <a:off x="7847293" y="2567941"/>
                <a:ext cx="4151031" cy="193899"/>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Device connectivity and management</a:t>
                </a:r>
              </a:p>
            </p:txBody>
          </p:sp>
          <p:grpSp>
            <p:nvGrpSpPr>
              <p:cNvPr id="90" name="Group 89">
                <a:extLst>
                  <a:ext uri="{FF2B5EF4-FFF2-40B4-BE49-F238E27FC236}">
                    <a16:creationId xmlns:a16="http://schemas.microsoft.com/office/drawing/2014/main" id="{1714EB8B-F08F-4B0D-B000-BC8074A53389}"/>
                  </a:ext>
                </a:extLst>
              </p:cNvPr>
              <p:cNvGrpSpPr/>
              <p:nvPr/>
            </p:nvGrpSpPr>
            <p:grpSpPr>
              <a:xfrm>
                <a:off x="7041838" y="2329930"/>
                <a:ext cx="673270" cy="669921"/>
                <a:chOff x="7041838" y="2329930"/>
                <a:chExt cx="673270" cy="669921"/>
              </a:xfrm>
            </p:grpSpPr>
            <p:sp>
              <p:nvSpPr>
                <p:cNvPr id="73" name="Oval 72">
                  <a:extLst>
                    <a:ext uri="{FF2B5EF4-FFF2-40B4-BE49-F238E27FC236}">
                      <a16:creationId xmlns:a16="http://schemas.microsoft.com/office/drawing/2014/main" id="{38E47B67-3D61-44F9-80B0-C692F83A1736}"/>
                    </a:ext>
                  </a:extLst>
                </p:cNvPr>
                <p:cNvSpPr/>
                <p:nvPr/>
              </p:nvSpPr>
              <p:spPr bwMode="auto">
                <a:xfrm>
                  <a:off x="7041838" y="2329930"/>
                  <a:ext cx="673270" cy="669921"/>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86" name="signal" title="Icon of a communication signal">
                  <a:extLst>
                    <a:ext uri="{FF2B5EF4-FFF2-40B4-BE49-F238E27FC236}">
                      <a16:creationId xmlns:a16="http://schemas.microsoft.com/office/drawing/2014/main" id="{775B5F7C-B706-4306-A4E0-A7ECCA2B3FC3}"/>
                    </a:ext>
                  </a:extLst>
                </p:cNvPr>
                <p:cNvSpPr>
                  <a:spLocks noChangeAspect="1" noEditPoints="1"/>
                </p:cNvSpPr>
                <p:nvPr/>
              </p:nvSpPr>
              <p:spPr bwMode="auto">
                <a:xfrm>
                  <a:off x="7237484" y="2504870"/>
                  <a:ext cx="281978" cy="320040"/>
                </a:xfrm>
                <a:custGeom>
                  <a:avLst/>
                  <a:gdLst>
                    <a:gd name="T0" fmla="*/ 105 w 296"/>
                    <a:gd name="T1" fmla="*/ 225 h 337"/>
                    <a:gd name="T2" fmla="*/ 148 w 296"/>
                    <a:gd name="T3" fmla="*/ 182 h 337"/>
                    <a:gd name="T4" fmla="*/ 190 w 296"/>
                    <a:gd name="T5" fmla="*/ 225 h 337"/>
                    <a:gd name="T6" fmla="*/ 148 w 296"/>
                    <a:gd name="T7" fmla="*/ 267 h 337"/>
                    <a:gd name="T8" fmla="*/ 105 w 296"/>
                    <a:gd name="T9" fmla="*/ 225 h 337"/>
                    <a:gd name="T10" fmla="*/ 148 w 296"/>
                    <a:gd name="T11" fmla="*/ 267 h 337"/>
                    <a:gd name="T12" fmla="*/ 148 w 296"/>
                    <a:gd name="T13" fmla="*/ 337 h 337"/>
                    <a:gd name="T14" fmla="*/ 296 w 296"/>
                    <a:gd name="T15" fmla="*/ 61 h 337"/>
                    <a:gd name="T16" fmla="*/ 148 w 296"/>
                    <a:gd name="T17" fmla="*/ 0 h 337"/>
                    <a:gd name="T18" fmla="*/ 0 w 296"/>
                    <a:gd name="T19" fmla="*/ 62 h 337"/>
                    <a:gd name="T20" fmla="*/ 255 w 296"/>
                    <a:gd name="T21" fmla="*/ 104 h 337"/>
                    <a:gd name="T22" fmla="*/ 149 w 296"/>
                    <a:gd name="T23" fmla="*/ 60 h 337"/>
                    <a:gd name="T24" fmla="*/ 41 w 296"/>
                    <a:gd name="T25" fmla="*/ 105 h 337"/>
                    <a:gd name="T26" fmla="*/ 208 w 296"/>
                    <a:gd name="T27" fmla="*/ 150 h 337"/>
                    <a:gd name="T28" fmla="*/ 148 w 296"/>
                    <a:gd name="T29" fmla="*/ 125 h 337"/>
                    <a:gd name="T30" fmla="*/ 88 w 296"/>
                    <a:gd name="T31" fmla="*/ 14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337">
                      <a:moveTo>
                        <a:pt x="105" y="225"/>
                      </a:moveTo>
                      <a:cubicBezTo>
                        <a:pt x="105" y="201"/>
                        <a:pt x="124" y="182"/>
                        <a:pt x="148" y="182"/>
                      </a:cubicBezTo>
                      <a:cubicBezTo>
                        <a:pt x="171" y="182"/>
                        <a:pt x="190" y="201"/>
                        <a:pt x="190" y="225"/>
                      </a:cubicBezTo>
                      <a:cubicBezTo>
                        <a:pt x="190" y="248"/>
                        <a:pt x="171" y="267"/>
                        <a:pt x="148" y="267"/>
                      </a:cubicBezTo>
                      <a:cubicBezTo>
                        <a:pt x="124" y="267"/>
                        <a:pt x="105" y="248"/>
                        <a:pt x="105" y="225"/>
                      </a:cubicBezTo>
                      <a:close/>
                      <a:moveTo>
                        <a:pt x="148" y="267"/>
                      </a:moveTo>
                      <a:cubicBezTo>
                        <a:pt x="148" y="337"/>
                        <a:pt x="148" y="337"/>
                        <a:pt x="148" y="337"/>
                      </a:cubicBezTo>
                      <a:moveTo>
                        <a:pt x="296" y="61"/>
                      </a:moveTo>
                      <a:cubicBezTo>
                        <a:pt x="258" y="23"/>
                        <a:pt x="206" y="0"/>
                        <a:pt x="148" y="0"/>
                      </a:cubicBezTo>
                      <a:cubicBezTo>
                        <a:pt x="90" y="0"/>
                        <a:pt x="38" y="24"/>
                        <a:pt x="0" y="62"/>
                      </a:cubicBezTo>
                      <a:moveTo>
                        <a:pt x="255" y="104"/>
                      </a:moveTo>
                      <a:cubicBezTo>
                        <a:pt x="228" y="77"/>
                        <a:pt x="190" y="60"/>
                        <a:pt x="149" y="60"/>
                      </a:cubicBezTo>
                      <a:cubicBezTo>
                        <a:pt x="106" y="60"/>
                        <a:pt x="68" y="77"/>
                        <a:pt x="41" y="105"/>
                      </a:cubicBezTo>
                      <a:moveTo>
                        <a:pt x="208" y="150"/>
                      </a:moveTo>
                      <a:cubicBezTo>
                        <a:pt x="192" y="134"/>
                        <a:pt x="171" y="125"/>
                        <a:pt x="148" y="125"/>
                      </a:cubicBezTo>
                      <a:cubicBezTo>
                        <a:pt x="124" y="125"/>
                        <a:pt x="103" y="134"/>
                        <a:pt x="88" y="149"/>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grpSp>
      <p:grpSp>
        <p:nvGrpSpPr>
          <p:cNvPr id="98" name="Group 97">
            <a:extLst>
              <a:ext uri="{FF2B5EF4-FFF2-40B4-BE49-F238E27FC236}">
                <a16:creationId xmlns:a16="http://schemas.microsoft.com/office/drawing/2014/main" id="{1A0DEA21-A683-4BB8-9685-945FF9C1CE88}"/>
              </a:ext>
            </a:extLst>
          </p:cNvPr>
          <p:cNvGrpSpPr/>
          <p:nvPr/>
        </p:nvGrpSpPr>
        <p:grpSpPr>
          <a:xfrm>
            <a:off x="6469691" y="5663868"/>
            <a:ext cx="3748158" cy="669921"/>
            <a:chOff x="7041838" y="5876507"/>
            <a:chExt cx="3748158" cy="669921"/>
          </a:xfrm>
        </p:grpSpPr>
        <p:sp>
          <p:nvSpPr>
            <p:cNvPr id="77" name="Rectangle 76">
              <a:extLst>
                <a:ext uri="{FF2B5EF4-FFF2-40B4-BE49-F238E27FC236}">
                  <a16:creationId xmlns:a16="http://schemas.microsoft.com/office/drawing/2014/main" id="{AD7E3AF8-02CA-415B-A2EF-311126F3EE2A}"/>
                </a:ext>
              </a:extLst>
            </p:cNvPr>
            <p:cNvSpPr/>
            <p:nvPr/>
          </p:nvSpPr>
          <p:spPr>
            <a:xfrm>
              <a:off x="7845279" y="6114518"/>
              <a:ext cx="2944717" cy="193899"/>
            </a:xfrm>
            <a:prstGeom prst="rect">
              <a:avLst/>
            </a:prstGeom>
          </p:spPr>
          <p:txBody>
            <a:bodyPr wrap="non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Risk-free trial with simplified pricing</a:t>
              </a:r>
            </a:p>
          </p:txBody>
        </p:sp>
        <p:grpSp>
          <p:nvGrpSpPr>
            <p:cNvPr id="95" name="Group 94">
              <a:extLst>
                <a:ext uri="{FF2B5EF4-FFF2-40B4-BE49-F238E27FC236}">
                  <a16:creationId xmlns:a16="http://schemas.microsoft.com/office/drawing/2014/main" id="{15DD56AC-1D49-47BD-B204-66189DD53510}"/>
                </a:ext>
              </a:extLst>
            </p:cNvPr>
            <p:cNvGrpSpPr/>
            <p:nvPr/>
          </p:nvGrpSpPr>
          <p:grpSpPr>
            <a:xfrm>
              <a:off x="7041838" y="5876507"/>
              <a:ext cx="669921" cy="669921"/>
              <a:chOff x="7041838" y="5876507"/>
              <a:chExt cx="669921" cy="669921"/>
            </a:xfrm>
          </p:grpSpPr>
          <p:sp>
            <p:nvSpPr>
              <p:cNvPr id="79" name="Oval 78">
                <a:extLst>
                  <a:ext uri="{FF2B5EF4-FFF2-40B4-BE49-F238E27FC236}">
                    <a16:creationId xmlns:a16="http://schemas.microsoft.com/office/drawing/2014/main" id="{68F82817-6FD2-4EED-B08E-767E56F1AD42}"/>
                  </a:ext>
                </a:extLst>
              </p:cNvPr>
              <p:cNvSpPr/>
              <p:nvPr/>
            </p:nvSpPr>
            <p:spPr bwMode="auto">
              <a:xfrm>
                <a:off x="7041838" y="5876507"/>
                <a:ext cx="669921" cy="669921"/>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87" name="star_2" title="Icon of a person inside a star shape">
                <a:extLst>
                  <a:ext uri="{FF2B5EF4-FFF2-40B4-BE49-F238E27FC236}">
                    <a16:creationId xmlns:a16="http://schemas.microsoft.com/office/drawing/2014/main" id="{57152729-05BB-41E3-8F7D-E8C695334B9C}"/>
                  </a:ext>
                </a:extLst>
              </p:cNvPr>
              <p:cNvSpPr>
                <a:spLocks noChangeAspect="1" noEditPoints="1"/>
              </p:cNvSpPr>
              <p:nvPr/>
            </p:nvSpPr>
            <p:spPr bwMode="auto">
              <a:xfrm>
                <a:off x="7183419" y="6028587"/>
                <a:ext cx="386759" cy="365760"/>
              </a:xfrm>
              <a:custGeom>
                <a:avLst/>
                <a:gdLst>
                  <a:gd name="T0" fmla="*/ 104 w 304"/>
                  <a:gd name="T1" fmla="*/ 95 h 288"/>
                  <a:gd name="T2" fmla="*/ 154 w 304"/>
                  <a:gd name="T3" fmla="*/ 0 h 288"/>
                  <a:gd name="T4" fmla="*/ 203 w 304"/>
                  <a:gd name="T5" fmla="*/ 95 h 288"/>
                  <a:gd name="T6" fmla="*/ 304 w 304"/>
                  <a:gd name="T7" fmla="*/ 110 h 288"/>
                  <a:gd name="T8" fmla="*/ 232 w 304"/>
                  <a:gd name="T9" fmla="*/ 185 h 288"/>
                  <a:gd name="T10" fmla="*/ 248 w 304"/>
                  <a:gd name="T11" fmla="*/ 287 h 288"/>
                  <a:gd name="T12" fmla="*/ 154 w 304"/>
                  <a:gd name="T13" fmla="*/ 244 h 288"/>
                  <a:gd name="T14" fmla="*/ 59 w 304"/>
                  <a:gd name="T15" fmla="*/ 288 h 288"/>
                  <a:gd name="T16" fmla="*/ 74 w 304"/>
                  <a:gd name="T17" fmla="*/ 186 h 288"/>
                  <a:gd name="T18" fmla="*/ 0 w 304"/>
                  <a:gd name="T19" fmla="*/ 109 h 288"/>
                  <a:gd name="T20" fmla="*/ 104 w 304"/>
                  <a:gd name="T21" fmla="*/ 95 h 288"/>
                  <a:gd name="T22" fmla="*/ 152 w 304"/>
                  <a:gd name="T23" fmla="*/ 177 h 288"/>
                  <a:gd name="T24" fmla="*/ 186 w 304"/>
                  <a:gd name="T25" fmla="*/ 144 h 288"/>
                  <a:gd name="T26" fmla="*/ 152 w 304"/>
                  <a:gd name="T27" fmla="*/ 110 h 288"/>
                  <a:gd name="T28" fmla="*/ 119 w 304"/>
                  <a:gd name="T29" fmla="*/ 144 h 288"/>
                  <a:gd name="T30" fmla="*/ 152 w 304"/>
                  <a:gd name="T31" fmla="*/ 177 h 288"/>
                  <a:gd name="T32" fmla="*/ 205 w 304"/>
                  <a:gd name="T33" fmla="*/ 230 h 288"/>
                  <a:gd name="T34" fmla="*/ 153 w 304"/>
                  <a:gd name="T35" fmla="*/ 178 h 288"/>
                  <a:gd name="T36" fmla="*/ 101 w 304"/>
                  <a:gd name="T37" fmla="*/ 23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4" h="288">
                    <a:moveTo>
                      <a:pt x="104" y="95"/>
                    </a:moveTo>
                    <a:cubicBezTo>
                      <a:pt x="154" y="0"/>
                      <a:pt x="154" y="0"/>
                      <a:pt x="154" y="0"/>
                    </a:cubicBezTo>
                    <a:cubicBezTo>
                      <a:pt x="203" y="95"/>
                      <a:pt x="203" y="95"/>
                      <a:pt x="203" y="95"/>
                    </a:cubicBezTo>
                    <a:cubicBezTo>
                      <a:pt x="304" y="110"/>
                      <a:pt x="304" y="110"/>
                      <a:pt x="304" y="110"/>
                    </a:cubicBezTo>
                    <a:cubicBezTo>
                      <a:pt x="232" y="185"/>
                      <a:pt x="232" y="185"/>
                      <a:pt x="232" y="185"/>
                    </a:cubicBezTo>
                    <a:cubicBezTo>
                      <a:pt x="248" y="287"/>
                      <a:pt x="248" y="287"/>
                      <a:pt x="248" y="287"/>
                    </a:cubicBezTo>
                    <a:cubicBezTo>
                      <a:pt x="154" y="244"/>
                      <a:pt x="154" y="244"/>
                      <a:pt x="154" y="244"/>
                    </a:cubicBezTo>
                    <a:cubicBezTo>
                      <a:pt x="59" y="288"/>
                      <a:pt x="59" y="288"/>
                      <a:pt x="59" y="288"/>
                    </a:cubicBezTo>
                    <a:cubicBezTo>
                      <a:pt x="74" y="186"/>
                      <a:pt x="74" y="186"/>
                      <a:pt x="74" y="186"/>
                    </a:cubicBezTo>
                    <a:cubicBezTo>
                      <a:pt x="0" y="109"/>
                      <a:pt x="0" y="109"/>
                      <a:pt x="0" y="109"/>
                    </a:cubicBezTo>
                    <a:lnTo>
                      <a:pt x="104" y="95"/>
                    </a:lnTo>
                    <a:close/>
                    <a:moveTo>
                      <a:pt x="152" y="177"/>
                    </a:moveTo>
                    <a:cubicBezTo>
                      <a:pt x="171" y="177"/>
                      <a:pt x="186" y="162"/>
                      <a:pt x="186" y="144"/>
                    </a:cubicBezTo>
                    <a:cubicBezTo>
                      <a:pt x="186" y="125"/>
                      <a:pt x="171" y="110"/>
                      <a:pt x="152" y="110"/>
                    </a:cubicBezTo>
                    <a:cubicBezTo>
                      <a:pt x="134" y="110"/>
                      <a:pt x="119" y="125"/>
                      <a:pt x="119" y="144"/>
                    </a:cubicBezTo>
                    <a:cubicBezTo>
                      <a:pt x="119" y="162"/>
                      <a:pt x="134" y="177"/>
                      <a:pt x="152" y="177"/>
                    </a:cubicBezTo>
                    <a:close/>
                    <a:moveTo>
                      <a:pt x="205" y="230"/>
                    </a:moveTo>
                    <a:cubicBezTo>
                      <a:pt x="205" y="201"/>
                      <a:pt x="182" y="178"/>
                      <a:pt x="153" y="178"/>
                    </a:cubicBezTo>
                    <a:cubicBezTo>
                      <a:pt x="125" y="178"/>
                      <a:pt x="101" y="201"/>
                      <a:pt x="101" y="230"/>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grpSp>
        <p:nvGrpSpPr>
          <p:cNvPr id="107" name="Group 106">
            <a:extLst>
              <a:ext uri="{FF2B5EF4-FFF2-40B4-BE49-F238E27FC236}">
                <a16:creationId xmlns:a16="http://schemas.microsoft.com/office/drawing/2014/main" id="{1DF57EA8-1AD2-46E3-B54E-82EA957FA30C}"/>
              </a:ext>
            </a:extLst>
          </p:cNvPr>
          <p:cNvGrpSpPr/>
          <p:nvPr/>
        </p:nvGrpSpPr>
        <p:grpSpPr>
          <a:xfrm>
            <a:off x="6435817" y="1171811"/>
            <a:ext cx="4990360" cy="784166"/>
            <a:chOff x="7007965" y="1384451"/>
            <a:chExt cx="4990360" cy="784166"/>
          </a:xfrm>
        </p:grpSpPr>
        <p:cxnSp>
          <p:nvCxnSpPr>
            <p:cNvPr id="65" name="Straight Connector 64">
              <a:extLst>
                <a:ext uri="{FF2B5EF4-FFF2-40B4-BE49-F238E27FC236}">
                  <a16:creationId xmlns:a16="http://schemas.microsoft.com/office/drawing/2014/main" id="{36DEE835-B7FF-4FC1-BAFB-6D8C9D552A2F}"/>
                </a:ext>
              </a:extLst>
            </p:cNvPr>
            <p:cNvCxnSpPr>
              <a:cxnSpLocks/>
            </p:cNvCxnSpPr>
            <p:nvPr/>
          </p:nvCxnSpPr>
          <p:spPr>
            <a:xfrm>
              <a:off x="7007965" y="2168617"/>
              <a:ext cx="4754880" cy="0"/>
            </a:xfrm>
            <a:prstGeom prst="line">
              <a:avLst/>
            </a:prstGeom>
            <a:ln w="9525">
              <a:solidFill>
                <a:schemeClr val="tx2"/>
              </a:solidFill>
              <a:headEnd type="none"/>
              <a:tailEnd type="none"/>
            </a:ln>
          </p:spPr>
          <p:style>
            <a:lnRef idx="2">
              <a:schemeClr val="accent1"/>
            </a:lnRef>
            <a:fillRef idx="0">
              <a:schemeClr val="accent1"/>
            </a:fillRef>
            <a:effectRef idx="1">
              <a:schemeClr val="accent1"/>
            </a:effectRef>
            <a:fontRef idx="minor">
              <a:schemeClr val="tx1"/>
            </a:fontRef>
          </p:style>
        </p:cxnSp>
        <p:grpSp>
          <p:nvGrpSpPr>
            <p:cNvPr id="103" name="Group 102">
              <a:extLst>
                <a:ext uri="{FF2B5EF4-FFF2-40B4-BE49-F238E27FC236}">
                  <a16:creationId xmlns:a16="http://schemas.microsoft.com/office/drawing/2014/main" id="{E5B79FBA-4310-43C4-9C95-6F0083AD680D}"/>
                </a:ext>
              </a:extLst>
            </p:cNvPr>
            <p:cNvGrpSpPr/>
            <p:nvPr/>
          </p:nvGrpSpPr>
          <p:grpSpPr>
            <a:xfrm>
              <a:off x="7043853" y="1384451"/>
              <a:ext cx="4954472" cy="669921"/>
              <a:chOff x="7043853" y="1407985"/>
              <a:chExt cx="4954472" cy="669921"/>
            </a:xfrm>
          </p:grpSpPr>
          <p:sp>
            <p:nvSpPr>
              <p:cNvPr id="64" name="Rectangle 63">
                <a:extLst>
                  <a:ext uri="{FF2B5EF4-FFF2-40B4-BE49-F238E27FC236}">
                    <a16:creationId xmlns:a16="http://schemas.microsoft.com/office/drawing/2014/main" id="{B3A8E9BB-653A-4E5E-BA0B-E18243BE1D3C}"/>
                  </a:ext>
                </a:extLst>
              </p:cNvPr>
              <p:cNvSpPr/>
              <p:nvPr/>
            </p:nvSpPr>
            <p:spPr>
              <a:xfrm>
                <a:off x="7847294" y="1645996"/>
                <a:ext cx="4151031" cy="193899"/>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No cloud development expertise required </a:t>
                </a:r>
              </a:p>
            </p:txBody>
          </p:sp>
          <p:grpSp>
            <p:nvGrpSpPr>
              <p:cNvPr id="91" name="Group 90">
                <a:extLst>
                  <a:ext uri="{FF2B5EF4-FFF2-40B4-BE49-F238E27FC236}">
                    <a16:creationId xmlns:a16="http://schemas.microsoft.com/office/drawing/2014/main" id="{ABE91D2D-E55F-495A-948C-792A447CDDA1}"/>
                  </a:ext>
                </a:extLst>
              </p:cNvPr>
              <p:cNvGrpSpPr/>
              <p:nvPr/>
            </p:nvGrpSpPr>
            <p:grpSpPr>
              <a:xfrm>
                <a:off x="7043853" y="1407985"/>
                <a:ext cx="669921" cy="669921"/>
                <a:chOff x="7043853" y="1407985"/>
                <a:chExt cx="669921" cy="669921"/>
              </a:xfrm>
            </p:grpSpPr>
            <p:sp>
              <p:nvSpPr>
                <p:cNvPr id="67" name="Oval 66">
                  <a:extLst>
                    <a:ext uri="{FF2B5EF4-FFF2-40B4-BE49-F238E27FC236}">
                      <a16:creationId xmlns:a16="http://schemas.microsoft.com/office/drawing/2014/main" id="{8CA3191F-83BF-4FBF-BAA1-A3435596A083}"/>
                    </a:ext>
                  </a:extLst>
                </p:cNvPr>
                <p:cNvSpPr/>
                <p:nvPr/>
              </p:nvSpPr>
              <p:spPr bwMode="auto">
                <a:xfrm>
                  <a:off x="7043853" y="1407985"/>
                  <a:ext cx="669921" cy="669921"/>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88" name="check 3" title="Icon of a checkmark with a circle around it">
                  <a:extLst>
                    <a:ext uri="{FF2B5EF4-FFF2-40B4-BE49-F238E27FC236}">
                      <a16:creationId xmlns:a16="http://schemas.microsoft.com/office/drawing/2014/main" id="{69BD9BBB-5D40-451E-9015-45C3AA79EA08}"/>
                    </a:ext>
                  </a:extLst>
                </p:cNvPr>
                <p:cNvSpPr>
                  <a:spLocks noChangeAspect="1" noEditPoints="1"/>
                </p:cNvSpPr>
                <p:nvPr/>
              </p:nvSpPr>
              <p:spPr bwMode="auto">
                <a:xfrm>
                  <a:off x="7217860" y="1582925"/>
                  <a:ext cx="321906" cy="32004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grpSp>
      <p:grpSp>
        <p:nvGrpSpPr>
          <p:cNvPr id="52" name="Group 51">
            <a:extLst>
              <a:ext uri="{FF2B5EF4-FFF2-40B4-BE49-F238E27FC236}">
                <a16:creationId xmlns:a16="http://schemas.microsoft.com/office/drawing/2014/main" id="{98EEE57F-4A4C-49D2-A598-E53749C2F760}"/>
              </a:ext>
            </a:extLst>
          </p:cNvPr>
          <p:cNvGrpSpPr/>
          <p:nvPr/>
        </p:nvGrpSpPr>
        <p:grpSpPr>
          <a:xfrm>
            <a:off x="-236938" y="0"/>
            <a:ext cx="2829962" cy="2441199"/>
            <a:chOff x="-72861" y="0"/>
            <a:chExt cx="2073111" cy="1838325"/>
          </a:xfrm>
        </p:grpSpPr>
        <p:sp>
          <p:nvSpPr>
            <p:cNvPr id="54" name="Diagonal Stripe 53">
              <a:extLst>
                <a:ext uri="{FF2B5EF4-FFF2-40B4-BE49-F238E27FC236}">
                  <a16:creationId xmlns:a16="http://schemas.microsoft.com/office/drawing/2014/main" id="{C9DEE46D-C4CE-4413-ABFD-49CC25372764}"/>
                </a:ext>
              </a:extLst>
            </p:cNvPr>
            <p:cNvSpPr/>
            <p:nvPr/>
          </p:nvSpPr>
          <p:spPr bwMode="auto">
            <a:xfrm>
              <a:off x="0" y="0"/>
              <a:ext cx="2000250" cy="1838325"/>
            </a:xfrm>
            <a:prstGeom prst="diagStripe">
              <a:avLst>
                <a:gd name="adj" fmla="val 62953"/>
              </a:avLst>
            </a:prstGeom>
            <a:solidFill>
              <a:srgbClr val="C00000"/>
            </a:solidFill>
            <a:ln>
              <a:noFill/>
            </a:ln>
          </p:spPr>
          <p:style>
            <a:lnRef idx="0">
              <a:scrgbClr r="0" g="0" b="0"/>
            </a:lnRef>
            <a:fillRef idx="0">
              <a:scrgbClr r="0" g="0" b="0"/>
            </a:fillRef>
            <a:effectRef idx="0">
              <a:scrgbClr r="0" g="0" b="0"/>
            </a:effectRef>
            <a:fontRef idx="minor">
              <a:schemeClr val="lt1"/>
            </a:fontRef>
          </p:style>
          <p:txBody>
            <a:bodyPr vert="horz" wrap="square" lIns="0" tIns="46637" rIns="0" bIns="46637"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a:ea typeface="+mn-ea"/>
                <a:cs typeface="+mn-cs"/>
              </a:endParaRPr>
            </a:p>
          </p:txBody>
        </p:sp>
        <p:sp>
          <p:nvSpPr>
            <p:cNvPr id="56" name="Rectangle 55">
              <a:extLst>
                <a:ext uri="{FF2B5EF4-FFF2-40B4-BE49-F238E27FC236}">
                  <a16:creationId xmlns:a16="http://schemas.microsoft.com/office/drawing/2014/main" id="{AEF03132-5F41-4761-A5D9-2858096C33A9}"/>
                </a:ext>
              </a:extLst>
            </p:cNvPr>
            <p:cNvSpPr/>
            <p:nvPr/>
          </p:nvSpPr>
          <p:spPr>
            <a:xfrm rot="19074741">
              <a:off x="-72861" y="577088"/>
              <a:ext cx="1801083" cy="301300"/>
            </a:xfrm>
            <a:prstGeom prst="rect">
              <a:avLst/>
            </a:prstGeom>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Segoe UI"/>
                  <a:ea typeface="+mn-ea"/>
                  <a:cs typeface="Segoe UI Semibold" panose="020B0702040204020203" pitchFamily="34" charset="0"/>
                </a:rPr>
                <a:t>Generally available</a:t>
              </a:r>
            </a:p>
          </p:txBody>
        </p:sp>
      </p:grpSp>
      <p:sp>
        <p:nvSpPr>
          <p:cNvPr id="57" name="Rectangle 56">
            <a:extLst>
              <a:ext uri="{FF2B5EF4-FFF2-40B4-BE49-F238E27FC236}">
                <a16:creationId xmlns:a16="http://schemas.microsoft.com/office/drawing/2014/main" id="{39EEF6E6-7B0F-40C3-94C3-C69D2132FC21}"/>
              </a:ext>
            </a:extLst>
          </p:cNvPr>
          <p:cNvSpPr/>
          <p:nvPr/>
        </p:nvSpPr>
        <p:spPr>
          <a:xfrm>
            <a:off x="6096000" y="6330483"/>
            <a:ext cx="5510783" cy="230832"/>
          </a:xfrm>
          <a:prstGeom prst="rect">
            <a:avLst/>
          </a:prstGeom>
        </p:spPr>
        <p:txBody>
          <a:bodyPr wrap="square" lIns="0" rIns="0" bIns="0" anchor="b" anchorCtr="0">
            <a:spAutoFit/>
          </a:bodyPr>
          <a:lstStyle/>
          <a:p>
            <a:pPr marL="0" marR="0" lvl="0" indent="0" algn="r" defTabSz="931969" rtl="0" eaLnBrk="1" fontAlgn="base" latinLnBrk="0" hangingPunct="1">
              <a:lnSpc>
                <a:spcPct val="100000"/>
              </a:lnSpc>
              <a:spcBef>
                <a:spcPct val="0"/>
              </a:spcBef>
              <a:spcAft>
                <a:spcPts val="1200"/>
              </a:spcAft>
              <a:buClrTx/>
              <a:buSzTx/>
              <a:buFontTx/>
              <a:buNone/>
              <a:tabLst/>
              <a:defRPr/>
            </a:pPr>
            <a:r>
              <a:rPr kumimoji="0" lang="en-US" sz="1200" b="0" i="0" u="none" strike="noStrike" kern="1200" cap="none" spc="0" normalizeH="0" baseline="0" noProof="0">
                <a:ln w="3175">
                  <a:noFill/>
                </a:ln>
                <a:gradFill>
                  <a:gsLst>
                    <a:gs pos="41204">
                      <a:srgbClr val="FFFFFF">
                        <a:lumMod val="50000"/>
                      </a:srgbClr>
                    </a:gs>
                    <a:gs pos="59000">
                      <a:srgbClr val="FFFFFF">
                        <a:lumMod val="50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Try today:: </a:t>
            </a:r>
            <a:r>
              <a:rPr kumimoji="0" lang="en-US" sz="1200" b="0" i="0" u="none" strike="noStrike" kern="1200" cap="none" spc="0" normalizeH="0" baseline="0" noProof="0">
                <a:ln w="3175">
                  <a:noFill/>
                </a:ln>
                <a:gradFill>
                  <a:gsLst>
                    <a:gs pos="41204">
                      <a:srgbClr val="FFFFFF">
                        <a:lumMod val="50000"/>
                      </a:srgbClr>
                    </a:gs>
                    <a:gs pos="59000">
                      <a:srgbClr val="FFFFFF">
                        <a:lumMod val="50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hlinkClick r:id="rId4">
                  <a:extLst>
                    <a:ext uri="{A12FA001-AC4F-418D-AE19-62706E023703}">
                      <ahyp:hlinkClr xmlns:ahyp="http://schemas.microsoft.com/office/drawing/2018/hyperlinkcolor" val="tx"/>
                    </a:ext>
                  </a:extLst>
                </a:hlinkClick>
              </a:rPr>
              <a:t>http://azureiotcentral.com</a:t>
            </a:r>
            <a:r>
              <a:rPr kumimoji="0" lang="en-US" sz="1200" b="0" i="0" u="none" strike="noStrike" kern="1200" cap="none" spc="0" normalizeH="0" baseline="0" noProof="0">
                <a:ln w="3175">
                  <a:noFill/>
                </a:ln>
                <a:gradFill>
                  <a:gsLst>
                    <a:gs pos="41204">
                      <a:srgbClr val="FFFFFF">
                        <a:lumMod val="50000"/>
                      </a:srgbClr>
                    </a:gs>
                    <a:gs pos="59000">
                      <a:srgbClr val="FFFFFF">
                        <a:lumMod val="50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a:t>
            </a:r>
          </a:p>
        </p:txBody>
      </p:sp>
    </p:spTree>
    <p:extLst>
      <p:ext uri="{BB962C8B-B14F-4D97-AF65-F5344CB8AC3E}">
        <p14:creationId xmlns:p14="http://schemas.microsoft.com/office/powerpoint/2010/main" val="676420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0-#ppt_w/2"/>
                                          </p:val>
                                        </p:tav>
                                        <p:tav tm="100000">
                                          <p:val>
                                            <p:strVal val="#ppt_x"/>
                                          </p:val>
                                        </p:tav>
                                      </p:tavLst>
                                    </p:anim>
                                    <p:anim calcmode="lin" valueType="num">
                                      <p:cBhvr additive="base">
                                        <p:cTn id="8" dur="75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750" fill="hold"/>
                                        <p:tgtEl>
                                          <p:spTgt spid="4"/>
                                        </p:tgtEl>
                                        <p:attrNameLst>
                                          <p:attrName>ppt_x</p:attrName>
                                        </p:attrNameLst>
                                      </p:cBhvr>
                                      <p:tavLst>
                                        <p:tav tm="0">
                                          <p:val>
                                            <p:strVal val="0-#ppt_w/2"/>
                                          </p:val>
                                        </p:tav>
                                        <p:tav tm="100000">
                                          <p:val>
                                            <p:strVal val="#ppt_x"/>
                                          </p:val>
                                        </p:tav>
                                      </p:tavLst>
                                    </p:anim>
                                    <p:anim calcmode="lin" valueType="num">
                                      <p:cBhvr additive="base">
                                        <p:cTn id="12" dur="75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750" fill="hold"/>
                                        <p:tgtEl>
                                          <p:spTgt spid="3"/>
                                        </p:tgtEl>
                                        <p:attrNameLst>
                                          <p:attrName>ppt_x</p:attrName>
                                        </p:attrNameLst>
                                      </p:cBhvr>
                                      <p:tavLst>
                                        <p:tav tm="0">
                                          <p:val>
                                            <p:strVal val="0-#ppt_w/2"/>
                                          </p:val>
                                        </p:tav>
                                        <p:tav tm="100000">
                                          <p:val>
                                            <p:strVal val="#ppt_x"/>
                                          </p:val>
                                        </p:tav>
                                      </p:tavLst>
                                    </p:anim>
                                    <p:anim calcmode="lin" valueType="num">
                                      <p:cBhvr additive="base">
                                        <p:cTn id="16" dur="750" fill="hold"/>
                                        <p:tgtEl>
                                          <p:spTgt spid="3"/>
                                        </p:tgtEl>
                                        <p:attrNameLst>
                                          <p:attrName>ppt_y</p:attrName>
                                        </p:attrNameLst>
                                      </p:cBhvr>
                                      <p:tavLst>
                                        <p:tav tm="0">
                                          <p:val>
                                            <p:strVal val="#ppt_y"/>
                                          </p:val>
                                        </p:tav>
                                        <p:tav tm="100000">
                                          <p:val>
                                            <p:strVal val="#ppt_y"/>
                                          </p:val>
                                        </p:tav>
                                      </p:tavLst>
                                    </p:anim>
                                  </p:childTnLst>
                                </p:cTn>
                              </p:par>
                              <p:par>
                                <p:cTn id="17" presetID="10" presetClass="entr" presetSubtype="0" fill="hold" nodeType="withEffect">
                                  <p:stCondLst>
                                    <p:cond delay="500"/>
                                  </p:stCondLst>
                                  <p:childTnLst>
                                    <p:set>
                                      <p:cBhvr>
                                        <p:cTn id="18" dur="1" fill="hold">
                                          <p:stCondLst>
                                            <p:cond delay="0"/>
                                          </p:stCondLst>
                                        </p:cTn>
                                        <p:tgtEl>
                                          <p:spTgt spid="52"/>
                                        </p:tgtEl>
                                        <p:attrNameLst>
                                          <p:attrName>style.visibility</p:attrName>
                                        </p:attrNameLst>
                                      </p:cBhvr>
                                      <p:to>
                                        <p:strVal val="visible"/>
                                      </p:to>
                                    </p:set>
                                    <p:animEffect transition="in" filter="fade">
                                      <p:cBhvr>
                                        <p:cTn id="19" dur="750"/>
                                        <p:tgtEl>
                                          <p:spTgt spid="52"/>
                                        </p:tgtEl>
                                      </p:cBhvr>
                                    </p:animEffect>
                                  </p:childTnLst>
                                </p:cTn>
                              </p:par>
                              <p:par>
                                <p:cTn id="20" presetID="64" presetClass="path" presetSubtype="0" decel="100000" fill="hold" nodeType="withEffect">
                                  <p:stCondLst>
                                    <p:cond delay="500"/>
                                  </p:stCondLst>
                                  <p:childTnLst>
                                    <p:animMotion origin="layout" path="M -4.58333E-6 7.40741E-7 L -0.10117 -0.17801 " pathEditMode="relative" rAng="0" ptsTypes="AA">
                                      <p:cBhvr>
                                        <p:cTn id="21" dur="750" spd="-100000" fill="hold"/>
                                        <p:tgtEl>
                                          <p:spTgt spid="52"/>
                                        </p:tgtEl>
                                        <p:attrNameLst>
                                          <p:attrName>ppt_x</p:attrName>
                                          <p:attrName>ppt_y</p:attrName>
                                        </p:attrNameLst>
                                      </p:cBhvr>
                                      <p:rCtr x="-5065" y="-8912"/>
                                    </p:animMotion>
                                  </p:childTnLst>
                                </p:cTn>
                              </p:par>
                            </p:childTnLst>
                          </p:cTn>
                        </p:par>
                        <p:par>
                          <p:cTn id="22" fill="hold">
                            <p:stCondLst>
                              <p:cond delay="1250"/>
                            </p:stCondLst>
                            <p:childTnLst>
                              <p:par>
                                <p:cTn id="23" presetID="10" presetClass="entr" presetSubtype="0" fill="hold" nodeType="afterEffect">
                                  <p:stCondLst>
                                    <p:cond delay="0"/>
                                  </p:stCondLst>
                                  <p:childTnLst>
                                    <p:set>
                                      <p:cBhvr>
                                        <p:cTn id="24" dur="1" fill="hold">
                                          <p:stCondLst>
                                            <p:cond delay="0"/>
                                          </p:stCondLst>
                                        </p:cTn>
                                        <p:tgtEl>
                                          <p:spTgt spid="106"/>
                                        </p:tgtEl>
                                        <p:attrNameLst>
                                          <p:attrName>style.visibility</p:attrName>
                                        </p:attrNameLst>
                                      </p:cBhvr>
                                      <p:to>
                                        <p:strVal val="visible"/>
                                      </p:to>
                                    </p:set>
                                    <p:animEffect transition="in" filter="fade">
                                      <p:cBhvr>
                                        <p:cTn id="25" dur="650"/>
                                        <p:tgtEl>
                                          <p:spTgt spid="106"/>
                                        </p:tgtEl>
                                      </p:cBhvr>
                                    </p:animEffect>
                                  </p:childTnLst>
                                </p:cTn>
                              </p:par>
                              <p:par>
                                <p:cTn id="26" presetID="63" presetClass="path" presetSubtype="0" accel="50000" decel="50000" fill="hold" nodeType="withEffect">
                                  <p:stCondLst>
                                    <p:cond delay="0"/>
                                  </p:stCondLst>
                                  <p:childTnLst>
                                    <p:animMotion origin="layout" path="M -2.08333E-6 -7.40741E-7 L 0.01472 -7.40741E-7 " pathEditMode="relative" rAng="0" ptsTypes="AA">
                                      <p:cBhvr>
                                        <p:cTn id="27" dur="650" spd="-100000" fill="hold"/>
                                        <p:tgtEl>
                                          <p:spTgt spid="106"/>
                                        </p:tgtEl>
                                        <p:attrNameLst>
                                          <p:attrName>ppt_x</p:attrName>
                                          <p:attrName>ppt_y</p:attrName>
                                        </p:attrNameLst>
                                      </p:cBhvr>
                                      <p:rCtr x="729" y="0"/>
                                    </p:animMotion>
                                  </p:childTnLst>
                                </p:cTn>
                              </p:par>
                              <p:par>
                                <p:cTn id="28" presetID="10" presetClass="entr" presetSubtype="0" fill="hold" nodeType="withEffect">
                                  <p:stCondLst>
                                    <p:cond delay="200"/>
                                  </p:stCondLst>
                                  <p:childTnLst>
                                    <p:set>
                                      <p:cBhvr>
                                        <p:cTn id="29" dur="1" fill="hold">
                                          <p:stCondLst>
                                            <p:cond delay="0"/>
                                          </p:stCondLst>
                                        </p:cTn>
                                        <p:tgtEl>
                                          <p:spTgt spid="107"/>
                                        </p:tgtEl>
                                        <p:attrNameLst>
                                          <p:attrName>style.visibility</p:attrName>
                                        </p:attrNameLst>
                                      </p:cBhvr>
                                      <p:to>
                                        <p:strVal val="visible"/>
                                      </p:to>
                                    </p:set>
                                    <p:animEffect transition="in" filter="fade">
                                      <p:cBhvr>
                                        <p:cTn id="30" dur="650"/>
                                        <p:tgtEl>
                                          <p:spTgt spid="107"/>
                                        </p:tgtEl>
                                      </p:cBhvr>
                                    </p:animEffect>
                                  </p:childTnLst>
                                </p:cTn>
                              </p:par>
                              <p:par>
                                <p:cTn id="31" presetID="63" presetClass="path" presetSubtype="0" accel="50000" decel="50000" fill="hold" nodeType="withEffect">
                                  <p:stCondLst>
                                    <p:cond delay="200"/>
                                  </p:stCondLst>
                                  <p:childTnLst>
                                    <p:animMotion origin="layout" path="M -2.08333E-6 7.40741E-7 L 0.01472 7.40741E-7 " pathEditMode="relative" rAng="0" ptsTypes="AA">
                                      <p:cBhvr>
                                        <p:cTn id="32" dur="650" spd="-100000" fill="hold"/>
                                        <p:tgtEl>
                                          <p:spTgt spid="107"/>
                                        </p:tgtEl>
                                        <p:attrNameLst>
                                          <p:attrName>ppt_x</p:attrName>
                                          <p:attrName>ppt_y</p:attrName>
                                        </p:attrNameLst>
                                      </p:cBhvr>
                                      <p:rCtr x="729" y="0"/>
                                    </p:animMotion>
                                  </p:childTnLst>
                                </p:cTn>
                              </p:par>
                              <p:par>
                                <p:cTn id="33" presetID="10" presetClass="entr" presetSubtype="0" fill="hold" nodeType="withEffect">
                                  <p:stCondLst>
                                    <p:cond delay="300"/>
                                  </p:stCondLst>
                                  <p:childTnLst>
                                    <p:set>
                                      <p:cBhvr>
                                        <p:cTn id="34" dur="1" fill="hold">
                                          <p:stCondLst>
                                            <p:cond delay="0"/>
                                          </p:stCondLst>
                                        </p:cTn>
                                        <p:tgtEl>
                                          <p:spTgt spid="108"/>
                                        </p:tgtEl>
                                        <p:attrNameLst>
                                          <p:attrName>style.visibility</p:attrName>
                                        </p:attrNameLst>
                                      </p:cBhvr>
                                      <p:to>
                                        <p:strVal val="visible"/>
                                      </p:to>
                                    </p:set>
                                    <p:animEffect transition="in" filter="fade">
                                      <p:cBhvr>
                                        <p:cTn id="35" dur="650"/>
                                        <p:tgtEl>
                                          <p:spTgt spid="108"/>
                                        </p:tgtEl>
                                      </p:cBhvr>
                                    </p:animEffect>
                                  </p:childTnLst>
                                </p:cTn>
                              </p:par>
                              <p:par>
                                <p:cTn id="36" presetID="63" presetClass="path" presetSubtype="0" accel="50000" decel="50000" fill="hold" nodeType="withEffect">
                                  <p:stCondLst>
                                    <p:cond delay="300"/>
                                  </p:stCondLst>
                                  <p:childTnLst>
                                    <p:animMotion origin="layout" path="M -2.08333E-6 2.22222E-6 L 0.01472 2.22222E-6 " pathEditMode="relative" rAng="0" ptsTypes="AA">
                                      <p:cBhvr>
                                        <p:cTn id="37" dur="650" spd="-100000" fill="hold"/>
                                        <p:tgtEl>
                                          <p:spTgt spid="108"/>
                                        </p:tgtEl>
                                        <p:attrNameLst>
                                          <p:attrName>ppt_x</p:attrName>
                                          <p:attrName>ppt_y</p:attrName>
                                        </p:attrNameLst>
                                      </p:cBhvr>
                                      <p:rCtr x="729" y="0"/>
                                    </p:animMotion>
                                  </p:childTnLst>
                                </p:cTn>
                              </p:par>
                              <p:par>
                                <p:cTn id="38" presetID="10" presetClass="entr" presetSubtype="0" fill="hold" nodeType="withEffect">
                                  <p:stCondLst>
                                    <p:cond delay="400"/>
                                  </p:stCondLst>
                                  <p:childTnLst>
                                    <p:set>
                                      <p:cBhvr>
                                        <p:cTn id="39" dur="1" fill="hold">
                                          <p:stCondLst>
                                            <p:cond delay="0"/>
                                          </p:stCondLst>
                                        </p:cTn>
                                        <p:tgtEl>
                                          <p:spTgt spid="109"/>
                                        </p:tgtEl>
                                        <p:attrNameLst>
                                          <p:attrName>style.visibility</p:attrName>
                                        </p:attrNameLst>
                                      </p:cBhvr>
                                      <p:to>
                                        <p:strVal val="visible"/>
                                      </p:to>
                                    </p:set>
                                    <p:animEffect transition="in" filter="fade">
                                      <p:cBhvr>
                                        <p:cTn id="40" dur="650"/>
                                        <p:tgtEl>
                                          <p:spTgt spid="109"/>
                                        </p:tgtEl>
                                      </p:cBhvr>
                                    </p:animEffect>
                                  </p:childTnLst>
                                </p:cTn>
                              </p:par>
                              <p:par>
                                <p:cTn id="41" presetID="63" presetClass="path" presetSubtype="0" accel="50000" decel="50000" fill="hold" nodeType="withEffect">
                                  <p:stCondLst>
                                    <p:cond delay="400"/>
                                  </p:stCondLst>
                                  <p:childTnLst>
                                    <p:animMotion origin="layout" path="M 3.54167E-6 3.7037E-6 L 0.01471 3.7037E-6 " pathEditMode="relative" rAng="0" ptsTypes="AA">
                                      <p:cBhvr>
                                        <p:cTn id="42" dur="650" spd="-100000" fill="hold"/>
                                        <p:tgtEl>
                                          <p:spTgt spid="109"/>
                                        </p:tgtEl>
                                        <p:attrNameLst>
                                          <p:attrName>ppt_x</p:attrName>
                                          <p:attrName>ppt_y</p:attrName>
                                        </p:attrNameLst>
                                      </p:cBhvr>
                                      <p:rCtr x="729" y="0"/>
                                    </p:animMotion>
                                  </p:childTnLst>
                                </p:cTn>
                              </p:par>
                              <p:par>
                                <p:cTn id="43" presetID="10" presetClass="entr" presetSubtype="0" fill="hold" nodeType="withEffect">
                                  <p:stCondLst>
                                    <p:cond delay="500"/>
                                  </p:stCondLst>
                                  <p:childTnLst>
                                    <p:set>
                                      <p:cBhvr>
                                        <p:cTn id="44" dur="1" fill="hold">
                                          <p:stCondLst>
                                            <p:cond delay="0"/>
                                          </p:stCondLst>
                                        </p:cTn>
                                        <p:tgtEl>
                                          <p:spTgt spid="110"/>
                                        </p:tgtEl>
                                        <p:attrNameLst>
                                          <p:attrName>style.visibility</p:attrName>
                                        </p:attrNameLst>
                                      </p:cBhvr>
                                      <p:to>
                                        <p:strVal val="visible"/>
                                      </p:to>
                                    </p:set>
                                    <p:animEffect transition="in" filter="fade">
                                      <p:cBhvr>
                                        <p:cTn id="45" dur="650"/>
                                        <p:tgtEl>
                                          <p:spTgt spid="110"/>
                                        </p:tgtEl>
                                      </p:cBhvr>
                                    </p:animEffect>
                                  </p:childTnLst>
                                </p:cTn>
                              </p:par>
                              <p:par>
                                <p:cTn id="46" presetID="63" presetClass="path" presetSubtype="0" accel="50000" decel="50000" fill="hold" nodeType="withEffect">
                                  <p:stCondLst>
                                    <p:cond delay="500"/>
                                  </p:stCondLst>
                                  <p:childTnLst>
                                    <p:animMotion origin="layout" path="M -2.08333E-6 -4.81481E-6 L 0.01472 -4.81481E-6 " pathEditMode="relative" rAng="0" ptsTypes="AA">
                                      <p:cBhvr>
                                        <p:cTn id="47" dur="650" spd="-100000" fill="hold"/>
                                        <p:tgtEl>
                                          <p:spTgt spid="110"/>
                                        </p:tgtEl>
                                        <p:attrNameLst>
                                          <p:attrName>ppt_x</p:attrName>
                                          <p:attrName>ppt_y</p:attrName>
                                        </p:attrNameLst>
                                      </p:cBhvr>
                                      <p:rCtr x="729" y="0"/>
                                    </p:animMotion>
                                  </p:childTnLst>
                                </p:cTn>
                              </p:par>
                              <p:par>
                                <p:cTn id="48" presetID="10" presetClass="entr" presetSubtype="0" fill="hold" nodeType="withEffect">
                                  <p:stCondLst>
                                    <p:cond delay="600"/>
                                  </p:stCondLst>
                                  <p:childTnLst>
                                    <p:set>
                                      <p:cBhvr>
                                        <p:cTn id="49" dur="1" fill="hold">
                                          <p:stCondLst>
                                            <p:cond delay="0"/>
                                          </p:stCondLst>
                                        </p:cTn>
                                        <p:tgtEl>
                                          <p:spTgt spid="111"/>
                                        </p:tgtEl>
                                        <p:attrNameLst>
                                          <p:attrName>style.visibility</p:attrName>
                                        </p:attrNameLst>
                                      </p:cBhvr>
                                      <p:to>
                                        <p:strVal val="visible"/>
                                      </p:to>
                                    </p:set>
                                    <p:animEffect transition="in" filter="fade">
                                      <p:cBhvr>
                                        <p:cTn id="50" dur="650"/>
                                        <p:tgtEl>
                                          <p:spTgt spid="111"/>
                                        </p:tgtEl>
                                      </p:cBhvr>
                                    </p:animEffect>
                                  </p:childTnLst>
                                </p:cTn>
                              </p:par>
                              <p:par>
                                <p:cTn id="51" presetID="63" presetClass="path" presetSubtype="0" accel="50000" decel="50000" fill="hold" nodeType="withEffect">
                                  <p:stCondLst>
                                    <p:cond delay="600"/>
                                  </p:stCondLst>
                                  <p:childTnLst>
                                    <p:animMotion origin="layout" path="M -1.04167E-6 -3.33333E-6 L 0.01471 -3.33333E-6 " pathEditMode="relative" rAng="0" ptsTypes="AA">
                                      <p:cBhvr>
                                        <p:cTn id="52" dur="650" spd="-100000" fill="hold"/>
                                        <p:tgtEl>
                                          <p:spTgt spid="111"/>
                                        </p:tgtEl>
                                        <p:attrNameLst>
                                          <p:attrName>ppt_x</p:attrName>
                                          <p:attrName>ppt_y</p:attrName>
                                        </p:attrNameLst>
                                      </p:cBhvr>
                                      <p:rCtr x="729" y="0"/>
                                    </p:animMotion>
                                  </p:childTnLst>
                                </p:cTn>
                              </p:par>
                              <p:par>
                                <p:cTn id="53" presetID="10" presetClass="entr" presetSubtype="0" fill="hold" nodeType="withEffect">
                                  <p:stCondLst>
                                    <p:cond delay="700"/>
                                  </p:stCondLst>
                                  <p:childTnLst>
                                    <p:set>
                                      <p:cBhvr>
                                        <p:cTn id="54" dur="1" fill="hold">
                                          <p:stCondLst>
                                            <p:cond delay="0"/>
                                          </p:stCondLst>
                                        </p:cTn>
                                        <p:tgtEl>
                                          <p:spTgt spid="98"/>
                                        </p:tgtEl>
                                        <p:attrNameLst>
                                          <p:attrName>style.visibility</p:attrName>
                                        </p:attrNameLst>
                                      </p:cBhvr>
                                      <p:to>
                                        <p:strVal val="visible"/>
                                      </p:to>
                                    </p:set>
                                    <p:animEffect transition="in" filter="fade">
                                      <p:cBhvr>
                                        <p:cTn id="55" dur="650"/>
                                        <p:tgtEl>
                                          <p:spTgt spid="98"/>
                                        </p:tgtEl>
                                      </p:cBhvr>
                                    </p:animEffect>
                                  </p:childTnLst>
                                </p:cTn>
                              </p:par>
                              <p:par>
                                <p:cTn id="56" presetID="63" presetClass="path" presetSubtype="0" accel="50000" decel="50000" fill="hold" nodeType="withEffect">
                                  <p:stCondLst>
                                    <p:cond delay="700"/>
                                  </p:stCondLst>
                                  <p:childTnLst>
                                    <p:animMotion origin="layout" path="M -4.79167E-6 1.48148E-6 L 0.01472 1.48148E-6 " pathEditMode="relative" rAng="0" ptsTypes="AA">
                                      <p:cBhvr>
                                        <p:cTn id="57" dur="650" spd="-100000" fill="hold"/>
                                        <p:tgtEl>
                                          <p:spTgt spid="98"/>
                                        </p:tgtEl>
                                        <p:attrNameLst>
                                          <p:attrName>ppt_x</p:attrName>
                                          <p:attrName>ppt_y</p:attrName>
                                        </p:attrNameLst>
                                      </p:cBhvr>
                                      <p:rCtr x="729" y="0"/>
                                    </p:animMotion>
                                  </p:childTnLst>
                                </p:cTn>
                              </p:par>
                              <p:par>
                                <p:cTn id="58" presetID="10" presetClass="entr" presetSubtype="0" fill="hold" grpId="0" nodeType="withEffect">
                                  <p:stCondLst>
                                    <p:cond delay="700"/>
                                  </p:stCondLst>
                                  <p:childTnLst>
                                    <p:set>
                                      <p:cBhvr>
                                        <p:cTn id="59" dur="1" fill="hold">
                                          <p:stCondLst>
                                            <p:cond delay="0"/>
                                          </p:stCondLst>
                                        </p:cTn>
                                        <p:tgtEl>
                                          <p:spTgt spid="57"/>
                                        </p:tgtEl>
                                        <p:attrNameLst>
                                          <p:attrName>style.visibility</p:attrName>
                                        </p:attrNameLst>
                                      </p:cBhvr>
                                      <p:to>
                                        <p:strVal val="visible"/>
                                      </p:to>
                                    </p:set>
                                    <p:animEffect transition="in" filter="fade">
                                      <p:cBhvr>
                                        <p:cTn id="60"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7"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5" name="Group 84">
            <a:extLst>
              <a:ext uri="{FF2B5EF4-FFF2-40B4-BE49-F238E27FC236}">
                <a16:creationId xmlns:a16="http://schemas.microsoft.com/office/drawing/2014/main" id="{E1BF422F-06F9-4B70-B9F1-BF1D372B3BE4}"/>
              </a:ext>
            </a:extLst>
          </p:cNvPr>
          <p:cNvGrpSpPr/>
          <p:nvPr/>
        </p:nvGrpSpPr>
        <p:grpSpPr>
          <a:xfrm>
            <a:off x="0" y="0"/>
            <a:ext cx="6096000" cy="6858000"/>
            <a:chOff x="0" y="0"/>
            <a:chExt cx="6096000" cy="6858000"/>
          </a:xfrm>
        </p:grpSpPr>
        <p:pic>
          <p:nvPicPr>
            <p:cNvPr id="2" name="Picture 1">
              <a:extLst>
                <a:ext uri="{FF2B5EF4-FFF2-40B4-BE49-F238E27FC236}">
                  <a16:creationId xmlns:a16="http://schemas.microsoft.com/office/drawing/2014/main" id="{DA7AC49C-A88C-4F12-BF8C-DBB5E739D020}"/>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1736" t="971" r="11684" b="1438"/>
            <a:stretch/>
          </p:blipFill>
          <p:spPr>
            <a:xfrm>
              <a:off x="0" y="0"/>
              <a:ext cx="6096000" cy="6857996"/>
            </a:xfrm>
            <a:prstGeom prst="rect">
              <a:avLst/>
            </a:prstGeom>
          </p:spPr>
        </p:pic>
        <p:sp>
          <p:nvSpPr>
            <p:cNvPr id="3" name="Rectangle 2">
              <a:extLst>
                <a:ext uri="{FF2B5EF4-FFF2-40B4-BE49-F238E27FC236}">
                  <a16:creationId xmlns:a16="http://schemas.microsoft.com/office/drawing/2014/main" id="{7261388B-2B9B-4960-9832-67A07E57B59F}"/>
                </a:ext>
              </a:extLst>
            </p:cNvPr>
            <p:cNvSpPr/>
            <p:nvPr/>
          </p:nvSpPr>
          <p:spPr bwMode="auto">
            <a:xfrm>
              <a:off x="0" y="0"/>
              <a:ext cx="6096000" cy="6858000"/>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 name="Rectangle 3">
            <a:extLst>
              <a:ext uri="{FF2B5EF4-FFF2-40B4-BE49-F238E27FC236}">
                <a16:creationId xmlns:a16="http://schemas.microsoft.com/office/drawing/2014/main" id="{009C8441-20DF-4434-9CEC-793AEB631918}"/>
              </a:ext>
            </a:extLst>
          </p:cNvPr>
          <p:cNvSpPr/>
          <p:nvPr/>
        </p:nvSpPr>
        <p:spPr>
          <a:xfrm>
            <a:off x="312738" y="2927863"/>
            <a:ext cx="5783263" cy="992404"/>
          </a:xfrm>
          <a:prstGeom prst="rect">
            <a:avLst/>
          </a:prstGeom>
        </p:spPr>
        <p:txBody>
          <a:bodyPr wrap="square" lIns="0" tIns="0" rIns="274320" bIns="0" anchor="ctr">
            <a:noAutofit/>
          </a:bodyPr>
          <a:lstStyle/>
          <a:p>
            <a:pPr marL="0" marR="0" lvl="0" indent="0" algn="r" defTabSz="932688"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light (Headings)"/>
                <a:ea typeface="+mn-ea"/>
                <a:cs typeface="+mn-cs"/>
              </a:rPr>
              <a:t>Azure</a:t>
            </a:r>
            <a:r>
              <a:rPr kumimoji="0" lang="en-US" sz="2400" b="0" i="0" u="none" strike="noStrike" kern="1200" cap="none" spc="0" normalizeH="0" baseline="0" noProof="0">
                <a:ln>
                  <a:noFill/>
                </a:ln>
                <a:solidFill>
                  <a:srgbClr val="FFFFFF"/>
                </a:solidFill>
                <a:effectLst/>
                <a:uLnTx/>
                <a:uFillTx/>
                <a:latin typeface="Segoe UI Semibold"/>
                <a:ea typeface="+mn-ea"/>
                <a:cs typeface="+mn-cs"/>
              </a:rPr>
              <a:t> </a:t>
            </a:r>
            <a:r>
              <a:rPr kumimoji="0" lang="en-US" sz="3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oT solution accelerators</a:t>
            </a:r>
          </a:p>
        </p:txBody>
      </p:sp>
      <p:grpSp>
        <p:nvGrpSpPr>
          <p:cNvPr id="5" name="Group 4">
            <a:extLst>
              <a:ext uri="{FF2B5EF4-FFF2-40B4-BE49-F238E27FC236}">
                <a16:creationId xmlns:a16="http://schemas.microsoft.com/office/drawing/2014/main" id="{7BEB8457-1D96-4E08-B78F-1CB8F9FA93FC}"/>
              </a:ext>
            </a:extLst>
          </p:cNvPr>
          <p:cNvGrpSpPr/>
          <p:nvPr/>
        </p:nvGrpSpPr>
        <p:grpSpPr>
          <a:xfrm>
            <a:off x="6679646" y="5492918"/>
            <a:ext cx="4397819" cy="841304"/>
            <a:chOff x="7217775" y="5525085"/>
            <a:chExt cx="4397819" cy="841304"/>
          </a:xfrm>
        </p:grpSpPr>
        <p:grpSp>
          <p:nvGrpSpPr>
            <p:cNvPr id="6" name="Group 5">
              <a:extLst>
                <a:ext uri="{FF2B5EF4-FFF2-40B4-BE49-F238E27FC236}">
                  <a16:creationId xmlns:a16="http://schemas.microsoft.com/office/drawing/2014/main" id="{99AEC766-66BA-4ABB-89CB-24A0F4694D9F}"/>
                </a:ext>
              </a:extLst>
            </p:cNvPr>
            <p:cNvGrpSpPr/>
            <p:nvPr/>
          </p:nvGrpSpPr>
          <p:grpSpPr>
            <a:xfrm>
              <a:off x="7217775" y="5987838"/>
              <a:ext cx="2198909" cy="378551"/>
              <a:chOff x="7217775" y="5987838"/>
              <a:chExt cx="2198909" cy="378551"/>
            </a:xfrm>
          </p:grpSpPr>
          <p:sp>
            <p:nvSpPr>
              <p:cNvPr id="22" name="Rectangle 21">
                <a:extLst>
                  <a:ext uri="{FF2B5EF4-FFF2-40B4-BE49-F238E27FC236}">
                    <a16:creationId xmlns:a16="http://schemas.microsoft.com/office/drawing/2014/main" id="{CE22E3E0-9774-4519-A078-8FEE4E05202E}"/>
                  </a:ext>
                </a:extLst>
              </p:cNvPr>
              <p:cNvSpPr/>
              <p:nvPr/>
            </p:nvSpPr>
            <p:spPr>
              <a:xfrm>
                <a:off x="7774985" y="6094013"/>
                <a:ext cx="1641699" cy="166199"/>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Predictive maintenance</a:t>
                </a:r>
              </a:p>
            </p:txBody>
          </p:sp>
          <p:grpSp>
            <p:nvGrpSpPr>
              <p:cNvPr id="23" name="Group 22">
                <a:extLst>
                  <a:ext uri="{FF2B5EF4-FFF2-40B4-BE49-F238E27FC236}">
                    <a16:creationId xmlns:a16="http://schemas.microsoft.com/office/drawing/2014/main" id="{30527776-79D4-4375-9A87-B6A23C7C6F9D}"/>
                  </a:ext>
                </a:extLst>
              </p:cNvPr>
              <p:cNvGrpSpPr/>
              <p:nvPr/>
            </p:nvGrpSpPr>
            <p:grpSpPr>
              <a:xfrm>
                <a:off x="7217775" y="5987838"/>
                <a:ext cx="378551" cy="378551"/>
                <a:chOff x="7217775" y="5987838"/>
                <a:chExt cx="378551" cy="378551"/>
              </a:xfrm>
            </p:grpSpPr>
            <p:sp>
              <p:nvSpPr>
                <p:cNvPr id="24" name="Oval 23">
                  <a:extLst>
                    <a:ext uri="{FF2B5EF4-FFF2-40B4-BE49-F238E27FC236}">
                      <a16:creationId xmlns:a16="http://schemas.microsoft.com/office/drawing/2014/main" id="{1B0934B3-6636-49E3-ADAA-CCD9F1C220EA}"/>
                    </a:ext>
                  </a:extLst>
                </p:cNvPr>
                <p:cNvSpPr/>
                <p:nvPr/>
              </p:nvSpPr>
              <p:spPr bwMode="auto">
                <a:xfrm>
                  <a:off x="7217775" y="5987838"/>
                  <a:ext cx="378551" cy="378551"/>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25" name="DeveloperTools_EC7A" title="Icon of a wrench and a screwdriver">
                  <a:extLst>
                    <a:ext uri="{FF2B5EF4-FFF2-40B4-BE49-F238E27FC236}">
                      <a16:creationId xmlns:a16="http://schemas.microsoft.com/office/drawing/2014/main" id="{58A656D2-24CD-4071-BF98-1AEFC0310F21}"/>
                    </a:ext>
                  </a:extLst>
                </p:cNvPr>
                <p:cNvSpPr>
                  <a:spLocks noChangeAspect="1" noEditPoints="1"/>
                </p:cNvSpPr>
                <p:nvPr/>
              </p:nvSpPr>
              <p:spPr bwMode="auto">
                <a:xfrm>
                  <a:off x="7334510" y="6062813"/>
                  <a:ext cx="145081" cy="228600"/>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grpSp>
          <p:nvGrpSpPr>
            <p:cNvPr id="7" name="Group 6">
              <a:extLst>
                <a:ext uri="{FF2B5EF4-FFF2-40B4-BE49-F238E27FC236}">
                  <a16:creationId xmlns:a16="http://schemas.microsoft.com/office/drawing/2014/main" id="{86BA57B4-53B1-425B-BF87-BD5387B23E24}"/>
                </a:ext>
              </a:extLst>
            </p:cNvPr>
            <p:cNvGrpSpPr/>
            <p:nvPr/>
          </p:nvGrpSpPr>
          <p:grpSpPr>
            <a:xfrm>
              <a:off x="9595343" y="5527580"/>
              <a:ext cx="2020251" cy="378551"/>
              <a:chOff x="9416686" y="5527580"/>
              <a:chExt cx="2020251" cy="378551"/>
            </a:xfrm>
          </p:grpSpPr>
          <p:sp>
            <p:nvSpPr>
              <p:cNvPr id="18" name="Rectangle 17">
                <a:extLst>
                  <a:ext uri="{FF2B5EF4-FFF2-40B4-BE49-F238E27FC236}">
                    <a16:creationId xmlns:a16="http://schemas.microsoft.com/office/drawing/2014/main" id="{BFC1BABC-9B0A-4619-A249-9604A435772E}"/>
                  </a:ext>
                </a:extLst>
              </p:cNvPr>
              <p:cNvSpPr/>
              <p:nvPr/>
            </p:nvSpPr>
            <p:spPr>
              <a:xfrm>
                <a:off x="9973897" y="5633755"/>
                <a:ext cx="1463040" cy="166199"/>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Connected factory</a:t>
                </a:r>
              </a:p>
            </p:txBody>
          </p:sp>
          <p:grpSp>
            <p:nvGrpSpPr>
              <p:cNvPr id="19" name="Group 18">
                <a:extLst>
                  <a:ext uri="{FF2B5EF4-FFF2-40B4-BE49-F238E27FC236}">
                    <a16:creationId xmlns:a16="http://schemas.microsoft.com/office/drawing/2014/main" id="{9D553DDC-EF5D-4BF0-AD57-5F6B83765C6F}"/>
                  </a:ext>
                </a:extLst>
              </p:cNvPr>
              <p:cNvGrpSpPr/>
              <p:nvPr/>
            </p:nvGrpSpPr>
            <p:grpSpPr>
              <a:xfrm>
                <a:off x="9416686" y="5527580"/>
                <a:ext cx="378551" cy="378551"/>
                <a:chOff x="9416686" y="5527580"/>
                <a:chExt cx="378551" cy="378551"/>
              </a:xfrm>
            </p:grpSpPr>
            <p:sp>
              <p:nvSpPr>
                <p:cNvPr id="20" name="Oval 19">
                  <a:extLst>
                    <a:ext uri="{FF2B5EF4-FFF2-40B4-BE49-F238E27FC236}">
                      <a16:creationId xmlns:a16="http://schemas.microsoft.com/office/drawing/2014/main" id="{125C91F8-8399-4B5F-A3CD-BC411497910A}"/>
                    </a:ext>
                  </a:extLst>
                </p:cNvPr>
                <p:cNvSpPr/>
                <p:nvPr/>
              </p:nvSpPr>
              <p:spPr bwMode="auto">
                <a:xfrm>
                  <a:off x="9416686" y="5527580"/>
                  <a:ext cx="378551" cy="378551"/>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21" name="Manufacturing_E99C" title="Icon of a robotic arm">
                  <a:extLst>
                    <a:ext uri="{FF2B5EF4-FFF2-40B4-BE49-F238E27FC236}">
                      <a16:creationId xmlns:a16="http://schemas.microsoft.com/office/drawing/2014/main" id="{F9D62314-83A8-4A2A-AB50-F495D83EA9E9}"/>
                    </a:ext>
                  </a:extLst>
                </p:cNvPr>
                <p:cNvSpPr>
                  <a:spLocks noChangeAspect="1" noEditPoints="1"/>
                </p:cNvSpPr>
                <p:nvPr/>
              </p:nvSpPr>
              <p:spPr bwMode="auto">
                <a:xfrm>
                  <a:off x="9489036" y="5602555"/>
                  <a:ext cx="233851" cy="228600"/>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A8A3A8AD-F610-4502-AFBC-6F70004E15CA}"/>
                </a:ext>
              </a:extLst>
            </p:cNvPr>
            <p:cNvGrpSpPr/>
            <p:nvPr/>
          </p:nvGrpSpPr>
          <p:grpSpPr>
            <a:xfrm>
              <a:off x="7218347" y="5525085"/>
              <a:ext cx="2020251" cy="378551"/>
              <a:chOff x="7218347" y="5525085"/>
              <a:chExt cx="2020251" cy="378551"/>
            </a:xfrm>
          </p:grpSpPr>
          <p:sp>
            <p:nvSpPr>
              <p:cNvPr id="14" name="Rectangle 13">
                <a:extLst>
                  <a:ext uri="{FF2B5EF4-FFF2-40B4-BE49-F238E27FC236}">
                    <a16:creationId xmlns:a16="http://schemas.microsoft.com/office/drawing/2014/main" id="{36B5E816-7805-4C22-B11B-1DB5F2E21D3F}"/>
                  </a:ext>
                </a:extLst>
              </p:cNvPr>
              <p:cNvSpPr/>
              <p:nvPr/>
            </p:nvSpPr>
            <p:spPr>
              <a:xfrm>
                <a:off x="7775558" y="5631260"/>
                <a:ext cx="1463040" cy="166199"/>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Remote monitoring </a:t>
                </a:r>
              </a:p>
            </p:txBody>
          </p:sp>
          <p:grpSp>
            <p:nvGrpSpPr>
              <p:cNvPr id="15" name="Group 14">
                <a:extLst>
                  <a:ext uri="{FF2B5EF4-FFF2-40B4-BE49-F238E27FC236}">
                    <a16:creationId xmlns:a16="http://schemas.microsoft.com/office/drawing/2014/main" id="{48517D9A-C730-4E15-AB5C-EFC5D5324355}"/>
                  </a:ext>
                </a:extLst>
              </p:cNvPr>
              <p:cNvGrpSpPr/>
              <p:nvPr/>
            </p:nvGrpSpPr>
            <p:grpSpPr>
              <a:xfrm>
                <a:off x="7218347" y="5525085"/>
                <a:ext cx="378551" cy="378551"/>
                <a:chOff x="7218347" y="5525085"/>
                <a:chExt cx="378551" cy="378551"/>
              </a:xfrm>
            </p:grpSpPr>
            <p:sp>
              <p:nvSpPr>
                <p:cNvPr id="16" name="Oval 15">
                  <a:extLst>
                    <a:ext uri="{FF2B5EF4-FFF2-40B4-BE49-F238E27FC236}">
                      <a16:creationId xmlns:a16="http://schemas.microsoft.com/office/drawing/2014/main" id="{71DB2128-6D54-4BE2-95C5-F8994882BBCE}"/>
                    </a:ext>
                  </a:extLst>
                </p:cNvPr>
                <p:cNvSpPr/>
                <p:nvPr/>
              </p:nvSpPr>
              <p:spPr bwMode="auto">
                <a:xfrm>
                  <a:off x="7218347" y="5525085"/>
                  <a:ext cx="378551" cy="378551"/>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17" name="speedometer_3" title="Icon of a spedometer showing slow speed">
                  <a:extLst>
                    <a:ext uri="{FF2B5EF4-FFF2-40B4-BE49-F238E27FC236}">
                      <a16:creationId xmlns:a16="http://schemas.microsoft.com/office/drawing/2014/main" id="{7A73976B-0FA4-49E4-AC3E-24E3D9B35676}"/>
                    </a:ext>
                  </a:extLst>
                </p:cNvPr>
                <p:cNvSpPr>
                  <a:spLocks noChangeAspect="1" noEditPoints="1"/>
                </p:cNvSpPr>
                <p:nvPr/>
              </p:nvSpPr>
              <p:spPr bwMode="auto">
                <a:xfrm>
                  <a:off x="7293322" y="5600060"/>
                  <a:ext cx="228600" cy="228600"/>
                </a:xfrm>
                <a:custGeom>
                  <a:avLst/>
                  <a:gdLst>
                    <a:gd name="T0" fmla="*/ 48 w 281"/>
                    <a:gd name="T1" fmla="*/ 181 h 281"/>
                    <a:gd name="T2" fmla="*/ 40 w 281"/>
                    <a:gd name="T3" fmla="*/ 141 h 281"/>
                    <a:gd name="T4" fmla="*/ 140 w 281"/>
                    <a:gd name="T5" fmla="*/ 40 h 281"/>
                    <a:gd name="T6" fmla="*/ 241 w 281"/>
                    <a:gd name="T7" fmla="*/ 141 h 281"/>
                    <a:gd name="T8" fmla="*/ 214 w 281"/>
                    <a:gd name="T9" fmla="*/ 210 h 281"/>
                    <a:gd name="T10" fmla="*/ 126 w 281"/>
                    <a:gd name="T11" fmla="*/ 155 h 281"/>
                    <a:gd name="T12" fmla="*/ 155 w 281"/>
                    <a:gd name="T13" fmla="*/ 155 h 281"/>
                    <a:gd name="T14" fmla="*/ 155 w 281"/>
                    <a:gd name="T15" fmla="*/ 126 h 281"/>
                    <a:gd name="T16" fmla="*/ 126 w 281"/>
                    <a:gd name="T17" fmla="*/ 126 h 281"/>
                    <a:gd name="T18" fmla="*/ 126 w 281"/>
                    <a:gd name="T19" fmla="*/ 155 h 281"/>
                    <a:gd name="T20" fmla="*/ 140 w 281"/>
                    <a:gd name="T21" fmla="*/ 0 h 281"/>
                    <a:gd name="T22" fmla="*/ 0 w 281"/>
                    <a:gd name="T23" fmla="*/ 141 h 281"/>
                    <a:gd name="T24" fmla="*/ 140 w 281"/>
                    <a:gd name="T25" fmla="*/ 281 h 281"/>
                    <a:gd name="T26" fmla="*/ 281 w 281"/>
                    <a:gd name="T27" fmla="*/ 141 h 281"/>
                    <a:gd name="T28" fmla="*/ 140 w 281"/>
                    <a:gd name="T29" fmla="*/ 0 h 281"/>
                    <a:gd name="T30" fmla="*/ 69 w 281"/>
                    <a:gd name="T31" fmla="*/ 212 h 281"/>
                    <a:gd name="T32" fmla="*/ 124 w 281"/>
                    <a:gd name="T33" fmla="*/ 157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1" h="281">
                      <a:moveTo>
                        <a:pt x="48" y="181"/>
                      </a:moveTo>
                      <a:cubicBezTo>
                        <a:pt x="43" y="168"/>
                        <a:pt x="40" y="155"/>
                        <a:pt x="40" y="141"/>
                      </a:cubicBezTo>
                      <a:cubicBezTo>
                        <a:pt x="40" y="85"/>
                        <a:pt x="85" y="40"/>
                        <a:pt x="140" y="40"/>
                      </a:cubicBezTo>
                      <a:cubicBezTo>
                        <a:pt x="196" y="40"/>
                        <a:pt x="241" y="85"/>
                        <a:pt x="241" y="141"/>
                      </a:cubicBezTo>
                      <a:cubicBezTo>
                        <a:pt x="241" y="168"/>
                        <a:pt x="231" y="192"/>
                        <a:pt x="214" y="210"/>
                      </a:cubicBezTo>
                      <a:moveTo>
                        <a:pt x="126" y="155"/>
                      </a:moveTo>
                      <a:cubicBezTo>
                        <a:pt x="134" y="164"/>
                        <a:pt x="147" y="164"/>
                        <a:pt x="155" y="155"/>
                      </a:cubicBezTo>
                      <a:cubicBezTo>
                        <a:pt x="164" y="147"/>
                        <a:pt x="164" y="134"/>
                        <a:pt x="155" y="126"/>
                      </a:cubicBezTo>
                      <a:cubicBezTo>
                        <a:pt x="147" y="117"/>
                        <a:pt x="134" y="118"/>
                        <a:pt x="126" y="126"/>
                      </a:cubicBezTo>
                      <a:cubicBezTo>
                        <a:pt x="117" y="134"/>
                        <a:pt x="117" y="147"/>
                        <a:pt x="126"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69" y="212"/>
                      </a:moveTo>
                      <a:cubicBezTo>
                        <a:pt x="124" y="157"/>
                        <a:pt x="124" y="157"/>
                        <a:pt x="124" y="157"/>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grpSp>
          <p:nvGrpSpPr>
            <p:cNvPr id="9" name="Group 8">
              <a:extLst>
                <a:ext uri="{FF2B5EF4-FFF2-40B4-BE49-F238E27FC236}">
                  <a16:creationId xmlns:a16="http://schemas.microsoft.com/office/drawing/2014/main" id="{4536EA0B-3C25-42A6-BEE5-A01961DACFF4}"/>
                </a:ext>
              </a:extLst>
            </p:cNvPr>
            <p:cNvGrpSpPr/>
            <p:nvPr/>
          </p:nvGrpSpPr>
          <p:grpSpPr>
            <a:xfrm>
              <a:off x="9595343" y="5987838"/>
              <a:ext cx="2020251" cy="378551"/>
              <a:chOff x="9416686" y="5987838"/>
              <a:chExt cx="2020251" cy="378551"/>
            </a:xfrm>
          </p:grpSpPr>
          <p:sp>
            <p:nvSpPr>
              <p:cNvPr id="10" name="Rectangle 9">
                <a:extLst>
                  <a:ext uri="{FF2B5EF4-FFF2-40B4-BE49-F238E27FC236}">
                    <a16:creationId xmlns:a16="http://schemas.microsoft.com/office/drawing/2014/main" id="{4DC19693-6AFC-4C4E-9F28-01258B32C0AA}"/>
                  </a:ext>
                </a:extLst>
              </p:cNvPr>
              <p:cNvSpPr/>
              <p:nvPr/>
            </p:nvSpPr>
            <p:spPr>
              <a:xfrm>
                <a:off x="9973897" y="6094013"/>
                <a:ext cx="1463040" cy="166199"/>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Device simulation</a:t>
                </a:r>
              </a:p>
            </p:txBody>
          </p:sp>
          <p:grpSp>
            <p:nvGrpSpPr>
              <p:cNvPr id="11" name="Group 10">
                <a:extLst>
                  <a:ext uri="{FF2B5EF4-FFF2-40B4-BE49-F238E27FC236}">
                    <a16:creationId xmlns:a16="http://schemas.microsoft.com/office/drawing/2014/main" id="{13C42334-CFA2-4E86-A8E9-F0C2202A87FA}"/>
                  </a:ext>
                </a:extLst>
              </p:cNvPr>
              <p:cNvGrpSpPr/>
              <p:nvPr/>
            </p:nvGrpSpPr>
            <p:grpSpPr>
              <a:xfrm>
                <a:off x="9416686" y="5987838"/>
                <a:ext cx="378551" cy="378551"/>
                <a:chOff x="9416686" y="5987838"/>
                <a:chExt cx="378551" cy="378551"/>
              </a:xfrm>
            </p:grpSpPr>
            <p:sp>
              <p:nvSpPr>
                <p:cNvPr id="12" name="Oval 11">
                  <a:extLst>
                    <a:ext uri="{FF2B5EF4-FFF2-40B4-BE49-F238E27FC236}">
                      <a16:creationId xmlns:a16="http://schemas.microsoft.com/office/drawing/2014/main" id="{45DA1B93-BE85-409B-A4A7-914858028616}"/>
                    </a:ext>
                  </a:extLst>
                </p:cNvPr>
                <p:cNvSpPr/>
                <p:nvPr/>
              </p:nvSpPr>
              <p:spPr bwMode="auto">
                <a:xfrm>
                  <a:off x="9416686" y="5987838"/>
                  <a:ext cx="378551" cy="378551"/>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13" name="ChatBot_F08B" title="Icon of a robotic chat bubble with a smiley face">
                  <a:extLst>
                    <a:ext uri="{FF2B5EF4-FFF2-40B4-BE49-F238E27FC236}">
                      <a16:creationId xmlns:a16="http://schemas.microsoft.com/office/drawing/2014/main" id="{7314584A-DDED-47C1-95F8-031F66538BF2}"/>
                    </a:ext>
                  </a:extLst>
                </p:cNvPr>
                <p:cNvSpPr>
                  <a:spLocks noChangeAspect="1" noEditPoints="1"/>
                </p:cNvSpPr>
                <p:nvPr/>
              </p:nvSpPr>
              <p:spPr bwMode="auto">
                <a:xfrm>
                  <a:off x="9517469" y="6062813"/>
                  <a:ext cx="176984" cy="228600"/>
                </a:xfrm>
                <a:custGeom>
                  <a:avLst/>
                  <a:gdLst>
                    <a:gd name="T0" fmla="*/ 871 w 2742"/>
                    <a:gd name="T1" fmla="*/ 1541 h 3541"/>
                    <a:gd name="T2" fmla="*/ 871 w 2742"/>
                    <a:gd name="T3" fmla="*/ 1791 h 3541"/>
                    <a:gd name="T4" fmla="*/ 1871 w 2742"/>
                    <a:gd name="T5" fmla="*/ 1541 h 3541"/>
                    <a:gd name="T6" fmla="*/ 1871 w 2742"/>
                    <a:gd name="T7" fmla="*/ 1791 h 3541"/>
                    <a:gd name="T8" fmla="*/ 0 w 2742"/>
                    <a:gd name="T9" fmla="*/ 1541 h 3541"/>
                    <a:gd name="T10" fmla="*/ 0 w 2742"/>
                    <a:gd name="T11" fmla="*/ 2041 h 3541"/>
                    <a:gd name="T12" fmla="*/ 2742 w 2742"/>
                    <a:gd name="T13" fmla="*/ 1541 h 3541"/>
                    <a:gd name="T14" fmla="*/ 2742 w 2742"/>
                    <a:gd name="T15" fmla="*/ 2041 h 3541"/>
                    <a:gd name="T16" fmla="*/ 1371 w 2742"/>
                    <a:gd name="T17" fmla="*/ 339 h 3541"/>
                    <a:gd name="T18" fmla="*/ 1371 w 2742"/>
                    <a:gd name="T19" fmla="*/ 916 h 3541"/>
                    <a:gd name="T20" fmla="*/ 1121 w 2742"/>
                    <a:gd name="T21" fmla="*/ 2916 h 3541"/>
                    <a:gd name="T22" fmla="*/ 1121 w 2742"/>
                    <a:gd name="T23" fmla="*/ 3541 h 3541"/>
                    <a:gd name="T24" fmla="*/ 1809 w 2742"/>
                    <a:gd name="T25" fmla="*/ 2916 h 3541"/>
                    <a:gd name="T26" fmla="*/ 2371 w 2742"/>
                    <a:gd name="T27" fmla="*/ 2916 h 3541"/>
                    <a:gd name="T28" fmla="*/ 2621 w 2742"/>
                    <a:gd name="T29" fmla="*/ 2666 h 3541"/>
                    <a:gd name="T30" fmla="*/ 2621 w 2742"/>
                    <a:gd name="T31" fmla="*/ 1166 h 3541"/>
                    <a:gd name="T32" fmla="*/ 2371 w 2742"/>
                    <a:gd name="T33" fmla="*/ 916 h 3541"/>
                    <a:gd name="T34" fmla="*/ 371 w 2742"/>
                    <a:gd name="T35" fmla="*/ 916 h 3541"/>
                    <a:gd name="T36" fmla="*/ 121 w 2742"/>
                    <a:gd name="T37" fmla="*/ 1166 h 3541"/>
                    <a:gd name="T38" fmla="*/ 121 w 2742"/>
                    <a:gd name="T39" fmla="*/ 2666 h 3541"/>
                    <a:gd name="T40" fmla="*/ 371 w 2742"/>
                    <a:gd name="T41" fmla="*/ 2916 h 3541"/>
                    <a:gd name="T42" fmla="*/ 1121 w 2742"/>
                    <a:gd name="T43" fmla="*/ 2916 h 3541"/>
                    <a:gd name="T44" fmla="*/ 1371 w 2742"/>
                    <a:gd name="T45" fmla="*/ 0 h 3541"/>
                    <a:gd name="T46" fmla="*/ 1205 w 2742"/>
                    <a:gd name="T47" fmla="*/ 166 h 3541"/>
                    <a:gd name="T48" fmla="*/ 1371 w 2742"/>
                    <a:gd name="T49" fmla="*/ 332 h 3541"/>
                    <a:gd name="T50" fmla="*/ 1537 w 2742"/>
                    <a:gd name="T51" fmla="*/ 166 h 3541"/>
                    <a:gd name="T52" fmla="*/ 1371 w 2742"/>
                    <a:gd name="T53" fmla="*/ 0 h 3541"/>
                    <a:gd name="T54" fmla="*/ 746 w 2742"/>
                    <a:gd name="T55" fmla="*/ 2157 h 3541"/>
                    <a:gd name="T56" fmla="*/ 1996 w 2742"/>
                    <a:gd name="T57" fmla="*/ 2157 h 3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42" h="3541">
                      <a:moveTo>
                        <a:pt x="871" y="1541"/>
                      </a:moveTo>
                      <a:cubicBezTo>
                        <a:pt x="871" y="1791"/>
                        <a:pt x="871" y="1791"/>
                        <a:pt x="871" y="1791"/>
                      </a:cubicBezTo>
                      <a:moveTo>
                        <a:pt x="1871" y="1541"/>
                      </a:moveTo>
                      <a:cubicBezTo>
                        <a:pt x="1871" y="1791"/>
                        <a:pt x="1871" y="1791"/>
                        <a:pt x="1871" y="1791"/>
                      </a:cubicBezTo>
                      <a:moveTo>
                        <a:pt x="0" y="1541"/>
                      </a:moveTo>
                      <a:cubicBezTo>
                        <a:pt x="0" y="2041"/>
                        <a:pt x="0" y="2041"/>
                        <a:pt x="0" y="2041"/>
                      </a:cubicBezTo>
                      <a:moveTo>
                        <a:pt x="2742" y="1541"/>
                      </a:moveTo>
                      <a:cubicBezTo>
                        <a:pt x="2742" y="2041"/>
                        <a:pt x="2742" y="2041"/>
                        <a:pt x="2742" y="2041"/>
                      </a:cubicBezTo>
                      <a:moveTo>
                        <a:pt x="1371" y="339"/>
                      </a:moveTo>
                      <a:cubicBezTo>
                        <a:pt x="1371" y="916"/>
                        <a:pt x="1371" y="916"/>
                        <a:pt x="1371" y="916"/>
                      </a:cubicBezTo>
                      <a:moveTo>
                        <a:pt x="1121" y="2916"/>
                      </a:moveTo>
                      <a:cubicBezTo>
                        <a:pt x="1121" y="3541"/>
                        <a:pt x="1121" y="3541"/>
                        <a:pt x="1121" y="3541"/>
                      </a:cubicBezTo>
                      <a:cubicBezTo>
                        <a:pt x="1809" y="2916"/>
                        <a:pt x="1809" y="2916"/>
                        <a:pt x="1809" y="2916"/>
                      </a:cubicBezTo>
                      <a:cubicBezTo>
                        <a:pt x="2371" y="2916"/>
                        <a:pt x="2371" y="2916"/>
                        <a:pt x="2371" y="2916"/>
                      </a:cubicBezTo>
                      <a:cubicBezTo>
                        <a:pt x="2509" y="2916"/>
                        <a:pt x="2621" y="2804"/>
                        <a:pt x="2621" y="2666"/>
                      </a:cubicBezTo>
                      <a:cubicBezTo>
                        <a:pt x="2621" y="1166"/>
                        <a:pt x="2621" y="1166"/>
                        <a:pt x="2621" y="1166"/>
                      </a:cubicBezTo>
                      <a:cubicBezTo>
                        <a:pt x="2621" y="1028"/>
                        <a:pt x="2509" y="916"/>
                        <a:pt x="2371" y="916"/>
                      </a:cubicBezTo>
                      <a:cubicBezTo>
                        <a:pt x="371" y="916"/>
                        <a:pt x="371" y="916"/>
                        <a:pt x="371" y="916"/>
                      </a:cubicBezTo>
                      <a:cubicBezTo>
                        <a:pt x="233" y="916"/>
                        <a:pt x="121" y="1028"/>
                        <a:pt x="121" y="1166"/>
                      </a:cubicBezTo>
                      <a:cubicBezTo>
                        <a:pt x="121" y="2666"/>
                        <a:pt x="121" y="2666"/>
                        <a:pt x="121" y="2666"/>
                      </a:cubicBezTo>
                      <a:cubicBezTo>
                        <a:pt x="121" y="2804"/>
                        <a:pt x="233" y="2916"/>
                        <a:pt x="371" y="2916"/>
                      </a:cubicBezTo>
                      <a:lnTo>
                        <a:pt x="1121" y="2916"/>
                      </a:lnTo>
                      <a:close/>
                      <a:moveTo>
                        <a:pt x="1371" y="0"/>
                      </a:moveTo>
                      <a:cubicBezTo>
                        <a:pt x="1279" y="0"/>
                        <a:pt x="1205" y="74"/>
                        <a:pt x="1205" y="166"/>
                      </a:cubicBezTo>
                      <a:cubicBezTo>
                        <a:pt x="1205" y="258"/>
                        <a:pt x="1279" y="332"/>
                        <a:pt x="1371" y="332"/>
                      </a:cubicBezTo>
                      <a:cubicBezTo>
                        <a:pt x="1463" y="332"/>
                        <a:pt x="1537" y="258"/>
                        <a:pt x="1537" y="166"/>
                      </a:cubicBezTo>
                      <a:cubicBezTo>
                        <a:pt x="1537" y="74"/>
                        <a:pt x="1463" y="0"/>
                        <a:pt x="1371" y="0"/>
                      </a:cubicBezTo>
                      <a:close/>
                      <a:moveTo>
                        <a:pt x="746" y="2157"/>
                      </a:moveTo>
                      <a:cubicBezTo>
                        <a:pt x="1091" y="2502"/>
                        <a:pt x="1651" y="2502"/>
                        <a:pt x="1996" y="2157"/>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grpSp>
      <p:grpSp>
        <p:nvGrpSpPr>
          <p:cNvPr id="26" name="Group 25">
            <a:extLst>
              <a:ext uri="{FF2B5EF4-FFF2-40B4-BE49-F238E27FC236}">
                <a16:creationId xmlns:a16="http://schemas.microsoft.com/office/drawing/2014/main" id="{A4E83896-1850-4A26-82D6-15579FD8E91F}"/>
              </a:ext>
            </a:extLst>
          </p:cNvPr>
          <p:cNvGrpSpPr/>
          <p:nvPr/>
        </p:nvGrpSpPr>
        <p:grpSpPr>
          <a:xfrm>
            <a:off x="6679646" y="363990"/>
            <a:ext cx="4937761" cy="574456"/>
            <a:chOff x="6801882" y="432252"/>
            <a:chExt cx="4937761" cy="574456"/>
          </a:xfrm>
        </p:grpSpPr>
        <p:grpSp>
          <p:nvGrpSpPr>
            <p:cNvPr id="27" name="Group 26">
              <a:extLst>
                <a:ext uri="{FF2B5EF4-FFF2-40B4-BE49-F238E27FC236}">
                  <a16:creationId xmlns:a16="http://schemas.microsoft.com/office/drawing/2014/main" id="{39B12355-4DF0-467E-8A0D-1F02B4E9F227}"/>
                </a:ext>
              </a:extLst>
            </p:cNvPr>
            <p:cNvGrpSpPr/>
            <p:nvPr/>
          </p:nvGrpSpPr>
          <p:grpSpPr>
            <a:xfrm>
              <a:off x="6801882" y="432252"/>
              <a:ext cx="3785596" cy="526145"/>
              <a:chOff x="6619593" y="432252"/>
              <a:chExt cx="3785596" cy="526145"/>
            </a:xfrm>
          </p:grpSpPr>
          <p:sp>
            <p:nvSpPr>
              <p:cNvPr id="29" name="Rectangle 28">
                <a:extLst>
                  <a:ext uri="{FF2B5EF4-FFF2-40B4-BE49-F238E27FC236}">
                    <a16:creationId xmlns:a16="http://schemas.microsoft.com/office/drawing/2014/main" id="{4A094C0E-7B8D-496D-845E-F9C2B5102282}"/>
                  </a:ext>
                </a:extLst>
              </p:cNvPr>
              <p:cNvSpPr/>
              <p:nvPr/>
            </p:nvSpPr>
            <p:spPr>
              <a:xfrm>
                <a:off x="7252184" y="598375"/>
                <a:ext cx="3153005" cy="193899"/>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End-to-end implementation</a:t>
                </a:r>
              </a:p>
            </p:txBody>
          </p:sp>
          <p:grpSp>
            <p:nvGrpSpPr>
              <p:cNvPr id="30" name="Group 29">
                <a:extLst>
                  <a:ext uri="{FF2B5EF4-FFF2-40B4-BE49-F238E27FC236}">
                    <a16:creationId xmlns:a16="http://schemas.microsoft.com/office/drawing/2014/main" id="{046D12AC-411B-4A10-B4A1-9566784ABA91}"/>
                  </a:ext>
                </a:extLst>
              </p:cNvPr>
              <p:cNvGrpSpPr/>
              <p:nvPr/>
            </p:nvGrpSpPr>
            <p:grpSpPr>
              <a:xfrm>
                <a:off x="6619593" y="432252"/>
                <a:ext cx="530352" cy="526145"/>
                <a:chOff x="7036151" y="486040"/>
                <a:chExt cx="526145" cy="526145"/>
              </a:xfrm>
            </p:grpSpPr>
            <p:sp>
              <p:nvSpPr>
                <p:cNvPr id="31" name="Oval 30">
                  <a:extLst>
                    <a:ext uri="{FF2B5EF4-FFF2-40B4-BE49-F238E27FC236}">
                      <a16:creationId xmlns:a16="http://schemas.microsoft.com/office/drawing/2014/main" id="{5877FD15-E819-4DAB-82A6-6809B2C21884}"/>
                    </a:ext>
                  </a:extLst>
                </p:cNvPr>
                <p:cNvSpPr/>
                <p:nvPr/>
              </p:nvSpPr>
              <p:spPr bwMode="auto">
                <a:xfrm>
                  <a:off x="7036151" y="486040"/>
                  <a:ext cx="526145" cy="52614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32" name="light" title="Icon of a lightbulb">
                  <a:extLst>
                    <a:ext uri="{FF2B5EF4-FFF2-40B4-BE49-F238E27FC236}">
                      <a16:creationId xmlns:a16="http://schemas.microsoft.com/office/drawing/2014/main" id="{9DBDD823-A091-4A01-B3C7-F83382286BAE}"/>
                    </a:ext>
                  </a:extLst>
                </p:cNvPr>
                <p:cNvSpPr>
                  <a:spLocks noChangeAspect="1" noEditPoints="1"/>
                </p:cNvSpPr>
                <p:nvPr/>
              </p:nvSpPr>
              <p:spPr bwMode="auto">
                <a:xfrm>
                  <a:off x="7206838" y="611952"/>
                  <a:ext cx="184770" cy="27432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cxnSp>
          <p:nvCxnSpPr>
            <p:cNvPr id="28" name="Straight Connector 27">
              <a:extLst>
                <a:ext uri="{FF2B5EF4-FFF2-40B4-BE49-F238E27FC236}">
                  <a16:creationId xmlns:a16="http://schemas.microsoft.com/office/drawing/2014/main" id="{EDB5C5B8-568D-466A-A5CC-E2F814D8FF6B}"/>
                </a:ext>
              </a:extLst>
            </p:cNvPr>
            <p:cNvCxnSpPr/>
            <p:nvPr/>
          </p:nvCxnSpPr>
          <p:spPr>
            <a:xfrm>
              <a:off x="6801883" y="1006708"/>
              <a:ext cx="4937760" cy="0"/>
            </a:xfrm>
            <a:prstGeom prst="line">
              <a:avLst/>
            </a:prstGeom>
            <a:ln w="9525">
              <a:headEnd type="none"/>
              <a:tailEnd type="none"/>
            </a:ln>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AD10EF1C-3971-4CEF-B950-277F06F457BF}"/>
              </a:ext>
            </a:extLst>
          </p:cNvPr>
          <p:cNvGrpSpPr/>
          <p:nvPr/>
        </p:nvGrpSpPr>
        <p:grpSpPr>
          <a:xfrm>
            <a:off x="6679646" y="986757"/>
            <a:ext cx="4937760" cy="574456"/>
            <a:chOff x="6801883" y="1055019"/>
            <a:chExt cx="4937760" cy="574456"/>
          </a:xfrm>
        </p:grpSpPr>
        <p:grpSp>
          <p:nvGrpSpPr>
            <p:cNvPr id="34" name="Group 33">
              <a:extLst>
                <a:ext uri="{FF2B5EF4-FFF2-40B4-BE49-F238E27FC236}">
                  <a16:creationId xmlns:a16="http://schemas.microsoft.com/office/drawing/2014/main" id="{D3B28031-D13F-46E1-86B9-1CBBED535A3D}"/>
                </a:ext>
              </a:extLst>
            </p:cNvPr>
            <p:cNvGrpSpPr/>
            <p:nvPr/>
          </p:nvGrpSpPr>
          <p:grpSpPr>
            <a:xfrm>
              <a:off x="6801883" y="1055019"/>
              <a:ext cx="3891160" cy="526145"/>
              <a:chOff x="7036151" y="1231331"/>
              <a:chExt cx="3891160" cy="526145"/>
            </a:xfrm>
          </p:grpSpPr>
          <p:sp>
            <p:nvSpPr>
              <p:cNvPr id="36" name="Rectangle 35">
                <a:extLst>
                  <a:ext uri="{FF2B5EF4-FFF2-40B4-BE49-F238E27FC236}">
                    <a16:creationId xmlns:a16="http://schemas.microsoft.com/office/drawing/2014/main" id="{CB7DCF20-7B79-4D9D-B14D-96D8EC06673E}"/>
                  </a:ext>
                </a:extLst>
              </p:cNvPr>
              <p:cNvSpPr/>
              <p:nvPr/>
            </p:nvSpPr>
            <p:spPr>
              <a:xfrm>
                <a:off x="7667160" y="1397454"/>
                <a:ext cx="3260151" cy="193899"/>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Completely customizable</a:t>
                </a:r>
              </a:p>
            </p:txBody>
          </p:sp>
          <p:grpSp>
            <p:nvGrpSpPr>
              <p:cNvPr id="37" name="Group 36">
                <a:extLst>
                  <a:ext uri="{FF2B5EF4-FFF2-40B4-BE49-F238E27FC236}">
                    <a16:creationId xmlns:a16="http://schemas.microsoft.com/office/drawing/2014/main" id="{85B2B2A0-9CD8-4D84-873A-E1B991321BDD}"/>
                  </a:ext>
                </a:extLst>
              </p:cNvPr>
              <p:cNvGrpSpPr/>
              <p:nvPr/>
            </p:nvGrpSpPr>
            <p:grpSpPr>
              <a:xfrm>
                <a:off x="7036151" y="1231331"/>
                <a:ext cx="526145" cy="526145"/>
                <a:chOff x="7036151" y="1231331"/>
                <a:chExt cx="526145" cy="526145"/>
              </a:xfrm>
            </p:grpSpPr>
            <p:sp>
              <p:nvSpPr>
                <p:cNvPr id="38" name="Oval 37">
                  <a:extLst>
                    <a:ext uri="{FF2B5EF4-FFF2-40B4-BE49-F238E27FC236}">
                      <a16:creationId xmlns:a16="http://schemas.microsoft.com/office/drawing/2014/main" id="{0E8BDB03-3C2F-45E6-B5FE-58D1F1B78C02}"/>
                    </a:ext>
                  </a:extLst>
                </p:cNvPr>
                <p:cNvSpPr/>
                <p:nvPr/>
              </p:nvSpPr>
              <p:spPr bwMode="auto">
                <a:xfrm>
                  <a:off x="7036151" y="1231331"/>
                  <a:ext cx="526145" cy="52614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39" name="browser_3" title="Icon of a browser window with an arrow pointing from the outside to the center">
                  <a:extLst>
                    <a:ext uri="{FF2B5EF4-FFF2-40B4-BE49-F238E27FC236}">
                      <a16:creationId xmlns:a16="http://schemas.microsoft.com/office/drawing/2014/main" id="{3DD4F5E7-6AFD-4D06-B053-846E5218DF9D}"/>
                    </a:ext>
                  </a:extLst>
                </p:cNvPr>
                <p:cNvSpPr>
                  <a:spLocks noChangeAspect="1" noEditPoints="1"/>
                </p:cNvSpPr>
                <p:nvPr/>
              </p:nvSpPr>
              <p:spPr bwMode="auto">
                <a:xfrm>
                  <a:off x="7155024" y="1357243"/>
                  <a:ext cx="288399" cy="274320"/>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cxnSp>
          <p:nvCxnSpPr>
            <p:cNvPr id="35" name="Straight Connector 34">
              <a:extLst>
                <a:ext uri="{FF2B5EF4-FFF2-40B4-BE49-F238E27FC236}">
                  <a16:creationId xmlns:a16="http://schemas.microsoft.com/office/drawing/2014/main" id="{D51470AE-666D-45F8-A07E-3DD63E40F585}"/>
                </a:ext>
              </a:extLst>
            </p:cNvPr>
            <p:cNvCxnSpPr/>
            <p:nvPr/>
          </p:nvCxnSpPr>
          <p:spPr>
            <a:xfrm>
              <a:off x="6801883" y="1629475"/>
              <a:ext cx="4937760" cy="0"/>
            </a:xfrm>
            <a:prstGeom prst="line">
              <a:avLst/>
            </a:prstGeom>
            <a:ln w="9525">
              <a:headEnd type="none"/>
              <a:tailEnd type="none"/>
            </a:ln>
          </p:spPr>
          <p:style>
            <a:lnRef idx="2">
              <a:schemeClr val="accent1"/>
            </a:lnRef>
            <a:fillRef idx="0">
              <a:schemeClr val="accent1"/>
            </a:fillRef>
            <a:effectRef idx="1">
              <a:schemeClr val="accent1"/>
            </a:effectRef>
            <a:fontRef idx="minor">
              <a:schemeClr val="tx1"/>
            </a:fontRef>
          </p:style>
        </p:cxnSp>
      </p:grpSp>
      <p:grpSp>
        <p:nvGrpSpPr>
          <p:cNvPr id="40" name="Group 39">
            <a:extLst>
              <a:ext uri="{FF2B5EF4-FFF2-40B4-BE49-F238E27FC236}">
                <a16:creationId xmlns:a16="http://schemas.microsoft.com/office/drawing/2014/main" id="{8559948A-4C20-4B9A-A3CA-BAC3A6BB9C8B}"/>
              </a:ext>
            </a:extLst>
          </p:cNvPr>
          <p:cNvGrpSpPr/>
          <p:nvPr/>
        </p:nvGrpSpPr>
        <p:grpSpPr>
          <a:xfrm>
            <a:off x="6679647" y="1609524"/>
            <a:ext cx="5050945" cy="574456"/>
            <a:chOff x="6801883" y="1677786"/>
            <a:chExt cx="5050945" cy="574456"/>
          </a:xfrm>
        </p:grpSpPr>
        <p:grpSp>
          <p:nvGrpSpPr>
            <p:cNvPr id="41" name="Group 40">
              <a:extLst>
                <a:ext uri="{FF2B5EF4-FFF2-40B4-BE49-F238E27FC236}">
                  <a16:creationId xmlns:a16="http://schemas.microsoft.com/office/drawing/2014/main" id="{3212959D-0B80-406D-8BF2-5DD6DFF38258}"/>
                </a:ext>
              </a:extLst>
            </p:cNvPr>
            <p:cNvGrpSpPr/>
            <p:nvPr/>
          </p:nvGrpSpPr>
          <p:grpSpPr>
            <a:xfrm>
              <a:off x="6801883" y="1677786"/>
              <a:ext cx="5050945" cy="526145"/>
              <a:chOff x="7034568" y="1897234"/>
              <a:chExt cx="5050945" cy="526145"/>
            </a:xfrm>
          </p:grpSpPr>
          <p:sp>
            <p:nvSpPr>
              <p:cNvPr id="43" name="Rectangle 42">
                <a:extLst>
                  <a:ext uri="{FF2B5EF4-FFF2-40B4-BE49-F238E27FC236}">
                    <a16:creationId xmlns:a16="http://schemas.microsoft.com/office/drawing/2014/main" id="{FE839C83-C437-4722-B5AF-82504630DFBB}"/>
                  </a:ext>
                </a:extLst>
              </p:cNvPr>
              <p:cNvSpPr/>
              <p:nvPr/>
            </p:nvSpPr>
            <p:spPr>
              <a:xfrm>
                <a:off x="7667158" y="2063356"/>
                <a:ext cx="4418355" cy="193899"/>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Open-source microservices based architecture</a:t>
                </a:r>
              </a:p>
            </p:txBody>
          </p:sp>
          <p:grpSp>
            <p:nvGrpSpPr>
              <p:cNvPr id="44" name="Group 43">
                <a:extLst>
                  <a:ext uri="{FF2B5EF4-FFF2-40B4-BE49-F238E27FC236}">
                    <a16:creationId xmlns:a16="http://schemas.microsoft.com/office/drawing/2014/main" id="{3B707A56-2ABC-4919-8D8B-D3A489193B51}"/>
                  </a:ext>
                </a:extLst>
              </p:cNvPr>
              <p:cNvGrpSpPr/>
              <p:nvPr/>
            </p:nvGrpSpPr>
            <p:grpSpPr>
              <a:xfrm>
                <a:off x="7034568" y="1897234"/>
                <a:ext cx="528775" cy="526145"/>
                <a:chOff x="7034568" y="1897234"/>
                <a:chExt cx="528775" cy="526145"/>
              </a:xfrm>
            </p:grpSpPr>
            <p:sp>
              <p:nvSpPr>
                <p:cNvPr id="45" name="Oval 44">
                  <a:extLst>
                    <a:ext uri="{FF2B5EF4-FFF2-40B4-BE49-F238E27FC236}">
                      <a16:creationId xmlns:a16="http://schemas.microsoft.com/office/drawing/2014/main" id="{443006D8-A609-4BCD-83EF-DD2781808710}"/>
                    </a:ext>
                  </a:extLst>
                </p:cNvPr>
                <p:cNvSpPr/>
                <p:nvPr/>
              </p:nvSpPr>
              <p:spPr bwMode="auto">
                <a:xfrm>
                  <a:off x="7034568" y="1897234"/>
                  <a:ext cx="528775" cy="52614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46" name="bot_3" title="Icon of two chevron brackets with two dots between them">
                  <a:extLst>
                    <a:ext uri="{FF2B5EF4-FFF2-40B4-BE49-F238E27FC236}">
                      <a16:creationId xmlns:a16="http://schemas.microsoft.com/office/drawing/2014/main" id="{60AB9DFE-7AFC-4C6E-B127-BD95E7BFF622}"/>
                    </a:ext>
                  </a:extLst>
                </p:cNvPr>
                <p:cNvSpPr>
                  <a:spLocks noChangeAspect="1" noEditPoints="1"/>
                </p:cNvSpPr>
                <p:nvPr/>
              </p:nvSpPr>
              <p:spPr bwMode="auto">
                <a:xfrm>
                  <a:off x="7107793" y="2023146"/>
                  <a:ext cx="382325" cy="274320"/>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cxnSp>
          <p:nvCxnSpPr>
            <p:cNvPr id="42" name="Straight Connector 41">
              <a:extLst>
                <a:ext uri="{FF2B5EF4-FFF2-40B4-BE49-F238E27FC236}">
                  <a16:creationId xmlns:a16="http://schemas.microsoft.com/office/drawing/2014/main" id="{ED361DEA-3B62-4A11-9B5B-8D8950FDC4C4}"/>
                </a:ext>
              </a:extLst>
            </p:cNvPr>
            <p:cNvCxnSpPr/>
            <p:nvPr/>
          </p:nvCxnSpPr>
          <p:spPr>
            <a:xfrm>
              <a:off x="6801883" y="2252242"/>
              <a:ext cx="4937760" cy="0"/>
            </a:xfrm>
            <a:prstGeom prst="line">
              <a:avLst/>
            </a:prstGeom>
            <a:ln w="9525">
              <a:headEnd type="none"/>
              <a:tailEnd type="none"/>
            </a:ln>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B3B73A11-3974-4443-B984-E37D36AEB3C2}"/>
              </a:ext>
            </a:extLst>
          </p:cNvPr>
          <p:cNvGrpSpPr/>
          <p:nvPr/>
        </p:nvGrpSpPr>
        <p:grpSpPr>
          <a:xfrm>
            <a:off x="6679646" y="2232291"/>
            <a:ext cx="4937760" cy="574456"/>
            <a:chOff x="6801883" y="2300553"/>
            <a:chExt cx="4937760" cy="574456"/>
          </a:xfrm>
        </p:grpSpPr>
        <p:grpSp>
          <p:nvGrpSpPr>
            <p:cNvPr id="48" name="Group 47">
              <a:extLst>
                <a:ext uri="{FF2B5EF4-FFF2-40B4-BE49-F238E27FC236}">
                  <a16:creationId xmlns:a16="http://schemas.microsoft.com/office/drawing/2014/main" id="{9F3D16A1-2A9F-451B-A68A-864D0D42475F}"/>
                </a:ext>
              </a:extLst>
            </p:cNvPr>
            <p:cNvGrpSpPr/>
            <p:nvPr/>
          </p:nvGrpSpPr>
          <p:grpSpPr>
            <a:xfrm>
              <a:off x="6801883" y="2300553"/>
              <a:ext cx="4365411" cy="526145"/>
              <a:chOff x="7036151" y="2602831"/>
              <a:chExt cx="4365411" cy="526145"/>
            </a:xfrm>
          </p:grpSpPr>
          <p:sp>
            <p:nvSpPr>
              <p:cNvPr id="50" name="Rectangle 49">
                <a:extLst>
                  <a:ext uri="{FF2B5EF4-FFF2-40B4-BE49-F238E27FC236}">
                    <a16:creationId xmlns:a16="http://schemas.microsoft.com/office/drawing/2014/main" id="{6C59B07E-AA79-438F-81ED-D0B9D1F919B4}"/>
                  </a:ext>
                </a:extLst>
              </p:cNvPr>
              <p:cNvSpPr/>
              <p:nvPr/>
            </p:nvSpPr>
            <p:spPr>
              <a:xfrm>
                <a:off x="7667159" y="2768953"/>
                <a:ext cx="3734403" cy="193899"/>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Device connectivity and management</a:t>
                </a:r>
              </a:p>
            </p:txBody>
          </p:sp>
          <p:grpSp>
            <p:nvGrpSpPr>
              <p:cNvPr id="51" name="Group 50">
                <a:extLst>
                  <a:ext uri="{FF2B5EF4-FFF2-40B4-BE49-F238E27FC236}">
                    <a16:creationId xmlns:a16="http://schemas.microsoft.com/office/drawing/2014/main" id="{3732D588-9F4F-4872-B4ED-E7EBEE347BEB}"/>
                  </a:ext>
                </a:extLst>
              </p:cNvPr>
              <p:cNvGrpSpPr/>
              <p:nvPr/>
            </p:nvGrpSpPr>
            <p:grpSpPr>
              <a:xfrm>
                <a:off x="7036151" y="2602831"/>
                <a:ext cx="526145" cy="526145"/>
                <a:chOff x="7036151" y="2602831"/>
                <a:chExt cx="526145" cy="526145"/>
              </a:xfrm>
            </p:grpSpPr>
            <p:sp>
              <p:nvSpPr>
                <p:cNvPr id="52" name="Oval 51">
                  <a:extLst>
                    <a:ext uri="{FF2B5EF4-FFF2-40B4-BE49-F238E27FC236}">
                      <a16:creationId xmlns:a16="http://schemas.microsoft.com/office/drawing/2014/main" id="{7B18A347-E8D8-41FF-BFC5-9B495AB64C9B}"/>
                    </a:ext>
                  </a:extLst>
                </p:cNvPr>
                <p:cNvSpPr/>
                <p:nvPr/>
              </p:nvSpPr>
              <p:spPr bwMode="auto">
                <a:xfrm>
                  <a:off x="7036151" y="2602831"/>
                  <a:ext cx="526145" cy="52614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53" name="signal" title="Icon of a communication signal">
                  <a:extLst>
                    <a:ext uri="{FF2B5EF4-FFF2-40B4-BE49-F238E27FC236}">
                      <a16:creationId xmlns:a16="http://schemas.microsoft.com/office/drawing/2014/main" id="{2C00C636-76D1-4EE8-B956-66E369A8A639}"/>
                    </a:ext>
                  </a:extLst>
                </p:cNvPr>
                <p:cNvSpPr>
                  <a:spLocks noChangeAspect="1" noEditPoints="1"/>
                </p:cNvSpPr>
                <p:nvPr/>
              </p:nvSpPr>
              <p:spPr bwMode="auto">
                <a:xfrm>
                  <a:off x="7178376" y="2728743"/>
                  <a:ext cx="241695" cy="274320"/>
                </a:xfrm>
                <a:custGeom>
                  <a:avLst/>
                  <a:gdLst>
                    <a:gd name="T0" fmla="*/ 105 w 296"/>
                    <a:gd name="T1" fmla="*/ 225 h 337"/>
                    <a:gd name="T2" fmla="*/ 148 w 296"/>
                    <a:gd name="T3" fmla="*/ 182 h 337"/>
                    <a:gd name="T4" fmla="*/ 190 w 296"/>
                    <a:gd name="T5" fmla="*/ 225 h 337"/>
                    <a:gd name="T6" fmla="*/ 148 w 296"/>
                    <a:gd name="T7" fmla="*/ 267 h 337"/>
                    <a:gd name="T8" fmla="*/ 105 w 296"/>
                    <a:gd name="T9" fmla="*/ 225 h 337"/>
                    <a:gd name="T10" fmla="*/ 148 w 296"/>
                    <a:gd name="T11" fmla="*/ 267 h 337"/>
                    <a:gd name="T12" fmla="*/ 148 w 296"/>
                    <a:gd name="T13" fmla="*/ 337 h 337"/>
                    <a:gd name="T14" fmla="*/ 296 w 296"/>
                    <a:gd name="T15" fmla="*/ 61 h 337"/>
                    <a:gd name="T16" fmla="*/ 148 w 296"/>
                    <a:gd name="T17" fmla="*/ 0 h 337"/>
                    <a:gd name="T18" fmla="*/ 0 w 296"/>
                    <a:gd name="T19" fmla="*/ 62 h 337"/>
                    <a:gd name="T20" fmla="*/ 255 w 296"/>
                    <a:gd name="T21" fmla="*/ 104 h 337"/>
                    <a:gd name="T22" fmla="*/ 149 w 296"/>
                    <a:gd name="T23" fmla="*/ 60 h 337"/>
                    <a:gd name="T24" fmla="*/ 41 w 296"/>
                    <a:gd name="T25" fmla="*/ 105 h 337"/>
                    <a:gd name="T26" fmla="*/ 208 w 296"/>
                    <a:gd name="T27" fmla="*/ 150 h 337"/>
                    <a:gd name="T28" fmla="*/ 148 w 296"/>
                    <a:gd name="T29" fmla="*/ 125 h 337"/>
                    <a:gd name="T30" fmla="*/ 88 w 296"/>
                    <a:gd name="T31" fmla="*/ 14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337">
                      <a:moveTo>
                        <a:pt x="105" y="225"/>
                      </a:moveTo>
                      <a:cubicBezTo>
                        <a:pt x="105" y="201"/>
                        <a:pt x="124" y="182"/>
                        <a:pt x="148" y="182"/>
                      </a:cubicBezTo>
                      <a:cubicBezTo>
                        <a:pt x="171" y="182"/>
                        <a:pt x="190" y="201"/>
                        <a:pt x="190" y="225"/>
                      </a:cubicBezTo>
                      <a:cubicBezTo>
                        <a:pt x="190" y="248"/>
                        <a:pt x="171" y="267"/>
                        <a:pt x="148" y="267"/>
                      </a:cubicBezTo>
                      <a:cubicBezTo>
                        <a:pt x="124" y="267"/>
                        <a:pt x="105" y="248"/>
                        <a:pt x="105" y="225"/>
                      </a:cubicBezTo>
                      <a:close/>
                      <a:moveTo>
                        <a:pt x="148" y="267"/>
                      </a:moveTo>
                      <a:cubicBezTo>
                        <a:pt x="148" y="337"/>
                        <a:pt x="148" y="337"/>
                        <a:pt x="148" y="337"/>
                      </a:cubicBezTo>
                      <a:moveTo>
                        <a:pt x="296" y="61"/>
                      </a:moveTo>
                      <a:cubicBezTo>
                        <a:pt x="258" y="23"/>
                        <a:pt x="206" y="0"/>
                        <a:pt x="148" y="0"/>
                      </a:cubicBezTo>
                      <a:cubicBezTo>
                        <a:pt x="90" y="0"/>
                        <a:pt x="38" y="24"/>
                        <a:pt x="0" y="62"/>
                      </a:cubicBezTo>
                      <a:moveTo>
                        <a:pt x="255" y="104"/>
                      </a:moveTo>
                      <a:cubicBezTo>
                        <a:pt x="228" y="77"/>
                        <a:pt x="190" y="60"/>
                        <a:pt x="149" y="60"/>
                      </a:cubicBezTo>
                      <a:cubicBezTo>
                        <a:pt x="106" y="60"/>
                        <a:pt x="68" y="77"/>
                        <a:pt x="41" y="105"/>
                      </a:cubicBezTo>
                      <a:moveTo>
                        <a:pt x="208" y="150"/>
                      </a:moveTo>
                      <a:cubicBezTo>
                        <a:pt x="192" y="134"/>
                        <a:pt x="171" y="125"/>
                        <a:pt x="148" y="125"/>
                      </a:cubicBezTo>
                      <a:cubicBezTo>
                        <a:pt x="124" y="125"/>
                        <a:pt x="103" y="134"/>
                        <a:pt x="88" y="149"/>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cxnSp>
          <p:nvCxnSpPr>
            <p:cNvPr id="49" name="Straight Connector 48">
              <a:extLst>
                <a:ext uri="{FF2B5EF4-FFF2-40B4-BE49-F238E27FC236}">
                  <a16:creationId xmlns:a16="http://schemas.microsoft.com/office/drawing/2014/main" id="{923844B3-D988-477D-AE54-D02EBA99A641}"/>
                </a:ext>
              </a:extLst>
            </p:cNvPr>
            <p:cNvCxnSpPr/>
            <p:nvPr/>
          </p:nvCxnSpPr>
          <p:spPr>
            <a:xfrm>
              <a:off x="6801883" y="2875009"/>
              <a:ext cx="4937760" cy="0"/>
            </a:xfrm>
            <a:prstGeom prst="line">
              <a:avLst/>
            </a:prstGeom>
            <a:ln w="9525">
              <a:headEnd type="none"/>
              <a:tailEnd type="none"/>
            </a:ln>
          </p:spPr>
          <p:style>
            <a:lnRef idx="2">
              <a:schemeClr val="accent1"/>
            </a:lnRef>
            <a:fillRef idx="0">
              <a:schemeClr val="accent1"/>
            </a:fillRef>
            <a:effectRef idx="1">
              <a:schemeClr val="accent1"/>
            </a:effectRef>
            <a:fontRef idx="minor">
              <a:schemeClr val="tx1"/>
            </a:fontRef>
          </p:style>
        </p:cxnSp>
      </p:grpSp>
      <p:grpSp>
        <p:nvGrpSpPr>
          <p:cNvPr id="54" name="Group 53">
            <a:extLst>
              <a:ext uri="{FF2B5EF4-FFF2-40B4-BE49-F238E27FC236}">
                <a16:creationId xmlns:a16="http://schemas.microsoft.com/office/drawing/2014/main" id="{9CAB0B3D-F71D-4C15-95CA-7ED67852DAC4}"/>
              </a:ext>
            </a:extLst>
          </p:cNvPr>
          <p:cNvGrpSpPr/>
          <p:nvPr/>
        </p:nvGrpSpPr>
        <p:grpSpPr>
          <a:xfrm>
            <a:off x="6679646" y="2855058"/>
            <a:ext cx="5049362" cy="574456"/>
            <a:chOff x="6801883" y="2923320"/>
            <a:chExt cx="5049362" cy="574456"/>
          </a:xfrm>
        </p:grpSpPr>
        <p:grpSp>
          <p:nvGrpSpPr>
            <p:cNvPr id="55" name="Group 54">
              <a:extLst>
                <a:ext uri="{FF2B5EF4-FFF2-40B4-BE49-F238E27FC236}">
                  <a16:creationId xmlns:a16="http://schemas.microsoft.com/office/drawing/2014/main" id="{B8EA3A0C-7026-4F18-ABCB-27B0B622687C}"/>
                </a:ext>
              </a:extLst>
            </p:cNvPr>
            <p:cNvGrpSpPr/>
            <p:nvPr/>
          </p:nvGrpSpPr>
          <p:grpSpPr>
            <a:xfrm>
              <a:off x="6801883" y="2923320"/>
              <a:ext cx="5049362" cy="526145"/>
              <a:chOff x="7036151" y="3212693"/>
              <a:chExt cx="5049362" cy="526145"/>
            </a:xfrm>
          </p:grpSpPr>
          <p:sp>
            <p:nvSpPr>
              <p:cNvPr id="57" name="Rectangle 56">
                <a:extLst>
                  <a:ext uri="{FF2B5EF4-FFF2-40B4-BE49-F238E27FC236}">
                    <a16:creationId xmlns:a16="http://schemas.microsoft.com/office/drawing/2014/main" id="{3E20B4C3-4CCD-4559-A7A9-196A7D2F5458}"/>
                  </a:ext>
                </a:extLst>
              </p:cNvPr>
              <p:cNvSpPr/>
              <p:nvPr/>
            </p:nvSpPr>
            <p:spPr>
              <a:xfrm>
                <a:off x="7667159" y="3378815"/>
                <a:ext cx="4418354" cy="193899"/>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Dashboards, visualization, and insights</a:t>
                </a:r>
              </a:p>
            </p:txBody>
          </p:sp>
          <p:grpSp>
            <p:nvGrpSpPr>
              <p:cNvPr id="58" name="Group 57">
                <a:extLst>
                  <a:ext uri="{FF2B5EF4-FFF2-40B4-BE49-F238E27FC236}">
                    <a16:creationId xmlns:a16="http://schemas.microsoft.com/office/drawing/2014/main" id="{4F6EC350-30FB-4CBB-80FA-E17717CA2DFD}"/>
                  </a:ext>
                </a:extLst>
              </p:cNvPr>
              <p:cNvGrpSpPr/>
              <p:nvPr/>
            </p:nvGrpSpPr>
            <p:grpSpPr>
              <a:xfrm>
                <a:off x="7036151" y="3212693"/>
                <a:ext cx="526145" cy="526145"/>
                <a:chOff x="7036151" y="3212693"/>
                <a:chExt cx="526145" cy="526145"/>
              </a:xfrm>
            </p:grpSpPr>
            <p:sp>
              <p:nvSpPr>
                <p:cNvPr id="59" name="Oval 58">
                  <a:extLst>
                    <a:ext uri="{FF2B5EF4-FFF2-40B4-BE49-F238E27FC236}">
                      <a16:creationId xmlns:a16="http://schemas.microsoft.com/office/drawing/2014/main" id="{DDBC3F3F-EF49-442F-AEA2-7B30F34C16D7}"/>
                    </a:ext>
                  </a:extLst>
                </p:cNvPr>
                <p:cNvSpPr/>
                <p:nvPr/>
              </p:nvSpPr>
              <p:spPr bwMode="auto">
                <a:xfrm>
                  <a:off x="7036151" y="3212693"/>
                  <a:ext cx="526145" cy="52614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60" name="BarChartHorizontal_E9EB" title="Icon of a horizontal bar graph">
                  <a:extLst>
                    <a:ext uri="{FF2B5EF4-FFF2-40B4-BE49-F238E27FC236}">
                      <a16:creationId xmlns:a16="http://schemas.microsoft.com/office/drawing/2014/main" id="{A9138467-1302-4377-9D7F-59DF05E44006}"/>
                    </a:ext>
                  </a:extLst>
                </p:cNvPr>
                <p:cNvSpPr>
                  <a:spLocks noChangeAspect="1" noEditPoints="1"/>
                </p:cNvSpPr>
                <p:nvPr/>
              </p:nvSpPr>
              <p:spPr bwMode="auto">
                <a:xfrm>
                  <a:off x="7162063" y="3338605"/>
                  <a:ext cx="274320" cy="274320"/>
                </a:xfrm>
                <a:custGeom>
                  <a:avLst/>
                  <a:gdLst>
                    <a:gd name="T0" fmla="*/ 105 w 709"/>
                    <a:gd name="T1" fmla="*/ 184 h 709"/>
                    <a:gd name="T2" fmla="*/ 105 w 709"/>
                    <a:gd name="T3" fmla="*/ 79 h 709"/>
                    <a:gd name="T4" fmla="*/ 525 w 709"/>
                    <a:gd name="T5" fmla="*/ 79 h 709"/>
                    <a:gd name="T6" fmla="*/ 525 w 709"/>
                    <a:gd name="T7" fmla="*/ 184 h 709"/>
                    <a:gd name="T8" fmla="*/ 105 w 709"/>
                    <a:gd name="T9" fmla="*/ 184 h 709"/>
                    <a:gd name="T10" fmla="*/ 420 w 709"/>
                    <a:gd name="T11" fmla="*/ 394 h 709"/>
                    <a:gd name="T12" fmla="*/ 420 w 709"/>
                    <a:gd name="T13" fmla="*/ 289 h 709"/>
                    <a:gd name="T14" fmla="*/ 105 w 709"/>
                    <a:gd name="T15" fmla="*/ 289 h 709"/>
                    <a:gd name="T16" fmla="*/ 105 w 709"/>
                    <a:gd name="T17" fmla="*/ 394 h 709"/>
                    <a:gd name="T18" fmla="*/ 420 w 709"/>
                    <a:gd name="T19" fmla="*/ 394 h 709"/>
                    <a:gd name="T20" fmla="*/ 630 w 709"/>
                    <a:gd name="T21" fmla="*/ 604 h 709"/>
                    <a:gd name="T22" fmla="*/ 630 w 709"/>
                    <a:gd name="T23" fmla="*/ 499 h 709"/>
                    <a:gd name="T24" fmla="*/ 105 w 709"/>
                    <a:gd name="T25" fmla="*/ 499 h 709"/>
                    <a:gd name="T26" fmla="*/ 105 w 709"/>
                    <a:gd name="T27" fmla="*/ 604 h 709"/>
                    <a:gd name="T28" fmla="*/ 630 w 709"/>
                    <a:gd name="T29" fmla="*/ 604 h 709"/>
                    <a:gd name="T30" fmla="*/ 0 w 709"/>
                    <a:gd name="T31" fmla="*/ 0 h 709"/>
                    <a:gd name="T32" fmla="*/ 0 w 709"/>
                    <a:gd name="T33" fmla="*/ 709 h 709"/>
                    <a:gd name="T34" fmla="*/ 709 w 709"/>
                    <a:gd name="T35"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9" h="709">
                      <a:moveTo>
                        <a:pt x="105" y="184"/>
                      </a:moveTo>
                      <a:lnTo>
                        <a:pt x="105" y="79"/>
                      </a:lnTo>
                      <a:lnTo>
                        <a:pt x="525" y="79"/>
                      </a:lnTo>
                      <a:lnTo>
                        <a:pt x="525" y="184"/>
                      </a:lnTo>
                      <a:lnTo>
                        <a:pt x="105" y="184"/>
                      </a:lnTo>
                      <a:moveTo>
                        <a:pt x="420" y="394"/>
                      </a:moveTo>
                      <a:lnTo>
                        <a:pt x="420" y="289"/>
                      </a:lnTo>
                      <a:lnTo>
                        <a:pt x="105" y="289"/>
                      </a:lnTo>
                      <a:lnTo>
                        <a:pt x="105" y="394"/>
                      </a:lnTo>
                      <a:lnTo>
                        <a:pt x="420" y="394"/>
                      </a:lnTo>
                      <a:moveTo>
                        <a:pt x="630" y="604"/>
                      </a:moveTo>
                      <a:lnTo>
                        <a:pt x="630" y="499"/>
                      </a:lnTo>
                      <a:lnTo>
                        <a:pt x="105" y="499"/>
                      </a:lnTo>
                      <a:lnTo>
                        <a:pt x="105" y="604"/>
                      </a:lnTo>
                      <a:lnTo>
                        <a:pt x="630" y="604"/>
                      </a:lnTo>
                      <a:moveTo>
                        <a:pt x="0" y="0"/>
                      </a:moveTo>
                      <a:lnTo>
                        <a:pt x="0" y="709"/>
                      </a:lnTo>
                      <a:lnTo>
                        <a:pt x="709" y="709"/>
                      </a:ln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cxnSp>
          <p:nvCxnSpPr>
            <p:cNvPr id="56" name="Straight Connector 55">
              <a:extLst>
                <a:ext uri="{FF2B5EF4-FFF2-40B4-BE49-F238E27FC236}">
                  <a16:creationId xmlns:a16="http://schemas.microsoft.com/office/drawing/2014/main" id="{7D27EE8F-D03B-45ED-AB1D-E49CD59B95C4}"/>
                </a:ext>
              </a:extLst>
            </p:cNvPr>
            <p:cNvCxnSpPr/>
            <p:nvPr/>
          </p:nvCxnSpPr>
          <p:spPr>
            <a:xfrm>
              <a:off x="6801883" y="3497776"/>
              <a:ext cx="4937760" cy="0"/>
            </a:xfrm>
            <a:prstGeom prst="line">
              <a:avLst/>
            </a:prstGeom>
            <a:ln w="9525">
              <a:headEnd type="none"/>
              <a:tailEnd type="none"/>
            </a:ln>
          </p:spPr>
          <p:style>
            <a:lnRef idx="2">
              <a:schemeClr val="accent1"/>
            </a:lnRef>
            <a:fillRef idx="0">
              <a:schemeClr val="accent1"/>
            </a:fillRef>
            <a:effectRef idx="1">
              <a:schemeClr val="accent1"/>
            </a:effectRef>
            <a:fontRef idx="minor">
              <a:schemeClr val="tx1"/>
            </a:fontRef>
          </p:style>
        </p:cxnSp>
      </p:grpSp>
      <p:grpSp>
        <p:nvGrpSpPr>
          <p:cNvPr id="61" name="Group 60">
            <a:extLst>
              <a:ext uri="{FF2B5EF4-FFF2-40B4-BE49-F238E27FC236}">
                <a16:creationId xmlns:a16="http://schemas.microsoft.com/office/drawing/2014/main" id="{586DE693-A395-49BB-9ACF-D75B33FB48BF}"/>
              </a:ext>
            </a:extLst>
          </p:cNvPr>
          <p:cNvGrpSpPr/>
          <p:nvPr/>
        </p:nvGrpSpPr>
        <p:grpSpPr>
          <a:xfrm>
            <a:off x="6679646" y="3477825"/>
            <a:ext cx="4937760" cy="574456"/>
            <a:chOff x="6801883" y="3546087"/>
            <a:chExt cx="4937760" cy="574456"/>
          </a:xfrm>
        </p:grpSpPr>
        <p:grpSp>
          <p:nvGrpSpPr>
            <p:cNvPr id="62" name="Group 61">
              <a:extLst>
                <a:ext uri="{FF2B5EF4-FFF2-40B4-BE49-F238E27FC236}">
                  <a16:creationId xmlns:a16="http://schemas.microsoft.com/office/drawing/2014/main" id="{29C88F9B-92FE-4734-B66D-7E0A3C902767}"/>
                </a:ext>
              </a:extLst>
            </p:cNvPr>
            <p:cNvGrpSpPr/>
            <p:nvPr/>
          </p:nvGrpSpPr>
          <p:grpSpPr>
            <a:xfrm>
              <a:off x="6801883" y="3546087"/>
              <a:ext cx="3713391" cy="526145"/>
              <a:chOff x="7036151" y="4014026"/>
              <a:chExt cx="3713391" cy="526145"/>
            </a:xfrm>
          </p:grpSpPr>
          <p:sp>
            <p:nvSpPr>
              <p:cNvPr id="64" name="Rectangle 63">
                <a:extLst>
                  <a:ext uri="{FF2B5EF4-FFF2-40B4-BE49-F238E27FC236}">
                    <a16:creationId xmlns:a16="http://schemas.microsoft.com/office/drawing/2014/main" id="{3274FE42-C6E9-477E-9898-9F8192809AD9}"/>
                  </a:ext>
                </a:extLst>
              </p:cNvPr>
              <p:cNvSpPr/>
              <p:nvPr/>
            </p:nvSpPr>
            <p:spPr>
              <a:xfrm>
                <a:off x="7667160" y="4180148"/>
                <a:ext cx="3082382" cy="193899"/>
              </a:xfrm>
              <a:prstGeom prst="rect">
                <a:avLst/>
              </a:prstGeom>
            </p:spPr>
            <p:txBody>
              <a:bodyPr wrap="non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Workflow automation and integration</a:t>
                </a:r>
              </a:p>
            </p:txBody>
          </p:sp>
          <p:grpSp>
            <p:nvGrpSpPr>
              <p:cNvPr id="65" name="Group 64">
                <a:extLst>
                  <a:ext uri="{FF2B5EF4-FFF2-40B4-BE49-F238E27FC236}">
                    <a16:creationId xmlns:a16="http://schemas.microsoft.com/office/drawing/2014/main" id="{46ED4ABB-7353-4EE8-9A5B-332C9B528573}"/>
                  </a:ext>
                </a:extLst>
              </p:cNvPr>
              <p:cNvGrpSpPr/>
              <p:nvPr/>
            </p:nvGrpSpPr>
            <p:grpSpPr>
              <a:xfrm>
                <a:off x="7036151" y="4014026"/>
                <a:ext cx="526145" cy="526145"/>
                <a:chOff x="7036151" y="4014026"/>
                <a:chExt cx="526145" cy="526145"/>
              </a:xfrm>
            </p:grpSpPr>
            <p:sp>
              <p:nvSpPr>
                <p:cNvPr id="66" name="Oval 65">
                  <a:extLst>
                    <a:ext uri="{FF2B5EF4-FFF2-40B4-BE49-F238E27FC236}">
                      <a16:creationId xmlns:a16="http://schemas.microsoft.com/office/drawing/2014/main" id="{19F08FDD-55CE-4B5C-A5D1-F0C5A54FB975}"/>
                    </a:ext>
                  </a:extLst>
                </p:cNvPr>
                <p:cNvSpPr/>
                <p:nvPr/>
              </p:nvSpPr>
              <p:spPr bwMode="auto">
                <a:xfrm>
                  <a:off x="7036151" y="4014026"/>
                  <a:ext cx="526145" cy="52614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67" name="arrow_12" title="Icon of a circle made of a curved arrow pointing clockwise">
                  <a:extLst>
                    <a:ext uri="{FF2B5EF4-FFF2-40B4-BE49-F238E27FC236}">
                      <a16:creationId xmlns:a16="http://schemas.microsoft.com/office/drawing/2014/main" id="{8D311FA2-7340-4863-B73D-70AB773D25AD}"/>
                    </a:ext>
                  </a:extLst>
                </p:cNvPr>
                <p:cNvSpPr>
                  <a:spLocks noChangeAspect="1" noEditPoints="1"/>
                </p:cNvSpPr>
                <p:nvPr/>
              </p:nvSpPr>
              <p:spPr bwMode="auto">
                <a:xfrm>
                  <a:off x="7162063" y="4142243"/>
                  <a:ext cx="274320" cy="269710"/>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cxnSp>
          <p:nvCxnSpPr>
            <p:cNvPr id="63" name="Straight Connector 62">
              <a:extLst>
                <a:ext uri="{FF2B5EF4-FFF2-40B4-BE49-F238E27FC236}">
                  <a16:creationId xmlns:a16="http://schemas.microsoft.com/office/drawing/2014/main" id="{160EAB17-0374-4885-B216-2BAC2CCAE3ED}"/>
                </a:ext>
              </a:extLst>
            </p:cNvPr>
            <p:cNvCxnSpPr/>
            <p:nvPr/>
          </p:nvCxnSpPr>
          <p:spPr>
            <a:xfrm>
              <a:off x="6801883" y="4120543"/>
              <a:ext cx="4937760" cy="0"/>
            </a:xfrm>
            <a:prstGeom prst="line">
              <a:avLst/>
            </a:prstGeom>
            <a:ln w="9525">
              <a:headEnd type="none"/>
              <a:tailEnd type="none"/>
            </a:ln>
          </p:spPr>
          <p:style>
            <a:lnRef idx="2">
              <a:schemeClr val="accent1"/>
            </a:lnRef>
            <a:fillRef idx="0">
              <a:schemeClr val="accent1"/>
            </a:fillRef>
            <a:effectRef idx="1">
              <a:schemeClr val="accent1"/>
            </a:effectRef>
            <a:fontRef idx="minor">
              <a:schemeClr val="tx1"/>
            </a:fontRef>
          </p:style>
        </p:cxnSp>
      </p:grpSp>
      <p:grpSp>
        <p:nvGrpSpPr>
          <p:cNvPr id="68" name="Group 67">
            <a:extLst>
              <a:ext uri="{FF2B5EF4-FFF2-40B4-BE49-F238E27FC236}">
                <a16:creationId xmlns:a16="http://schemas.microsoft.com/office/drawing/2014/main" id="{CA2CC0C5-D97B-40D1-ABBB-30E2CECBA736}"/>
              </a:ext>
            </a:extLst>
          </p:cNvPr>
          <p:cNvGrpSpPr/>
          <p:nvPr/>
        </p:nvGrpSpPr>
        <p:grpSpPr>
          <a:xfrm>
            <a:off x="6679646" y="4100592"/>
            <a:ext cx="4937760" cy="574456"/>
            <a:chOff x="6801883" y="4168854"/>
            <a:chExt cx="4937760" cy="574456"/>
          </a:xfrm>
        </p:grpSpPr>
        <p:grpSp>
          <p:nvGrpSpPr>
            <p:cNvPr id="69" name="Group 68">
              <a:extLst>
                <a:ext uri="{FF2B5EF4-FFF2-40B4-BE49-F238E27FC236}">
                  <a16:creationId xmlns:a16="http://schemas.microsoft.com/office/drawing/2014/main" id="{53ACEDF8-E9DC-49A3-BA78-B21F5BF43CDC}"/>
                </a:ext>
              </a:extLst>
            </p:cNvPr>
            <p:cNvGrpSpPr/>
            <p:nvPr/>
          </p:nvGrpSpPr>
          <p:grpSpPr>
            <a:xfrm>
              <a:off x="6801883" y="4168854"/>
              <a:ext cx="2455226" cy="526145"/>
              <a:chOff x="7034568" y="4719623"/>
              <a:chExt cx="2455226" cy="526145"/>
            </a:xfrm>
          </p:grpSpPr>
          <p:sp>
            <p:nvSpPr>
              <p:cNvPr id="71" name="Rectangle 70">
                <a:extLst>
                  <a:ext uri="{FF2B5EF4-FFF2-40B4-BE49-F238E27FC236}">
                    <a16:creationId xmlns:a16="http://schemas.microsoft.com/office/drawing/2014/main" id="{F40D9ACD-9A8E-4290-BDC0-A73AD82CBA53}"/>
                  </a:ext>
                </a:extLst>
              </p:cNvPr>
              <p:cNvSpPr/>
              <p:nvPr/>
            </p:nvSpPr>
            <p:spPr>
              <a:xfrm>
                <a:off x="7665577" y="4885745"/>
                <a:ext cx="1824217" cy="193899"/>
              </a:xfrm>
              <a:prstGeom prst="rect">
                <a:avLst/>
              </a:prstGeom>
            </p:spPr>
            <p:txBody>
              <a:bodyPr wrap="non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Command and control</a:t>
                </a:r>
              </a:p>
            </p:txBody>
          </p:sp>
          <p:grpSp>
            <p:nvGrpSpPr>
              <p:cNvPr id="72" name="Group 71">
                <a:extLst>
                  <a:ext uri="{FF2B5EF4-FFF2-40B4-BE49-F238E27FC236}">
                    <a16:creationId xmlns:a16="http://schemas.microsoft.com/office/drawing/2014/main" id="{AD738359-2BB6-49C9-BFA0-5A538018BD67}"/>
                  </a:ext>
                </a:extLst>
              </p:cNvPr>
              <p:cNvGrpSpPr/>
              <p:nvPr/>
            </p:nvGrpSpPr>
            <p:grpSpPr>
              <a:xfrm>
                <a:off x="7034568" y="4719623"/>
                <a:ext cx="526145" cy="526145"/>
                <a:chOff x="7034568" y="4719623"/>
                <a:chExt cx="526145" cy="526145"/>
              </a:xfrm>
            </p:grpSpPr>
            <p:sp>
              <p:nvSpPr>
                <p:cNvPr id="73" name="Oval 72">
                  <a:extLst>
                    <a:ext uri="{FF2B5EF4-FFF2-40B4-BE49-F238E27FC236}">
                      <a16:creationId xmlns:a16="http://schemas.microsoft.com/office/drawing/2014/main" id="{C4BDE894-E5D6-4EA8-B19A-3FA33D5C1E96}"/>
                    </a:ext>
                  </a:extLst>
                </p:cNvPr>
                <p:cNvSpPr/>
                <p:nvPr/>
              </p:nvSpPr>
              <p:spPr bwMode="auto">
                <a:xfrm>
                  <a:off x="7034568" y="4719623"/>
                  <a:ext cx="526145" cy="52614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74" name="Remote" title="Icon of a remote control">
                  <a:extLst>
                    <a:ext uri="{FF2B5EF4-FFF2-40B4-BE49-F238E27FC236}">
                      <a16:creationId xmlns:a16="http://schemas.microsoft.com/office/drawing/2014/main" id="{EC1FC464-15BB-4CAF-A1C3-7E623B7D43C1}"/>
                    </a:ext>
                  </a:extLst>
                </p:cNvPr>
                <p:cNvSpPr>
                  <a:spLocks noChangeAspect="1" noEditPoints="1"/>
                </p:cNvSpPr>
                <p:nvPr/>
              </p:nvSpPr>
              <p:spPr bwMode="auto">
                <a:xfrm>
                  <a:off x="7226292" y="4810372"/>
                  <a:ext cx="142696" cy="344646"/>
                </a:xfrm>
                <a:custGeom>
                  <a:avLst/>
                  <a:gdLst>
                    <a:gd name="T0" fmla="*/ 107 w 131"/>
                    <a:gd name="T1" fmla="*/ 231 h 322"/>
                    <a:gd name="T2" fmla="*/ 87 w 131"/>
                    <a:gd name="T3" fmla="*/ 322 h 322"/>
                    <a:gd name="T4" fmla="*/ 23 w 131"/>
                    <a:gd name="T5" fmla="*/ 301 h 322"/>
                    <a:gd name="T6" fmla="*/ 0 w 131"/>
                    <a:gd name="T7" fmla="*/ 135 h 322"/>
                    <a:gd name="T8" fmla="*/ 22 w 131"/>
                    <a:gd name="T9" fmla="*/ 0 h 322"/>
                    <a:gd name="T10" fmla="*/ 131 w 131"/>
                    <a:gd name="T11" fmla="*/ 22 h 322"/>
                    <a:gd name="T12" fmla="*/ 66 w 131"/>
                    <a:gd name="T13" fmla="*/ 42 h 322"/>
                    <a:gd name="T14" fmla="*/ 64 w 131"/>
                    <a:gd name="T15" fmla="*/ 44 h 322"/>
                    <a:gd name="T16" fmla="*/ 66 w 131"/>
                    <a:gd name="T17" fmla="*/ 42 h 322"/>
                    <a:gd name="T18" fmla="*/ 86 w 131"/>
                    <a:gd name="T19" fmla="*/ 64 h 322"/>
                    <a:gd name="T20" fmla="*/ 88 w 131"/>
                    <a:gd name="T21" fmla="*/ 66 h 322"/>
                    <a:gd name="T22" fmla="*/ 45 w 131"/>
                    <a:gd name="T23" fmla="*/ 64 h 322"/>
                    <a:gd name="T24" fmla="*/ 43 w 131"/>
                    <a:gd name="T25" fmla="*/ 66 h 322"/>
                    <a:gd name="T26" fmla="*/ 45 w 131"/>
                    <a:gd name="T27" fmla="*/ 64 h 322"/>
                    <a:gd name="T28" fmla="*/ 86 w 131"/>
                    <a:gd name="T29" fmla="*/ 106 h 322"/>
                    <a:gd name="T30" fmla="*/ 88 w 131"/>
                    <a:gd name="T31" fmla="*/ 108 h 322"/>
                    <a:gd name="T32" fmla="*/ 45 w 131"/>
                    <a:gd name="T33" fmla="*/ 106 h 322"/>
                    <a:gd name="T34" fmla="*/ 43 w 131"/>
                    <a:gd name="T35" fmla="*/ 108 h 322"/>
                    <a:gd name="T36" fmla="*/ 45 w 131"/>
                    <a:gd name="T37" fmla="*/ 106 h 322"/>
                    <a:gd name="T38" fmla="*/ 86 w 131"/>
                    <a:gd name="T39" fmla="*/ 149 h 322"/>
                    <a:gd name="T40" fmla="*/ 88 w 131"/>
                    <a:gd name="T41" fmla="*/ 151 h 322"/>
                    <a:gd name="T42" fmla="*/ 45 w 131"/>
                    <a:gd name="T43" fmla="*/ 149 h 322"/>
                    <a:gd name="T44" fmla="*/ 43 w 131"/>
                    <a:gd name="T45" fmla="*/ 151 h 322"/>
                    <a:gd name="T46" fmla="*/ 45 w 131"/>
                    <a:gd name="T47" fmla="*/ 149 h 322"/>
                    <a:gd name="T48" fmla="*/ 64 w 131"/>
                    <a:gd name="T49" fmla="*/ 85 h 322"/>
                    <a:gd name="T50" fmla="*/ 66 w 131"/>
                    <a:gd name="T51" fmla="*/ 87 h 322"/>
                    <a:gd name="T52" fmla="*/ 66 w 131"/>
                    <a:gd name="T53" fmla="*/ 192 h 322"/>
                    <a:gd name="T54" fmla="*/ 64 w 131"/>
                    <a:gd name="T55" fmla="*/ 194 h 322"/>
                    <a:gd name="T56" fmla="*/ 66 w 131"/>
                    <a:gd name="T57" fmla="*/ 192 h 322"/>
                    <a:gd name="T58" fmla="*/ 64 w 131"/>
                    <a:gd name="T59" fmla="*/ 235 h 322"/>
                    <a:gd name="T60" fmla="*/ 66 w 131"/>
                    <a:gd name="T61" fmla="*/ 237 h 322"/>
                    <a:gd name="T62" fmla="*/ 66 w 131"/>
                    <a:gd name="T63" fmla="*/ 277 h 322"/>
                    <a:gd name="T64" fmla="*/ 64 w 131"/>
                    <a:gd name="T65" fmla="*/ 280 h 322"/>
                    <a:gd name="T66" fmla="*/ 66 w 131"/>
                    <a:gd name="T67" fmla="*/ 277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1" h="322">
                      <a:moveTo>
                        <a:pt x="130" y="135"/>
                      </a:moveTo>
                      <a:cubicBezTo>
                        <a:pt x="107" y="231"/>
                        <a:pt x="107" y="231"/>
                        <a:pt x="107" y="231"/>
                      </a:cubicBezTo>
                      <a:cubicBezTo>
                        <a:pt x="107" y="301"/>
                        <a:pt x="107" y="301"/>
                        <a:pt x="107" y="301"/>
                      </a:cubicBezTo>
                      <a:cubicBezTo>
                        <a:pt x="107" y="313"/>
                        <a:pt x="98" y="322"/>
                        <a:pt x="87" y="322"/>
                      </a:cubicBezTo>
                      <a:cubicBezTo>
                        <a:pt x="43" y="322"/>
                        <a:pt x="43" y="322"/>
                        <a:pt x="43" y="322"/>
                      </a:cubicBezTo>
                      <a:cubicBezTo>
                        <a:pt x="32" y="322"/>
                        <a:pt x="23" y="313"/>
                        <a:pt x="23" y="301"/>
                      </a:cubicBezTo>
                      <a:cubicBezTo>
                        <a:pt x="23" y="231"/>
                        <a:pt x="23" y="231"/>
                        <a:pt x="23" y="231"/>
                      </a:cubicBezTo>
                      <a:cubicBezTo>
                        <a:pt x="0" y="135"/>
                        <a:pt x="0" y="135"/>
                        <a:pt x="0" y="135"/>
                      </a:cubicBezTo>
                      <a:cubicBezTo>
                        <a:pt x="0" y="22"/>
                        <a:pt x="0" y="22"/>
                        <a:pt x="0" y="22"/>
                      </a:cubicBezTo>
                      <a:cubicBezTo>
                        <a:pt x="0" y="10"/>
                        <a:pt x="10" y="0"/>
                        <a:pt x="22" y="0"/>
                      </a:cubicBezTo>
                      <a:cubicBezTo>
                        <a:pt x="109" y="0"/>
                        <a:pt x="109" y="0"/>
                        <a:pt x="109" y="0"/>
                      </a:cubicBezTo>
                      <a:cubicBezTo>
                        <a:pt x="121" y="0"/>
                        <a:pt x="131" y="10"/>
                        <a:pt x="131" y="22"/>
                      </a:cubicBezTo>
                      <a:lnTo>
                        <a:pt x="130" y="135"/>
                      </a:lnTo>
                      <a:close/>
                      <a:moveTo>
                        <a:pt x="66" y="42"/>
                      </a:moveTo>
                      <a:cubicBezTo>
                        <a:pt x="64" y="42"/>
                        <a:pt x="64" y="42"/>
                        <a:pt x="64" y="42"/>
                      </a:cubicBezTo>
                      <a:cubicBezTo>
                        <a:pt x="64" y="44"/>
                        <a:pt x="64" y="44"/>
                        <a:pt x="64" y="44"/>
                      </a:cubicBezTo>
                      <a:cubicBezTo>
                        <a:pt x="66" y="44"/>
                        <a:pt x="66" y="44"/>
                        <a:pt x="66" y="44"/>
                      </a:cubicBezTo>
                      <a:lnTo>
                        <a:pt x="66" y="42"/>
                      </a:lnTo>
                      <a:close/>
                      <a:moveTo>
                        <a:pt x="88" y="64"/>
                      </a:moveTo>
                      <a:cubicBezTo>
                        <a:pt x="86" y="64"/>
                        <a:pt x="86" y="64"/>
                        <a:pt x="86" y="64"/>
                      </a:cubicBezTo>
                      <a:cubicBezTo>
                        <a:pt x="86" y="66"/>
                        <a:pt x="86" y="66"/>
                        <a:pt x="86" y="66"/>
                      </a:cubicBezTo>
                      <a:cubicBezTo>
                        <a:pt x="88" y="66"/>
                        <a:pt x="88" y="66"/>
                        <a:pt x="88" y="66"/>
                      </a:cubicBezTo>
                      <a:lnTo>
                        <a:pt x="88" y="64"/>
                      </a:lnTo>
                      <a:close/>
                      <a:moveTo>
                        <a:pt x="45" y="64"/>
                      </a:moveTo>
                      <a:cubicBezTo>
                        <a:pt x="43" y="64"/>
                        <a:pt x="43" y="64"/>
                        <a:pt x="43" y="64"/>
                      </a:cubicBezTo>
                      <a:cubicBezTo>
                        <a:pt x="43" y="66"/>
                        <a:pt x="43" y="66"/>
                        <a:pt x="43" y="66"/>
                      </a:cubicBezTo>
                      <a:cubicBezTo>
                        <a:pt x="45" y="66"/>
                        <a:pt x="45" y="66"/>
                        <a:pt x="45" y="66"/>
                      </a:cubicBezTo>
                      <a:lnTo>
                        <a:pt x="45" y="64"/>
                      </a:lnTo>
                      <a:close/>
                      <a:moveTo>
                        <a:pt x="88" y="106"/>
                      </a:moveTo>
                      <a:cubicBezTo>
                        <a:pt x="86" y="106"/>
                        <a:pt x="86" y="106"/>
                        <a:pt x="86" y="106"/>
                      </a:cubicBezTo>
                      <a:cubicBezTo>
                        <a:pt x="86" y="108"/>
                        <a:pt x="86" y="108"/>
                        <a:pt x="86" y="108"/>
                      </a:cubicBezTo>
                      <a:cubicBezTo>
                        <a:pt x="88" y="108"/>
                        <a:pt x="88" y="108"/>
                        <a:pt x="88" y="108"/>
                      </a:cubicBezTo>
                      <a:lnTo>
                        <a:pt x="88" y="106"/>
                      </a:lnTo>
                      <a:close/>
                      <a:moveTo>
                        <a:pt x="45" y="106"/>
                      </a:moveTo>
                      <a:cubicBezTo>
                        <a:pt x="43" y="106"/>
                        <a:pt x="43" y="106"/>
                        <a:pt x="43" y="106"/>
                      </a:cubicBezTo>
                      <a:cubicBezTo>
                        <a:pt x="43" y="108"/>
                        <a:pt x="43" y="108"/>
                        <a:pt x="43" y="108"/>
                      </a:cubicBezTo>
                      <a:cubicBezTo>
                        <a:pt x="45" y="108"/>
                        <a:pt x="45" y="108"/>
                        <a:pt x="45" y="108"/>
                      </a:cubicBezTo>
                      <a:lnTo>
                        <a:pt x="45" y="106"/>
                      </a:lnTo>
                      <a:close/>
                      <a:moveTo>
                        <a:pt x="88" y="149"/>
                      </a:moveTo>
                      <a:cubicBezTo>
                        <a:pt x="86" y="149"/>
                        <a:pt x="86" y="149"/>
                        <a:pt x="86" y="149"/>
                      </a:cubicBezTo>
                      <a:cubicBezTo>
                        <a:pt x="86" y="151"/>
                        <a:pt x="86" y="151"/>
                        <a:pt x="86" y="151"/>
                      </a:cubicBezTo>
                      <a:cubicBezTo>
                        <a:pt x="88" y="151"/>
                        <a:pt x="88" y="151"/>
                        <a:pt x="88" y="151"/>
                      </a:cubicBezTo>
                      <a:lnTo>
                        <a:pt x="88" y="149"/>
                      </a:lnTo>
                      <a:close/>
                      <a:moveTo>
                        <a:pt x="45" y="149"/>
                      </a:moveTo>
                      <a:cubicBezTo>
                        <a:pt x="43" y="149"/>
                        <a:pt x="43" y="149"/>
                        <a:pt x="43" y="149"/>
                      </a:cubicBezTo>
                      <a:cubicBezTo>
                        <a:pt x="43" y="151"/>
                        <a:pt x="43" y="151"/>
                        <a:pt x="43" y="151"/>
                      </a:cubicBezTo>
                      <a:cubicBezTo>
                        <a:pt x="45" y="151"/>
                        <a:pt x="45" y="151"/>
                        <a:pt x="45" y="151"/>
                      </a:cubicBezTo>
                      <a:lnTo>
                        <a:pt x="45" y="149"/>
                      </a:lnTo>
                      <a:close/>
                      <a:moveTo>
                        <a:pt x="66" y="85"/>
                      </a:moveTo>
                      <a:cubicBezTo>
                        <a:pt x="64" y="85"/>
                        <a:pt x="64" y="85"/>
                        <a:pt x="64" y="85"/>
                      </a:cubicBezTo>
                      <a:cubicBezTo>
                        <a:pt x="64" y="87"/>
                        <a:pt x="64" y="87"/>
                        <a:pt x="64" y="87"/>
                      </a:cubicBezTo>
                      <a:cubicBezTo>
                        <a:pt x="66" y="87"/>
                        <a:pt x="66" y="87"/>
                        <a:pt x="66" y="87"/>
                      </a:cubicBezTo>
                      <a:lnTo>
                        <a:pt x="66" y="85"/>
                      </a:lnTo>
                      <a:close/>
                      <a:moveTo>
                        <a:pt x="66" y="192"/>
                      </a:moveTo>
                      <a:cubicBezTo>
                        <a:pt x="64" y="192"/>
                        <a:pt x="64" y="192"/>
                        <a:pt x="64" y="192"/>
                      </a:cubicBezTo>
                      <a:cubicBezTo>
                        <a:pt x="64" y="194"/>
                        <a:pt x="64" y="194"/>
                        <a:pt x="64" y="194"/>
                      </a:cubicBezTo>
                      <a:cubicBezTo>
                        <a:pt x="66" y="194"/>
                        <a:pt x="66" y="194"/>
                        <a:pt x="66" y="194"/>
                      </a:cubicBezTo>
                      <a:lnTo>
                        <a:pt x="66" y="192"/>
                      </a:lnTo>
                      <a:close/>
                      <a:moveTo>
                        <a:pt x="66" y="235"/>
                      </a:moveTo>
                      <a:cubicBezTo>
                        <a:pt x="64" y="235"/>
                        <a:pt x="64" y="235"/>
                        <a:pt x="64" y="235"/>
                      </a:cubicBezTo>
                      <a:cubicBezTo>
                        <a:pt x="64" y="237"/>
                        <a:pt x="64" y="237"/>
                        <a:pt x="64" y="237"/>
                      </a:cubicBezTo>
                      <a:cubicBezTo>
                        <a:pt x="66" y="237"/>
                        <a:pt x="66" y="237"/>
                        <a:pt x="66" y="237"/>
                      </a:cubicBezTo>
                      <a:lnTo>
                        <a:pt x="66" y="235"/>
                      </a:lnTo>
                      <a:close/>
                      <a:moveTo>
                        <a:pt x="66" y="277"/>
                      </a:moveTo>
                      <a:cubicBezTo>
                        <a:pt x="64" y="277"/>
                        <a:pt x="64" y="277"/>
                        <a:pt x="64" y="277"/>
                      </a:cubicBezTo>
                      <a:cubicBezTo>
                        <a:pt x="64" y="280"/>
                        <a:pt x="64" y="280"/>
                        <a:pt x="64" y="280"/>
                      </a:cubicBezTo>
                      <a:cubicBezTo>
                        <a:pt x="66" y="280"/>
                        <a:pt x="66" y="280"/>
                        <a:pt x="66" y="280"/>
                      </a:cubicBezTo>
                      <a:lnTo>
                        <a:pt x="66" y="277"/>
                      </a:lnTo>
                      <a:close/>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cxnSp>
          <p:nvCxnSpPr>
            <p:cNvPr id="70" name="Straight Connector 69">
              <a:extLst>
                <a:ext uri="{FF2B5EF4-FFF2-40B4-BE49-F238E27FC236}">
                  <a16:creationId xmlns:a16="http://schemas.microsoft.com/office/drawing/2014/main" id="{F0F289AE-74CC-481E-B329-E4B8C12F59B3}"/>
                </a:ext>
              </a:extLst>
            </p:cNvPr>
            <p:cNvCxnSpPr/>
            <p:nvPr/>
          </p:nvCxnSpPr>
          <p:spPr>
            <a:xfrm>
              <a:off x="6801883" y="4743310"/>
              <a:ext cx="4937760" cy="0"/>
            </a:xfrm>
            <a:prstGeom prst="line">
              <a:avLst/>
            </a:prstGeom>
            <a:ln w="9525">
              <a:headEnd type="none"/>
              <a:tailEnd type="none"/>
            </a:ln>
          </p:spPr>
          <p:style>
            <a:lnRef idx="2">
              <a:schemeClr val="accent1"/>
            </a:lnRef>
            <a:fillRef idx="0">
              <a:schemeClr val="accent1"/>
            </a:fillRef>
            <a:effectRef idx="1">
              <a:schemeClr val="accent1"/>
            </a:effectRef>
            <a:fontRef idx="minor">
              <a:schemeClr val="tx1"/>
            </a:fontRef>
          </p:style>
        </p:cxnSp>
      </p:grpSp>
      <p:grpSp>
        <p:nvGrpSpPr>
          <p:cNvPr id="75" name="Group 74">
            <a:extLst>
              <a:ext uri="{FF2B5EF4-FFF2-40B4-BE49-F238E27FC236}">
                <a16:creationId xmlns:a16="http://schemas.microsoft.com/office/drawing/2014/main" id="{D804DAD9-C8AB-4E72-8BB8-7CEF30477C03}"/>
              </a:ext>
            </a:extLst>
          </p:cNvPr>
          <p:cNvGrpSpPr/>
          <p:nvPr/>
        </p:nvGrpSpPr>
        <p:grpSpPr>
          <a:xfrm>
            <a:off x="6679646" y="4759588"/>
            <a:ext cx="4937760" cy="602853"/>
            <a:chOff x="6801883" y="4827850"/>
            <a:chExt cx="4937760" cy="602853"/>
          </a:xfrm>
        </p:grpSpPr>
        <p:grpSp>
          <p:nvGrpSpPr>
            <p:cNvPr id="76" name="Group 75">
              <a:extLst>
                <a:ext uri="{FF2B5EF4-FFF2-40B4-BE49-F238E27FC236}">
                  <a16:creationId xmlns:a16="http://schemas.microsoft.com/office/drawing/2014/main" id="{635F87C0-918A-47FC-B569-51BCC195EC43}"/>
                </a:ext>
              </a:extLst>
            </p:cNvPr>
            <p:cNvGrpSpPr/>
            <p:nvPr/>
          </p:nvGrpSpPr>
          <p:grpSpPr>
            <a:xfrm>
              <a:off x="6801883" y="4827850"/>
              <a:ext cx="2564231" cy="526145"/>
              <a:chOff x="6619594" y="4827850"/>
              <a:chExt cx="2564231" cy="526145"/>
            </a:xfrm>
          </p:grpSpPr>
          <p:sp>
            <p:nvSpPr>
              <p:cNvPr id="78" name="Rectangle 77">
                <a:extLst>
                  <a:ext uri="{FF2B5EF4-FFF2-40B4-BE49-F238E27FC236}">
                    <a16:creationId xmlns:a16="http://schemas.microsoft.com/office/drawing/2014/main" id="{07D1749B-37F1-462A-BFC9-0959C52901EA}"/>
                  </a:ext>
                </a:extLst>
              </p:cNvPr>
              <p:cNvSpPr/>
              <p:nvPr/>
            </p:nvSpPr>
            <p:spPr>
              <a:xfrm>
                <a:off x="7250603" y="4993972"/>
                <a:ext cx="1933222" cy="193899"/>
              </a:xfrm>
              <a:prstGeom prst="rect">
                <a:avLst/>
              </a:prstGeom>
            </p:spPr>
            <p:txBody>
              <a:bodyPr wrap="non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Preconfigured solutions</a:t>
                </a:r>
              </a:p>
            </p:txBody>
          </p:sp>
          <p:grpSp>
            <p:nvGrpSpPr>
              <p:cNvPr id="79" name="Group 78">
                <a:extLst>
                  <a:ext uri="{FF2B5EF4-FFF2-40B4-BE49-F238E27FC236}">
                    <a16:creationId xmlns:a16="http://schemas.microsoft.com/office/drawing/2014/main" id="{E6977D95-99D5-45C7-AE9F-1CA236D89E4F}"/>
                  </a:ext>
                </a:extLst>
              </p:cNvPr>
              <p:cNvGrpSpPr/>
              <p:nvPr/>
            </p:nvGrpSpPr>
            <p:grpSpPr>
              <a:xfrm>
                <a:off x="6619594" y="4827850"/>
                <a:ext cx="526145" cy="526145"/>
                <a:chOff x="7007491" y="5513790"/>
                <a:chExt cx="526145" cy="526145"/>
              </a:xfrm>
            </p:grpSpPr>
            <p:sp>
              <p:nvSpPr>
                <p:cNvPr id="80" name="Oval 79">
                  <a:extLst>
                    <a:ext uri="{FF2B5EF4-FFF2-40B4-BE49-F238E27FC236}">
                      <a16:creationId xmlns:a16="http://schemas.microsoft.com/office/drawing/2014/main" id="{00670A6C-370C-4F0E-90CC-2E5A7C771126}"/>
                    </a:ext>
                  </a:extLst>
                </p:cNvPr>
                <p:cNvSpPr/>
                <p:nvPr/>
              </p:nvSpPr>
              <p:spPr bwMode="auto">
                <a:xfrm>
                  <a:off x="7007491" y="5513790"/>
                  <a:ext cx="526145" cy="52614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81" name="Website" title="Icon of multiple app windows">
                  <a:extLst>
                    <a:ext uri="{FF2B5EF4-FFF2-40B4-BE49-F238E27FC236}">
                      <a16:creationId xmlns:a16="http://schemas.microsoft.com/office/drawing/2014/main" id="{A436A2AA-2167-411C-8896-68A5EF2180C5}"/>
                    </a:ext>
                  </a:extLst>
                </p:cNvPr>
                <p:cNvSpPr>
                  <a:spLocks noChangeAspect="1" noEditPoints="1"/>
                </p:cNvSpPr>
                <p:nvPr/>
              </p:nvSpPr>
              <p:spPr bwMode="auto">
                <a:xfrm>
                  <a:off x="7114028" y="5639702"/>
                  <a:ext cx="313071" cy="274320"/>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cxnSp>
          <p:nvCxnSpPr>
            <p:cNvPr id="77" name="Straight Connector 76">
              <a:extLst>
                <a:ext uri="{FF2B5EF4-FFF2-40B4-BE49-F238E27FC236}">
                  <a16:creationId xmlns:a16="http://schemas.microsoft.com/office/drawing/2014/main" id="{1078DDEA-2437-4414-8EEC-8D07218B57E6}"/>
                </a:ext>
              </a:extLst>
            </p:cNvPr>
            <p:cNvCxnSpPr/>
            <p:nvPr/>
          </p:nvCxnSpPr>
          <p:spPr>
            <a:xfrm>
              <a:off x="6801883" y="5430703"/>
              <a:ext cx="4937760" cy="0"/>
            </a:xfrm>
            <a:prstGeom prst="line">
              <a:avLst/>
            </a:prstGeom>
            <a:ln w="9525">
              <a:headEnd type="none"/>
              <a:tailEnd type="none"/>
            </a:ln>
          </p:spPr>
          <p:style>
            <a:lnRef idx="2">
              <a:schemeClr val="accent1"/>
            </a:lnRef>
            <a:fillRef idx="0">
              <a:schemeClr val="accent1"/>
            </a:fillRef>
            <a:effectRef idx="1">
              <a:schemeClr val="accent1"/>
            </a:effectRef>
            <a:fontRef idx="minor">
              <a:schemeClr val="tx1"/>
            </a:fontRef>
          </p:style>
        </p:cxnSp>
      </p:grpSp>
      <p:grpSp>
        <p:nvGrpSpPr>
          <p:cNvPr id="82" name="Group 81">
            <a:extLst>
              <a:ext uri="{FF2B5EF4-FFF2-40B4-BE49-F238E27FC236}">
                <a16:creationId xmlns:a16="http://schemas.microsoft.com/office/drawing/2014/main" id="{155F0139-EE8D-4FF4-8267-26583E3ADE89}"/>
              </a:ext>
            </a:extLst>
          </p:cNvPr>
          <p:cNvGrpSpPr/>
          <p:nvPr/>
        </p:nvGrpSpPr>
        <p:grpSpPr>
          <a:xfrm>
            <a:off x="-173374" y="0"/>
            <a:ext cx="2910776" cy="2441199"/>
            <a:chOff x="-132062" y="0"/>
            <a:chExt cx="2132312" cy="1838325"/>
          </a:xfrm>
        </p:grpSpPr>
        <p:sp>
          <p:nvSpPr>
            <p:cNvPr id="83" name="Diagonal Stripe 82">
              <a:extLst>
                <a:ext uri="{FF2B5EF4-FFF2-40B4-BE49-F238E27FC236}">
                  <a16:creationId xmlns:a16="http://schemas.microsoft.com/office/drawing/2014/main" id="{613EF7AE-D4BB-4377-88BB-CF67A262A91E}"/>
                </a:ext>
              </a:extLst>
            </p:cNvPr>
            <p:cNvSpPr/>
            <p:nvPr/>
          </p:nvSpPr>
          <p:spPr bwMode="auto">
            <a:xfrm>
              <a:off x="0" y="0"/>
              <a:ext cx="2000250" cy="1838325"/>
            </a:xfrm>
            <a:prstGeom prst="diagStripe">
              <a:avLst>
                <a:gd name="adj" fmla="val 62953"/>
              </a:avLst>
            </a:prstGeom>
            <a:solidFill>
              <a:srgbClr val="C00000"/>
            </a:solidFill>
            <a:ln>
              <a:noFill/>
            </a:ln>
          </p:spPr>
          <p:style>
            <a:lnRef idx="0">
              <a:scrgbClr r="0" g="0" b="0"/>
            </a:lnRef>
            <a:fillRef idx="0">
              <a:scrgbClr r="0" g="0" b="0"/>
            </a:fillRef>
            <a:effectRef idx="0">
              <a:scrgbClr r="0" g="0" b="0"/>
            </a:effectRef>
            <a:fontRef idx="minor">
              <a:schemeClr val="lt1"/>
            </a:fontRef>
          </p:style>
          <p:txBody>
            <a:bodyPr vert="horz" wrap="square" lIns="0" tIns="46637" rIns="0" bIns="46637"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a:ea typeface="+mn-ea"/>
                <a:cs typeface="+mn-cs"/>
              </a:endParaRPr>
            </a:p>
          </p:txBody>
        </p:sp>
        <p:sp>
          <p:nvSpPr>
            <p:cNvPr id="84" name="Rectangle 83">
              <a:extLst>
                <a:ext uri="{FF2B5EF4-FFF2-40B4-BE49-F238E27FC236}">
                  <a16:creationId xmlns:a16="http://schemas.microsoft.com/office/drawing/2014/main" id="{F7EFC71F-BDCD-43B8-9847-4600511F046A}"/>
                </a:ext>
              </a:extLst>
            </p:cNvPr>
            <p:cNvSpPr/>
            <p:nvPr/>
          </p:nvSpPr>
          <p:spPr>
            <a:xfrm rot="19074741">
              <a:off x="-132062" y="642150"/>
              <a:ext cx="1801083" cy="301300"/>
            </a:xfrm>
            <a:prstGeom prst="rect">
              <a:avLst/>
            </a:prstGeom>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Segoe UI"/>
                  <a:ea typeface="+mn-ea"/>
                  <a:cs typeface="Segoe UI Semibold" panose="020B0702040204020203" pitchFamily="34" charset="0"/>
                </a:rPr>
                <a:t>Generally available</a:t>
              </a:r>
            </a:p>
          </p:txBody>
        </p:sp>
      </p:grpSp>
    </p:spTree>
    <p:extLst>
      <p:ext uri="{BB962C8B-B14F-4D97-AF65-F5344CB8AC3E}">
        <p14:creationId xmlns:p14="http://schemas.microsoft.com/office/powerpoint/2010/main" val="3431553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750" fill="hold"/>
                                        <p:tgtEl>
                                          <p:spTgt spid="85"/>
                                        </p:tgtEl>
                                        <p:attrNameLst>
                                          <p:attrName>ppt_x</p:attrName>
                                        </p:attrNameLst>
                                      </p:cBhvr>
                                      <p:tavLst>
                                        <p:tav tm="0">
                                          <p:val>
                                            <p:strVal val="0-#ppt_w/2"/>
                                          </p:val>
                                        </p:tav>
                                        <p:tav tm="100000">
                                          <p:val>
                                            <p:strVal val="#ppt_x"/>
                                          </p:val>
                                        </p:tav>
                                      </p:tavLst>
                                    </p:anim>
                                    <p:anim calcmode="lin" valueType="num">
                                      <p:cBhvr additive="base">
                                        <p:cTn id="8" dur="750" fill="hold"/>
                                        <p:tgtEl>
                                          <p:spTgt spid="85"/>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750" fill="hold"/>
                                        <p:tgtEl>
                                          <p:spTgt spid="4"/>
                                        </p:tgtEl>
                                        <p:attrNameLst>
                                          <p:attrName>ppt_x</p:attrName>
                                        </p:attrNameLst>
                                      </p:cBhvr>
                                      <p:tavLst>
                                        <p:tav tm="0">
                                          <p:val>
                                            <p:strVal val="0-#ppt_w/2"/>
                                          </p:val>
                                        </p:tav>
                                        <p:tav tm="100000">
                                          <p:val>
                                            <p:strVal val="#ppt_x"/>
                                          </p:val>
                                        </p:tav>
                                      </p:tavLst>
                                    </p:anim>
                                    <p:anim calcmode="lin" valueType="num">
                                      <p:cBhvr additive="base">
                                        <p:cTn id="12" dur="750" fill="hold"/>
                                        <p:tgtEl>
                                          <p:spTgt spid="4"/>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500"/>
                                  </p:stCondLst>
                                  <p:childTnLst>
                                    <p:set>
                                      <p:cBhvr>
                                        <p:cTn id="14" dur="1" fill="hold">
                                          <p:stCondLst>
                                            <p:cond delay="0"/>
                                          </p:stCondLst>
                                        </p:cTn>
                                        <p:tgtEl>
                                          <p:spTgt spid="82"/>
                                        </p:tgtEl>
                                        <p:attrNameLst>
                                          <p:attrName>style.visibility</p:attrName>
                                        </p:attrNameLst>
                                      </p:cBhvr>
                                      <p:to>
                                        <p:strVal val="visible"/>
                                      </p:to>
                                    </p:set>
                                    <p:animEffect transition="in" filter="fade">
                                      <p:cBhvr>
                                        <p:cTn id="15" dur="750"/>
                                        <p:tgtEl>
                                          <p:spTgt spid="82"/>
                                        </p:tgtEl>
                                      </p:cBhvr>
                                    </p:animEffect>
                                  </p:childTnLst>
                                </p:cTn>
                              </p:par>
                              <p:par>
                                <p:cTn id="16" presetID="64" presetClass="path" presetSubtype="0" decel="100000" fill="hold" nodeType="withEffect">
                                  <p:stCondLst>
                                    <p:cond delay="500"/>
                                  </p:stCondLst>
                                  <p:childTnLst>
                                    <p:animMotion origin="layout" path="M 1.875E-6 7.40741E-7 L -0.10117 -0.17801 " pathEditMode="relative" rAng="0" ptsTypes="AA">
                                      <p:cBhvr>
                                        <p:cTn id="17" dur="750" spd="-100000" fill="hold"/>
                                        <p:tgtEl>
                                          <p:spTgt spid="82"/>
                                        </p:tgtEl>
                                        <p:attrNameLst>
                                          <p:attrName>ppt_x</p:attrName>
                                          <p:attrName>ppt_y</p:attrName>
                                        </p:attrNameLst>
                                      </p:cBhvr>
                                      <p:rCtr x="-5065" y="-8912"/>
                                    </p:animMotion>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650"/>
                                        <p:tgtEl>
                                          <p:spTgt spid="26"/>
                                        </p:tgtEl>
                                      </p:cBhvr>
                                    </p:animEffect>
                                  </p:childTnLst>
                                </p:cTn>
                              </p:par>
                              <p:par>
                                <p:cTn id="22" presetID="63" presetClass="path" presetSubtype="0" decel="100000" fill="hold" nodeType="withEffect">
                                  <p:stCondLst>
                                    <p:cond delay="0"/>
                                  </p:stCondLst>
                                  <p:childTnLst>
                                    <p:animMotion origin="layout" path="M -2.70833E-6 -3.7037E-6 L 0.01472 -3.7037E-6 " pathEditMode="relative" rAng="0" ptsTypes="AA">
                                      <p:cBhvr>
                                        <p:cTn id="23" dur="650" spd="-100000" fill="hold"/>
                                        <p:tgtEl>
                                          <p:spTgt spid="26"/>
                                        </p:tgtEl>
                                        <p:attrNameLst>
                                          <p:attrName>ppt_x</p:attrName>
                                          <p:attrName>ppt_y</p:attrName>
                                        </p:attrNameLst>
                                      </p:cBhvr>
                                      <p:rCtr x="729" y="0"/>
                                    </p:animMotion>
                                  </p:childTnLst>
                                </p:cTn>
                              </p:par>
                              <p:par>
                                <p:cTn id="24" presetID="10" presetClass="entr" presetSubtype="0" fill="hold" nodeType="withEffect">
                                  <p:stCondLst>
                                    <p:cond delay="100"/>
                                  </p:stCondLst>
                                  <p:childTnLst>
                                    <p:set>
                                      <p:cBhvr>
                                        <p:cTn id="25" dur="1" fill="hold">
                                          <p:stCondLst>
                                            <p:cond delay="0"/>
                                          </p:stCondLst>
                                        </p:cTn>
                                        <p:tgtEl>
                                          <p:spTgt spid="33"/>
                                        </p:tgtEl>
                                        <p:attrNameLst>
                                          <p:attrName>style.visibility</p:attrName>
                                        </p:attrNameLst>
                                      </p:cBhvr>
                                      <p:to>
                                        <p:strVal val="visible"/>
                                      </p:to>
                                    </p:set>
                                    <p:animEffect transition="in" filter="fade">
                                      <p:cBhvr>
                                        <p:cTn id="26" dur="650"/>
                                        <p:tgtEl>
                                          <p:spTgt spid="33"/>
                                        </p:tgtEl>
                                      </p:cBhvr>
                                    </p:animEffect>
                                  </p:childTnLst>
                                </p:cTn>
                              </p:par>
                              <p:par>
                                <p:cTn id="27" presetID="63" presetClass="path" presetSubtype="0" decel="100000" fill="hold" nodeType="withEffect">
                                  <p:stCondLst>
                                    <p:cond delay="100"/>
                                  </p:stCondLst>
                                  <p:childTnLst>
                                    <p:animMotion origin="layout" path="M -2.70833E-6 -3.7037E-6 L 0.01472 -3.7037E-6 " pathEditMode="relative" rAng="0" ptsTypes="AA">
                                      <p:cBhvr>
                                        <p:cTn id="28" dur="650" spd="-100000" fill="hold"/>
                                        <p:tgtEl>
                                          <p:spTgt spid="33"/>
                                        </p:tgtEl>
                                        <p:attrNameLst>
                                          <p:attrName>ppt_x</p:attrName>
                                          <p:attrName>ppt_y</p:attrName>
                                        </p:attrNameLst>
                                      </p:cBhvr>
                                      <p:rCtr x="729" y="0"/>
                                    </p:animMotion>
                                  </p:childTnLst>
                                </p:cTn>
                              </p:par>
                              <p:par>
                                <p:cTn id="29" presetID="10" presetClass="entr" presetSubtype="0" fill="hold" nodeType="withEffect">
                                  <p:stCondLst>
                                    <p:cond delay="200"/>
                                  </p:stCondLst>
                                  <p:childTnLst>
                                    <p:set>
                                      <p:cBhvr>
                                        <p:cTn id="30" dur="1" fill="hold">
                                          <p:stCondLst>
                                            <p:cond delay="0"/>
                                          </p:stCondLst>
                                        </p:cTn>
                                        <p:tgtEl>
                                          <p:spTgt spid="40"/>
                                        </p:tgtEl>
                                        <p:attrNameLst>
                                          <p:attrName>style.visibility</p:attrName>
                                        </p:attrNameLst>
                                      </p:cBhvr>
                                      <p:to>
                                        <p:strVal val="visible"/>
                                      </p:to>
                                    </p:set>
                                    <p:animEffect transition="in" filter="fade">
                                      <p:cBhvr>
                                        <p:cTn id="31" dur="650"/>
                                        <p:tgtEl>
                                          <p:spTgt spid="40"/>
                                        </p:tgtEl>
                                      </p:cBhvr>
                                    </p:animEffect>
                                  </p:childTnLst>
                                </p:cTn>
                              </p:par>
                              <p:par>
                                <p:cTn id="32" presetID="63" presetClass="path" presetSubtype="0" decel="100000" fill="hold" nodeType="withEffect">
                                  <p:stCondLst>
                                    <p:cond delay="200"/>
                                  </p:stCondLst>
                                  <p:childTnLst>
                                    <p:animMotion origin="layout" path="M -2.70833E-6 -3.7037E-6 L 0.01472 -3.7037E-6 " pathEditMode="relative" rAng="0" ptsTypes="AA">
                                      <p:cBhvr>
                                        <p:cTn id="33" dur="650" spd="-100000" fill="hold"/>
                                        <p:tgtEl>
                                          <p:spTgt spid="40"/>
                                        </p:tgtEl>
                                        <p:attrNameLst>
                                          <p:attrName>ppt_x</p:attrName>
                                          <p:attrName>ppt_y</p:attrName>
                                        </p:attrNameLst>
                                      </p:cBhvr>
                                      <p:rCtr x="729" y="0"/>
                                    </p:animMotion>
                                  </p:childTnLst>
                                </p:cTn>
                              </p:par>
                              <p:par>
                                <p:cTn id="34" presetID="10" presetClass="entr" presetSubtype="0" fill="hold" nodeType="withEffect">
                                  <p:stCondLst>
                                    <p:cond delay="300"/>
                                  </p:stCondLst>
                                  <p:childTnLst>
                                    <p:set>
                                      <p:cBhvr>
                                        <p:cTn id="35" dur="1" fill="hold">
                                          <p:stCondLst>
                                            <p:cond delay="0"/>
                                          </p:stCondLst>
                                        </p:cTn>
                                        <p:tgtEl>
                                          <p:spTgt spid="47"/>
                                        </p:tgtEl>
                                        <p:attrNameLst>
                                          <p:attrName>style.visibility</p:attrName>
                                        </p:attrNameLst>
                                      </p:cBhvr>
                                      <p:to>
                                        <p:strVal val="visible"/>
                                      </p:to>
                                    </p:set>
                                    <p:animEffect transition="in" filter="fade">
                                      <p:cBhvr>
                                        <p:cTn id="36" dur="650"/>
                                        <p:tgtEl>
                                          <p:spTgt spid="47"/>
                                        </p:tgtEl>
                                      </p:cBhvr>
                                    </p:animEffect>
                                  </p:childTnLst>
                                </p:cTn>
                              </p:par>
                              <p:par>
                                <p:cTn id="37" presetID="63" presetClass="path" presetSubtype="0" decel="100000" fill="hold" nodeType="withEffect">
                                  <p:stCondLst>
                                    <p:cond delay="300"/>
                                  </p:stCondLst>
                                  <p:childTnLst>
                                    <p:animMotion origin="layout" path="M -2.70833E-6 -3.7037E-6 L 0.01472 -3.7037E-6 " pathEditMode="relative" rAng="0" ptsTypes="AA">
                                      <p:cBhvr>
                                        <p:cTn id="38" dur="650" spd="-100000" fill="hold"/>
                                        <p:tgtEl>
                                          <p:spTgt spid="47"/>
                                        </p:tgtEl>
                                        <p:attrNameLst>
                                          <p:attrName>ppt_x</p:attrName>
                                          <p:attrName>ppt_y</p:attrName>
                                        </p:attrNameLst>
                                      </p:cBhvr>
                                      <p:rCtr x="729" y="0"/>
                                    </p:animMotion>
                                  </p:childTnLst>
                                </p:cTn>
                              </p:par>
                              <p:par>
                                <p:cTn id="39" presetID="10" presetClass="entr" presetSubtype="0" fill="hold" nodeType="withEffect">
                                  <p:stCondLst>
                                    <p:cond delay="400"/>
                                  </p:stCondLst>
                                  <p:childTnLst>
                                    <p:set>
                                      <p:cBhvr>
                                        <p:cTn id="40" dur="1" fill="hold">
                                          <p:stCondLst>
                                            <p:cond delay="0"/>
                                          </p:stCondLst>
                                        </p:cTn>
                                        <p:tgtEl>
                                          <p:spTgt spid="54"/>
                                        </p:tgtEl>
                                        <p:attrNameLst>
                                          <p:attrName>style.visibility</p:attrName>
                                        </p:attrNameLst>
                                      </p:cBhvr>
                                      <p:to>
                                        <p:strVal val="visible"/>
                                      </p:to>
                                    </p:set>
                                    <p:animEffect transition="in" filter="fade">
                                      <p:cBhvr>
                                        <p:cTn id="41" dur="650"/>
                                        <p:tgtEl>
                                          <p:spTgt spid="54"/>
                                        </p:tgtEl>
                                      </p:cBhvr>
                                    </p:animEffect>
                                  </p:childTnLst>
                                </p:cTn>
                              </p:par>
                              <p:par>
                                <p:cTn id="42" presetID="63" presetClass="path" presetSubtype="0" decel="100000" fill="hold" nodeType="withEffect">
                                  <p:stCondLst>
                                    <p:cond delay="400"/>
                                  </p:stCondLst>
                                  <p:childTnLst>
                                    <p:animMotion origin="layout" path="M -2.70833E-6 -3.7037E-6 L 0.01472 -3.7037E-6 " pathEditMode="relative" rAng="0" ptsTypes="AA">
                                      <p:cBhvr>
                                        <p:cTn id="43" dur="650" spd="-100000" fill="hold"/>
                                        <p:tgtEl>
                                          <p:spTgt spid="54"/>
                                        </p:tgtEl>
                                        <p:attrNameLst>
                                          <p:attrName>ppt_x</p:attrName>
                                          <p:attrName>ppt_y</p:attrName>
                                        </p:attrNameLst>
                                      </p:cBhvr>
                                      <p:rCtr x="729" y="0"/>
                                    </p:animMotion>
                                  </p:childTnLst>
                                </p:cTn>
                              </p:par>
                              <p:par>
                                <p:cTn id="44" presetID="10" presetClass="entr" presetSubtype="0" fill="hold" nodeType="withEffect">
                                  <p:stCondLst>
                                    <p:cond delay="500"/>
                                  </p:stCondLst>
                                  <p:childTnLst>
                                    <p:set>
                                      <p:cBhvr>
                                        <p:cTn id="45" dur="1" fill="hold">
                                          <p:stCondLst>
                                            <p:cond delay="0"/>
                                          </p:stCondLst>
                                        </p:cTn>
                                        <p:tgtEl>
                                          <p:spTgt spid="61"/>
                                        </p:tgtEl>
                                        <p:attrNameLst>
                                          <p:attrName>style.visibility</p:attrName>
                                        </p:attrNameLst>
                                      </p:cBhvr>
                                      <p:to>
                                        <p:strVal val="visible"/>
                                      </p:to>
                                    </p:set>
                                    <p:animEffect transition="in" filter="fade">
                                      <p:cBhvr>
                                        <p:cTn id="46" dur="650"/>
                                        <p:tgtEl>
                                          <p:spTgt spid="61"/>
                                        </p:tgtEl>
                                      </p:cBhvr>
                                    </p:animEffect>
                                  </p:childTnLst>
                                </p:cTn>
                              </p:par>
                              <p:par>
                                <p:cTn id="47" presetID="63" presetClass="path" presetSubtype="0" decel="100000" fill="hold" nodeType="withEffect">
                                  <p:stCondLst>
                                    <p:cond delay="500"/>
                                  </p:stCondLst>
                                  <p:childTnLst>
                                    <p:animMotion origin="layout" path="M -2.70833E-6 -3.7037E-6 L 0.01472 -3.7037E-6 " pathEditMode="relative" rAng="0" ptsTypes="AA">
                                      <p:cBhvr>
                                        <p:cTn id="48" dur="650" spd="-100000" fill="hold"/>
                                        <p:tgtEl>
                                          <p:spTgt spid="61"/>
                                        </p:tgtEl>
                                        <p:attrNameLst>
                                          <p:attrName>ppt_x</p:attrName>
                                          <p:attrName>ppt_y</p:attrName>
                                        </p:attrNameLst>
                                      </p:cBhvr>
                                      <p:rCtr x="729" y="0"/>
                                    </p:animMotion>
                                  </p:childTnLst>
                                </p:cTn>
                              </p:par>
                              <p:par>
                                <p:cTn id="49" presetID="10" presetClass="entr" presetSubtype="0" fill="hold" nodeType="withEffect">
                                  <p:stCondLst>
                                    <p:cond delay="600"/>
                                  </p:stCondLst>
                                  <p:childTnLst>
                                    <p:set>
                                      <p:cBhvr>
                                        <p:cTn id="50" dur="1" fill="hold">
                                          <p:stCondLst>
                                            <p:cond delay="0"/>
                                          </p:stCondLst>
                                        </p:cTn>
                                        <p:tgtEl>
                                          <p:spTgt spid="68"/>
                                        </p:tgtEl>
                                        <p:attrNameLst>
                                          <p:attrName>style.visibility</p:attrName>
                                        </p:attrNameLst>
                                      </p:cBhvr>
                                      <p:to>
                                        <p:strVal val="visible"/>
                                      </p:to>
                                    </p:set>
                                    <p:animEffect transition="in" filter="fade">
                                      <p:cBhvr>
                                        <p:cTn id="51" dur="650"/>
                                        <p:tgtEl>
                                          <p:spTgt spid="68"/>
                                        </p:tgtEl>
                                      </p:cBhvr>
                                    </p:animEffect>
                                  </p:childTnLst>
                                </p:cTn>
                              </p:par>
                              <p:par>
                                <p:cTn id="52" presetID="63" presetClass="path" presetSubtype="0" decel="100000" fill="hold" nodeType="withEffect">
                                  <p:stCondLst>
                                    <p:cond delay="600"/>
                                  </p:stCondLst>
                                  <p:childTnLst>
                                    <p:animMotion origin="layout" path="M -2.70833E-6 -3.7037E-6 L 0.01472 -3.7037E-6 " pathEditMode="relative" rAng="0" ptsTypes="AA">
                                      <p:cBhvr>
                                        <p:cTn id="53" dur="650" spd="-100000" fill="hold"/>
                                        <p:tgtEl>
                                          <p:spTgt spid="68"/>
                                        </p:tgtEl>
                                        <p:attrNameLst>
                                          <p:attrName>ppt_x</p:attrName>
                                          <p:attrName>ppt_y</p:attrName>
                                        </p:attrNameLst>
                                      </p:cBhvr>
                                      <p:rCtr x="729" y="0"/>
                                    </p:animMotion>
                                  </p:childTnLst>
                                </p:cTn>
                              </p:par>
                              <p:par>
                                <p:cTn id="54" presetID="10" presetClass="entr" presetSubtype="0" fill="hold" nodeType="withEffect">
                                  <p:stCondLst>
                                    <p:cond delay="700"/>
                                  </p:stCondLst>
                                  <p:childTnLst>
                                    <p:set>
                                      <p:cBhvr>
                                        <p:cTn id="55" dur="1" fill="hold">
                                          <p:stCondLst>
                                            <p:cond delay="0"/>
                                          </p:stCondLst>
                                        </p:cTn>
                                        <p:tgtEl>
                                          <p:spTgt spid="75"/>
                                        </p:tgtEl>
                                        <p:attrNameLst>
                                          <p:attrName>style.visibility</p:attrName>
                                        </p:attrNameLst>
                                      </p:cBhvr>
                                      <p:to>
                                        <p:strVal val="visible"/>
                                      </p:to>
                                    </p:set>
                                    <p:animEffect transition="in" filter="fade">
                                      <p:cBhvr>
                                        <p:cTn id="56" dur="650"/>
                                        <p:tgtEl>
                                          <p:spTgt spid="75"/>
                                        </p:tgtEl>
                                      </p:cBhvr>
                                    </p:animEffect>
                                  </p:childTnLst>
                                </p:cTn>
                              </p:par>
                              <p:par>
                                <p:cTn id="57" presetID="63" presetClass="path" presetSubtype="0" decel="100000" fill="hold" nodeType="withEffect">
                                  <p:stCondLst>
                                    <p:cond delay="700"/>
                                  </p:stCondLst>
                                  <p:childTnLst>
                                    <p:animMotion origin="layout" path="M -2.70833E-6 -3.7037E-6 L 0.01472 -3.7037E-6 " pathEditMode="relative" rAng="0" ptsTypes="AA">
                                      <p:cBhvr>
                                        <p:cTn id="58" dur="650" spd="-100000" fill="hold"/>
                                        <p:tgtEl>
                                          <p:spTgt spid="75"/>
                                        </p:tgtEl>
                                        <p:attrNameLst>
                                          <p:attrName>ppt_x</p:attrName>
                                          <p:attrName>ppt_y</p:attrName>
                                        </p:attrNameLst>
                                      </p:cBhvr>
                                      <p:rCtr x="729" y="0"/>
                                    </p:animMotion>
                                  </p:childTnLst>
                                </p:cTn>
                              </p:par>
                              <p:par>
                                <p:cTn id="59" presetID="10" presetClass="entr" presetSubtype="0" fill="hold" nodeType="withEffect">
                                  <p:stCondLst>
                                    <p:cond delay="800"/>
                                  </p:stCondLst>
                                  <p:childTnLst>
                                    <p:set>
                                      <p:cBhvr>
                                        <p:cTn id="60" dur="1" fill="hold">
                                          <p:stCondLst>
                                            <p:cond delay="0"/>
                                          </p:stCondLst>
                                        </p:cTn>
                                        <p:tgtEl>
                                          <p:spTgt spid="5"/>
                                        </p:tgtEl>
                                        <p:attrNameLst>
                                          <p:attrName>style.visibility</p:attrName>
                                        </p:attrNameLst>
                                      </p:cBhvr>
                                      <p:to>
                                        <p:strVal val="visible"/>
                                      </p:to>
                                    </p:set>
                                    <p:animEffect transition="in" filter="fade">
                                      <p:cBhvr>
                                        <p:cTn id="61" dur="650"/>
                                        <p:tgtEl>
                                          <p:spTgt spid="5"/>
                                        </p:tgtEl>
                                      </p:cBhvr>
                                    </p:animEffect>
                                  </p:childTnLst>
                                </p:cTn>
                              </p:par>
                              <p:par>
                                <p:cTn id="62" presetID="63" presetClass="path" presetSubtype="0" decel="100000" fill="hold" nodeType="withEffect">
                                  <p:stCondLst>
                                    <p:cond delay="800"/>
                                  </p:stCondLst>
                                  <p:childTnLst>
                                    <p:animMotion origin="layout" path="M 4.79167E-6 1.48148E-6 L 0.01471 1.48148E-6 " pathEditMode="relative" rAng="0" ptsTypes="AA">
                                      <p:cBhvr>
                                        <p:cTn id="63" dur="650" spd="-100000" fill="hold"/>
                                        <p:tgtEl>
                                          <p:spTgt spid="5"/>
                                        </p:tgtEl>
                                        <p:attrNameLst>
                                          <p:attrName>ppt_x</p:attrName>
                                          <p:attrName>ppt_y</p:attrName>
                                        </p:attrNameLst>
                                      </p:cBhvr>
                                      <p:rCtr x="7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2A88B8-1F78-494C-A8A0-3B945A5EB37B}"/>
              </a:ext>
            </a:extLst>
          </p:cNvPr>
          <p:cNvSpPr>
            <a:spLocks noGrp="1"/>
          </p:cNvSpPr>
          <p:nvPr>
            <p:ph type="title"/>
          </p:nvPr>
        </p:nvSpPr>
        <p:spPr/>
        <p:txBody>
          <a:bodyPr/>
          <a:lstStyle/>
          <a:p>
            <a:r>
              <a:rPr lang="en-US"/>
              <a:t>Components of a pre-configured solution</a:t>
            </a:r>
          </a:p>
        </p:txBody>
      </p:sp>
      <p:sp>
        <p:nvSpPr>
          <p:cNvPr id="1020" name="Rectangle 1019">
            <a:extLst>
              <a:ext uri="{FF2B5EF4-FFF2-40B4-BE49-F238E27FC236}">
                <a16:creationId xmlns:a16="http://schemas.microsoft.com/office/drawing/2014/main" id="{6F70C10F-CEDE-4860-9CC1-637BB443E548}"/>
              </a:ext>
            </a:extLst>
          </p:cNvPr>
          <p:cNvSpPr/>
          <p:nvPr/>
        </p:nvSpPr>
        <p:spPr>
          <a:xfrm>
            <a:off x="347501" y="1504309"/>
            <a:ext cx="11496998" cy="341632"/>
          </a:xfrm>
          <a:prstGeom prst="rect">
            <a:avLst/>
          </a:prstGeom>
        </p:spPr>
        <p:txBody>
          <a:bodyPr wrap="square" anchor="ctr">
            <a:sp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765" b="1"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Segoe UI Semibold" panose="020B0702040204020203" pitchFamily="34" charset="0"/>
              </a:rPr>
              <a:t>Remote monitoring  </a:t>
            </a:r>
            <a:r>
              <a:rPr kumimoji="0" lang="en-US" sz="1765"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Segoe UI Semilight" panose="020B0402040204020203" pitchFamily="34" charset="0"/>
              </a:rPr>
              <a:t>|  Predictive maintenance  |  Connected factory  |  Device simulation</a:t>
            </a:r>
          </a:p>
        </p:txBody>
      </p:sp>
      <p:grpSp>
        <p:nvGrpSpPr>
          <p:cNvPr id="1021" name="Group 1020">
            <a:extLst>
              <a:ext uri="{FF2B5EF4-FFF2-40B4-BE49-F238E27FC236}">
                <a16:creationId xmlns:a16="http://schemas.microsoft.com/office/drawing/2014/main" id="{27D1B504-3D0A-42EB-A79F-18CE2386E49A}"/>
              </a:ext>
            </a:extLst>
          </p:cNvPr>
          <p:cNvGrpSpPr/>
          <p:nvPr/>
        </p:nvGrpSpPr>
        <p:grpSpPr>
          <a:xfrm>
            <a:off x="312739" y="2109789"/>
            <a:ext cx="11563350" cy="4143983"/>
            <a:chOff x="469738" y="2356635"/>
            <a:chExt cx="11643826" cy="4172823"/>
          </a:xfrm>
        </p:grpSpPr>
        <p:sp>
          <p:nvSpPr>
            <p:cNvPr id="1022" name="Azuee Iot Suite">
              <a:extLst>
                <a:ext uri="{FF2B5EF4-FFF2-40B4-BE49-F238E27FC236}">
                  <a16:creationId xmlns:a16="http://schemas.microsoft.com/office/drawing/2014/main" id="{1C3371F3-89BD-44CC-8CAB-84047B0E8504}"/>
                </a:ext>
              </a:extLst>
            </p:cNvPr>
            <p:cNvSpPr>
              <a:spLocks noChangeArrowheads="1"/>
            </p:cNvSpPr>
            <p:nvPr/>
          </p:nvSpPr>
          <p:spPr bwMode="auto">
            <a:xfrm>
              <a:off x="2990495" y="2356636"/>
              <a:ext cx="5990319" cy="4172822"/>
            </a:xfrm>
            <a:prstGeom prst="rect">
              <a:avLst/>
            </a:prstGeom>
            <a:solidFill>
              <a:schemeClr val="bg2"/>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023" name="Group 1022">
              <a:extLst>
                <a:ext uri="{FF2B5EF4-FFF2-40B4-BE49-F238E27FC236}">
                  <a16:creationId xmlns:a16="http://schemas.microsoft.com/office/drawing/2014/main" id="{FAAFEF27-8D4C-4AFE-A5B6-5FA5E483631D}"/>
                </a:ext>
              </a:extLst>
            </p:cNvPr>
            <p:cNvGrpSpPr/>
            <p:nvPr/>
          </p:nvGrpSpPr>
          <p:grpSpPr>
            <a:xfrm>
              <a:off x="5111092" y="4383515"/>
              <a:ext cx="1850519" cy="1696451"/>
              <a:chOff x="4607904" y="4056674"/>
              <a:chExt cx="1814399" cy="1663338"/>
            </a:xfrm>
          </p:grpSpPr>
          <p:grpSp>
            <p:nvGrpSpPr>
              <p:cNvPr id="1305" name="Group 1304">
                <a:extLst>
                  <a:ext uri="{FF2B5EF4-FFF2-40B4-BE49-F238E27FC236}">
                    <a16:creationId xmlns:a16="http://schemas.microsoft.com/office/drawing/2014/main" id="{9AA8A28B-9A52-4267-8A54-53F2A2D4E15B}"/>
                  </a:ext>
                </a:extLst>
              </p:cNvPr>
              <p:cNvGrpSpPr/>
              <p:nvPr/>
            </p:nvGrpSpPr>
            <p:grpSpPr>
              <a:xfrm>
                <a:off x="5141363" y="4056674"/>
                <a:ext cx="1280940" cy="1365650"/>
                <a:chOff x="4607904" y="4354362"/>
                <a:chExt cx="1280940" cy="1365650"/>
              </a:xfrm>
            </p:grpSpPr>
            <p:sp>
              <p:nvSpPr>
                <p:cNvPr id="1456" name="TextBox 1455">
                  <a:extLst>
                    <a:ext uri="{FF2B5EF4-FFF2-40B4-BE49-F238E27FC236}">
                      <a16:creationId xmlns:a16="http://schemas.microsoft.com/office/drawing/2014/main" id="{82131B59-91AA-4B21-83C6-931AE7BA457A}"/>
                    </a:ext>
                  </a:extLst>
                </p:cNvPr>
                <p:cNvSpPr txBox="1"/>
                <p:nvPr/>
              </p:nvSpPr>
              <p:spPr>
                <a:xfrm>
                  <a:off x="5016950" y="4354362"/>
                  <a:ext cx="184731" cy="284373"/>
                </a:xfrm>
                <a:prstGeom prst="rect">
                  <a:avLst/>
                </a:prstGeom>
                <a:noFill/>
                <a:ln>
                  <a:noFill/>
                </a:ln>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48" b="0" i="0" u="none" strike="noStrike" kern="0" cap="none" spc="0" normalizeH="0" baseline="0" noProof="0">
                    <a:ln>
                      <a:noFill/>
                    </a:ln>
                    <a:solidFill>
                      <a:srgbClr val="353535">
                        <a:lumMod val="60000"/>
                        <a:lumOff val="40000"/>
                      </a:srgbClr>
                    </a:solidFill>
                    <a:effectLst/>
                    <a:uLnTx/>
                    <a:uFillTx/>
                    <a:latin typeface="Segoe UI Semilight"/>
                    <a:ea typeface="+mn-ea"/>
                    <a:cs typeface="+mn-cs"/>
                  </a:endParaRPr>
                </a:p>
              </p:txBody>
            </p:sp>
            <p:grpSp>
              <p:nvGrpSpPr>
                <p:cNvPr id="1457" name="Group 1456">
                  <a:extLst>
                    <a:ext uri="{FF2B5EF4-FFF2-40B4-BE49-F238E27FC236}">
                      <a16:creationId xmlns:a16="http://schemas.microsoft.com/office/drawing/2014/main" id="{7779A32F-6A02-46B5-A960-633294A8CEA4}"/>
                    </a:ext>
                  </a:extLst>
                </p:cNvPr>
                <p:cNvGrpSpPr/>
                <p:nvPr/>
              </p:nvGrpSpPr>
              <p:grpSpPr>
                <a:xfrm>
                  <a:off x="4607904" y="5516214"/>
                  <a:ext cx="222858" cy="203798"/>
                  <a:chOff x="3208463" y="2157245"/>
                  <a:chExt cx="361960" cy="331004"/>
                </a:xfrm>
              </p:grpSpPr>
              <p:sp>
                <p:nvSpPr>
                  <p:cNvPr id="1520" name="Freeform: Shape 1519">
                    <a:extLst>
                      <a:ext uri="{FF2B5EF4-FFF2-40B4-BE49-F238E27FC236}">
                        <a16:creationId xmlns:a16="http://schemas.microsoft.com/office/drawing/2014/main" id="{0272202A-C92A-4721-89C3-93B458E9110A}"/>
                      </a:ext>
                    </a:extLst>
                  </p:cNvPr>
                  <p:cNvSpPr/>
                  <p:nvPr/>
                </p:nvSpPr>
                <p:spPr>
                  <a:xfrm>
                    <a:off x="3271138" y="2421497"/>
                    <a:ext cx="228600" cy="66675"/>
                  </a:xfrm>
                  <a:custGeom>
                    <a:avLst/>
                    <a:gdLst/>
                    <a:ahLst/>
                    <a:cxnLst/>
                    <a:rect l="0" t="0" r="0" b="0"/>
                    <a:pathLst>
                      <a:path w="228600" h="66675">
                        <a:moveTo>
                          <a:pt x="172174" y="0"/>
                        </a:moveTo>
                        <a:lnTo>
                          <a:pt x="163544" y="0"/>
                        </a:lnTo>
                        <a:lnTo>
                          <a:pt x="78153" y="0"/>
                        </a:lnTo>
                        <a:lnTo>
                          <a:pt x="73695" y="0"/>
                        </a:lnTo>
                        <a:cubicBezTo>
                          <a:pt x="85525" y="41719"/>
                          <a:pt x="69628" y="47701"/>
                          <a:pt x="0" y="47701"/>
                        </a:cubicBezTo>
                        <a:lnTo>
                          <a:pt x="0" y="69552"/>
                        </a:lnTo>
                        <a:lnTo>
                          <a:pt x="88554" y="69552"/>
                        </a:lnTo>
                        <a:lnTo>
                          <a:pt x="153210" y="69552"/>
                        </a:lnTo>
                        <a:lnTo>
                          <a:pt x="236772" y="69552"/>
                        </a:lnTo>
                        <a:lnTo>
                          <a:pt x="236772" y="47711"/>
                        </a:lnTo>
                        <a:cubicBezTo>
                          <a:pt x="167154" y="47701"/>
                          <a:pt x="160325" y="41748"/>
                          <a:pt x="172174" y="0"/>
                        </a:cubicBezTo>
                      </a:path>
                    </a:pathLst>
                  </a:custGeom>
                  <a:solidFill>
                    <a:srgbClr val="7A7A7A"/>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21" name="Freeform: Shape 1520">
                    <a:extLst>
                      <a:ext uri="{FF2B5EF4-FFF2-40B4-BE49-F238E27FC236}">
                        <a16:creationId xmlns:a16="http://schemas.microsoft.com/office/drawing/2014/main" id="{26CD386F-0240-45C2-B848-A0CDEAD45141}"/>
                      </a:ext>
                    </a:extLst>
                  </p:cNvPr>
                  <p:cNvSpPr/>
                  <p:nvPr/>
                </p:nvSpPr>
                <p:spPr>
                  <a:xfrm>
                    <a:off x="3208473" y="2157245"/>
                    <a:ext cx="361950" cy="257175"/>
                  </a:xfrm>
                  <a:custGeom>
                    <a:avLst/>
                    <a:gdLst/>
                    <a:ahLst/>
                    <a:cxnLst/>
                    <a:rect l="0" t="0" r="0" b="0"/>
                    <a:pathLst>
                      <a:path w="361950" h="257175">
                        <a:moveTo>
                          <a:pt x="340252" y="0"/>
                        </a:moveTo>
                        <a:lnTo>
                          <a:pt x="19679" y="0"/>
                        </a:lnTo>
                        <a:cubicBezTo>
                          <a:pt x="8782" y="0"/>
                          <a:pt x="0" y="9725"/>
                          <a:pt x="0" y="20593"/>
                        </a:cubicBezTo>
                        <a:lnTo>
                          <a:pt x="0" y="243850"/>
                        </a:lnTo>
                        <a:cubicBezTo>
                          <a:pt x="0" y="254651"/>
                          <a:pt x="8782" y="264271"/>
                          <a:pt x="19679" y="264271"/>
                        </a:cubicBezTo>
                        <a:lnTo>
                          <a:pt x="340252" y="264271"/>
                        </a:lnTo>
                        <a:cubicBezTo>
                          <a:pt x="351120" y="264271"/>
                          <a:pt x="362131" y="254651"/>
                          <a:pt x="362131" y="243850"/>
                        </a:cubicBezTo>
                        <a:lnTo>
                          <a:pt x="362131" y="20593"/>
                        </a:lnTo>
                        <a:cubicBezTo>
                          <a:pt x="362131" y="9706"/>
                          <a:pt x="351120" y="0"/>
                          <a:pt x="340252" y="0"/>
                        </a:cubicBezTo>
                      </a:path>
                    </a:pathLst>
                  </a:custGeom>
                  <a:solidFill>
                    <a:srgbClr val="A0A1A2"/>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22" name="Freeform: Shape 1521">
                    <a:extLst>
                      <a:ext uri="{FF2B5EF4-FFF2-40B4-BE49-F238E27FC236}">
                        <a16:creationId xmlns:a16="http://schemas.microsoft.com/office/drawing/2014/main" id="{3990B3A9-EC56-4D98-B6C6-4BECC248170F}"/>
                      </a:ext>
                    </a:extLst>
                  </p:cNvPr>
                  <p:cNvSpPr/>
                  <p:nvPr/>
                </p:nvSpPr>
                <p:spPr>
                  <a:xfrm>
                    <a:off x="3208463" y="2157255"/>
                    <a:ext cx="333375" cy="257175"/>
                  </a:xfrm>
                  <a:custGeom>
                    <a:avLst/>
                    <a:gdLst/>
                    <a:ahLst/>
                    <a:cxnLst/>
                    <a:rect l="0" t="0" r="0" b="0"/>
                    <a:pathLst>
                      <a:path w="333375" h="257175">
                        <a:moveTo>
                          <a:pt x="340490" y="19"/>
                        </a:moveTo>
                        <a:cubicBezTo>
                          <a:pt x="340414" y="19"/>
                          <a:pt x="340338" y="0"/>
                          <a:pt x="340262" y="0"/>
                        </a:cubicBezTo>
                        <a:lnTo>
                          <a:pt x="19679" y="0"/>
                        </a:lnTo>
                        <a:cubicBezTo>
                          <a:pt x="8782" y="0"/>
                          <a:pt x="0" y="9725"/>
                          <a:pt x="0" y="20593"/>
                        </a:cubicBezTo>
                        <a:lnTo>
                          <a:pt x="0" y="243840"/>
                        </a:lnTo>
                        <a:cubicBezTo>
                          <a:pt x="0" y="254641"/>
                          <a:pt x="8782" y="264262"/>
                          <a:pt x="19679" y="264262"/>
                        </a:cubicBezTo>
                        <a:lnTo>
                          <a:pt x="27308" y="264262"/>
                        </a:lnTo>
                        <a:lnTo>
                          <a:pt x="340490" y="19"/>
                        </a:lnTo>
                        <a:close/>
                      </a:path>
                    </a:pathLst>
                  </a:custGeom>
                  <a:solidFill>
                    <a:srgbClr val="FFFFFF">
                      <a:alpha val="20000"/>
                    </a:srgbClr>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23" name="Freeform: Shape 1522">
                    <a:extLst>
                      <a:ext uri="{FF2B5EF4-FFF2-40B4-BE49-F238E27FC236}">
                        <a16:creationId xmlns:a16="http://schemas.microsoft.com/office/drawing/2014/main" id="{9DF9B88F-A4EE-44D2-9421-0D096ABD1589}"/>
                      </a:ext>
                    </a:extLst>
                  </p:cNvPr>
                  <p:cNvSpPr/>
                  <p:nvPr/>
                </p:nvSpPr>
                <p:spPr>
                  <a:xfrm>
                    <a:off x="3235915" y="2184630"/>
                    <a:ext cx="304800" cy="200025"/>
                  </a:xfrm>
                  <a:custGeom>
                    <a:avLst/>
                    <a:gdLst/>
                    <a:ahLst/>
                    <a:cxnLst/>
                    <a:rect l="0" t="0" r="0" b="0"/>
                    <a:pathLst>
                      <a:path w="304800" h="200025">
                        <a:moveTo>
                          <a:pt x="307153" y="209064"/>
                        </a:moveTo>
                        <a:lnTo>
                          <a:pt x="0" y="209064"/>
                        </a:lnTo>
                        <a:lnTo>
                          <a:pt x="0" y="457"/>
                        </a:lnTo>
                        <a:lnTo>
                          <a:pt x="307153" y="0"/>
                        </a:lnTo>
                        <a:close/>
                      </a:path>
                    </a:pathLst>
                  </a:custGeom>
                  <a:solidFill>
                    <a:srgbClr val="59B4D9"/>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24" name="Freeform: Shape 1523">
                    <a:extLst>
                      <a:ext uri="{FF2B5EF4-FFF2-40B4-BE49-F238E27FC236}">
                        <a16:creationId xmlns:a16="http://schemas.microsoft.com/office/drawing/2014/main" id="{E1964791-D7A7-4C78-9A37-651034F479BF}"/>
                      </a:ext>
                    </a:extLst>
                  </p:cNvPr>
                  <p:cNvSpPr/>
                  <p:nvPr/>
                </p:nvSpPr>
                <p:spPr>
                  <a:xfrm>
                    <a:off x="3271148" y="2469199"/>
                    <a:ext cx="228600" cy="19050"/>
                  </a:xfrm>
                  <a:custGeom>
                    <a:avLst/>
                    <a:gdLst/>
                    <a:ahLst/>
                    <a:cxnLst/>
                    <a:rect l="0" t="0" r="0" b="0"/>
                    <a:pathLst>
                      <a:path w="228600" h="19050">
                        <a:moveTo>
                          <a:pt x="0" y="0"/>
                        </a:moveTo>
                        <a:lnTo>
                          <a:pt x="236772" y="0"/>
                        </a:lnTo>
                        <a:lnTo>
                          <a:pt x="236772" y="21850"/>
                        </a:lnTo>
                        <a:lnTo>
                          <a:pt x="0" y="21850"/>
                        </a:lnTo>
                        <a:close/>
                      </a:path>
                    </a:pathLst>
                  </a:custGeom>
                  <a:solidFill>
                    <a:srgbClr val="A0A1A2"/>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25" name="Freeform: Shape 1524">
                    <a:extLst>
                      <a:ext uri="{FF2B5EF4-FFF2-40B4-BE49-F238E27FC236}">
                        <a16:creationId xmlns:a16="http://schemas.microsoft.com/office/drawing/2014/main" id="{0E1ADA9E-5FAB-4B4E-9C40-3917137A4DB2}"/>
                      </a:ext>
                    </a:extLst>
                  </p:cNvPr>
                  <p:cNvSpPr/>
                  <p:nvPr/>
                </p:nvSpPr>
                <p:spPr>
                  <a:xfrm>
                    <a:off x="3327793" y="2205925"/>
                    <a:ext cx="123825" cy="76200"/>
                  </a:xfrm>
                  <a:custGeom>
                    <a:avLst/>
                    <a:gdLst/>
                    <a:ahLst/>
                    <a:cxnLst/>
                    <a:rect l="0" t="0" r="0" b="0"/>
                    <a:pathLst>
                      <a:path w="123825" h="76200">
                        <a:moveTo>
                          <a:pt x="65694" y="77136"/>
                        </a:moveTo>
                        <a:cubicBezTo>
                          <a:pt x="65361" y="77136"/>
                          <a:pt x="65037" y="77031"/>
                          <a:pt x="64722" y="76860"/>
                        </a:cubicBezTo>
                        <a:lnTo>
                          <a:pt x="953" y="40103"/>
                        </a:lnTo>
                        <a:cubicBezTo>
                          <a:pt x="371" y="39760"/>
                          <a:pt x="0" y="39112"/>
                          <a:pt x="0" y="38436"/>
                        </a:cubicBezTo>
                        <a:cubicBezTo>
                          <a:pt x="0" y="37750"/>
                          <a:pt x="371" y="37112"/>
                          <a:pt x="953" y="36769"/>
                        </a:cubicBezTo>
                        <a:lnTo>
                          <a:pt x="64332" y="250"/>
                        </a:lnTo>
                        <a:cubicBezTo>
                          <a:pt x="64922" y="-83"/>
                          <a:pt x="65646" y="-83"/>
                          <a:pt x="66237" y="250"/>
                        </a:cubicBezTo>
                        <a:lnTo>
                          <a:pt x="130026" y="37026"/>
                        </a:lnTo>
                        <a:cubicBezTo>
                          <a:pt x="130616" y="37369"/>
                          <a:pt x="130978" y="38007"/>
                          <a:pt x="130978" y="38693"/>
                        </a:cubicBezTo>
                        <a:cubicBezTo>
                          <a:pt x="130978" y="39388"/>
                          <a:pt x="130626" y="40017"/>
                          <a:pt x="130026" y="40360"/>
                        </a:cubicBezTo>
                        <a:lnTo>
                          <a:pt x="66665" y="76869"/>
                        </a:lnTo>
                        <a:cubicBezTo>
                          <a:pt x="66361" y="77031"/>
                          <a:pt x="66046" y="77136"/>
                          <a:pt x="65694" y="77136"/>
                        </a:cubicBezTo>
                      </a:path>
                    </a:pathLst>
                  </a:custGeom>
                  <a:solidFill>
                    <a:srgbClr val="FFFFFF"/>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26" name="Freeform: Shape 1525">
                    <a:extLst>
                      <a:ext uri="{FF2B5EF4-FFF2-40B4-BE49-F238E27FC236}">
                        <a16:creationId xmlns:a16="http://schemas.microsoft.com/office/drawing/2014/main" id="{91F9672D-B8E8-449C-9559-6867901B6FEC}"/>
                      </a:ext>
                    </a:extLst>
                  </p:cNvPr>
                  <p:cNvSpPr/>
                  <p:nvPr/>
                </p:nvSpPr>
                <p:spPr>
                  <a:xfrm>
                    <a:off x="3318782" y="2258375"/>
                    <a:ext cx="66675" cy="104775"/>
                  </a:xfrm>
                  <a:custGeom>
                    <a:avLst/>
                    <a:gdLst/>
                    <a:ahLst/>
                    <a:cxnLst/>
                    <a:rect l="0" t="0" r="0" b="0"/>
                    <a:pathLst>
                      <a:path w="66675" h="104775">
                        <a:moveTo>
                          <a:pt x="65542" y="114031"/>
                        </a:moveTo>
                        <a:cubicBezTo>
                          <a:pt x="65180" y="114031"/>
                          <a:pt x="64856" y="113945"/>
                          <a:pt x="64570" y="113774"/>
                        </a:cubicBezTo>
                        <a:lnTo>
                          <a:pt x="991" y="77131"/>
                        </a:lnTo>
                        <a:cubicBezTo>
                          <a:pt x="371" y="76788"/>
                          <a:pt x="0" y="76169"/>
                          <a:pt x="0" y="75464"/>
                        </a:cubicBezTo>
                        <a:lnTo>
                          <a:pt x="0" y="1931"/>
                        </a:lnTo>
                        <a:cubicBezTo>
                          <a:pt x="0" y="1236"/>
                          <a:pt x="371" y="607"/>
                          <a:pt x="991" y="264"/>
                        </a:cubicBezTo>
                        <a:cubicBezTo>
                          <a:pt x="1581" y="-88"/>
                          <a:pt x="2296" y="-88"/>
                          <a:pt x="2934" y="264"/>
                        </a:cubicBezTo>
                        <a:lnTo>
                          <a:pt x="66504" y="36897"/>
                        </a:lnTo>
                        <a:cubicBezTo>
                          <a:pt x="67066" y="37259"/>
                          <a:pt x="67447" y="37888"/>
                          <a:pt x="67447" y="38583"/>
                        </a:cubicBezTo>
                        <a:lnTo>
                          <a:pt x="67447" y="112116"/>
                        </a:lnTo>
                        <a:cubicBezTo>
                          <a:pt x="67447" y="112821"/>
                          <a:pt x="67075" y="113440"/>
                          <a:pt x="66504" y="113783"/>
                        </a:cubicBezTo>
                        <a:cubicBezTo>
                          <a:pt x="66189" y="113945"/>
                          <a:pt x="65856" y="114031"/>
                          <a:pt x="65542" y="114031"/>
                        </a:cubicBezTo>
                      </a:path>
                    </a:pathLst>
                  </a:custGeom>
                  <a:solidFill>
                    <a:srgbClr val="FFFFFF">
                      <a:alpha val="70000"/>
                    </a:srgbClr>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27" name="Freeform: Shape 1526">
                    <a:extLst>
                      <a:ext uri="{FF2B5EF4-FFF2-40B4-BE49-F238E27FC236}">
                        <a16:creationId xmlns:a16="http://schemas.microsoft.com/office/drawing/2014/main" id="{9C12EE84-A22D-403B-8AD9-C708D016022B}"/>
                      </a:ext>
                    </a:extLst>
                  </p:cNvPr>
                  <p:cNvSpPr/>
                  <p:nvPr/>
                </p:nvSpPr>
                <p:spPr>
                  <a:xfrm>
                    <a:off x="3400392" y="2258858"/>
                    <a:ext cx="66675" cy="104775"/>
                  </a:xfrm>
                  <a:custGeom>
                    <a:avLst/>
                    <a:gdLst/>
                    <a:ahLst/>
                    <a:cxnLst/>
                    <a:rect l="0" t="0" r="0" b="0"/>
                    <a:pathLst>
                      <a:path w="66675" h="104775">
                        <a:moveTo>
                          <a:pt x="1934" y="113548"/>
                        </a:moveTo>
                        <a:cubicBezTo>
                          <a:pt x="1581" y="113548"/>
                          <a:pt x="1257" y="113462"/>
                          <a:pt x="933" y="113290"/>
                        </a:cubicBezTo>
                        <a:cubicBezTo>
                          <a:pt x="371" y="112947"/>
                          <a:pt x="0" y="112319"/>
                          <a:pt x="0" y="111623"/>
                        </a:cubicBezTo>
                        <a:lnTo>
                          <a:pt x="0" y="38548"/>
                        </a:lnTo>
                        <a:cubicBezTo>
                          <a:pt x="0" y="37871"/>
                          <a:pt x="371" y="37233"/>
                          <a:pt x="933" y="36881"/>
                        </a:cubicBezTo>
                        <a:lnTo>
                          <a:pt x="64503" y="257"/>
                        </a:lnTo>
                        <a:cubicBezTo>
                          <a:pt x="65113" y="-86"/>
                          <a:pt x="65818" y="-86"/>
                          <a:pt x="66418" y="257"/>
                        </a:cubicBezTo>
                        <a:cubicBezTo>
                          <a:pt x="67027" y="600"/>
                          <a:pt x="67389" y="1229"/>
                          <a:pt x="67389" y="1924"/>
                        </a:cubicBezTo>
                        <a:lnTo>
                          <a:pt x="67389" y="74990"/>
                        </a:lnTo>
                        <a:cubicBezTo>
                          <a:pt x="67389" y="75695"/>
                          <a:pt x="67018" y="76324"/>
                          <a:pt x="66418" y="76657"/>
                        </a:cubicBezTo>
                        <a:lnTo>
                          <a:pt x="2867" y="113300"/>
                        </a:lnTo>
                        <a:cubicBezTo>
                          <a:pt x="2600" y="113462"/>
                          <a:pt x="2257" y="113548"/>
                          <a:pt x="1934" y="113548"/>
                        </a:cubicBezTo>
                      </a:path>
                    </a:pathLst>
                  </a:custGeom>
                  <a:solidFill>
                    <a:srgbClr val="FFFFFF">
                      <a:alpha val="40000"/>
                    </a:srgbClr>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458" name="Group 1457">
                  <a:extLst>
                    <a:ext uri="{FF2B5EF4-FFF2-40B4-BE49-F238E27FC236}">
                      <a16:creationId xmlns:a16="http://schemas.microsoft.com/office/drawing/2014/main" id="{BADAC12B-27D3-4318-8C06-54753922B142}"/>
                    </a:ext>
                  </a:extLst>
                </p:cNvPr>
                <p:cNvGrpSpPr>
                  <a:grpSpLocks noChangeAspect="1"/>
                </p:cNvGrpSpPr>
                <p:nvPr/>
              </p:nvGrpSpPr>
              <p:grpSpPr>
                <a:xfrm>
                  <a:off x="4974444" y="4765325"/>
                  <a:ext cx="914400" cy="696854"/>
                  <a:chOff x="4817192" y="4571599"/>
                  <a:chExt cx="1228038" cy="935873"/>
                </a:xfrm>
              </p:grpSpPr>
              <p:grpSp>
                <p:nvGrpSpPr>
                  <p:cNvPr id="1459" name="Group 1458">
                    <a:extLst>
                      <a:ext uri="{FF2B5EF4-FFF2-40B4-BE49-F238E27FC236}">
                        <a16:creationId xmlns:a16="http://schemas.microsoft.com/office/drawing/2014/main" id="{76AA3335-9F9B-4617-A8C4-C90AFA1FC57C}"/>
                      </a:ext>
                    </a:extLst>
                  </p:cNvPr>
                  <p:cNvGrpSpPr/>
                  <p:nvPr/>
                </p:nvGrpSpPr>
                <p:grpSpPr>
                  <a:xfrm>
                    <a:off x="5309908" y="4571599"/>
                    <a:ext cx="735322" cy="630823"/>
                    <a:chOff x="5387968" y="4679219"/>
                    <a:chExt cx="596136" cy="511417"/>
                  </a:xfrm>
                </p:grpSpPr>
                <p:grpSp>
                  <p:nvGrpSpPr>
                    <p:cNvPr id="1499" name="Group 1498">
                      <a:extLst>
                        <a:ext uri="{FF2B5EF4-FFF2-40B4-BE49-F238E27FC236}">
                          <a16:creationId xmlns:a16="http://schemas.microsoft.com/office/drawing/2014/main" id="{2AD4518D-3CDF-4F1B-8518-F284FBB356AA}"/>
                        </a:ext>
                      </a:extLst>
                    </p:cNvPr>
                    <p:cNvGrpSpPr/>
                    <p:nvPr/>
                  </p:nvGrpSpPr>
                  <p:grpSpPr>
                    <a:xfrm>
                      <a:off x="5387968" y="4679219"/>
                      <a:ext cx="596136" cy="511417"/>
                      <a:chOff x="-2759706" y="1099471"/>
                      <a:chExt cx="7926138" cy="6799720"/>
                    </a:xfrm>
                  </p:grpSpPr>
                  <p:sp>
                    <p:nvSpPr>
                      <p:cNvPr id="1516" name="Rectangle 317">
                        <a:extLst>
                          <a:ext uri="{FF2B5EF4-FFF2-40B4-BE49-F238E27FC236}">
                            <a16:creationId xmlns:a16="http://schemas.microsoft.com/office/drawing/2014/main" id="{3BE23A76-D643-43DE-A8C2-F1D6A6AF5BA2}"/>
                          </a:ext>
                        </a:extLst>
                      </p:cNvPr>
                      <p:cNvSpPr/>
                      <p:nvPr/>
                    </p:nvSpPr>
                    <p:spPr bwMode="auto">
                      <a:xfrm>
                        <a:off x="-1103535" y="6493181"/>
                        <a:ext cx="4613796" cy="1133080"/>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0372A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17" name="Rounded Rectangle 460">
                        <a:extLst>
                          <a:ext uri="{FF2B5EF4-FFF2-40B4-BE49-F238E27FC236}">
                            <a16:creationId xmlns:a16="http://schemas.microsoft.com/office/drawing/2014/main" id="{C83BE935-7BBB-4E3B-88DE-A5B19AA0EB51}"/>
                          </a:ext>
                        </a:extLst>
                      </p:cNvPr>
                      <p:cNvSpPr/>
                      <p:nvPr/>
                    </p:nvSpPr>
                    <p:spPr bwMode="auto">
                      <a:xfrm>
                        <a:off x="-2759706" y="1099471"/>
                        <a:ext cx="7926138" cy="5508724"/>
                      </a:xfrm>
                      <a:prstGeom prst="roundRect">
                        <a:avLst>
                          <a:gd name="adj" fmla="val 8482"/>
                        </a:avLst>
                      </a:prstGeom>
                      <a:solidFill>
                        <a:srgbClr val="0372A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18" name="Rectangle 1517">
                        <a:extLst>
                          <a:ext uri="{FF2B5EF4-FFF2-40B4-BE49-F238E27FC236}">
                            <a16:creationId xmlns:a16="http://schemas.microsoft.com/office/drawing/2014/main" id="{AE753C0E-26D6-42BF-B08D-76F2B56C761E}"/>
                          </a:ext>
                        </a:extLst>
                      </p:cNvPr>
                      <p:cNvSpPr/>
                      <p:nvPr/>
                    </p:nvSpPr>
                    <p:spPr bwMode="auto">
                      <a:xfrm>
                        <a:off x="-2133709" y="1626404"/>
                        <a:ext cx="6674143" cy="4361520"/>
                      </a:xfrm>
                      <a:prstGeom prst="rect">
                        <a:avLst/>
                      </a:prstGeom>
                      <a:gradFill flip="none" rotWithShape="1">
                        <a:gsLst>
                          <a:gs pos="45000">
                            <a:srgbClr val="AFE5FD"/>
                          </a:gs>
                          <a:gs pos="45000">
                            <a:srgbClr val="C3ECFE"/>
                          </a:gs>
                        </a:gsLst>
                        <a:lin ang="24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19" name="Rectangle 1518">
                        <a:extLst>
                          <a:ext uri="{FF2B5EF4-FFF2-40B4-BE49-F238E27FC236}">
                            <a16:creationId xmlns:a16="http://schemas.microsoft.com/office/drawing/2014/main" id="{FDD14267-1BA5-486F-A8D2-563B1A8414D0}"/>
                          </a:ext>
                        </a:extLst>
                      </p:cNvPr>
                      <p:cNvSpPr/>
                      <p:nvPr/>
                    </p:nvSpPr>
                    <p:spPr bwMode="auto">
                      <a:xfrm>
                        <a:off x="-1332157" y="7460658"/>
                        <a:ext cx="5071038" cy="438533"/>
                      </a:xfrm>
                      <a:prstGeom prst="rect">
                        <a:avLst/>
                      </a:prstGeom>
                      <a:solidFill>
                        <a:srgbClr val="0372A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500" name="Group 1499">
                      <a:extLst>
                        <a:ext uri="{FF2B5EF4-FFF2-40B4-BE49-F238E27FC236}">
                          <a16:creationId xmlns:a16="http://schemas.microsoft.com/office/drawing/2014/main" id="{C335B79B-8425-4928-9D65-F299405029A8}"/>
                        </a:ext>
                      </a:extLst>
                    </p:cNvPr>
                    <p:cNvGrpSpPr/>
                    <p:nvPr/>
                  </p:nvGrpSpPr>
                  <p:grpSpPr>
                    <a:xfrm>
                      <a:off x="5724146" y="4755542"/>
                      <a:ext cx="100379" cy="121637"/>
                      <a:chOff x="8079057" y="3685619"/>
                      <a:chExt cx="1044575" cy="1265794"/>
                    </a:xfrm>
                  </p:grpSpPr>
                  <p:sp>
                    <p:nvSpPr>
                      <p:cNvPr id="1513" name="Freeform 456">
                        <a:extLst>
                          <a:ext uri="{FF2B5EF4-FFF2-40B4-BE49-F238E27FC236}">
                            <a16:creationId xmlns:a16="http://schemas.microsoft.com/office/drawing/2014/main" id="{44FD9203-458F-4042-BAE9-401D01A44D84}"/>
                          </a:ext>
                        </a:extLst>
                      </p:cNvPr>
                      <p:cNvSpPr/>
                      <p:nvPr/>
                    </p:nvSpPr>
                    <p:spPr>
                      <a:xfrm>
                        <a:off x="8079057" y="3685619"/>
                        <a:ext cx="1044575"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514" name="Freeform 457">
                        <a:extLst>
                          <a:ext uri="{FF2B5EF4-FFF2-40B4-BE49-F238E27FC236}">
                            <a16:creationId xmlns:a16="http://schemas.microsoft.com/office/drawing/2014/main" id="{2F37D690-CEB9-4938-B168-BC4F55383066}"/>
                          </a:ext>
                        </a:extLst>
                      </p:cNvPr>
                      <p:cNvSpPr/>
                      <p:nvPr/>
                    </p:nvSpPr>
                    <p:spPr>
                      <a:xfrm>
                        <a:off x="8083817" y="3970337"/>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515" name="Freeform 458">
                        <a:extLst>
                          <a:ext uri="{FF2B5EF4-FFF2-40B4-BE49-F238E27FC236}">
                            <a16:creationId xmlns:a16="http://schemas.microsoft.com/office/drawing/2014/main" id="{54AE0551-F704-46C5-A37A-43AE101356D2}"/>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1501" name="Group 1500">
                      <a:extLst>
                        <a:ext uri="{FF2B5EF4-FFF2-40B4-BE49-F238E27FC236}">
                          <a16:creationId xmlns:a16="http://schemas.microsoft.com/office/drawing/2014/main" id="{47523209-B5A2-4A9D-BE2D-98B9BD899274}"/>
                        </a:ext>
                      </a:extLst>
                    </p:cNvPr>
                    <p:cNvGrpSpPr/>
                    <p:nvPr/>
                  </p:nvGrpSpPr>
                  <p:grpSpPr>
                    <a:xfrm>
                      <a:off x="5724146" y="4899243"/>
                      <a:ext cx="100379" cy="121637"/>
                      <a:chOff x="8079063" y="3685618"/>
                      <a:chExt cx="1044576" cy="1265795"/>
                    </a:xfrm>
                  </p:grpSpPr>
                  <p:sp>
                    <p:nvSpPr>
                      <p:cNvPr id="1510" name="Freeform 453">
                        <a:extLst>
                          <a:ext uri="{FF2B5EF4-FFF2-40B4-BE49-F238E27FC236}">
                            <a16:creationId xmlns:a16="http://schemas.microsoft.com/office/drawing/2014/main" id="{447C4D6A-922C-43EC-A409-14A7982368B5}"/>
                          </a:ext>
                        </a:extLst>
                      </p:cNvPr>
                      <p:cNvSpPr/>
                      <p:nvPr/>
                    </p:nvSpPr>
                    <p:spPr>
                      <a:xfrm>
                        <a:off x="8079063" y="3685618"/>
                        <a:ext cx="1044576"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511" name="Freeform 454">
                        <a:extLst>
                          <a:ext uri="{FF2B5EF4-FFF2-40B4-BE49-F238E27FC236}">
                            <a16:creationId xmlns:a16="http://schemas.microsoft.com/office/drawing/2014/main" id="{1FB38F26-8610-48C8-BFD1-E5C583A89EA7}"/>
                          </a:ext>
                        </a:extLst>
                      </p:cNvPr>
                      <p:cNvSpPr/>
                      <p:nvPr/>
                    </p:nvSpPr>
                    <p:spPr>
                      <a:xfrm>
                        <a:off x="8083823" y="3970336"/>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512" name="Freeform 455">
                        <a:extLst>
                          <a:ext uri="{FF2B5EF4-FFF2-40B4-BE49-F238E27FC236}">
                            <a16:creationId xmlns:a16="http://schemas.microsoft.com/office/drawing/2014/main" id="{3F21D285-F476-4C54-80F7-43E524109176}"/>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1502" name="Group 1501">
                      <a:extLst>
                        <a:ext uri="{FF2B5EF4-FFF2-40B4-BE49-F238E27FC236}">
                          <a16:creationId xmlns:a16="http://schemas.microsoft.com/office/drawing/2014/main" id="{5554CD16-7378-4F0B-A14A-F80FFB11B002}"/>
                        </a:ext>
                      </a:extLst>
                    </p:cNvPr>
                    <p:cNvGrpSpPr/>
                    <p:nvPr/>
                  </p:nvGrpSpPr>
                  <p:grpSpPr>
                    <a:xfrm>
                      <a:off x="5539678" y="4755542"/>
                      <a:ext cx="100379" cy="121637"/>
                      <a:chOff x="8079057" y="3685619"/>
                      <a:chExt cx="1044575" cy="1265794"/>
                    </a:xfrm>
                  </p:grpSpPr>
                  <p:sp>
                    <p:nvSpPr>
                      <p:cNvPr id="1507" name="Freeform 446">
                        <a:extLst>
                          <a:ext uri="{FF2B5EF4-FFF2-40B4-BE49-F238E27FC236}">
                            <a16:creationId xmlns:a16="http://schemas.microsoft.com/office/drawing/2014/main" id="{2B1874CA-3645-4B79-9F44-A9A0EE93EBD0}"/>
                          </a:ext>
                        </a:extLst>
                      </p:cNvPr>
                      <p:cNvSpPr/>
                      <p:nvPr/>
                    </p:nvSpPr>
                    <p:spPr>
                      <a:xfrm>
                        <a:off x="8079057" y="3685619"/>
                        <a:ext cx="1044575"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508" name="Freeform 447">
                        <a:extLst>
                          <a:ext uri="{FF2B5EF4-FFF2-40B4-BE49-F238E27FC236}">
                            <a16:creationId xmlns:a16="http://schemas.microsoft.com/office/drawing/2014/main" id="{19F928DE-F0B8-4A01-97ED-2B2A1AE4E428}"/>
                          </a:ext>
                        </a:extLst>
                      </p:cNvPr>
                      <p:cNvSpPr/>
                      <p:nvPr/>
                    </p:nvSpPr>
                    <p:spPr>
                      <a:xfrm>
                        <a:off x="8083817" y="3970337"/>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509" name="Freeform 448">
                        <a:extLst>
                          <a:ext uri="{FF2B5EF4-FFF2-40B4-BE49-F238E27FC236}">
                            <a16:creationId xmlns:a16="http://schemas.microsoft.com/office/drawing/2014/main" id="{5F9D1EF1-49A5-4942-8C5B-D2FB9976BBD7}"/>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1503" name="Group 1502">
                      <a:extLst>
                        <a:ext uri="{FF2B5EF4-FFF2-40B4-BE49-F238E27FC236}">
                          <a16:creationId xmlns:a16="http://schemas.microsoft.com/office/drawing/2014/main" id="{06890C69-3C13-4B1F-A4AC-9045857DFB2B}"/>
                        </a:ext>
                      </a:extLst>
                    </p:cNvPr>
                    <p:cNvGrpSpPr/>
                    <p:nvPr/>
                  </p:nvGrpSpPr>
                  <p:grpSpPr>
                    <a:xfrm>
                      <a:off x="5539677" y="4899243"/>
                      <a:ext cx="100379" cy="121637"/>
                      <a:chOff x="8079063" y="3685618"/>
                      <a:chExt cx="1044576" cy="1265795"/>
                    </a:xfrm>
                  </p:grpSpPr>
                  <p:sp>
                    <p:nvSpPr>
                      <p:cNvPr id="1504" name="Freeform 443">
                        <a:extLst>
                          <a:ext uri="{FF2B5EF4-FFF2-40B4-BE49-F238E27FC236}">
                            <a16:creationId xmlns:a16="http://schemas.microsoft.com/office/drawing/2014/main" id="{010CCED8-9E10-4021-9CD5-F0D113BE9240}"/>
                          </a:ext>
                        </a:extLst>
                      </p:cNvPr>
                      <p:cNvSpPr/>
                      <p:nvPr/>
                    </p:nvSpPr>
                    <p:spPr>
                      <a:xfrm>
                        <a:off x="8079063" y="3685618"/>
                        <a:ext cx="1044576"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505" name="Freeform 444">
                        <a:extLst>
                          <a:ext uri="{FF2B5EF4-FFF2-40B4-BE49-F238E27FC236}">
                            <a16:creationId xmlns:a16="http://schemas.microsoft.com/office/drawing/2014/main" id="{DEEF356D-5680-44FE-96DC-655099C8A27D}"/>
                          </a:ext>
                        </a:extLst>
                      </p:cNvPr>
                      <p:cNvSpPr/>
                      <p:nvPr/>
                    </p:nvSpPr>
                    <p:spPr>
                      <a:xfrm>
                        <a:off x="8083823" y="3970336"/>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506" name="Freeform 445">
                        <a:extLst>
                          <a:ext uri="{FF2B5EF4-FFF2-40B4-BE49-F238E27FC236}">
                            <a16:creationId xmlns:a16="http://schemas.microsoft.com/office/drawing/2014/main" id="{6ED41B71-5AE5-4103-9C53-BAE09C0D6A55}"/>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grpSp>
                <p:nvGrpSpPr>
                  <p:cNvPr id="1460" name="Group 1459">
                    <a:extLst>
                      <a:ext uri="{FF2B5EF4-FFF2-40B4-BE49-F238E27FC236}">
                        <a16:creationId xmlns:a16="http://schemas.microsoft.com/office/drawing/2014/main" id="{409FE4A8-3603-4EFB-A2B7-B7E5B65F2D93}"/>
                      </a:ext>
                    </a:extLst>
                  </p:cNvPr>
                  <p:cNvGrpSpPr/>
                  <p:nvPr/>
                </p:nvGrpSpPr>
                <p:grpSpPr>
                  <a:xfrm>
                    <a:off x="4888179" y="5002454"/>
                    <a:ext cx="237146" cy="203443"/>
                    <a:chOff x="4888179" y="5002454"/>
                    <a:chExt cx="237146" cy="203443"/>
                  </a:xfrm>
                </p:grpSpPr>
                <p:grpSp>
                  <p:nvGrpSpPr>
                    <p:cNvPr id="1490" name="Group 1489">
                      <a:extLst>
                        <a:ext uri="{FF2B5EF4-FFF2-40B4-BE49-F238E27FC236}">
                          <a16:creationId xmlns:a16="http://schemas.microsoft.com/office/drawing/2014/main" id="{ABFC42E4-CCEE-4364-9CEE-ACF7A8744597}"/>
                        </a:ext>
                      </a:extLst>
                    </p:cNvPr>
                    <p:cNvGrpSpPr/>
                    <p:nvPr/>
                  </p:nvGrpSpPr>
                  <p:grpSpPr>
                    <a:xfrm>
                      <a:off x="4888179" y="5002454"/>
                      <a:ext cx="237146" cy="203443"/>
                      <a:chOff x="-2759707" y="1099472"/>
                      <a:chExt cx="7926138" cy="6799719"/>
                    </a:xfrm>
                  </p:grpSpPr>
                  <p:sp>
                    <p:nvSpPr>
                      <p:cNvPr id="1495" name="Rectangle 317">
                        <a:extLst>
                          <a:ext uri="{FF2B5EF4-FFF2-40B4-BE49-F238E27FC236}">
                            <a16:creationId xmlns:a16="http://schemas.microsoft.com/office/drawing/2014/main" id="{A40F6F77-776F-468F-9D36-0A6894D76B16}"/>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96" name="Rounded Rectangle 450">
                        <a:extLst>
                          <a:ext uri="{FF2B5EF4-FFF2-40B4-BE49-F238E27FC236}">
                            <a16:creationId xmlns:a16="http://schemas.microsoft.com/office/drawing/2014/main" id="{7714A30B-17E2-469F-AE1F-A5CAD2508F0A}"/>
                          </a:ext>
                        </a:extLst>
                      </p:cNvPr>
                      <p:cNvSpPr/>
                      <p:nvPr/>
                    </p:nvSpPr>
                    <p:spPr bwMode="auto">
                      <a:xfrm>
                        <a:off x="-2759707" y="1099472"/>
                        <a:ext cx="7926138" cy="5508726"/>
                      </a:xfrm>
                      <a:prstGeom prst="roundRect">
                        <a:avLst>
                          <a:gd name="adj" fmla="val 8482"/>
                        </a:avLst>
                      </a:prstGeom>
                      <a:solidFill>
                        <a:srgbClr val="494949"/>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97" name="Rectangle 1496">
                        <a:extLst>
                          <a:ext uri="{FF2B5EF4-FFF2-40B4-BE49-F238E27FC236}">
                            <a16:creationId xmlns:a16="http://schemas.microsoft.com/office/drawing/2014/main" id="{53AEF75C-444D-47B6-A32B-1D16D1CF7E03}"/>
                          </a:ext>
                        </a:extLst>
                      </p:cNvPr>
                      <p:cNvSpPr/>
                      <p:nvPr/>
                    </p:nvSpPr>
                    <p:spPr bwMode="auto">
                      <a:xfrm>
                        <a:off x="-2133709" y="1626405"/>
                        <a:ext cx="6674142" cy="4361521"/>
                      </a:xfrm>
                      <a:prstGeom prst="rect">
                        <a:avLst/>
                      </a:prstGeom>
                      <a:gradFill flip="none" rotWithShape="1">
                        <a:gsLst>
                          <a:gs pos="45000">
                            <a:srgbClr val="AFE5FD"/>
                          </a:gs>
                          <a:gs pos="45000">
                            <a:srgbClr val="C3ECFE"/>
                          </a:gs>
                        </a:gsLst>
                        <a:lin ang="24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98" name="Rectangle 1497">
                        <a:extLst>
                          <a:ext uri="{FF2B5EF4-FFF2-40B4-BE49-F238E27FC236}">
                            <a16:creationId xmlns:a16="http://schemas.microsoft.com/office/drawing/2014/main" id="{E9D26639-D5D3-4CDB-923F-C59A5EDA560A}"/>
                          </a:ext>
                        </a:extLst>
                      </p:cNvPr>
                      <p:cNvSpPr/>
                      <p:nvPr/>
                    </p:nvSpPr>
                    <p:spPr bwMode="auto">
                      <a:xfrm>
                        <a:off x="-1332157" y="7460659"/>
                        <a:ext cx="5071038" cy="438532"/>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491" name="Group 1490">
                      <a:extLst>
                        <a:ext uri="{FF2B5EF4-FFF2-40B4-BE49-F238E27FC236}">
                          <a16:creationId xmlns:a16="http://schemas.microsoft.com/office/drawing/2014/main" id="{E052DD3A-47EC-4C23-AFFB-5A53E8A39EF4}"/>
                        </a:ext>
                      </a:extLst>
                    </p:cNvPr>
                    <p:cNvGrpSpPr/>
                    <p:nvPr/>
                  </p:nvGrpSpPr>
                  <p:grpSpPr>
                    <a:xfrm>
                      <a:off x="4967500" y="5035695"/>
                      <a:ext cx="78504" cy="95130"/>
                      <a:chOff x="8079067" y="3685620"/>
                      <a:chExt cx="1044576" cy="1265793"/>
                    </a:xfrm>
                  </p:grpSpPr>
                  <p:sp>
                    <p:nvSpPr>
                      <p:cNvPr id="1492" name="Freeform 440">
                        <a:extLst>
                          <a:ext uri="{FF2B5EF4-FFF2-40B4-BE49-F238E27FC236}">
                            <a16:creationId xmlns:a16="http://schemas.microsoft.com/office/drawing/2014/main" id="{E0A78FB9-66E9-4A60-99FC-562863275083}"/>
                          </a:ext>
                        </a:extLst>
                      </p:cNvPr>
                      <p:cNvSpPr/>
                      <p:nvPr/>
                    </p:nvSpPr>
                    <p:spPr>
                      <a:xfrm>
                        <a:off x="8079067" y="3685620"/>
                        <a:ext cx="1044576" cy="560388"/>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93" name="Freeform 441">
                        <a:extLst>
                          <a:ext uri="{FF2B5EF4-FFF2-40B4-BE49-F238E27FC236}">
                            <a16:creationId xmlns:a16="http://schemas.microsoft.com/office/drawing/2014/main" id="{DD6C1822-7D0E-47F4-832A-C54AE43DE6ED}"/>
                          </a:ext>
                        </a:extLst>
                      </p:cNvPr>
                      <p:cNvSpPr/>
                      <p:nvPr/>
                    </p:nvSpPr>
                    <p:spPr>
                      <a:xfrm>
                        <a:off x="8083830"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94" name="Freeform 442">
                        <a:extLst>
                          <a:ext uri="{FF2B5EF4-FFF2-40B4-BE49-F238E27FC236}">
                            <a16:creationId xmlns:a16="http://schemas.microsoft.com/office/drawing/2014/main" id="{52615E2D-4FC0-4770-AD7A-206C5DA11D39}"/>
                          </a:ext>
                        </a:extLst>
                      </p:cNvPr>
                      <p:cNvSpPr/>
                      <p:nvPr/>
                    </p:nvSpPr>
                    <p:spPr>
                      <a:xfrm flipH="1">
                        <a:off x="8601355"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sp>
                <p:nvSpPr>
                  <p:cNvPr id="1461" name="Freeform: Shape 1460">
                    <a:extLst>
                      <a:ext uri="{FF2B5EF4-FFF2-40B4-BE49-F238E27FC236}">
                        <a16:creationId xmlns:a16="http://schemas.microsoft.com/office/drawing/2014/main" id="{8854D534-7437-4C3C-9F14-E29EE31476EE}"/>
                      </a:ext>
                    </a:extLst>
                  </p:cNvPr>
                  <p:cNvSpPr/>
                  <p:nvPr/>
                </p:nvSpPr>
                <p:spPr bwMode="auto">
                  <a:xfrm rot="18900000">
                    <a:off x="4817192" y="4775170"/>
                    <a:ext cx="585046" cy="69372"/>
                  </a:xfrm>
                  <a:custGeom>
                    <a:avLst/>
                    <a:gdLst>
                      <a:gd name="connsiteX0" fmla="*/ 39422 w 585046"/>
                      <a:gd name="connsiteY0" fmla="*/ 31543 h 69372"/>
                      <a:gd name="connsiteX1" fmla="*/ 39422 w 585046"/>
                      <a:gd name="connsiteY1" fmla="*/ 40687 h 69372"/>
                      <a:gd name="connsiteX2" fmla="*/ 0 w 585046"/>
                      <a:gd name="connsiteY2" fmla="*/ 40687 h 69372"/>
                      <a:gd name="connsiteX3" fmla="*/ 0 w 585046"/>
                      <a:gd name="connsiteY3" fmla="*/ 31543 h 69372"/>
                      <a:gd name="connsiteX4" fmla="*/ 85636 w 585046"/>
                      <a:gd name="connsiteY4" fmla="*/ 31543 h 69372"/>
                      <a:gd name="connsiteX5" fmla="*/ 85636 w 585046"/>
                      <a:gd name="connsiteY5" fmla="*/ 40687 h 69372"/>
                      <a:gd name="connsiteX6" fmla="*/ 46214 w 585046"/>
                      <a:gd name="connsiteY6" fmla="*/ 40687 h 69372"/>
                      <a:gd name="connsiteX7" fmla="*/ 46214 w 585046"/>
                      <a:gd name="connsiteY7" fmla="*/ 31543 h 69372"/>
                      <a:gd name="connsiteX8" fmla="*/ 131850 w 585046"/>
                      <a:gd name="connsiteY8" fmla="*/ 31543 h 69372"/>
                      <a:gd name="connsiteX9" fmla="*/ 131850 w 585046"/>
                      <a:gd name="connsiteY9" fmla="*/ 40687 h 69372"/>
                      <a:gd name="connsiteX10" fmla="*/ 92429 w 585046"/>
                      <a:gd name="connsiteY10" fmla="*/ 40687 h 69372"/>
                      <a:gd name="connsiteX11" fmla="*/ 92429 w 585046"/>
                      <a:gd name="connsiteY11" fmla="*/ 31543 h 69372"/>
                      <a:gd name="connsiteX12" fmla="*/ 178065 w 585046"/>
                      <a:gd name="connsiteY12" fmla="*/ 31543 h 69372"/>
                      <a:gd name="connsiteX13" fmla="*/ 178065 w 585046"/>
                      <a:gd name="connsiteY13" fmla="*/ 40687 h 69372"/>
                      <a:gd name="connsiteX14" fmla="*/ 138643 w 585046"/>
                      <a:gd name="connsiteY14" fmla="*/ 40687 h 69372"/>
                      <a:gd name="connsiteX15" fmla="*/ 138643 w 585046"/>
                      <a:gd name="connsiteY15" fmla="*/ 31543 h 69372"/>
                      <a:gd name="connsiteX16" fmla="*/ 224279 w 585046"/>
                      <a:gd name="connsiteY16" fmla="*/ 31543 h 69372"/>
                      <a:gd name="connsiteX17" fmla="*/ 224279 w 585046"/>
                      <a:gd name="connsiteY17" fmla="*/ 40687 h 69372"/>
                      <a:gd name="connsiteX18" fmla="*/ 184857 w 585046"/>
                      <a:gd name="connsiteY18" fmla="*/ 40687 h 69372"/>
                      <a:gd name="connsiteX19" fmla="*/ 184857 w 585046"/>
                      <a:gd name="connsiteY19" fmla="*/ 31543 h 69372"/>
                      <a:gd name="connsiteX20" fmla="*/ 270493 w 585046"/>
                      <a:gd name="connsiteY20" fmla="*/ 31543 h 69372"/>
                      <a:gd name="connsiteX21" fmla="*/ 270493 w 585046"/>
                      <a:gd name="connsiteY21" fmla="*/ 40687 h 69372"/>
                      <a:gd name="connsiteX22" fmla="*/ 231071 w 585046"/>
                      <a:gd name="connsiteY22" fmla="*/ 40687 h 69372"/>
                      <a:gd name="connsiteX23" fmla="*/ 231071 w 585046"/>
                      <a:gd name="connsiteY23" fmla="*/ 31543 h 69372"/>
                      <a:gd name="connsiteX24" fmla="*/ 317569 w 585046"/>
                      <a:gd name="connsiteY24" fmla="*/ 31543 h 69372"/>
                      <a:gd name="connsiteX25" fmla="*/ 317569 w 585046"/>
                      <a:gd name="connsiteY25" fmla="*/ 40687 h 69372"/>
                      <a:gd name="connsiteX26" fmla="*/ 278147 w 585046"/>
                      <a:gd name="connsiteY26" fmla="*/ 40687 h 69372"/>
                      <a:gd name="connsiteX27" fmla="*/ 278147 w 585046"/>
                      <a:gd name="connsiteY27" fmla="*/ 31543 h 69372"/>
                      <a:gd name="connsiteX28" fmla="*/ 363783 w 585046"/>
                      <a:gd name="connsiteY28" fmla="*/ 31543 h 69372"/>
                      <a:gd name="connsiteX29" fmla="*/ 363783 w 585046"/>
                      <a:gd name="connsiteY29" fmla="*/ 40687 h 69372"/>
                      <a:gd name="connsiteX30" fmla="*/ 324361 w 585046"/>
                      <a:gd name="connsiteY30" fmla="*/ 40687 h 69372"/>
                      <a:gd name="connsiteX31" fmla="*/ 324361 w 585046"/>
                      <a:gd name="connsiteY31" fmla="*/ 31543 h 69372"/>
                      <a:gd name="connsiteX32" fmla="*/ 409998 w 585046"/>
                      <a:gd name="connsiteY32" fmla="*/ 31543 h 69372"/>
                      <a:gd name="connsiteX33" fmla="*/ 409998 w 585046"/>
                      <a:gd name="connsiteY33" fmla="*/ 40687 h 69372"/>
                      <a:gd name="connsiteX34" fmla="*/ 370576 w 585046"/>
                      <a:gd name="connsiteY34" fmla="*/ 40687 h 69372"/>
                      <a:gd name="connsiteX35" fmla="*/ 370576 w 585046"/>
                      <a:gd name="connsiteY35" fmla="*/ 31543 h 69372"/>
                      <a:gd name="connsiteX36" fmla="*/ 456212 w 585046"/>
                      <a:gd name="connsiteY36" fmla="*/ 31543 h 69372"/>
                      <a:gd name="connsiteX37" fmla="*/ 456212 w 585046"/>
                      <a:gd name="connsiteY37" fmla="*/ 40687 h 69372"/>
                      <a:gd name="connsiteX38" fmla="*/ 416790 w 585046"/>
                      <a:gd name="connsiteY38" fmla="*/ 40687 h 69372"/>
                      <a:gd name="connsiteX39" fmla="*/ 416790 w 585046"/>
                      <a:gd name="connsiteY39" fmla="*/ 31543 h 69372"/>
                      <a:gd name="connsiteX40" fmla="*/ 502426 w 585046"/>
                      <a:gd name="connsiteY40" fmla="*/ 31543 h 69372"/>
                      <a:gd name="connsiteX41" fmla="*/ 502426 w 585046"/>
                      <a:gd name="connsiteY41" fmla="*/ 40687 h 69372"/>
                      <a:gd name="connsiteX42" fmla="*/ 463004 w 585046"/>
                      <a:gd name="connsiteY42" fmla="*/ 40687 h 69372"/>
                      <a:gd name="connsiteX43" fmla="*/ 463004 w 585046"/>
                      <a:gd name="connsiteY43" fmla="*/ 31543 h 69372"/>
                      <a:gd name="connsiteX44" fmla="*/ 585046 w 585046"/>
                      <a:gd name="connsiteY44" fmla="*/ 36367 h 69372"/>
                      <a:gd name="connsiteX45" fmla="*/ 531245 w 585046"/>
                      <a:gd name="connsiteY45" fmla="*/ 69372 h 69372"/>
                      <a:gd name="connsiteX46" fmla="*/ 532160 w 585046"/>
                      <a:gd name="connsiteY46" fmla="*/ 40687 h 69372"/>
                      <a:gd name="connsiteX47" fmla="*/ 509218 w 585046"/>
                      <a:gd name="connsiteY47" fmla="*/ 40687 h 69372"/>
                      <a:gd name="connsiteX48" fmla="*/ 509218 w 585046"/>
                      <a:gd name="connsiteY48" fmla="*/ 31543 h 69372"/>
                      <a:gd name="connsiteX49" fmla="*/ 532451 w 585046"/>
                      <a:gd name="connsiteY49" fmla="*/ 31543 h 69372"/>
                      <a:gd name="connsiteX50" fmla="*/ 533458 w 585046"/>
                      <a:gd name="connsiteY50" fmla="*/ 0 h 6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85046" h="69372">
                        <a:moveTo>
                          <a:pt x="39422" y="31543"/>
                        </a:moveTo>
                        <a:lnTo>
                          <a:pt x="39422" y="40687"/>
                        </a:lnTo>
                        <a:lnTo>
                          <a:pt x="0" y="40687"/>
                        </a:lnTo>
                        <a:lnTo>
                          <a:pt x="0" y="31543"/>
                        </a:lnTo>
                        <a:close/>
                        <a:moveTo>
                          <a:pt x="85636" y="31543"/>
                        </a:moveTo>
                        <a:lnTo>
                          <a:pt x="85636" y="40687"/>
                        </a:lnTo>
                        <a:lnTo>
                          <a:pt x="46214" y="40687"/>
                        </a:lnTo>
                        <a:lnTo>
                          <a:pt x="46214" y="31543"/>
                        </a:lnTo>
                        <a:close/>
                        <a:moveTo>
                          <a:pt x="131850" y="31543"/>
                        </a:moveTo>
                        <a:lnTo>
                          <a:pt x="131850" y="40687"/>
                        </a:lnTo>
                        <a:lnTo>
                          <a:pt x="92429" y="40687"/>
                        </a:lnTo>
                        <a:lnTo>
                          <a:pt x="92429" y="31543"/>
                        </a:lnTo>
                        <a:close/>
                        <a:moveTo>
                          <a:pt x="178065" y="31543"/>
                        </a:moveTo>
                        <a:lnTo>
                          <a:pt x="178065" y="40687"/>
                        </a:lnTo>
                        <a:lnTo>
                          <a:pt x="138643" y="40687"/>
                        </a:lnTo>
                        <a:lnTo>
                          <a:pt x="138643" y="31543"/>
                        </a:lnTo>
                        <a:close/>
                        <a:moveTo>
                          <a:pt x="224279" y="31543"/>
                        </a:moveTo>
                        <a:lnTo>
                          <a:pt x="224279" y="40687"/>
                        </a:lnTo>
                        <a:lnTo>
                          <a:pt x="184857" y="40687"/>
                        </a:lnTo>
                        <a:lnTo>
                          <a:pt x="184857" y="31543"/>
                        </a:lnTo>
                        <a:close/>
                        <a:moveTo>
                          <a:pt x="270493" y="31543"/>
                        </a:moveTo>
                        <a:lnTo>
                          <a:pt x="270493" y="40687"/>
                        </a:lnTo>
                        <a:lnTo>
                          <a:pt x="231071" y="40687"/>
                        </a:lnTo>
                        <a:lnTo>
                          <a:pt x="231071" y="31543"/>
                        </a:lnTo>
                        <a:close/>
                        <a:moveTo>
                          <a:pt x="317569" y="31543"/>
                        </a:moveTo>
                        <a:lnTo>
                          <a:pt x="317569" y="40687"/>
                        </a:lnTo>
                        <a:lnTo>
                          <a:pt x="278147" y="40687"/>
                        </a:lnTo>
                        <a:lnTo>
                          <a:pt x="278147" y="31543"/>
                        </a:lnTo>
                        <a:close/>
                        <a:moveTo>
                          <a:pt x="363783" y="31543"/>
                        </a:moveTo>
                        <a:lnTo>
                          <a:pt x="363783" y="40687"/>
                        </a:lnTo>
                        <a:lnTo>
                          <a:pt x="324361" y="40687"/>
                        </a:lnTo>
                        <a:lnTo>
                          <a:pt x="324361" y="31543"/>
                        </a:lnTo>
                        <a:close/>
                        <a:moveTo>
                          <a:pt x="409998" y="31543"/>
                        </a:moveTo>
                        <a:lnTo>
                          <a:pt x="409998" y="40687"/>
                        </a:lnTo>
                        <a:lnTo>
                          <a:pt x="370576" y="40687"/>
                        </a:lnTo>
                        <a:lnTo>
                          <a:pt x="370576" y="31543"/>
                        </a:lnTo>
                        <a:close/>
                        <a:moveTo>
                          <a:pt x="456212" y="31543"/>
                        </a:moveTo>
                        <a:lnTo>
                          <a:pt x="456212" y="40687"/>
                        </a:lnTo>
                        <a:lnTo>
                          <a:pt x="416790" y="40687"/>
                        </a:lnTo>
                        <a:lnTo>
                          <a:pt x="416790" y="31543"/>
                        </a:lnTo>
                        <a:close/>
                        <a:moveTo>
                          <a:pt x="502426" y="31543"/>
                        </a:moveTo>
                        <a:lnTo>
                          <a:pt x="502426" y="40687"/>
                        </a:lnTo>
                        <a:lnTo>
                          <a:pt x="463004" y="40687"/>
                        </a:lnTo>
                        <a:lnTo>
                          <a:pt x="463004" y="31543"/>
                        </a:lnTo>
                        <a:close/>
                        <a:moveTo>
                          <a:pt x="585046" y="36367"/>
                        </a:moveTo>
                        <a:lnTo>
                          <a:pt x="531245" y="69372"/>
                        </a:lnTo>
                        <a:lnTo>
                          <a:pt x="532160" y="40687"/>
                        </a:lnTo>
                        <a:lnTo>
                          <a:pt x="509218" y="40687"/>
                        </a:lnTo>
                        <a:lnTo>
                          <a:pt x="509218" y="31543"/>
                        </a:lnTo>
                        <a:lnTo>
                          <a:pt x="532451" y="31543"/>
                        </a:lnTo>
                        <a:lnTo>
                          <a:pt x="533458" y="0"/>
                        </a:lnTo>
                        <a:close/>
                      </a:path>
                    </a:pathLst>
                  </a:cu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62" name="Freeform: Shape 1461">
                    <a:extLst>
                      <a:ext uri="{FF2B5EF4-FFF2-40B4-BE49-F238E27FC236}">
                        <a16:creationId xmlns:a16="http://schemas.microsoft.com/office/drawing/2014/main" id="{EBE80756-FEE9-41AA-B82A-8FFBAB81115B}"/>
                      </a:ext>
                    </a:extLst>
                  </p:cNvPr>
                  <p:cNvSpPr/>
                  <p:nvPr/>
                </p:nvSpPr>
                <p:spPr bwMode="auto">
                  <a:xfrm rot="5062782">
                    <a:off x="5537811" y="4680200"/>
                    <a:ext cx="69407" cy="917597"/>
                  </a:xfrm>
                  <a:custGeom>
                    <a:avLst/>
                    <a:gdLst>
                      <a:gd name="connsiteX0" fmla="*/ 8596 w 69407"/>
                      <a:gd name="connsiteY0" fmla="*/ 854979 h 917597"/>
                      <a:gd name="connsiteX1" fmla="*/ 17737 w 69407"/>
                      <a:gd name="connsiteY1" fmla="*/ 855196 h 917597"/>
                      <a:gd name="connsiteX2" fmla="*/ 16254 w 69407"/>
                      <a:gd name="connsiteY2" fmla="*/ 917597 h 917597"/>
                      <a:gd name="connsiteX3" fmla="*/ 7113 w 69407"/>
                      <a:gd name="connsiteY3" fmla="*/ 917379 h 917597"/>
                      <a:gd name="connsiteX4" fmla="*/ 10334 w 69407"/>
                      <a:gd name="connsiteY4" fmla="*/ 781827 h 917597"/>
                      <a:gd name="connsiteX5" fmla="*/ 19476 w 69407"/>
                      <a:gd name="connsiteY5" fmla="*/ 782044 h 917597"/>
                      <a:gd name="connsiteX6" fmla="*/ 17993 w 69407"/>
                      <a:gd name="connsiteY6" fmla="*/ 844445 h 917597"/>
                      <a:gd name="connsiteX7" fmla="*/ 8851 w 69407"/>
                      <a:gd name="connsiteY7" fmla="*/ 844227 h 917597"/>
                      <a:gd name="connsiteX8" fmla="*/ 12072 w 69407"/>
                      <a:gd name="connsiteY8" fmla="*/ 708675 h 917597"/>
                      <a:gd name="connsiteX9" fmla="*/ 21214 w 69407"/>
                      <a:gd name="connsiteY9" fmla="*/ 708892 h 917597"/>
                      <a:gd name="connsiteX10" fmla="*/ 19731 w 69407"/>
                      <a:gd name="connsiteY10" fmla="*/ 771293 h 917597"/>
                      <a:gd name="connsiteX11" fmla="*/ 10590 w 69407"/>
                      <a:gd name="connsiteY11" fmla="*/ 771075 h 917597"/>
                      <a:gd name="connsiteX12" fmla="*/ 13811 w 69407"/>
                      <a:gd name="connsiteY12" fmla="*/ 635523 h 917597"/>
                      <a:gd name="connsiteX13" fmla="*/ 22952 w 69407"/>
                      <a:gd name="connsiteY13" fmla="*/ 635741 h 917597"/>
                      <a:gd name="connsiteX14" fmla="*/ 21469 w 69407"/>
                      <a:gd name="connsiteY14" fmla="*/ 698140 h 917597"/>
                      <a:gd name="connsiteX15" fmla="*/ 12328 w 69407"/>
                      <a:gd name="connsiteY15" fmla="*/ 697924 h 917597"/>
                      <a:gd name="connsiteX16" fmla="*/ 15549 w 69407"/>
                      <a:gd name="connsiteY16" fmla="*/ 562371 h 917597"/>
                      <a:gd name="connsiteX17" fmla="*/ 24691 w 69407"/>
                      <a:gd name="connsiteY17" fmla="*/ 562589 h 917597"/>
                      <a:gd name="connsiteX18" fmla="*/ 23208 w 69407"/>
                      <a:gd name="connsiteY18" fmla="*/ 624988 h 917597"/>
                      <a:gd name="connsiteX19" fmla="*/ 14066 w 69407"/>
                      <a:gd name="connsiteY19" fmla="*/ 624771 h 917597"/>
                      <a:gd name="connsiteX20" fmla="*/ 17287 w 69407"/>
                      <a:gd name="connsiteY20" fmla="*/ 489220 h 917597"/>
                      <a:gd name="connsiteX21" fmla="*/ 26429 w 69407"/>
                      <a:gd name="connsiteY21" fmla="*/ 489437 h 917597"/>
                      <a:gd name="connsiteX22" fmla="*/ 24946 w 69407"/>
                      <a:gd name="connsiteY22" fmla="*/ 551837 h 917597"/>
                      <a:gd name="connsiteX23" fmla="*/ 15805 w 69407"/>
                      <a:gd name="connsiteY23" fmla="*/ 551620 h 917597"/>
                      <a:gd name="connsiteX24" fmla="*/ 19058 w 69407"/>
                      <a:gd name="connsiteY24" fmla="*/ 414704 h 917597"/>
                      <a:gd name="connsiteX25" fmla="*/ 28200 w 69407"/>
                      <a:gd name="connsiteY25" fmla="*/ 414921 h 917597"/>
                      <a:gd name="connsiteX26" fmla="*/ 26717 w 69407"/>
                      <a:gd name="connsiteY26" fmla="*/ 477321 h 917597"/>
                      <a:gd name="connsiteX27" fmla="*/ 17575 w 69407"/>
                      <a:gd name="connsiteY27" fmla="*/ 477104 h 917597"/>
                      <a:gd name="connsiteX28" fmla="*/ 20797 w 69407"/>
                      <a:gd name="connsiteY28" fmla="*/ 341552 h 917597"/>
                      <a:gd name="connsiteX29" fmla="*/ 29938 w 69407"/>
                      <a:gd name="connsiteY29" fmla="*/ 341769 h 917597"/>
                      <a:gd name="connsiteX30" fmla="*/ 28455 w 69407"/>
                      <a:gd name="connsiteY30" fmla="*/ 404169 h 917597"/>
                      <a:gd name="connsiteX31" fmla="*/ 19314 w 69407"/>
                      <a:gd name="connsiteY31" fmla="*/ 403952 h 917597"/>
                      <a:gd name="connsiteX32" fmla="*/ 22535 w 69407"/>
                      <a:gd name="connsiteY32" fmla="*/ 268400 h 917597"/>
                      <a:gd name="connsiteX33" fmla="*/ 31676 w 69407"/>
                      <a:gd name="connsiteY33" fmla="*/ 268617 h 917597"/>
                      <a:gd name="connsiteX34" fmla="*/ 30194 w 69407"/>
                      <a:gd name="connsiteY34" fmla="*/ 331017 h 917597"/>
                      <a:gd name="connsiteX35" fmla="*/ 21052 w 69407"/>
                      <a:gd name="connsiteY35" fmla="*/ 330800 h 917597"/>
                      <a:gd name="connsiteX36" fmla="*/ 24273 w 69407"/>
                      <a:gd name="connsiteY36" fmla="*/ 195248 h 917597"/>
                      <a:gd name="connsiteX37" fmla="*/ 33415 w 69407"/>
                      <a:gd name="connsiteY37" fmla="*/ 195465 h 917597"/>
                      <a:gd name="connsiteX38" fmla="*/ 31932 w 69407"/>
                      <a:gd name="connsiteY38" fmla="*/ 257865 h 917597"/>
                      <a:gd name="connsiteX39" fmla="*/ 22790 w 69407"/>
                      <a:gd name="connsiteY39" fmla="*/ 257648 h 917597"/>
                      <a:gd name="connsiteX40" fmla="*/ 26012 w 69407"/>
                      <a:gd name="connsiteY40" fmla="*/ 122096 h 917597"/>
                      <a:gd name="connsiteX41" fmla="*/ 35153 w 69407"/>
                      <a:gd name="connsiteY41" fmla="*/ 122313 h 917597"/>
                      <a:gd name="connsiteX42" fmla="*/ 33670 w 69407"/>
                      <a:gd name="connsiteY42" fmla="*/ 184713 h 917597"/>
                      <a:gd name="connsiteX43" fmla="*/ 24529 w 69407"/>
                      <a:gd name="connsiteY43" fmla="*/ 184496 h 917597"/>
                      <a:gd name="connsiteX44" fmla="*/ 0 w 69407"/>
                      <a:gd name="connsiteY44" fmla="*/ 52721 h 917597"/>
                      <a:gd name="connsiteX45" fmla="*/ 34704 w 69407"/>
                      <a:gd name="connsiteY45" fmla="*/ 0 h 917597"/>
                      <a:gd name="connsiteX46" fmla="*/ 69407 w 69407"/>
                      <a:gd name="connsiteY46" fmla="*/ 52721 h 917597"/>
                      <a:gd name="connsiteX47" fmla="*/ 36807 w 69407"/>
                      <a:gd name="connsiteY47" fmla="*/ 52721 h 917597"/>
                      <a:gd name="connsiteX48" fmla="*/ 35409 w 69407"/>
                      <a:gd name="connsiteY48" fmla="*/ 111562 h 917597"/>
                      <a:gd name="connsiteX49" fmla="*/ 26267 w 69407"/>
                      <a:gd name="connsiteY49" fmla="*/ 111345 h 917597"/>
                      <a:gd name="connsiteX50" fmla="*/ 27661 w 69407"/>
                      <a:gd name="connsiteY50" fmla="*/ 52721 h 9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9407" h="917597">
                        <a:moveTo>
                          <a:pt x="8596" y="854979"/>
                        </a:moveTo>
                        <a:lnTo>
                          <a:pt x="17737" y="855196"/>
                        </a:lnTo>
                        <a:lnTo>
                          <a:pt x="16254" y="917597"/>
                        </a:lnTo>
                        <a:lnTo>
                          <a:pt x="7113" y="917379"/>
                        </a:lnTo>
                        <a:close/>
                        <a:moveTo>
                          <a:pt x="10334" y="781827"/>
                        </a:moveTo>
                        <a:lnTo>
                          <a:pt x="19476" y="782044"/>
                        </a:lnTo>
                        <a:lnTo>
                          <a:pt x="17993" y="844445"/>
                        </a:lnTo>
                        <a:lnTo>
                          <a:pt x="8851" y="844227"/>
                        </a:lnTo>
                        <a:close/>
                        <a:moveTo>
                          <a:pt x="12072" y="708675"/>
                        </a:moveTo>
                        <a:lnTo>
                          <a:pt x="21214" y="708892"/>
                        </a:lnTo>
                        <a:lnTo>
                          <a:pt x="19731" y="771293"/>
                        </a:lnTo>
                        <a:lnTo>
                          <a:pt x="10590" y="771075"/>
                        </a:lnTo>
                        <a:close/>
                        <a:moveTo>
                          <a:pt x="13811" y="635523"/>
                        </a:moveTo>
                        <a:lnTo>
                          <a:pt x="22952" y="635741"/>
                        </a:lnTo>
                        <a:lnTo>
                          <a:pt x="21469" y="698140"/>
                        </a:lnTo>
                        <a:lnTo>
                          <a:pt x="12328" y="697924"/>
                        </a:lnTo>
                        <a:close/>
                        <a:moveTo>
                          <a:pt x="15549" y="562371"/>
                        </a:moveTo>
                        <a:lnTo>
                          <a:pt x="24691" y="562589"/>
                        </a:lnTo>
                        <a:lnTo>
                          <a:pt x="23208" y="624988"/>
                        </a:lnTo>
                        <a:lnTo>
                          <a:pt x="14066" y="624771"/>
                        </a:lnTo>
                        <a:close/>
                        <a:moveTo>
                          <a:pt x="17287" y="489220"/>
                        </a:moveTo>
                        <a:lnTo>
                          <a:pt x="26429" y="489437"/>
                        </a:lnTo>
                        <a:lnTo>
                          <a:pt x="24946" y="551837"/>
                        </a:lnTo>
                        <a:lnTo>
                          <a:pt x="15805" y="551620"/>
                        </a:lnTo>
                        <a:close/>
                        <a:moveTo>
                          <a:pt x="19058" y="414704"/>
                        </a:moveTo>
                        <a:lnTo>
                          <a:pt x="28200" y="414921"/>
                        </a:lnTo>
                        <a:lnTo>
                          <a:pt x="26717" y="477321"/>
                        </a:lnTo>
                        <a:lnTo>
                          <a:pt x="17575" y="477104"/>
                        </a:lnTo>
                        <a:close/>
                        <a:moveTo>
                          <a:pt x="20797" y="341552"/>
                        </a:moveTo>
                        <a:lnTo>
                          <a:pt x="29938" y="341769"/>
                        </a:lnTo>
                        <a:lnTo>
                          <a:pt x="28455" y="404169"/>
                        </a:lnTo>
                        <a:lnTo>
                          <a:pt x="19314" y="403952"/>
                        </a:lnTo>
                        <a:close/>
                        <a:moveTo>
                          <a:pt x="22535" y="268400"/>
                        </a:moveTo>
                        <a:lnTo>
                          <a:pt x="31676" y="268617"/>
                        </a:lnTo>
                        <a:lnTo>
                          <a:pt x="30194" y="331017"/>
                        </a:lnTo>
                        <a:lnTo>
                          <a:pt x="21052" y="330800"/>
                        </a:lnTo>
                        <a:close/>
                        <a:moveTo>
                          <a:pt x="24273" y="195248"/>
                        </a:moveTo>
                        <a:lnTo>
                          <a:pt x="33415" y="195465"/>
                        </a:lnTo>
                        <a:lnTo>
                          <a:pt x="31932" y="257865"/>
                        </a:lnTo>
                        <a:lnTo>
                          <a:pt x="22790" y="257648"/>
                        </a:lnTo>
                        <a:close/>
                        <a:moveTo>
                          <a:pt x="26012" y="122096"/>
                        </a:moveTo>
                        <a:lnTo>
                          <a:pt x="35153" y="122313"/>
                        </a:lnTo>
                        <a:lnTo>
                          <a:pt x="33670" y="184713"/>
                        </a:lnTo>
                        <a:lnTo>
                          <a:pt x="24529" y="184496"/>
                        </a:lnTo>
                        <a:close/>
                        <a:moveTo>
                          <a:pt x="0" y="52721"/>
                        </a:moveTo>
                        <a:lnTo>
                          <a:pt x="34704" y="0"/>
                        </a:lnTo>
                        <a:lnTo>
                          <a:pt x="69407" y="52721"/>
                        </a:lnTo>
                        <a:lnTo>
                          <a:pt x="36807" y="52721"/>
                        </a:lnTo>
                        <a:lnTo>
                          <a:pt x="35409" y="111562"/>
                        </a:lnTo>
                        <a:lnTo>
                          <a:pt x="26267" y="111345"/>
                        </a:lnTo>
                        <a:lnTo>
                          <a:pt x="27661" y="52721"/>
                        </a:lnTo>
                        <a:close/>
                      </a:path>
                    </a:pathLst>
                  </a:custGeom>
                  <a:solidFill>
                    <a:srgbClr val="58B3D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63" name="Freeform: Shape 1462">
                    <a:extLst>
                      <a:ext uri="{FF2B5EF4-FFF2-40B4-BE49-F238E27FC236}">
                        <a16:creationId xmlns:a16="http://schemas.microsoft.com/office/drawing/2014/main" id="{D17B8692-57EC-41AD-AD87-9745A37386C8}"/>
                      </a:ext>
                    </a:extLst>
                  </p:cNvPr>
                  <p:cNvSpPr>
                    <a:spLocks noChangeAspect="1"/>
                  </p:cNvSpPr>
                  <p:nvPr/>
                </p:nvSpPr>
                <p:spPr bwMode="auto">
                  <a:xfrm>
                    <a:off x="4875628" y="5243272"/>
                    <a:ext cx="1163902" cy="69407"/>
                  </a:xfrm>
                  <a:custGeom>
                    <a:avLst/>
                    <a:gdLst>
                      <a:gd name="connsiteX0" fmla="*/ 1083694 w 1163902"/>
                      <a:gd name="connsiteY0" fmla="*/ 26002 h 69407"/>
                      <a:gd name="connsiteX1" fmla="*/ 1102579 w 1163902"/>
                      <a:gd name="connsiteY1" fmla="*/ 26002 h 69407"/>
                      <a:gd name="connsiteX2" fmla="*/ 1102579 w 1163902"/>
                      <a:gd name="connsiteY2" fmla="*/ 44886 h 69407"/>
                      <a:gd name="connsiteX3" fmla="*/ 1083694 w 1163902"/>
                      <a:gd name="connsiteY3" fmla="*/ 44886 h 69407"/>
                      <a:gd name="connsiteX4" fmla="*/ 1057300 w 1163902"/>
                      <a:gd name="connsiteY4" fmla="*/ 26002 h 69407"/>
                      <a:gd name="connsiteX5" fmla="*/ 1076185 w 1163902"/>
                      <a:gd name="connsiteY5" fmla="*/ 26002 h 69407"/>
                      <a:gd name="connsiteX6" fmla="*/ 1076185 w 1163902"/>
                      <a:gd name="connsiteY6" fmla="*/ 44886 h 69407"/>
                      <a:gd name="connsiteX7" fmla="*/ 1057300 w 1163902"/>
                      <a:gd name="connsiteY7" fmla="*/ 44886 h 69407"/>
                      <a:gd name="connsiteX8" fmla="*/ 1030907 w 1163902"/>
                      <a:gd name="connsiteY8" fmla="*/ 26002 h 69407"/>
                      <a:gd name="connsiteX9" fmla="*/ 1049791 w 1163902"/>
                      <a:gd name="connsiteY9" fmla="*/ 26002 h 69407"/>
                      <a:gd name="connsiteX10" fmla="*/ 1049791 w 1163902"/>
                      <a:gd name="connsiteY10" fmla="*/ 44886 h 69407"/>
                      <a:gd name="connsiteX11" fmla="*/ 1030907 w 1163902"/>
                      <a:gd name="connsiteY11" fmla="*/ 44886 h 69407"/>
                      <a:gd name="connsiteX12" fmla="*/ 1004513 w 1163902"/>
                      <a:gd name="connsiteY12" fmla="*/ 26002 h 69407"/>
                      <a:gd name="connsiteX13" fmla="*/ 1023398 w 1163902"/>
                      <a:gd name="connsiteY13" fmla="*/ 26002 h 69407"/>
                      <a:gd name="connsiteX14" fmla="*/ 1023398 w 1163902"/>
                      <a:gd name="connsiteY14" fmla="*/ 44886 h 69407"/>
                      <a:gd name="connsiteX15" fmla="*/ 1004513 w 1163902"/>
                      <a:gd name="connsiteY15" fmla="*/ 44886 h 69407"/>
                      <a:gd name="connsiteX16" fmla="*/ 978119 w 1163902"/>
                      <a:gd name="connsiteY16" fmla="*/ 26002 h 69407"/>
                      <a:gd name="connsiteX17" fmla="*/ 997004 w 1163902"/>
                      <a:gd name="connsiteY17" fmla="*/ 26002 h 69407"/>
                      <a:gd name="connsiteX18" fmla="*/ 997004 w 1163902"/>
                      <a:gd name="connsiteY18" fmla="*/ 44886 h 69407"/>
                      <a:gd name="connsiteX19" fmla="*/ 978119 w 1163902"/>
                      <a:gd name="connsiteY19" fmla="*/ 44886 h 69407"/>
                      <a:gd name="connsiteX20" fmla="*/ 951725 w 1163902"/>
                      <a:gd name="connsiteY20" fmla="*/ 26002 h 69407"/>
                      <a:gd name="connsiteX21" fmla="*/ 970610 w 1163902"/>
                      <a:gd name="connsiteY21" fmla="*/ 26002 h 69407"/>
                      <a:gd name="connsiteX22" fmla="*/ 970610 w 1163902"/>
                      <a:gd name="connsiteY22" fmla="*/ 44886 h 69407"/>
                      <a:gd name="connsiteX23" fmla="*/ 951725 w 1163902"/>
                      <a:gd name="connsiteY23" fmla="*/ 44886 h 69407"/>
                      <a:gd name="connsiteX24" fmla="*/ 925331 w 1163902"/>
                      <a:gd name="connsiteY24" fmla="*/ 26002 h 69407"/>
                      <a:gd name="connsiteX25" fmla="*/ 944216 w 1163902"/>
                      <a:gd name="connsiteY25" fmla="*/ 26002 h 69407"/>
                      <a:gd name="connsiteX26" fmla="*/ 944216 w 1163902"/>
                      <a:gd name="connsiteY26" fmla="*/ 44886 h 69407"/>
                      <a:gd name="connsiteX27" fmla="*/ 925331 w 1163902"/>
                      <a:gd name="connsiteY27" fmla="*/ 44886 h 69407"/>
                      <a:gd name="connsiteX28" fmla="*/ 898937 w 1163902"/>
                      <a:gd name="connsiteY28" fmla="*/ 26002 h 69407"/>
                      <a:gd name="connsiteX29" fmla="*/ 917822 w 1163902"/>
                      <a:gd name="connsiteY29" fmla="*/ 26002 h 69407"/>
                      <a:gd name="connsiteX30" fmla="*/ 917822 w 1163902"/>
                      <a:gd name="connsiteY30" fmla="*/ 44886 h 69407"/>
                      <a:gd name="connsiteX31" fmla="*/ 898937 w 1163902"/>
                      <a:gd name="connsiteY31" fmla="*/ 44886 h 69407"/>
                      <a:gd name="connsiteX32" fmla="*/ 872543 w 1163902"/>
                      <a:gd name="connsiteY32" fmla="*/ 26002 h 69407"/>
                      <a:gd name="connsiteX33" fmla="*/ 891428 w 1163902"/>
                      <a:gd name="connsiteY33" fmla="*/ 26002 h 69407"/>
                      <a:gd name="connsiteX34" fmla="*/ 891428 w 1163902"/>
                      <a:gd name="connsiteY34" fmla="*/ 44886 h 69407"/>
                      <a:gd name="connsiteX35" fmla="*/ 872543 w 1163902"/>
                      <a:gd name="connsiteY35" fmla="*/ 44886 h 69407"/>
                      <a:gd name="connsiteX36" fmla="*/ 846150 w 1163902"/>
                      <a:gd name="connsiteY36" fmla="*/ 26002 h 69407"/>
                      <a:gd name="connsiteX37" fmla="*/ 865034 w 1163902"/>
                      <a:gd name="connsiteY37" fmla="*/ 26002 h 69407"/>
                      <a:gd name="connsiteX38" fmla="*/ 865034 w 1163902"/>
                      <a:gd name="connsiteY38" fmla="*/ 44886 h 69407"/>
                      <a:gd name="connsiteX39" fmla="*/ 846150 w 1163902"/>
                      <a:gd name="connsiteY39" fmla="*/ 44886 h 69407"/>
                      <a:gd name="connsiteX40" fmla="*/ 819756 w 1163902"/>
                      <a:gd name="connsiteY40" fmla="*/ 26002 h 69407"/>
                      <a:gd name="connsiteX41" fmla="*/ 838641 w 1163902"/>
                      <a:gd name="connsiteY41" fmla="*/ 26002 h 69407"/>
                      <a:gd name="connsiteX42" fmla="*/ 838641 w 1163902"/>
                      <a:gd name="connsiteY42" fmla="*/ 44886 h 69407"/>
                      <a:gd name="connsiteX43" fmla="*/ 819756 w 1163902"/>
                      <a:gd name="connsiteY43" fmla="*/ 44886 h 69407"/>
                      <a:gd name="connsiteX44" fmla="*/ 793362 w 1163902"/>
                      <a:gd name="connsiteY44" fmla="*/ 26002 h 69407"/>
                      <a:gd name="connsiteX45" fmla="*/ 812247 w 1163902"/>
                      <a:gd name="connsiteY45" fmla="*/ 26002 h 69407"/>
                      <a:gd name="connsiteX46" fmla="*/ 812247 w 1163902"/>
                      <a:gd name="connsiteY46" fmla="*/ 44886 h 69407"/>
                      <a:gd name="connsiteX47" fmla="*/ 793362 w 1163902"/>
                      <a:gd name="connsiteY47" fmla="*/ 44886 h 69407"/>
                      <a:gd name="connsiteX48" fmla="*/ 766968 w 1163902"/>
                      <a:gd name="connsiteY48" fmla="*/ 26002 h 69407"/>
                      <a:gd name="connsiteX49" fmla="*/ 785853 w 1163902"/>
                      <a:gd name="connsiteY49" fmla="*/ 26002 h 69407"/>
                      <a:gd name="connsiteX50" fmla="*/ 785853 w 1163902"/>
                      <a:gd name="connsiteY50" fmla="*/ 44886 h 69407"/>
                      <a:gd name="connsiteX51" fmla="*/ 766968 w 1163902"/>
                      <a:gd name="connsiteY51" fmla="*/ 44886 h 69407"/>
                      <a:gd name="connsiteX52" fmla="*/ 740574 w 1163902"/>
                      <a:gd name="connsiteY52" fmla="*/ 26002 h 69407"/>
                      <a:gd name="connsiteX53" fmla="*/ 759459 w 1163902"/>
                      <a:gd name="connsiteY53" fmla="*/ 26002 h 69407"/>
                      <a:gd name="connsiteX54" fmla="*/ 759459 w 1163902"/>
                      <a:gd name="connsiteY54" fmla="*/ 44886 h 69407"/>
                      <a:gd name="connsiteX55" fmla="*/ 740574 w 1163902"/>
                      <a:gd name="connsiteY55" fmla="*/ 44886 h 69407"/>
                      <a:gd name="connsiteX56" fmla="*/ 712635 w 1163902"/>
                      <a:gd name="connsiteY56" fmla="*/ 26002 h 69407"/>
                      <a:gd name="connsiteX57" fmla="*/ 731520 w 1163902"/>
                      <a:gd name="connsiteY57" fmla="*/ 26002 h 69407"/>
                      <a:gd name="connsiteX58" fmla="*/ 731520 w 1163902"/>
                      <a:gd name="connsiteY58" fmla="*/ 44886 h 69407"/>
                      <a:gd name="connsiteX59" fmla="*/ 712635 w 1163902"/>
                      <a:gd name="connsiteY59" fmla="*/ 44886 h 69407"/>
                      <a:gd name="connsiteX60" fmla="*/ 686240 w 1163902"/>
                      <a:gd name="connsiteY60" fmla="*/ 26002 h 69407"/>
                      <a:gd name="connsiteX61" fmla="*/ 705125 w 1163902"/>
                      <a:gd name="connsiteY61" fmla="*/ 26002 h 69407"/>
                      <a:gd name="connsiteX62" fmla="*/ 705125 w 1163902"/>
                      <a:gd name="connsiteY62" fmla="*/ 44886 h 69407"/>
                      <a:gd name="connsiteX63" fmla="*/ 686240 w 1163902"/>
                      <a:gd name="connsiteY63" fmla="*/ 44886 h 69407"/>
                      <a:gd name="connsiteX64" fmla="*/ 659846 w 1163902"/>
                      <a:gd name="connsiteY64" fmla="*/ 26002 h 69407"/>
                      <a:gd name="connsiteX65" fmla="*/ 678731 w 1163902"/>
                      <a:gd name="connsiteY65" fmla="*/ 26002 h 69407"/>
                      <a:gd name="connsiteX66" fmla="*/ 678731 w 1163902"/>
                      <a:gd name="connsiteY66" fmla="*/ 44886 h 69407"/>
                      <a:gd name="connsiteX67" fmla="*/ 659846 w 1163902"/>
                      <a:gd name="connsiteY67" fmla="*/ 44886 h 69407"/>
                      <a:gd name="connsiteX68" fmla="*/ 633452 w 1163902"/>
                      <a:gd name="connsiteY68" fmla="*/ 26002 h 69407"/>
                      <a:gd name="connsiteX69" fmla="*/ 652337 w 1163902"/>
                      <a:gd name="connsiteY69" fmla="*/ 26002 h 69407"/>
                      <a:gd name="connsiteX70" fmla="*/ 652337 w 1163902"/>
                      <a:gd name="connsiteY70" fmla="*/ 44886 h 69407"/>
                      <a:gd name="connsiteX71" fmla="*/ 633452 w 1163902"/>
                      <a:gd name="connsiteY71" fmla="*/ 44886 h 69407"/>
                      <a:gd name="connsiteX72" fmla="*/ 607058 w 1163902"/>
                      <a:gd name="connsiteY72" fmla="*/ 26002 h 69407"/>
                      <a:gd name="connsiteX73" fmla="*/ 625943 w 1163902"/>
                      <a:gd name="connsiteY73" fmla="*/ 26002 h 69407"/>
                      <a:gd name="connsiteX74" fmla="*/ 625943 w 1163902"/>
                      <a:gd name="connsiteY74" fmla="*/ 44886 h 69407"/>
                      <a:gd name="connsiteX75" fmla="*/ 607058 w 1163902"/>
                      <a:gd name="connsiteY75" fmla="*/ 44886 h 69407"/>
                      <a:gd name="connsiteX76" fmla="*/ 580664 w 1163902"/>
                      <a:gd name="connsiteY76" fmla="*/ 26002 h 69407"/>
                      <a:gd name="connsiteX77" fmla="*/ 599549 w 1163902"/>
                      <a:gd name="connsiteY77" fmla="*/ 26002 h 69407"/>
                      <a:gd name="connsiteX78" fmla="*/ 599549 w 1163902"/>
                      <a:gd name="connsiteY78" fmla="*/ 44886 h 69407"/>
                      <a:gd name="connsiteX79" fmla="*/ 580664 w 1163902"/>
                      <a:gd name="connsiteY79" fmla="*/ 44886 h 69407"/>
                      <a:gd name="connsiteX80" fmla="*/ 554271 w 1163902"/>
                      <a:gd name="connsiteY80" fmla="*/ 26002 h 69407"/>
                      <a:gd name="connsiteX81" fmla="*/ 573155 w 1163902"/>
                      <a:gd name="connsiteY81" fmla="*/ 26002 h 69407"/>
                      <a:gd name="connsiteX82" fmla="*/ 573155 w 1163902"/>
                      <a:gd name="connsiteY82" fmla="*/ 44886 h 69407"/>
                      <a:gd name="connsiteX83" fmla="*/ 554271 w 1163902"/>
                      <a:gd name="connsiteY83" fmla="*/ 44886 h 69407"/>
                      <a:gd name="connsiteX84" fmla="*/ 527877 w 1163902"/>
                      <a:gd name="connsiteY84" fmla="*/ 26002 h 69407"/>
                      <a:gd name="connsiteX85" fmla="*/ 546762 w 1163902"/>
                      <a:gd name="connsiteY85" fmla="*/ 26002 h 69407"/>
                      <a:gd name="connsiteX86" fmla="*/ 546762 w 1163902"/>
                      <a:gd name="connsiteY86" fmla="*/ 44886 h 69407"/>
                      <a:gd name="connsiteX87" fmla="*/ 527877 w 1163902"/>
                      <a:gd name="connsiteY87" fmla="*/ 44886 h 69407"/>
                      <a:gd name="connsiteX88" fmla="*/ 501483 w 1163902"/>
                      <a:gd name="connsiteY88" fmla="*/ 26002 h 69407"/>
                      <a:gd name="connsiteX89" fmla="*/ 520368 w 1163902"/>
                      <a:gd name="connsiteY89" fmla="*/ 26002 h 69407"/>
                      <a:gd name="connsiteX90" fmla="*/ 520368 w 1163902"/>
                      <a:gd name="connsiteY90" fmla="*/ 44886 h 69407"/>
                      <a:gd name="connsiteX91" fmla="*/ 501483 w 1163902"/>
                      <a:gd name="connsiteY91" fmla="*/ 44886 h 69407"/>
                      <a:gd name="connsiteX92" fmla="*/ 475089 w 1163902"/>
                      <a:gd name="connsiteY92" fmla="*/ 26002 h 69407"/>
                      <a:gd name="connsiteX93" fmla="*/ 493974 w 1163902"/>
                      <a:gd name="connsiteY93" fmla="*/ 26002 h 69407"/>
                      <a:gd name="connsiteX94" fmla="*/ 493974 w 1163902"/>
                      <a:gd name="connsiteY94" fmla="*/ 44886 h 69407"/>
                      <a:gd name="connsiteX95" fmla="*/ 475089 w 1163902"/>
                      <a:gd name="connsiteY95" fmla="*/ 44886 h 69407"/>
                      <a:gd name="connsiteX96" fmla="*/ 448695 w 1163902"/>
                      <a:gd name="connsiteY96" fmla="*/ 26002 h 69407"/>
                      <a:gd name="connsiteX97" fmla="*/ 467580 w 1163902"/>
                      <a:gd name="connsiteY97" fmla="*/ 26002 h 69407"/>
                      <a:gd name="connsiteX98" fmla="*/ 467580 w 1163902"/>
                      <a:gd name="connsiteY98" fmla="*/ 44886 h 69407"/>
                      <a:gd name="connsiteX99" fmla="*/ 448695 w 1163902"/>
                      <a:gd name="connsiteY99" fmla="*/ 44886 h 69407"/>
                      <a:gd name="connsiteX100" fmla="*/ 422301 w 1163902"/>
                      <a:gd name="connsiteY100" fmla="*/ 26002 h 69407"/>
                      <a:gd name="connsiteX101" fmla="*/ 441186 w 1163902"/>
                      <a:gd name="connsiteY101" fmla="*/ 26002 h 69407"/>
                      <a:gd name="connsiteX102" fmla="*/ 441186 w 1163902"/>
                      <a:gd name="connsiteY102" fmla="*/ 44886 h 69407"/>
                      <a:gd name="connsiteX103" fmla="*/ 422301 w 1163902"/>
                      <a:gd name="connsiteY103" fmla="*/ 44886 h 69407"/>
                      <a:gd name="connsiteX104" fmla="*/ 395908 w 1163902"/>
                      <a:gd name="connsiteY104" fmla="*/ 26002 h 69407"/>
                      <a:gd name="connsiteX105" fmla="*/ 414792 w 1163902"/>
                      <a:gd name="connsiteY105" fmla="*/ 26002 h 69407"/>
                      <a:gd name="connsiteX106" fmla="*/ 414792 w 1163902"/>
                      <a:gd name="connsiteY106" fmla="*/ 44886 h 69407"/>
                      <a:gd name="connsiteX107" fmla="*/ 395908 w 1163902"/>
                      <a:gd name="connsiteY107" fmla="*/ 44886 h 69407"/>
                      <a:gd name="connsiteX108" fmla="*/ 369514 w 1163902"/>
                      <a:gd name="connsiteY108" fmla="*/ 26002 h 69407"/>
                      <a:gd name="connsiteX109" fmla="*/ 388398 w 1163902"/>
                      <a:gd name="connsiteY109" fmla="*/ 26002 h 69407"/>
                      <a:gd name="connsiteX110" fmla="*/ 388398 w 1163902"/>
                      <a:gd name="connsiteY110" fmla="*/ 44886 h 69407"/>
                      <a:gd name="connsiteX111" fmla="*/ 369514 w 1163902"/>
                      <a:gd name="connsiteY111" fmla="*/ 44886 h 69407"/>
                      <a:gd name="connsiteX112" fmla="*/ 343120 w 1163902"/>
                      <a:gd name="connsiteY112" fmla="*/ 26002 h 69407"/>
                      <a:gd name="connsiteX113" fmla="*/ 362005 w 1163902"/>
                      <a:gd name="connsiteY113" fmla="*/ 26002 h 69407"/>
                      <a:gd name="connsiteX114" fmla="*/ 362005 w 1163902"/>
                      <a:gd name="connsiteY114" fmla="*/ 44886 h 69407"/>
                      <a:gd name="connsiteX115" fmla="*/ 343120 w 1163902"/>
                      <a:gd name="connsiteY115" fmla="*/ 44886 h 69407"/>
                      <a:gd name="connsiteX116" fmla="*/ 316726 w 1163902"/>
                      <a:gd name="connsiteY116" fmla="*/ 26002 h 69407"/>
                      <a:gd name="connsiteX117" fmla="*/ 335611 w 1163902"/>
                      <a:gd name="connsiteY117" fmla="*/ 26002 h 69407"/>
                      <a:gd name="connsiteX118" fmla="*/ 335611 w 1163902"/>
                      <a:gd name="connsiteY118" fmla="*/ 44886 h 69407"/>
                      <a:gd name="connsiteX119" fmla="*/ 316726 w 1163902"/>
                      <a:gd name="connsiteY119" fmla="*/ 44886 h 69407"/>
                      <a:gd name="connsiteX120" fmla="*/ 290332 w 1163902"/>
                      <a:gd name="connsiteY120" fmla="*/ 26002 h 69407"/>
                      <a:gd name="connsiteX121" fmla="*/ 309217 w 1163902"/>
                      <a:gd name="connsiteY121" fmla="*/ 26002 h 69407"/>
                      <a:gd name="connsiteX122" fmla="*/ 309217 w 1163902"/>
                      <a:gd name="connsiteY122" fmla="*/ 44886 h 69407"/>
                      <a:gd name="connsiteX123" fmla="*/ 290332 w 1163902"/>
                      <a:gd name="connsiteY123" fmla="*/ 44886 h 69407"/>
                      <a:gd name="connsiteX124" fmla="*/ 263938 w 1163902"/>
                      <a:gd name="connsiteY124" fmla="*/ 26002 h 69407"/>
                      <a:gd name="connsiteX125" fmla="*/ 282823 w 1163902"/>
                      <a:gd name="connsiteY125" fmla="*/ 26002 h 69407"/>
                      <a:gd name="connsiteX126" fmla="*/ 282823 w 1163902"/>
                      <a:gd name="connsiteY126" fmla="*/ 44886 h 69407"/>
                      <a:gd name="connsiteX127" fmla="*/ 263938 w 1163902"/>
                      <a:gd name="connsiteY127" fmla="*/ 44886 h 69407"/>
                      <a:gd name="connsiteX128" fmla="*/ 237544 w 1163902"/>
                      <a:gd name="connsiteY128" fmla="*/ 26002 h 69407"/>
                      <a:gd name="connsiteX129" fmla="*/ 256429 w 1163902"/>
                      <a:gd name="connsiteY129" fmla="*/ 26002 h 69407"/>
                      <a:gd name="connsiteX130" fmla="*/ 256429 w 1163902"/>
                      <a:gd name="connsiteY130" fmla="*/ 44886 h 69407"/>
                      <a:gd name="connsiteX131" fmla="*/ 237544 w 1163902"/>
                      <a:gd name="connsiteY131" fmla="*/ 44886 h 69407"/>
                      <a:gd name="connsiteX132" fmla="*/ 211151 w 1163902"/>
                      <a:gd name="connsiteY132" fmla="*/ 26002 h 69407"/>
                      <a:gd name="connsiteX133" fmla="*/ 230035 w 1163902"/>
                      <a:gd name="connsiteY133" fmla="*/ 26002 h 69407"/>
                      <a:gd name="connsiteX134" fmla="*/ 230035 w 1163902"/>
                      <a:gd name="connsiteY134" fmla="*/ 44886 h 69407"/>
                      <a:gd name="connsiteX135" fmla="*/ 211151 w 1163902"/>
                      <a:gd name="connsiteY135" fmla="*/ 44886 h 69407"/>
                      <a:gd name="connsiteX136" fmla="*/ 184757 w 1163902"/>
                      <a:gd name="connsiteY136" fmla="*/ 26002 h 69407"/>
                      <a:gd name="connsiteX137" fmla="*/ 203642 w 1163902"/>
                      <a:gd name="connsiteY137" fmla="*/ 26002 h 69407"/>
                      <a:gd name="connsiteX138" fmla="*/ 203642 w 1163902"/>
                      <a:gd name="connsiteY138" fmla="*/ 44886 h 69407"/>
                      <a:gd name="connsiteX139" fmla="*/ 184757 w 1163902"/>
                      <a:gd name="connsiteY139" fmla="*/ 44886 h 69407"/>
                      <a:gd name="connsiteX140" fmla="*/ 158363 w 1163902"/>
                      <a:gd name="connsiteY140" fmla="*/ 26002 h 69407"/>
                      <a:gd name="connsiteX141" fmla="*/ 177248 w 1163902"/>
                      <a:gd name="connsiteY141" fmla="*/ 26002 h 69407"/>
                      <a:gd name="connsiteX142" fmla="*/ 177248 w 1163902"/>
                      <a:gd name="connsiteY142" fmla="*/ 44886 h 69407"/>
                      <a:gd name="connsiteX143" fmla="*/ 158363 w 1163902"/>
                      <a:gd name="connsiteY143" fmla="*/ 44886 h 69407"/>
                      <a:gd name="connsiteX144" fmla="*/ 131969 w 1163902"/>
                      <a:gd name="connsiteY144" fmla="*/ 26002 h 69407"/>
                      <a:gd name="connsiteX145" fmla="*/ 150854 w 1163902"/>
                      <a:gd name="connsiteY145" fmla="*/ 26002 h 69407"/>
                      <a:gd name="connsiteX146" fmla="*/ 150854 w 1163902"/>
                      <a:gd name="connsiteY146" fmla="*/ 44886 h 69407"/>
                      <a:gd name="connsiteX147" fmla="*/ 131969 w 1163902"/>
                      <a:gd name="connsiteY147" fmla="*/ 44886 h 69407"/>
                      <a:gd name="connsiteX148" fmla="*/ 105575 w 1163902"/>
                      <a:gd name="connsiteY148" fmla="*/ 26002 h 69407"/>
                      <a:gd name="connsiteX149" fmla="*/ 124460 w 1163902"/>
                      <a:gd name="connsiteY149" fmla="*/ 26002 h 69407"/>
                      <a:gd name="connsiteX150" fmla="*/ 124460 w 1163902"/>
                      <a:gd name="connsiteY150" fmla="*/ 44886 h 69407"/>
                      <a:gd name="connsiteX151" fmla="*/ 105575 w 1163902"/>
                      <a:gd name="connsiteY151" fmla="*/ 44886 h 69407"/>
                      <a:gd name="connsiteX152" fmla="*/ 79181 w 1163902"/>
                      <a:gd name="connsiteY152" fmla="*/ 26002 h 69407"/>
                      <a:gd name="connsiteX153" fmla="*/ 98066 w 1163902"/>
                      <a:gd name="connsiteY153" fmla="*/ 26002 h 69407"/>
                      <a:gd name="connsiteX154" fmla="*/ 98066 w 1163902"/>
                      <a:gd name="connsiteY154" fmla="*/ 44886 h 69407"/>
                      <a:gd name="connsiteX155" fmla="*/ 79181 w 1163902"/>
                      <a:gd name="connsiteY155" fmla="*/ 44886 h 69407"/>
                      <a:gd name="connsiteX156" fmla="*/ 52787 w 1163902"/>
                      <a:gd name="connsiteY156" fmla="*/ 26002 h 69407"/>
                      <a:gd name="connsiteX157" fmla="*/ 71672 w 1163902"/>
                      <a:gd name="connsiteY157" fmla="*/ 26002 h 69407"/>
                      <a:gd name="connsiteX158" fmla="*/ 71672 w 1163902"/>
                      <a:gd name="connsiteY158" fmla="*/ 44886 h 69407"/>
                      <a:gd name="connsiteX159" fmla="*/ 52787 w 1163902"/>
                      <a:gd name="connsiteY159" fmla="*/ 44886 h 69407"/>
                      <a:gd name="connsiteX160" fmla="*/ 26394 w 1163902"/>
                      <a:gd name="connsiteY160" fmla="*/ 26002 h 69407"/>
                      <a:gd name="connsiteX161" fmla="*/ 45278 w 1163902"/>
                      <a:gd name="connsiteY161" fmla="*/ 26002 h 69407"/>
                      <a:gd name="connsiteX162" fmla="*/ 45278 w 1163902"/>
                      <a:gd name="connsiteY162" fmla="*/ 44886 h 69407"/>
                      <a:gd name="connsiteX163" fmla="*/ 26394 w 1163902"/>
                      <a:gd name="connsiteY163" fmla="*/ 44886 h 69407"/>
                      <a:gd name="connsiteX164" fmla="*/ 0 w 1163902"/>
                      <a:gd name="connsiteY164" fmla="*/ 26002 h 69407"/>
                      <a:gd name="connsiteX165" fmla="*/ 18885 w 1163902"/>
                      <a:gd name="connsiteY165" fmla="*/ 26002 h 69407"/>
                      <a:gd name="connsiteX166" fmla="*/ 18885 w 1163902"/>
                      <a:gd name="connsiteY166" fmla="*/ 44886 h 69407"/>
                      <a:gd name="connsiteX167" fmla="*/ 0 w 1163902"/>
                      <a:gd name="connsiteY167" fmla="*/ 44886 h 69407"/>
                      <a:gd name="connsiteX168" fmla="*/ 1111181 w 1163902"/>
                      <a:gd name="connsiteY168" fmla="*/ 0 h 69407"/>
                      <a:gd name="connsiteX169" fmla="*/ 1163902 w 1163902"/>
                      <a:gd name="connsiteY169" fmla="*/ 34704 h 69407"/>
                      <a:gd name="connsiteX170" fmla="*/ 1111181 w 1163902"/>
                      <a:gd name="connsiteY170" fmla="*/ 69407 h 69407"/>
                      <a:gd name="connsiteX171" fmla="*/ 1111181 w 1163902"/>
                      <a:gd name="connsiteY171" fmla="*/ 44886 h 69407"/>
                      <a:gd name="connsiteX172" fmla="*/ 1110088 w 1163902"/>
                      <a:gd name="connsiteY172" fmla="*/ 44886 h 69407"/>
                      <a:gd name="connsiteX173" fmla="*/ 1110088 w 1163902"/>
                      <a:gd name="connsiteY173" fmla="*/ 26002 h 69407"/>
                      <a:gd name="connsiteX174" fmla="*/ 1111181 w 1163902"/>
                      <a:gd name="connsiteY174" fmla="*/ 26002 h 69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163902" h="69407">
                        <a:moveTo>
                          <a:pt x="1083694" y="26002"/>
                        </a:moveTo>
                        <a:lnTo>
                          <a:pt x="1102579" y="26002"/>
                        </a:lnTo>
                        <a:lnTo>
                          <a:pt x="1102579" y="44886"/>
                        </a:lnTo>
                        <a:lnTo>
                          <a:pt x="1083694" y="44886"/>
                        </a:lnTo>
                        <a:close/>
                        <a:moveTo>
                          <a:pt x="1057300" y="26002"/>
                        </a:moveTo>
                        <a:lnTo>
                          <a:pt x="1076185" y="26002"/>
                        </a:lnTo>
                        <a:lnTo>
                          <a:pt x="1076185" y="44886"/>
                        </a:lnTo>
                        <a:lnTo>
                          <a:pt x="1057300" y="44886"/>
                        </a:lnTo>
                        <a:close/>
                        <a:moveTo>
                          <a:pt x="1030907" y="26002"/>
                        </a:moveTo>
                        <a:lnTo>
                          <a:pt x="1049791" y="26002"/>
                        </a:lnTo>
                        <a:lnTo>
                          <a:pt x="1049791" y="44886"/>
                        </a:lnTo>
                        <a:lnTo>
                          <a:pt x="1030907" y="44886"/>
                        </a:lnTo>
                        <a:close/>
                        <a:moveTo>
                          <a:pt x="1004513" y="26002"/>
                        </a:moveTo>
                        <a:lnTo>
                          <a:pt x="1023398" y="26002"/>
                        </a:lnTo>
                        <a:lnTo>
                          <a:pt x="1023398" y="44886"/>
                        </a:lnTo>
                        <a:lnTo>
                          <a:pt x="1004513" y="44886"/>
                        </a:lnTo>
                        <a:close/>
                        <a:moveTo>
                          <a:pt x="978119" y="26002"/>
                        </a:moveTo>
                        <a:lnTo>
                          <a:pt x="997004" y="26002"/>
                        </a:lnTo>
                        <a:lnTo>
                          <a:pt x="997004" y="44886"/>
                        </a:lnTo>
                        <a:lnTo>
                          <a:pt x="978119" y="44886"/>
                        </a:lnTo>
                        <a:close/>
                        <a:moveTo>
                          <a:pt x="951725" y="26002"/>
                        </a:moveTo>
                        <a:lnTo>
                          <a:pt x="970610" y="26002"/>
                        </a:lnTo>
                        <a:lnTo>
                          <a:pt x="970610" y="44886"/>
                        </a:lnTo>
                        <a:lnTo>
                          <a:pt x="951725" y="44886"/>
                        </a:lnTo>
                        <a:close/>
                        <a:moveTo>
                          <a:pt x="925331" y="26002"/>
                        </a:moveTo>
                        <a:lnTo>
                          <a:pt x="944216" y="26002"/>
                        </a:lnTo>
                        <a:lnTo>
                          <a:pt x="944216" y="44886"/>
                        </a:lnTo>
                        <a:lnTo>
                          <a:pt x="925331" y="44886"/>
                        </a:lnTo>
                        <a:close/>
                        <a:moveTo>
                          <a:pt x="898937" y="26002"/>
                        </a:moveTo>
                        <a:lnTo>
                          <a:pt x="917822" y="26002"/>
                        </a:lnTo>
                        <a:lnTo>
                          <a:pt x="917822" y="44886"/>
                        </a:lnTo>
                        <a:lnTo>
                          <a:pt x="898937" y="44886"/>
                        </a:lnTo>
                        <a:close/>
                        <a:moveTo>
                          <a:pt x="872543" y="26002"/>
                        </a:moveTo>
                        <a:lnTo>
                          <a:pt x="891428" y="26002"/>
                        </a:lnTo>
                        <a:lnTo>
                          <a:pt x="891428" y="44886"/>
                        </a:lnTo>
                        <a:lnTo>
                          <a:pt x="872543" y="44886"/>
                        </a:lnTo>
                        <a:close/>
                        <a:moveTo>
                          <a:pt x="846150" y="26002"/>
                        </a:moveTo>
                        <a:lnTo>
                          <a:pt x="865034" y="26002"/>
                        </a:lnTo>
                        <a:lnTo>
                          <a:pt x="865034" y="44886"/>
                        </a:lnTo>
                        <a:lnTo>
                          <a:pt x="846150" y="44886"/>
                        </a:lnTo>
                        <a:close/>
                        <a:moveTo>
                          <a:pt x="819756" y="26002"/>
                        </a:moveTo>
                        <a:lnTo>
                          <a:pt x="838641" y="26002"/>
                        </a:lnTo>
                        <a:lnTo>
                          <a:pt x="838641" y="44886"/>
                        </a:lnTo>
                        <a:lnTo>
                          <a:pt x="819756" y="44886"/>
                        </a:lnTo>
                        <a:close/>
                        <a:moveTo>
                          <a:pt x="793362" y="26002"/>
                        </a:moveTo>
                        <a:lnTo>
                          <a:pt x="812247" y="26002"/>
                        </a:lnTo>
                        <a:lnTo>
                          <a:pt x="812247" y="44886"/>
                        </a:lnTo>
                        <a:lnTo>
                          <a:pt x="793362" y="44886"/>
                        </a:lnTo>
                        <a:close/>
                        <a:moveTo>
                          <a:pt x="766968" y="26002"/>
                        </a:moveTo>
                        <a:lnTo>
                          <a:pt x="785853" y="26002"/>
                        </a:lnTo>
                        <a:lnTo>
                          <a:pt x="785853" y="44886"/>
                        </a:lnTo>
                        <a:lnTo>
                          <a:pt x="766968" y="44886"/>
                        </a:lnTo>
                        <a:close/>
                        <a:moveTo>
                          <a:pt x="740574" y="26002"/>
                        </a:moveTo>
                        <a:lnTo>
                          <a:pt x="759459" y="26002"/>
                        </a:lnTo>
                        <a:lnTo>
                          <a:pt x="759459" y="44886"/>
                        </a:lnTo>
                        <a:lnTo>
                          <a:pt x="740574" y="44886"/>
                        </a:lnTo>
                        <a:close/>
                        <a:moveTo>
                          <a:pt x="712635" y="26002"/>
                        </a:moveTo>
                        <a:lnTo>
                          <a:pt x="731520" y="26002"/>
                        </a:lnTo>
                        <a:lnTo>
                          <a:pt x="731520" y="44886"/>
                        </a:lnTo>
                        <a:lnTo>
                          <a:pt x="712635" y="44886"/>
                        </a:lnTo>
                        <a:close/>
                        <a:moveTo>
                          <a:pt x="686240" y="26002"/>
                        </a:moveTo>
                        <a:lnTo>
                          <a:pt x="705125" y="26002"/>
                        </a:lnTo>
                        <a:lnTo>
                          <a:pt x="705125" y="44886"/>
                        </a:lnTo>
                        <a:lnTo>
                          <a:pt x="686240" y="44886"/>
                        </a:lnTo>
                        <a:close/>
                        <a:moveTo>
                          <a:pt x="659846" y="26002"/>
                        </a:moveTo>
                        <a:lnTo>
                          <a:pt x="678731" y="26002"/>
                        </a:lnTo>
                        <a:lnTo>
                          <a:pt x="678731" y="44886"/>
                        </a:lnTo>
                        <a:lnTo>
                          <a:pt x="659846" y="44886"/>
                        </a:lnTo>
                        <a:close/>
                        <a:moveTo>
                          <a:pt x="633452" y="26002"/>
                        </a:moveTo>
                        <a:lnTo>
                          <a:pt x="652337" y="26002"/>
                        </a:lnTo>
                        <a:lnTo>
                          <a:pt x="652337" y="44886"/>
                        </a:lnTo>
                        <a:lnTo>
                          <a:pt x="633452" y="44886"/>
                        </a:lnTo>
                        <a:close/>
                        <a:moveTo>
                          <a:pt x="607058" y="26002"/>
                        </a:moveTo>
                        <a:lnTo>
                          <a:pt x="625943" y="26002"/>
                        </a:lnTo>
                        <a:lnTo>
                          <a:pt x="625943" y="44886"/>
                        </a:lnTo>
                        <a:lnTo>
                          <a:pt x="607058" y="44886"/>
                        </a:lnTo>
                        <a:close/>
                        <a:moveTo>
                          <a:pt x="580664" y="26002"/>
                        </a:moveTo>
                        <a:lnTo>
                          <a:pt x="599549" y="26002"/>
                        </a:lnTo>
                        <a:lnTo>
                          <a:pt x="599549" y="44886"/>
                        </a:lnTo>
                        <a:lnTo>
                          <a:pt x="580664" y="44886"/>
                        </a:lnTo>
                        <a:close/>
                        <a:moveTo>
                          <a:pt x="554271" y="26002"/>
                        </a:moveTo>
                        <a:lnTo>
                          <a:pt x="573155" y="26002"/>
                        </a:lnTo>
                        <a:lnTo>
                          <a:pt x="573155" y="44886"/>
                        </a:lnTo>
                        <a:lnTo>
                          <a:pt x="554271" y="44886"/>
                        </a:lnTo>
                        <a:close/>
                        <a:moveTo>
                          <a:pt x="527877" y="26002"/>
                        </a:moveTo>
                        <a:lnTo>
                          <a:pt x="546762" y="26002"/>
                        </a:lnTo>
                        <a:lnTo>
                          <a:pt x="546762" y="44886"/>
                        </a:lnTo>
                        <a:lnTo>
                          <a:pt x="527877" y="44886"/>
                        </a:lnTo>
                        <a:close/>
                        <a:moveTo>
                          <a:pt x="501483" y="26002"/>
                        </a:moveTo>
                        <a:lnTo>
                          <a:pt x="520368" y="26002"/>
                        </a:lnTo>
                        <a:lnTo>
                          <a:pt x="520368" y="44886"/>
                        </a:lnTo>
                        <a:lnTo>
                          <a:pt x="501483" y="44886"/>
                        </a:lnTo>
                        <a:close/>
                        <a:moveTo>
                          <a:pt x="475089" y="26002"/>
                        </a:moveTo>
                        <a:lnTo>
                          <a:pt x="493974" y="26002"/>
                        </a:lnTo>
                        <a:lnTo>
                          <a:pt x="493974" y="44886"/>
                        </a:lnTo>
                        <a:lnTo>
                          <a:pt x="475089" y="44886"/>
                        </a:lnTo>
                        <a:close/>
                        <a:moveTo>
                          <a:pt x="448695" y="26002"/>
                        </a:moveTo>
                        <a:lnTo>
                          <a:pt x="467580" y="26002"/>
                        </a:lnTo>
                        <a:lnTo>
                          <a:pt x="467580" y="44886"/>
                        </a:lnTo>
                        <a:lnTo>
                          <a:pt x="448695" y="44886"/>
                        </a:lnTo>
                        <a:close/>
                        <a:moveTo>
                          <a:pt x="422301" y="26002"/>
                        </a:moveTo>
                        <a:lnTo>
                          <a:pt x="441186" y="26002"/>
                        </a:lnTo>
                        <a:lnTo>
                          <a:pt x="441186" y="44886"/>
                        </a:lnTo>
                        <a:lnTo>
                          <a:pt x="422301" y="44886"/>
                        </a:lnTo>
                        <a:close/>
                        <a:moveTo>
                          <a:pt x="395908" y="26002"/>
                        </a:moveTo>
                        <a:lnTo>
                          <a:pt x="414792" y="26002"/>
                        </a:lnTo>
                        <a:lnTo>
                          <a:pt x="414792" y="44886"/>
                        </a:lnTo>
                        <a:lnTo>
                          <a:pt x="395908" y="44886"/>
                        </a:lnTo>
                        <a:close/>
                        <a:moveTo>
                          <a:pt x="369514" y="26002"/>
                        </a:moveTo>
                        <a:lnTo>
                          <a:pt x="388398" y="26002"/>
                        </a:lnTo>
                        <a:lnTo>
                          <a:pt x="388398" y="44886"/>
                        </a:lnTo>
                        <a:lnTo>
                          <a:pt x="369514" y="44886"/>
                        </a:lnTo>
                        <a:close/>
                        <a:moveTo>
                          <a:pt x="343120" y="26002"/>
                        </a:moveTo>
                        <a:lnTo>
                          <a:pt x="362005" y="26002"/>
                        </a:lnTo>
                        <a:lnTo>
                          <a:pt x="362005" y="44886"/>
                        </a:lnTo>
                        <a:lnTo>
                          <a:pt x="343120" y="44886"/>
                        </a:lnTo>
                        <a:close/>
                        <a:moveTo>
                          <a:pt x="316726" y="26002"/>
                        </a:moveTo>
                        <a:lnTo>
                          <a:pt x="335611" y="26002"/>
                        </a:lnTo>
                        <a:lnTo>
                          <a:pt x="335611" y="44886"/>
                        </a:lnTo>
                        <a:lnTo>
                          <a:pt x="316726" y="44886"/>
                        </a:lnTo>
                        <a:close/>
                        <a:moveTo>
                          <a:pt x="290332" y="26002"/>
                        </a:moveTo>
                        <a:lnTo>
                          <a:pt x="309217" y="26002"/>
                        </a:lnTo>
                        <a:lnTo>
                          <a:pt x="309217" y="44886"/>
                        </a:lnTo>
                        <a:lnTo>
                          <a:pt x="290332" y="44886"/>
                        </a:lnTo>
                        <a:close/>
                        <a:moveTo>
                          <a:pt x="263938" y="26002"/>
                        </a:moveTo>
                        <a:lnTo>
                          <a:pt x="282823" y="26002"/>
                        </a:lnTo>
                        <a:lnTo>
                          <a:pt x="282823" y="44886"/>
                        </a:lnTo>
                        <a:lnTo>
                          <a:pt x="263938" y="44886"/>
                        </a:lnTo>
                        <a:close/>
                        <a:moveTo>
                          <a:pt x="237544" y="26002"/>
                        </a:moveTo>
                        <a:lnTo>
                          <a:pt x="256429" y="26002"/>
                        </a:lnTo>
                        <a:lnTo>
                          <a:pt x="256429" y="44886"/>
                        </a:lnTo>
                        <a:lnTo>
                          <a:pt x="237544" y="44886"/>
                        </a:lnTo>
                        <a:close/>
                        <a:moveTo>
                          <a:pt x="211151" y="26002"/>
                        </a:moveTo>
                        <a:lnTo>
                          <a:pt x="230035" y="26002"/>
                        </a:lnTo>
                        <a:lnTo>
                          <a:pt x="230035" y="44886"/>
                        </a:lnTo>
                        <a:lnTo>
                          <a:pt x="211151" y="44886"/>
                        </a:lnTo>
                        <a:close/>
                        <a:moveTo>
                          <a:pt x="184757" y="26002"/>
                        </a:moveTo>
                        <a:lnTo>
                          <a:pt x="203642" y="26002"/>
                        </a:lnTo>
                        <a:lnTo>
                          <a:pt x="203642" y="44886"/>
                        </a:lnTo>
                        <a:lnTo>
                          <a:pt x="184757" y="44886"/>
                        </a:lnTo>
                        <a:close/>
                        <a:moveTo>
                          <a:pt x="158363" y="26002"/>
                        </a:moveTo>
                        <a:lnTo>
                          <a:pt x="177248" y="26002"/>
                        </a:lnTo>
                        <a:lnTo>
                          <a:pt x="177248" y="44886"/>
                        </a:lnTo>
                        <a:lnTo>
                          <a:pt x="158363" y="44886"/>
                        </a:lnTo>
                        <a:close/>
                        <a:moveTo>
                          <a:pt x="131969" y="26002"/>
                        </a:moveTo>
                        <a:lnTo>
                          <a:pt x="150854" y="26002"/>
                        </a:lnTo>
                        <a:lnTo>
                          <a:pt x="150854" y="44886"/>
                        </a:lnTo>
                        <a:lnTo>
                          <a:pt x="131969" y="44886"/>
                        </a:lnTo>
                        <a:close/>
                        <a:moveTo>
                          <a:pt x="105575" y="26002"/>
                        </a:moveTo>
                        <a:lnTo>
                          <a:pt x="124460" y="26002"/>
                        </a:lnTo>
                        <a:lnTo>
                          <a:pt x="124460" y="44886"/>
                        </a:lnTo>
                        <a:lnTo>
                          <a:pt x="105575" y="44886"/>
                        </a:lnTo>
                        <a:close/>
                        <a:moveTo>
                          <a:pt x="79181" y="26002"/>
                        </a:moveTo>
                        <a:lnTo>
                          <a:pt x="98066" y="26002"/>
                        </a:lnTo>
                        <a:lnTo>
                          <a:pt x="98066" y="44886"/>
                        </a:lnTo>
                        <a:lnTo>
                          <a:pt x="79181" y="44886"/>
                        </a:lnTo>
                        <a:close/>
                        <a:moveTo>
                          <a:pt x="52787" y="26002"/>
                        </a:moveTo>
                        <a:lnTo>
                          <a:pt x="71672" y="26002"/>
                        </a:lnTo>
                        <a:lnTo>
                          <a:pt x="71672" y="44886"/>
                        </a:lnTo>
                        <a:lnTo>
                          <a:pt x="52787" y="44886"/>
                        </a:lnTo>
                        <a:close/>
                        <a:moveTo>
                          <a:pt x="26394" y="26002"/>
                        </a:moveTo>
                        <a:lnTo>
                          <a:pt x="45278" y="26002"/>
                        </a:lnTo>
                        <a:lnTo>
                          <a:pt x="45278" y="44886"/>
                        </a:lnTo>
                        <a:lnTo>
                          <a:pt x="26394" y="44886"/>
                        </a:lnTo>
                        <a:close/>
                        <a:moveTo>
                          <a:pt x="0" y="26002"/>
                        </a:moveTo>
                        <a:lnTo>
                          <a:pt x="18885" y="26002"/>
                        </a:lnTo>
                        <a:lnTo>
                          <a:pt x="18885" y="44886"/>
                        </a:lnTo>
                        <a:lnTo>
                          <a:pt x="0" y="44886"/>
                        </a:lnTo>
                        <a:close/>
                        <a:moveTo>
                          <a:pt x="1111181" y="0"/>
                        </a:moveTo>
                        <a:lnTo>
                          <a:pt x="1163902" y="34704"/>
                        </a:lnTo>
                        <a:lnTo>
                          <a:pt x="1111181" y="69407"/>
                        </a:lnTo>
                        <a:lnTo>
                          <a:pt x="1111181" y="44886"/>
                        </a:lnTo>
                        <a:lnTo>
                          <a:pt x="1110088" y="44886"/>
                        </a:lnTo>
                        <a:lnTo>
                          <a:pt x="1110088" y="26002"/>
                        </a:lnTo>
                        <a:lnTo>
                          <a:pt x="1111181" y="26002"/>
                        </a:lnTo>
                        <a:close/>
                      </a:path>
                    </a:pathLst>
                  </a:custGeom>
                  <a:solidFill>
                    <a:srgbClr val="58B3D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64" name="Group 1463">
                    <a:extLst>
                      <a:ext uri="{FF2B5EF4-FFF2-40B4-BE49-F238E27FC236}">
                        <a16:creationId xmlns:a16="http://schemas.microsoft.com/office/drawing/2014/main" id="{0E9BBDE9-63B6-4C46-B1D3-A3B21B8C1078}"/>
                      </a:ext>
                    </a:extLst>
                  </p:cNvPr>
                  <p:cNvGrpSpPr/>
                  <p:nvPr/>
                </p:nvGrpSpPr>
                <p:grpSpPr>
                  <a:xfrm>
                    <a:off x="4877410" y="5321735"/>
                    <a:ext cx="1140385" cy="185737"/>
                    <a:chOff x="4877410" y="5321735"/>
                    <a:chExt cx="1140385" cy="185737"/>
                  </a:xfrm>
                </p:grpSpPr>
                <p:grpSp>
                  <p:nvGrpSpPr>
                    <p:cNvPr id="1465" name="Group 1464">
                      <a:extLst>
                        <a:ext uri="{FF2B5EF4-FFF2-40B4-BE49-F238E27FC236}">
                          <a16:creationId xmlns:a16="http://schemas.microsoft.com/office/drawing/2014/main" id="{8F218E31-197F-4957-AD8E-A8924E444FDB}"/>
                        </a:ext>
                      </a:extLst>
                    </p:cNvPr>
                    <p:cNvGrpSpPr/>
                    <p:nvPr/>
                  </p:nvGrpSpPr>
                  <p:grpSpPr>
                    <a:xfrm>
                      <a:off x="5544448" y="5321735"/>
                      <a:ext cx="190838" cy="185737"/>
                      <a:chOff x="5652683" y="1636246"/>
                      <a:chExt cx="3791758" cy="3791758"/>
                    </a:xfrm>
                  </p:grpSpPr>
                  <p:sp>
                    <p:nvSpPr>
                      <p:cNvPr id="1485" name="Oval 1484">
                        <a:extLst>
                          <a:ext uri="{FF2B5EF4-FFF2-40B4-BE49-F238E27FC236}">
                            <a16:creationId xmlns:a16="http://schemas.microsoft.com/office/drawing/2014/main" id="{11339355-B29D-4B00-ADB5-416D61DDF9B1}"/>
                          </a:ext>
                        </a:extLst>
                      </p:cNvPr>
                      <p:cNvSpPr/>
                      <p:nvPr/>
                    </p:nvSpPr>
                    <p:spPr>
                      <a:xfrm>
                        <a:off x="5652683" y="1636246"/>
                        <a:ext cx="3791758" cy="3791758"/>
                      </a:xfrm>
                      <a:prstGeom prst="ellipse">
                        <a:avLst/>
                      </a:prstGeom>
                      <a:solidFill>
                        <a:srgbClr val="BAD80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86" name="Oval 1485">
                        <a:extLst>
                          <a:ext uri="{FF2B5EF4-FFF2-40B4-BE49-F238E27FC236}">
                            <a16:creationId xmlns:a16="http://schemas.microsoft.com/office/drawing/2014/main" id="{6787CAF6-2CAC-4BAF-A51C-D6E8F61DCE49}"/>
                          </a:ext>
                        </a:extLst>
                      </p:cNvPr>
                      <p:cNvSpPr/>
                      <p:nvPr/>
                    </p:nvSpPr>
                    <p:spPr>
                      <a:xfrm>
                        <a:off x="5974946" y="1932012"/>
                        <a:ext cx="3147232" cy="3147232"/>
                      </a:xfrm>
                      <a:prstGeom prst="ellipse">
                        <a:avLst/>
                      </a:prstGeom>
                      <a:solidFill>
                        <a:srgbClr val="FFFFFF"/>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87" name="Freeform 91">
                        <a:extLst>
                          <a:ext uri="{FF2B5EF4-FFF2-40B4-BE49-F238E27FC236}">
                            <a16:creationId xmlns:a16="http://schemas.microsoft.com/office/drawing/2014/main" id="{8D59DABE-8D6F-49F6-A0BF-E084A96D3927}"/>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88" name="Rounded Rectangle 92">
                        <a:extLst>
                          <a:ext uri="{FF2B5EF4-FFF2-40B4-BE49-F238E27FC236}">
                            <a16:creationId xmlns:a16="http://schemas.microsoft.com/office/drawing/2014/main" id="{E540752B-2588-4F1D-9645-A79478C6CA4A}"/>
                          </a:ext>
                        </a:extLst>
                      </p:cNvPr>
                      <p:cNvSpPr/>
                      <p:nvPr/>
                    </p:nvSpPr>
                    <p:spPr>
                      <a:xfrm>
                        <a:off x="7498946" y="3360193"/>
                        <a:ext cx="1447800" cy="290870"/>
                      </a:xfrm>
                      <a:prstGeom prst="roundRect">
                        <a:avLst>
                          <a:gd name="adj" fmla="val 50000"/>
                        </a:avLst>
                      </a:prstGeom>
                      <a:solidFill>
                        <a:srgbClr val="E6E6E6"/>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89" name="Oval 1488">
                        <a:extLst>
                          <a:ext uri="{FF2B5EF4-FFF2-40B4-BE49-F238E27FC236}">
                            <a16:creationId xmlns:a16="http://schemas.microsoft.com/office/drawing/2014/main" id="{9EAC9B5E-961D-4320-A503-8137EFF536DA}"/>
                          </a:ext>
                        </a:extLst>
                      </p:cNvPr>
                      <p:cNvSpPr/>
                      <p:nvPr/>
                    </p:nvSpPr>
                    <p:spPr>
                      <a:xfrm>
                        <a:off x="7294564" y="3236912"/>
                        <a:ext cx="546099" cy="546099"/>
                      </a:xfrm>
                      <a:prstGeom prst="ellipse">
                        <a:avLst/>
                      </a:prstGeom>
                      <a:solidFill>
                        <a:srgbClr val="E6E6E6"/>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1466" name="Group 1465">
                      <a:extLst>
                        <a:ext uri="{FF2B5EF4-FFF2-40B4-BE49-F238E27FC236}">
                          <a16:creationId xmlns:a16="http://schemas.microsoft.com/office/drawing/2014/main" id="{C0FF22CC-1D2A-4033-9300-140C73A59ECB}"/>
                        </a:ext>
                      </a:extLst>
                    </p:cNvPr>
                    <p:cNvGrpSpPr/>
                    <p:nvPr/>
                  </p:nvGrpSpPr>
                  <p:grpSpPr>
                    <a:xfrm>
                      <a:off x="5229625" y="5330499"/>
                      <a:ext cx="160179" cy="153308"/>
                      <a:chOff x="4870626" y="2658174"/>
                      <a:chExt cx="903709" cy="807852"/>
                    </a:xfrm>
                  </p:grpSpPr>
                  <p:grpSp>
                    <p:nvGrpSpPr>
                      <p:cNvPr id="1477" name="Group 1476">
                        <a:extLst>
                          <a:ext uri="{FF2B5EF4-FFF2-40B4-BE49-F238E27FC236}">
                            <a16:creationId xmlns:a16="http://schemas.microsoft.com/office/drawing/2014/main" id="{E878CAA2-B300-429D-B35B-DE7C2F1663C1}"/>
                          </a:ext>
                        </a:extLst>
                      </p:cNvPr>
                      <p:cNvGrpSpPr/>
                      <p:nvPr/>
                    </p:nvGrpSpPr>
                    <p:grpSpPr>
                      <a:xfrm>
                        <a:off x="4870626" y="2658174"/>
                        <a:ext cx="663633" cy="595577"/>
                        <a:chOff x="3393735" y="1575630"/>
                        <a:chExt cx="335303" cy="300917"/>
                      </a:xfrm>
                    </p:grpSpPr>
                    <p:sp>
                      <p:nvSpPr>
                        <p:cNvPr id="1482" name="Rounded Rectangle 348">
                          <a:extLst>
                            <a:ext uri="{FF2B5EF4-FFF2-40B4-BE49-F238E27FC236}">
                              <a16:creationId xmlns:a16="http://schemas.microsoft.com/office/drawing/2014/main" id="{8EAAC26A-8CA8-43BD-B7C3-83774E21356D}"/>
                            </a:ext>
                          </a:extLst>
                        </p:cNvPr>
                        <p:cNvSpPr/>
                        <p:nvPr/>
                      </p:nvSpPr>
                      <p:spPr>
                        <a:xfrm>
                          <a:off x="3393735" y="1577644"/>
                          <a:ext cx="335303" cy="298903"/>
                        </a:xfrm>
                        <a:prstGeom prst="roundRect">
                          <a:avLst>
                            <a:gd name="adj" fmla="val 7107"/>
                          </a:avLst>
                        </a:prstGeom>
                        <a:solidFill>
                          <a:srgbClr val="4DA3CC"/>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83" name="Round Same Side Corner Rectangle 349">
                          <a:extLst>
                            <a:ext uri="{FF2B5EF4-FFF2-40B4-BE49-F238E27FC236}">
                              <a16:creationId xmlns:a16="http://schemas.microsoft.com/office/drawing/2014/main" id="{05E804AF-4B3C-4073-AE73-BEFDCA5D5055}"/>
                            </a:ext>
                          </a:extLst>
                        </p:cNvPr>
                        <p:cNvSpPr/>
                        <p:nvPr/>
                      </p:nvSpPr>
                      <p:spPr>
                        <a:xfrm>
                          <a:off x="3393735" y="1577644"/>
                          <a:ext cx="335303" cy="50709"/>
                        </a:xfrm>
                        <a:prstGeom prst="round2SameRect">
                          <a:avLst>
                            <a:gd name="adj1" fmla="val 26060"/>
                            <a:gd name="adj2" fmla="val 0"/>
                          </a:avLst>
                        </a:prstGeom>
                        <a:solidFill>
                          <a:srgbClr val="B9B9B9"/>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84" name="Freeform 350">
                          <a:extLst>
                            <a:ext uri="{FF2B5EF4-FFF2-40B4-BE49-F238E27FC236}">
                              <a16:creationId xmlns:a16="http://schemas.microsoft.com/office/drawing/2014/main" id="{12CB93E2-D96C-4FB7-A02B-7753EB3EB73E}"/>
                            </a:ext>
                          </a:extLst>
                        </p:cNvPr>
                        <p:cNvSpPr/>
                        <p:nvPr/>
                      </p:nvSpPr>
                      <p:spPr>
                        <a:xfrm>
                          <a:off x="3519380" y="1575630"/>
                          <a:ext cx="209658" cy="298903"/>
                        </a:xfrm>
                        <a:custGeom>
                          <a:avLst/>
                          <a:gdLst>
                            <a:gd name="connsiteX0" fmla="*/ 146969 w 209658"/>
                            <a:gd name="connsiteY0" fmla="*/ 0 h 298903"/>
                            <a:gd name="connsiteX1" fmla="*/ 188415 w 209658"/>
                            <a:gd name="connsiteY1" fmla="*/ 0 h 298903"/>
                            <a:gd name="connsiteX2" fmla="*/ 209658 w 209658"/>
                            <a:gd name="connsiteY2" fmla="*/ 21243 h 298903"/>
                            <a:gd name="connsiteX3" fmla="*/ 209658 w 209658"/>
                            <a:gd name="connsiteY3" fmla="*/ 277660 h 298903"/>
                            <a:gd name="connsiteX4" fmla="*/ 188415 w 209658"/>
                            <a:gd name="connsiteY4" fmla="*/ 298903 h 298903"/>
                            <a:gd name="connsiteX5" fmla="*/ 0 w 209658"/>
                            <a:gd name="connsiteY5" fmla="*/ 298903 h 2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58" h="298903">
                              <a:moveTo>
                                <a:pt x="146969" y="0"/>
                              </a:moveTo>
                              <a:lnTo>
                                <a:pt x="188415" y="0"/>
                              </a:lnTo>
                              <a:cubicBezTo>
                                <a:pt x="200147" y="0"/>
                                <a:pt x="209658" y="9511"/>
                                <a:pt x="209658" y="21243"/>
                              </a:cubicBezTo>
                              <a:lnTo>
                                <a:pt x="209658" y="277660"/>
                              </a:lnTo>
                              <a:cubicBezTo>
                                <a:pt x="209658" y="289392"/>
                                <a:pt x="200147" y="298903"/>
                                <a:pt x="188415" y="298903"/>
                              </a:cubicBezTo>
                              <a:lnTo>
                                <a:pt x="0" y="298903"/>
                              </a:lnTo>
                              <a:close/>
                            </a:path>
                          </a:pathLst>
                        </a:custGeom>
                        <a:solidFill>
                          <a:srgbClr val="000000">
                            <a:alpha val="16863"/>
                          </a:srgbClr>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1478" name="Group 1477">
                        <a:extLst>
                          <a:ext uri="{FF2B5EF4-FFF2-40B4-BE49-F238E27FC236}">
                            <a16:creationId xmlns:a16="http://schemas.microsoft.com/office/drawing/2014/main" id="{C747526C-59EA-42E0-AFAA-6663DAAB74B3}"/>
                          </a:ext>
                        </a:extLst>
                      </p:cNvPr>
                      <p:cNvGrpSpPr/>
                      <p:nvPr/>
                    </p:nvGrpSpPr>
                    <p:grpSpPr>
                      <a:xfrm>
                        <a:off x="5110702" y="2870449"/>
                        <a:ext cx="663633" cy="595577"/>
                        <a:chOff x="3393735" y="1575630"/>
                        <a:chExt cx="335303" cy="300917"/>
                      </a:xfrm>
                    </p:grpSpPr>
                    <p:sp>
                      <p:nvSpPr>
                        <p:cNvPr id="1479" name="Rounded Rectangle 345">
                          <a:extLst>
                            <a:ext uri="{FF2B5EF4-FFF2-40B4-BE49-F238E27FC236}">
                              <a16:creationId xmlns:a16="http://schemas.microsoft.com/office/drawing/2014/main" id="{2CFA718A-AB11-4294-ACC7-D4C35DE54C48}"/>
                            </a:ext>
                          </a:extLst>
                        </p:cNvPr>
                        <p:cNvSpPr/>
                        <p:nvPr/>
                      </p:nvSpPr>
                      <p:spPr>
                        <a:xfrm>
                          <a:off x="3393735" y="1577644"/>
                          <a:ext cx="335303" cy="298903"/>
                        </a:xfrm>
                        <a:prstGeom prst="roundRect">
                          <a:avLst>
                            <a:gd name="adj" fmla="val 7107"/>
                          </a:avLst>
                        </a:prstGeom>
                        <a:solidFill>
                          <a:srgbClr val="338ED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80" name="Round Same Side Corner Rectangle 346">
                          <a:extLst>
                            <a:ext uri="{FF2B5EF4-FFF2-40B4-BE49-F238E27FC236}">
                              <a16:creationId xmlns:a16="http://schemas.microsoft.com/office/drawing/2014/main" id="{9B4AF4A9-16A5-4439-A80E-AE3F079B207C}"/>
                            </a:ext>
                          </a:extLst>
                        </p:cNvPr>
                        <p:cNvSpPr/>
                        <p:nvPr/>
                      </p:nvSpPr>
                      <p:spPr>
                        <a:xfrm>
                          <a:off x="3393735" y="1577644"/>
                          <a:ext cx="335303" cy="50709"/>
                        </a:xfrm>
                        <a:prstGeom prst="round2SameRect">
                          <a:avLst>
                            <a:gd name="adj1" fmla="val 26060"/>
                            <a:gd name="adj2" fmla="val 0"/>
                          </a:avLst>
                        </a:prstGeom>
                        <a:solidFill>
                          <a:srgbClr val="65656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81" name="Freeform 347">
                          <a:extLst>
                            <a:ext uri="{FF2B5EF4-FFF2-40B4-BE49-F238E27FC236}">
                              <a16:creationId xmlns:a16="http://schemas.microsoft.com/office/drawing/2014/main" id="{6C3918E8-D84F-4FBE-A1BB-B42EFA21997F}"/>
                            </a:ext>
                          </a:extLst>
                        </p:cNvPr>
                        <p:cNvSpPr/>
                        <p:nvPr/>
                      </p:nvSpPr>
                      <p:spPr>
                        <a:xfrm>
                          <a:off x="3519380" y="1575630"/>
                          <a:ext cx="209658" cy="298903"/>
                        </a:xfrm>
                        <a:custGeom>
                          <a:avLst/>
                          <a:gdLst>
                            <a:gd name="connsiteX0" fmla="*/ 146969 w 209658"/>
                            <a:gd name="connsiteY0" fmla="*/ 0 h 298903"/>
                            <a:gd name="connsiteX1" fmla="*/ 188415 w 209658"/>
                            <a:gd name="connsiteY1" fmla="*/ 0 h 298903"/>
                            <a:gd name="connsiteX2" fmla="*/ 209658 w 209658"/>
                            <a:gd name="connsiteY2" fmla="*/ 21243 h 298903"/>
                            <a:gd name="connsiteX3" fmla="*/ 209658 w 209658"/>
                            <a:gd name="connsiteY3" fmla="*/ 277660 h 298903"/>
                            <a:gd name="connsiteX4" fmla="*/ 188415 w 209658"/>
                            <a:gd name="connsiteY4" fmla="*/ 298903 h 298903"/>
                            <a:gd name="connsiteX5" fmla="*/ 0 w 209658"/>
                            <a:gd name="connsiteY5" fmla="*/ 298903 h 2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58" h="298903">
                              <a:moveTo>
                                <a:pt x="146969" y="0"/>
                              </a:moveTo>
                              <a:lnTo>
                                <a:pt x="188415" y="0"/>
                              </a:lnTo>
                              <a:cubicBezTo>
                                <a:pt x="200147" y="0"/>
                                <a:pt x="209658" y="9511"/>
                                <a:pt x="209658" y="21243"/>
                              </a:cubicBezTo>
                              <a:lnTo>
                                <a:pt x="209658" y="277660"/>
                              </a:lnTo>
                              <a:cubicBezTo>
                                <a:pt x="209658" y="289392"/>
                                <a:pt x="200147" y="298903"/>
                                <a:pt x="188415" y="298903"/>
                              </a:cubicBezTo>
                              <a:lnTo>
                                <a:pt x="0" y="298903"/>
                              </a:lnTo>
                              <a:close/>
                            </a:path>
                          </a:pathLst>
                        </a:custGeom>
                        <a:solidFill>
                          <a:srgbClr val="000000">
                            <a:alpha val="16863"/>
                          </a:srgbClr>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grpSp>
                  <p:nvGrpSpPr>
                    <p:cNvPr id="1467" name="Group 1466">
                      <a:extLst>
                        <a:ext uri="{FF2B5EF4-FFF2-40B4-BE49-F238E27FC236}">
                          <a16:creationId xmlns:a16="http://schemas.microsoft.com/office/drawing/2014/main" id="{A4B151CA-CC82-49DE-9CBE-050206500D59}"/>
                        </a:ext>
                      </a:extLst>
                    </p:cNvPr>
                    <p:cNvGrpSpPr/>
                    <p:nvPr/>
                  </p:nvGrpSpPr>
                  <p:grpSpPr>
                    <a:xfrm>
                      <a:off x="5859812" y="5327089"/>
                      <a:ext cx="157983" cy="145053"/>
                      <a:chOff x="-594587" y="2618847"/>
                      <a:chExt cx="651178" cy="597883"/>
                    </a:xfrm>
                  </p:grpSpPr>
                  <p:grpSp>
                    <p:nvGrpSpPr>
                      <p:cNvPr id="1471" name="Group 1470">
                        <a:extLst>
                          <a:ext uri="{FF2B5EF4-FFF2-40B4-BE49-F238E27FC236}">
                            <a16:creationId xmlns:a16="http://schemas.microsoft.com/office/drawing/2014/main" id="{079B555B-8874-401A-BBCD-DCAC0E6001DA}"/>
                          </a:ext>
                        </a:extLst>
                      </p:cNvPr>
                      <p:cNvGrpSpPr/>
                      <p:nvPr/>
                    </p:nvGrpSpPr>
                    <p:grpSpPr>
                      <a:xfrm>
                        <a:off x="-594587" y="2806085"/>
                        <a:ext cx="608911" cy="410645"/>
                        <a:chOff x="-594587" y="2806085"/>
                        <a:chExt cx="608911" cy="410645"/>
                      </a:xfrm>
                    </p:grpSpPr>
                    <p:sp>
                      <p:nvSpPr>
                        <p:cNvPr id="1473" name="Rectangle 1472">
                          <a:extLst>
                            <a:ext uri="{FF2B5EF4-FFF2-40B4-BE49-F238E27FC236}">
                              <a16:creationId xmlns:a16="http://schemas.microsoft.com/office/drawing/2014/main" id="{D3F76540-54DA-41A0-99B3-3AE737153F6B}"/>
                            </a:ext>
                          </a:extLst>
                        </p:cNvPr>
                        <p:cNvSpPr/>
                        <p:nvPr/>
                      </p:nvSpPr>
                      <p:spPr bwMode="auto">
                        <a:xfrm>
                          <a:off x="-594587" y="2885997"/>
                          <a:ext cx="113086" cy="330733"/>
                        </a:xfrm>
                        <a:prstGeom prst="rect">
                          <a:avLst/>
                        </a:prstGeom>
                        <a:solidFill>
                          <a:srgbClr val="0071C5"/>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4" name="Rectangle 1473">
                          <a:extLst>
                            <a:ext uri="{FF2B5EF4-FFF2-40B4-BE49-F238E27FC236}">
                              <a16:creationId xmlns:a16="http://schemas.microsoft.com/office/drawing/2014/main" id="{05FEBE8C-1EB9-4FCB-A925-3F7598B0D324}"/>
                            </a:ext>
                          </a:extLst>
                        </p:cNvPr>
                        <p:cNvSpPr/>
                        <p:nvPr/>
                      </p:nvSpPr>
                      <p:spPr bwMode="auto">
                        <a:xfrm>
                          <a:off x="-429312" y="2806085"/>
                          <a:ext cx="113086" cy="410645"/>
                        </a:xfrm>
                        <a:prstGeom prst="rect">
                          <a:avLst/>
                        </a:prstGeom>
                        <a:solidFill>
                          <a:srgbClr val="5EB5D9"/>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5" name="Rectangle 1474">
                          <a:extLst>
                            <a:ext uri="{FF2B5EF4-FFF2-40B4-BE49-F238E27FC236}">
                              <a16:creationId xmlns:a16="http://schemas.microsoft.com/office/drawing/2014/main" id="{970D6E4C-1974-480A-BFBC-317C14638768}"/>
                            </a:ext>
                          </a:extLst>
                        </p:cNvPr>
                        <p:cNvSpPr/>
                        <p:nvPr/>
                      </p:nvSpPr>
                      <p:spPr bwMode="auto">
                        <a:xfrm>
                          <a:off x="-98762" y="2837090"/>
                          <a:ext cx="113086" cy="379640"/>
                        </a:xfrm>
                        <a:prstGeom prst="rect">
                          <a:avLst/>
                        </a:prstGeom>
                        <a:solidFill>
                          <a:srgbClr val="0071C5"/>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6" name="Rectangle 1475">
                          <a:extLst>
                            <a:ext uri="{FF2B5EF4-FFF2-40B4-BE49-F238E27FC236}">
                              <a16:creationId xmlns:a16="http://schemas.microsoft.com/office/drawing/2014/main" id="{AAE42F03-D070-43D4-ADDB-23B9A77CC7C3}"/>
                            </a:ext>
                          </a:extLst>
                        </p:cNvPr>
                        <p:cNvSpPr/>
                        <p:nvPr/>
                      </p:nvSpPr>
                      <p:spPr bwMode="auto">
                        <a:xfrm>
                          <a:off x="-264037" y="2943226"/>
                          <a:ext cx="113086" cy="273504"/>
                        </a:xfrm>
                        <a:prstGeom prst="rect">
                          <a:avLst/>
                        </a:prstGeom>
                        <a:solidFill>
                          <a:srgbClr val="3998C5"/>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472" name="Freeform: Shape 1471">
                        <a:extLst>
                          <a:ext uri="{FF2B5EF4-FFF2-40B4-BE49-F238E27FC236}">
                            <a16:creationId xmlns:a16="http://schemas.microsoft.com/office/drawing/2014/main" id="{F52A282C-6B23-466C-85F4-10A7174F459A}"/>
                          </a:ext>
                        </a:extLst>
                      </p:cNvPr>
                      <p:cNvSpPr/>
                      <p:nvPr/>
                    </p:nvSpPr>
                    <p:spPr bwMode="auto">
                      <a:xfrm>
                        <a:off x="-594587" y="2618847"/>
                        <a:ext cx="651178" cy="269876"/>
                      </a:xfrm>
                      <a:custGeom>
                        <a:avLst/>
                        <a:gdLst>
                          <a:gd name="connsiteX0" fmla="*/ 599546 w 651178"/>
                          <a:gd name="connsiteY0" fmla="*/ 0 h 269876"/>
                          <a:gd name="connsiteX1" fmla="*/ 651178 w 651178"/>
                          <a:gd name="connsiteY1" fmla="*/ 51633 h 269876"/>
                          <a:gd name="connsiteX2" fmla="*/ 599546 w 651178"/>
                          <a:gd name="connsiteY2" fmla="*/ 103264 h 269876"/>
                          <a:gd name="connsiteX3" fmla="*/ 586355 w 651178"/>
                          <a:gd name="connsiteY3" fmla="*/ 100601 h 269876"/>
                          <a:gd name="connsiteX4" fmla="*/ 447696 w 651178"/>
                          <a:gd name="connsiteY4" fmla="*/ 207457 h 269876"/>
                          <a:gd name="connsiteX5" fmla="*/ 452164 w 651178"/>
                          <a:gd name="connsiteY5" fmla="*/ 218244 h 269876"/>
                          <a:gd name="connsiteX6" fmla="*/ 400532 w 651178"/>
                          <a:gd name="connsiteY6" fmla="*/ 269876 h 269876"/>
                          <a:gd name="connsiteX7" fmla="*/ 348900 w 651178"/>
                          <a:gd name="connsiteY7" fmla="*/ 218244 h 269876"/>
                          <a:gd name="connsiteX8" fmla="*/ 349905 w 651178"/>
                          <a:gd name="connsiteY8" fmla="*/ 215818 h 269876"/>
                          <a:gd name="connsiteX9" fmla="*/ 283152 w 651178"/>
                          <a:gd name="connsiteY9" fmla="*/ 100199 h 269876"/>
                          <a:gd name="connsiteX10" fmla="*/ 267969 w 651178"/>
                          <a:gd name="connsiteY10" fmla="*/ 103265 h 269876"/>
                          <a:gd name="connsiteX11" fmla="*/ 247871 w 651178"/>
                          <a:gd name="connsiteY11" fmla="*/ 99207 h 269876"/>
                          <a:gd name="connsiteX12" fmla="*/ 247047 w 651178"/>
                          <a:gd name="connsiteY12" fmla="*/ 98651 h 269876"/>
                          <a:gd name="connsiteX13" fmla="*/ 94480 w 651178"/>
                          <a:gd name="connsiteY13" fmla="*/ 216225 h 269876"/>
                          <a:gd name="connsiteX14" fmla="*/ 88142 w 651178"/>
                          <a:gd name="connsiteY14" fmla="*/ 231527 h 269876"/>
                          <a:gd name="connsiteX15" fmla="*/ 51633 w 651178"/>
                          <a:gd name="connsiteY15" fmla="*/ 246650 h 269876"/>
                          <a:gd name="connsiteX16" fmla="*/ 0 w 651178"/>
                          <a:gd name="connsiteY16" fmla="*/ 195018 h 269876"/>
                          <a:gd name="connsiteX17" fmla="*/ 51633 w 651178"/>
                          <a:gd name="connsiteY17" fmla="*/ 143386 h 269876"/>
                          <a:gd name="connsiteX18" fmla="*/ 88142 w 651178"/>
                          <a:gd name="connsiteY18" fmla="*/ 158508 h 269876"/>
                          <a:gd name="connsiteX19" fmla="*/ 93300 w 651178"/>
                          <a:gd name="connsiteY19" fmla="*/ 170959 h 269876"/>
                          <a:gd name="connsiteX20" fmla="*/ 224032 w 651178"/>
                          <a:gd name="connsiteY20" fmla="*/ 70210 h 269876"/>
                          <a:gd name="connsiteX21" fmla="*/ 216336 w 651178"/>
                          <a:gd name="connsiteY21" fmla="*/ 51632 h 269876"/>
                          <a:gd name="connsiteX22" fmla="*/ 267969 w 651178"/>
                          <a:gd name="connsiteY22" fmla="*/ 1 h 269876"/>
                          <a:gd name="connsiteX23" fmla="*/ 319601 w 651178"/>
                          <a:gd name="connsiteY23" fmla="*/ 51632 h 269876"/>
                          <a:gd name="connsiteX24" fmla="*/ 310305 w 651178"/>
                          <a:gd name="connsiteY24" fmla="*/ 74076 h 269876"/>
                          <a:gd name="connsiteX25" fmla="*/ 370097 w 651178"/>
                          <a:gd name="connsiteY25" fmla="*/ 177639 h 269876"/>
                          <a:gd name="connsiteX26" fmla="*/ 380434 w 651178"/>
                          <a:gd name="connsiteY26" fmla="*/ 170670 h 269876"/>
                          <a:gd name="connsiteX27" fmla="*/ 400532 w 651178"/>
                          <a:gd name="connsiteY27" fmla="*/ 166612 h 269876"/>
                          <a:gd name="connsiteX28" fmla="*/ 420630 w 651178"/>
                          <a:gd name="connsiteY28" fmla="*/ 170670 h 269876"/>
                          <a:gd name="connsiteX29" fmla="*/ 428568 w 651178"/>
                          <a:gd name="connsiteY29" fmla="*/ 176022 h 269876"/>
                          <a:gd name="connsiteX30" fmla="*/ 558092 w 651178"/>
                          <a:gd name="connsiteY30" fmla="*/ 76205 h 269876"/>
                          <a:gd name="connsiteX31" fmla="*/ 547914 w 651178"/>
                          <a:gd name="connsiteY31" fmla="*/ 51633 h 269876"/>
                          <a:gd name="connsiteX32" fmla="*/ 599546 w 651178"/>
                          <a:gd name="connsiteY32" fmla="*/ 0 h 269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51178" h="269876">
                            <a:moveTo>
                              <a:pt x="599546" y="0"/>
                            </a:moveTo>
                            <a:cubicBezTo>
                              <a:pt x="628062" y="0"/>
                              <a:pt x="651178" y="23116"/>
                              <a:pt x="651178" y="51633"/>
                            </a:cubicBezTo>
                            <a:cubicBezTo>
                              <a:pt x="651178" y="80148"/>
                              <a:pt x="628062" y="103264"/>
                              <a:pt x="599546" y="103264"/>
                            </a:cubicBezTo>
                            <a:lnTo>
                              <a:pt x="586355" y="100601"/>
                            </a:lnTo>
                            <a:lnTo>
                              <a:pt x="447696" y="207457"/>
                            </a:lnTo>
                            <a:lnTo>
                              <a:pt x="452164" y="218244"/>
                            </a:lnTo>
                            <a:cubicBezTo>
                              <a:pt x="452164" y="246760"/>
                              <a:pt x="429048" y="269876"/>
                              <a:pt x="400532" y="269876"/>
                            </a:cubicBezTo>
                            <a:cubicBezTo>
                              <a:pt x="372016" y="269876"/>
                              <a:pt x="348900" y="246760"/>
                              <a:pt x="348900" y="218244"/>
                            </a:cubicBezTo>
                            <a:lnTo>
                              <a:pt x="349905" y="215818"/>
                            </a:lnTo>
                            <a:lnTo>
                              <a:pt x="283152" y="100199"/>
                            </a:lnTo>
                            <a:lnTo>
                              <a:pt x="267969" y="103265"/>
                            </a:lnTo>
                            <a:cubicBezTo>
                              <a:pt x="260840" y="103264"/>
                              <a:pt x="254048" y="101819"/>
                              <a:pt x="247871" y="99207"/>
                            </a:cubicBezTo>
                            <a:lnTo>
                              <a:pt x="247047" y="98651"/>
                            </a:lnTo>
                            <a:lnTo>
                              <a:pt x="94480" y="216225"/>
                            </a:lnTo>
                            <a:lnTo>
                              <a:pt x="88142" y="231527"/>
                            </a:lnTo>
                            <a:cubicBezTo>
                              <a:pt x="78799" y="240871"/>
                              <a:pt x="65891" y="246650"/>
                              <a:pt x="51633" y="246650"/>
                            </a:cubicBezTo>
                            <a:cubicBezTo>
                              <a:pt x="23116" y="246650"/>
                              <a:pt x="0" y="223534"/>
                              <a:pt x="0" y="195018"/>
                            </a:cubicBezTo>
                            <a:cubicBezTo>
                              <a:pt x="1" y="166502"/>
                              <a:pt x="23117" y="143386"/>
                              <a:pt x="51633" y="143386"/>
                            </a:cubicBezTo>
                            <a:cubicBezTo>
                              <a:pt x="65891" y="143386"/>
                              <a:pt x="78799" y="149164"/>
                              <a:pt x="88142" y="158508"/>
                            </a:cubicBezTo>
                            <a:lnTo>
                              <a:pt x="93300" y="170959"/>
                            </a:lnTo>
                            <a:lnTo>
                              <a:pt x="224032" y="70210"/>
                            </a:lnTo>
                            <a:lnTo>
                              <a:pt x="216336" y="51632"/>
                            </a:lnTo>
                            <a:cubicBezTo>
                              <a:pt x="216337" y="23117"/>
                              <a:pt x="239453" y="1"/>
                              <a:pt x="267969" y="1"/>
                            </a:cubicBezTo>
                            <a:cubicBezTo>
                              <a:pt x="296485" y="1"/>
                              <a:pt x="319601" y="23117"/>
                              <a:pt x="319601" y="51632"/>
                            </a:cubicBezTo>
                            <a:lnTo>
                              <a:pt x="310305" y="74076"/>
                            </a:lnTo>
                            <a:lnTo>
                              <a:pt x="370097" y="177639"/>
                            </a:lnTo>
                            <a:lnTo>
                              <a:pt x="380434" y="170670"/>
                            </a:lnTo>
                            <a:cubicBezTo>
                              <a:pt x="386612" y="168057"/>
                              <a:pt x="393403" y="166612"/>
                              <a:pt x="400532" y="166612"/>
                            </a:cubicBezTo>
                            <a:cubicBezTo>
                              <a:pt x="407661" y="166612"/>
                              <a:pt x="414453" y="168057"/>
                              <a:pt x="420630" y="170670"/>
                            </a:cubicBezTo>
                            <a:lnTo>
                              <a:pt x="428568" y="176022"/>
                            </a:lnTo>
                            <a:lnTo>
                              <a:pt x="558092" y="76205"/>
                            </a:lnTo>
                            <a:lnTo>
                              <a:pt x="547914" y="51633"/>
                            </a:lnTo>
                            <a:cubicBezTo>
                              <a:pt x="547913" y="23117"/>
                              <a:pt x="571030" y="0"/>
                              <a:pt x="599546" y="0"/>
                            </a:cubicBezTo>
                            <a:close/>
                          </a:path>
                        </a:pathLst>
                      </a:custGeom>
                      <a:solidFill>
                        <a:srgbClr val="804896"/>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468" name="Group 1467">
                      <a:extLst>
                        <a:ext uri="{FF2B5EF4-FFF2-40B4-BE49-F238E27FC236}">
                          <a16:creationId xmlns:a16="http://schemas.microsoft.com/office/drawing/2014/main" id="{F4D83AEF-7831-45E8-AF97-1DBD3A2B459F}"/>
                        </a:ext>
                      </a:extLst>
                    </p:cNvPr>
                    <p:cNvGrpSpPr>
                      <a:grpSpLocks noChangeAspect="1"/>
                    </p:cNvGrpSpPr>
                    <p:nvPr/>
                  </p:nvGrpSpPr>
                  <p:grpSpPr>
                    <a:xfrm>
                      <a:off x="4877410" y="5333954"/>
                      <a:ext cx="186971" cy="155137"/>
                      <a:chOff x="6017424" y="5359615"/>
                      <a:chExt cx="186971" cy="155137"/>
                    </a:xfrm>
                  </p:grpSpPr>
                  <p:sp>
                    <p:nvSpPr>
                      <p:cNvPr id="1469" name="Heart 1468">
                        <a:extLst>
                          <a:ext uri="{FF2B5EF4-FFF2-40B4-BE49-F238E27FC236}">
                            <a16:creationId xmlns:a16="http://schemas.microsoft.com/office/drawing/2014/main" id="{FE063721-32DB-424C-A888-DE590B569E5C}"/>
                          </a:ext>
                        </a:extLst>
                      </p:cNvPr>
                      <p:cNvSpPr/>
                      <p:nvPr/>
                    </p:nvSpPr>
                    <p:spPr bwMode="auto">
                      <a:xfrm>
                        <a:off x="6017424" y="5359615"/>
                        <a:ext cx="186971" cy="155137"/>
                      </a:xfrm>
                      <a:prstGeom prst="heart">
                        <a:avLst/>
                      </a:prstGeom>
                      <a:solidFill>
                        <a:srgbClr val="C7434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0" name="Freeform: Shape 1469">
                        <a:extLst>
                          <a:ext uri="{FF2B5EF4-FFF2-40B4-BE49-F238E27FC236}">
                            <a16:creationId xmlns:a16="http://schemas.microsoft.com/office/drawing/2014/main" id="{2189BAA0-4A6D-4F2E-8EAC-AA2E8B92D484}"/>
                          </a:ext>
                        </a:extLst>
                      </p:cNvPr>
                      <p:cNvSpPr/>
                      <p:nvPr/>
                    </p:nvSpPr>
                    <p:spPr bwMode="auto">
                      <a:xfrm>
                        <a:off x="6082263" y="5368123"/>
                        <a:ext cx="122132" cy="146629"/>
                      </a:xfrm>
                      <a:custGeom>
                        <a:avLst/>
                        <a:gdLst>
                          <a:gd name="connsiteX0" fmla="*/ 99825 w 122132"/>
                          <a:gd name="connsiteY0" fmla="*/ 0 h 146629"/>
                          <a:gd name="connsiteX1" fmla="*/ 114147 w 122132"/>
                          <a:gd name="connsiteY1" fmla="*/ 10884 h 146629"/>
                          <a:gd name="connsiteX2" fmla="*/ 27965 w 122132"/>
                          <a:gd name="connsiteY2" fmla="*/ 146629 h 146629"/>
                          <a:gd name="connsiteX3" fmla="*/ 0 w 122132"/>
                          <a:gd name="connsiteY3" fmla="*/ 127792 h 146629"/>
                        </a:gdLst>
                        <a:ahLst/>
                        <a:cxnLst>
                          <a:cxn ang="0">
                            <a:pos x="connsiteX0" y="connsiteY0"/>
                          </a:cxn>
                          <a:cxn ang="0">
                            <a:pos x="connsiteX1" y="connsiteY1"/>
                          </a:cxn>
                          <a:cxn ang="0">
                            <a:pos x="connsiteX2" y="connsiteY2"/>
                          </a:cxn>
                          <a:cxn ang="0">
                            <a:pos x="connsiteX3" y="connsiteY3"/>
                          </a:cxn>
                        </a:cxnLst>
                        <a:rect l="l" t="t" r="r" b="b"/>
                        <a:pathLst>
                          <a:path w="122132" h="146629">
                            <a:moveTo>
                              <a:pt x="99825" y="0"/>
                            </a:moveTo>
                            <a:lnTo>
                              <a:pt x="114147" y="10884"/>
                            </a:lnTo>
                            <a:cubicBezTo>
                              <a:pt x="133136" y="36741"/>
                              <a:pt x="123398" y="88453"/>
                              <a:pt x="27965" y="146629"/>
                            </a:cubicBezTo>
                            <a:lnTo>
                              <a:pt x="0" y="127792"/>
                            </a:lnTo>
                            <a:close/>
                          </a:path>
                        </a:pathLst>
                      </a:custGeom>
                      <a:solidFill>
                        <a:srgbClr val="B9141A"/>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grpSp>
          <p:grpSp>
            <p:nvGrpSpPr>
              <p:cNvPr id="1306" name="Group 1305">
                <a:extLst>
                  <a:ext uri="{FF2B5EF4-FFF2-40B4-BE49-F238E27FC236}">
                    <a16:creationId xmlns:a16="http://schemas.microsoft.com/office/drawing/2014/main" id="{EA45850C-EEA7-4D76-828B-2A676DB8E5A8}"/>
                  </a:ext>
                </a:extLst>
              </p:cNvPr>
              <p:cNvGrpSpPr/>
              <p:nvPr/>
            </p:nvGrpSpPr>
            <p:grpSpPr>
              <a:xfrm>
                <a:off x="4858357" y="4209085"/>
                <a:ext cx="1280940" cy="1365656"/>
                <a:chOff x="4607904" y="4354356"/>
                <a:chExt cx="1280940" cy="1365656"/>
              </a:xfrm>
            </p:grpSpPr>
            <p:sp>
              <p:nvSpPr>
                <p:cNvPr id="1384" name="TextBox 1383">
                  <a:extLst>
                    <a:ext uri="{FF2B5EF4-FFF2-40B4-BE49-F238E27FC236}">
                      <a16:creationId xmlns:a16="http://schemas.microsoft.com/office/drawing/2014/main" id="{2A9A1C56-2D96-4ACF-BBCB-9B3C67266DD2}"/>
                    </a:ext>
                  </a:extLst>
                </p:cNvPr>
                <p:cNvSpPr txBox="1"/>
                <p:nvPr/>
              </p:nvSpPr>
              <p:spPr>
                <a:xfrm>
                  <a:off x="5016958" y="4354356"/>
                  <a:ext cx="184731" cy="284373"/>
                </a:xfrm>
                <a:prstGeom prst="rect">
                  <a:avLst/>
                </a:prstGeom>
                <a:noFill/>
                <a:ln>
                  <a:noFill/>
                </a:ln>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48" b="0" i="0" u="none" strike="noStrike" kern="0" cap="none" spc="0" normalizeH="0" baseline="0" noProof="0">
                    <a:ln>
                      <a:noFill/>
                    </a:ln>
                    <a:solidFill>
                      <a:srgbClr val="353535">
                        <a:lumMod val="60000"/>
                        <a:lumOff val="40000"/>
                      </a:srgbClr>
                    </a:solidFill>
                    <a:effectLst/>
                    <a:uLnTx/>
                    <a:uFillTx/>
                    <a:latin typeface="Segoe UI Semilight"/>
                    <a:ea typeface="+mn-ea"/>
                    <a:cs typeface="+mn-cs"/>
                  </a:endParaRPr>
                </a:p>
              </p:txBody>
            </p:sp>
            <p:grpSp>
              <p:nvGrpSpPr>
                <p:cNvPr id="1385" name="Group 1384">
                  <a:extLst>
                    <a:ext uri="{FF2B5EF4-FFF2-40B4-BE49-F238E27FC236}">
                      <a16:creationId xmlns:a16="http://schemas.microsoft.com/office/drawing/2014/main" id="{20112449-D00B-4957-9E3C-7483D43AACF7}"/>
                    </a:ext>
                  </a:extLst>
                </p:cNvPr>
                <p:cNvGrpSpPr/>
                <p:nvPr/>
              </p:nvGrpSpPr>
              <p:grpSpPr>
                <a:xfrm>
                  <a:off x="4607904" y="5516214"/>
                  <a:ext cx="222858" cy="203798"/>
                  <a:chOff x="3208463" y="2157245"/>
                  <a:chExt cx="361960" cy="331004"/>
                </a:xfrm>
              </p:grpSpPr>
              <p:sp>
                <p:nvSpPr>
                  <p:cNvPr id="1448" name="Freeform: Shape 1447">
                    <a:extLst>
                      <a:ext uri="{FF2B5EF4-FFF2-40B4-BE49-F238E27FC236}">
                        <a16:creationId xmlns:a16="http://schemas.microsoft.com/office/drawing/2014/main" id="{D08A93D6-FB7D-439C-B9C1-6D3D530FFB30}"/>
                      </a:ext>
                    </a:extLst>
                  </p:cNvPr>
                  <p:cNvSpPr/>
                  <p:nvPr/>
                </p:nvSpPr>
                <p:spPr>
                  <a:xfrm>
                    <a:off x="3271138" y="2421497"/>
                    <a:ext cx="228600" cy="66675"/>
                  </a:xfrm>
                  <a:custGeom>
                    <a:avLst/>
                    <a:gdLst/>
                    <a:ahLst/>
                    <a:cxnLst/>
                    <a:rect l="0" t="0" r="0" b="0"/>
                    <a:pathLst>
                      <a:path w="228600" h="66675">
                        <a:moveTo>
                          <a:pt x="172174" y="0"/>
                        </a:moveTo>
                        <a:lnTo>
                          <a:pt x="163544" y="0"/>
                        </a:lnTo>
                        <a:lnTo>
                          <a:pt x="78153" y="0"/>
                        </a:lnTo>
                        <a:lnTo>
                          <a:pt x="73695" y="0"/>
                        </a:lnTo>
                        <a:cubicBezTo>
                          <a:pt x="85525" y="41719"/>
                          <a:pt x="69628" y="47701"/>
                          <a:pt x="0" y="47701"/>
                        </a:cubicBezTo>
                        <a:lnTo>
                          <a:pt x="0" y="69552"/>
                        </a:lnTo>
                        <a:lnTo>
                          <a:pt x="88554" y="69552"/>
                        </a:lnTo>
                        <a:lnTo>
                          <a:pt x="153210" y="69552"/>
                        </a:lnTo>
                        <a:lnTo>
                          <a:pt x="236772" y="69552"/>
                        </a:lnTo>
                        <a:lnTo>
                          <a:pt x="236772" y="47711"/>
                        </a:lnTo>
                        <a:cubicBezTo>
                          <a:pt x="167154" y="47701"/>
                          <a:pt x="160325" y="41748"/>
                          <a:pt x="172174" y="0"/>
                        </a:cubicBezTo>
                      </a:path>
                    </a:pathLst>
                  </a:custGeom>
                  <a:solidFill>
                    <a:srgbClr val="7A7A7A"/>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49" name="Freeform: Shape 1448">
                    <a:extLst>
                      <a:ext uri="{FF2B5EF4-FFF2-40B4-BE49-F238E27FC236}">
                        <a16:creationId xmlns:a16="http://schemas.microsoft.com/office/drawing/2014/main" id="{22261E2C-C806-405E-8BB3-F85E3AC7615C}"/>
                      </a:ext>
                    </a:extLst>
                  </p:cNvPr>
                  <p:cNvSpPr/>
                  <p:nvPr/>
                </p:nvSpPr>
                <p:spPr>
                  <a:xfrm>
                    <a:off x="3208473" y="2157245"/>
                    <a:ext cx="361950" cy="257175"/>
                  </a:xfrm>
                  <a:custGeom>
                    <a:avLst/>
                    <a:gdLst/>
                    <a:ahLst/>
                    <a:cxnLst/>
                    <a:rect l="0" t="0" r="0" b="0"/>
                    <a:pathLst>
                      <a:path w="361950" h="257175">
                        <a:moveTo>
                          <a:pt x="340252" y="0"/>
                        </a:moveTo>
                        <a:lnTo>
                          <a:pt x="19679" y="0"/>
                        </a:lnTo>
                        <a:cubicBezTo>
                          <a:pt x="8782" y="0"/>
                          <a:pt x="0" y="9725"/>
                          <a:pt x="0" y="20593"/>
                        </a:cubicBezTo>
                        <a:lnTo>
                          <a:pt x="0" y="243850"/>
                        </a:lnTo>
                        <a:cubicBezTo>
                          <a:pt x="0" y="254651"/>
                          <a:pt x="8782" y="264271"/>
                          <a:pt x="19679" y="264271"/>
                        </a:cubicBezTo>
                        <a:lnTo>
                          <a:pt x="340252" y="264271"/>
                        </a:lnTo>
                        <a:cubicBezTo>
                          <a:pt x="351120" y="264271"/>
                          <a:pt x="362131" y="254651"/>
                          <a:pt x="362131" y="243850"/>
                        </a:cubicBezTo>
                        <a:lnTo>
                          <a:pt x="362131" y="20593"/>
                        </a:lnTo>
                        <a:cubicBezTo>
                          <a:pt x="362131" y="9706"/>
                          <a:pt x="351120" y="0"/>
                          <a:pt x="340252" y="0"/>
                        </a:cubicBezTo>
                      </a:path>
                    </a:pathLst>
                  </a:custGeom>
                  <a:solidFill>
                    <a:srgbClr val="A0A1A2"/>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0" name="Freeform: Shape 1449">
                    <a:extLst>
                      <a:ext uri="{FF2B5EF4-FFF2-40B4-BE49-F238E27FC236}">
                        <a16:creationId xmlns:a16="http://schemas.microsoft.com/office/drawing/2014/main" id="{866AEA59-51D7-4378-B5E8-4E5645E32055}"/>
                      </a:ext>
                    </a:extLst>
                  </p:cNvPr>
                  <p:cNvSpPr/>
                  <p:nvPr/>
                </p:nvSpPr>
                <p:spPr>
                  <a:xfrm>
                    <a:off x="3208463" y="2157255"/>
                    <a:ext cx="333375" cy="257175"/>
                  </a:xfrm>
                  <a:custGeom>
                    <a:avLst/>
                    <a:gdLst/>
                    <a:ahLst/>
                    <a:cxnLst/>
                    <a:rect l="0" t="0" r="0" b="0"/>
                    <a:pathLst>
                      <a:path w="333375" h="257175">
                        <a:moveTo>
                          <a:pt x="340490" y="19"/>
                        </a:moveTo>
                        <a:cubicBezTo>
                          <a:pt x="340414" y="19"/>
                          <a:pt x="340338" y="0"/>
                          <a:pt x="340262" y="0"/>
                        </a:cubicBezTo>
                        <a:lnTo>
                          <a:pt x="19679" y="0"/>
                        </a:lnTo>
                        <a:cubicBezTo>
                          <a:pt x="8782" y="0"/>
                          <a:pt x="0" y="9725"/>
                          <a:pt x="0" y="20593"/>
                        </a:cubicBezTo>
                        <a:lnTo>
                          <a:pt x="0" y="243840"/>
                        </a:lnTo>
                        <a:cubicBezTo>
                          <a:pt x="0" y="254641"/>
                          <a:pt x="8782" y="264262"/>
                          <a:pt x="19679" y="264262"/>
                        </a:cubicBezTo>
                        <a:lnTo>
                          <a:pt x="27308" y="264262"/>
                        </a:lnTo>
                        <a:lnTo>
                          <a:pt x="340490" y="19"/>
                        </a:lnTo>
                        <a:close/>
                      </a:path>
                    </a:pathLst>
                  </a:custGeom>
                  <a:solidFill>
                    <a:srgbClr val="FFFFFF">
                      <a:alpha val="20000"/>
                    </a:srgbClr>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1" name="Freeform: Shape 1450">
                    <a:extLst>
                      <a:ext uri="{FF2B5EF4-FFF2-40B4-BE49-F238E27FC236}">
                        <a16:creationId xmlns:a16="http://schemas.microsoft.com/office/drawing/2014/main" id="{9B48AA72-D121-4DC2-A51C-54C9680664D6}"/>
                      </a:ext>
                    </a:extLst>
                  </p:cNvPr>
                  <p:cNvSpPr/>
                  <p:nvPr/>
                </p:nvSpPr>
                <p:spPr>
                  <a:xfrm>
                    <a:off x="3235915" y="2184630"/>
                    <a:ext cx="304800" cy="200025"/>
                  </a:xfrm>
                  <a:custGeom>
                    <a:avLst/>
                    <a:gdLst/>
                    <a:ahLst/>
                    <a:cxnLst/>
                    <a:rect l="0" t="0" r="0" b="0"/>
                    <a:pathLst>
                      <a:path w="304800" h="200025">
                        <a:moveTo>
                          <a:pt x="307153" y="209064"/>
                        </a:moveTo>
                        <a:lnTo>
                          <a:pt x="0" y="209064"/>
                        </a:lnTo>
                        <a:lnTo>
                          <a:pt x="0" y="457"/>
                        </a:lnTo>
                        <a:lnTo>
                          <a:pt x="307153" y="0"/>
                        </a:lnTo>
                        <a:close/>
                      </a:path>
                    </a:pathLst>
                  </a:custGeom>
                  <a:solidFill>
                    <a:srgbClr val="59B4D9"/>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2" name="Freeform: Shape 1451">
                    <a:extLst>
                      <a:ext uri="{FF2B5EF4-FFF2-40B4-BE49-F238E27FC236}">
                        <a16:creationId xmlns:a16="http://schemas.microsoft.com/office/drawing/2014/main" id="{D985B3FC-7651-4477-A18B-DDDA742A8477}"/>
                      </a:ext>
                    </a:extLst>
                  </p:cNvPr>
                  <p:cNvSpPr/>
                  <p:nvPr/>
                </p:nvSpPr>
                <p:spPr>
                  <a:xfrm>
                    <a:off x="3271148" y="2469199"/>
                    <a:ext cx="228600" cy="19050"/>
                  </a:xfrm>
                  <a:custGeom>
                    <a:avLst/>
                    <a:gdLst/>
                    <a:ahLst/>
                    <a:cxnLst/>
                    <a:rect l="0" t="0" r="0" b="0"/>
                    <a:pathLst>
                      <a:path w="228600" h="19050">
                        <a:moveTo>
                          <a:pt x="0" y="0"/>
                        </a:moveTo>
                        <a:lnTo>
                          <a:pt x="236772" y="0"/>
                        </a:lnTo>
                        <a:lnTo>
                          <a:pt x="236772" y="21850"/>
                        </a:lnTo>
                        <a:lnTo>
                          <a:pt x="0" y="21850"/>
                        </a:lnTo>
                        <a:close/>
                      </a:path>
                    </a:pathLst>
                  </a:custGeom>
                  <a:solidFill>
                    <a:srgbClr val="A0A1A2"/>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3" name="Freeform: Shape 1452">
                    <a:extLst>
                      <a:ext uri="{FF2B5EF4-FFF2-40B4-BE49-F238E27FC236}">
                        <a16:creationId xmlns:a16="http://schemas.microsoft.com/office/drawing/2014/main" id="{87A7FE03-EBF1-4740-8380-BC272167700D}"/>
                      </a:ext>
                    </a:extLst>
                  </p:cNvPr>
                  <p:cNvSpPr/>
                  <p:nvPr/>
                </p:nvSpPr>
                <p:spPr>
                  <a:xfrm>
                    <a:off x="3327793" y="2205925"/>
                    <a:ext cx="123825" cy="76200"/>
                  </a:xfrm>
                  <a:custGeom>
                    <a:avLst/>
                    <a:gdLst/>
                    <a:ahLst/>
                    <a:cxnLst/>
                    <a:rect l="0" t="0" r="0" b="0"/>
                    <a:pathLst>
                      <a:path w="123825" h="76200">
                        <a:moveTo>
                          <a:pt x="65694" y="77136"/>
                        </a:moveTo>
                        <a:cubicBezTo>
                          <a:pt x="65361" y="77136"/>
                          <a:pt x="65037" y="77031"/>
                          <a:pt x="64722" y="76860"/>
                        </a:cubicBezTo>
                        <a:lnTo>
                          <a:pt x="953" y="40103"/>
                        </a:lnTo>
                        <a:cubicBezTo>
                          <a:pt x="371" y="39760"/>
                          <a:pt x="0" y="39112"/>
                          <a:pt x="0" y="38436"/>
                        </a:cubicBezTo>
                        <a:cubicBezTo>
                          <a:pt x="0" y="37750"/>
                          <a:pt x="371" y="37112"/>
                          <a:pt x="953" y="36769"/>
                        </a:cubicBezTo>
                        <a:lnTo>
                          <a:pt x="64332" y="250"/>
                        </a:lnTo>
                        <a:cubicBezTo>
                          <a:pt x="64922" y="-83"/>
                          <a:pt x="65646" y="-83"/>
                          <a:pt x="66237" y="250"/>
                        </a:cubicBezTo>
                        <a:lnTo>
                          <a:pt x="130026" y="37026"/>
                        </a:lnTo>
                        <a:cubicBezTo>
                          <a:pt x="130616" y="37369"/>
                          <a:pt x="130978" y="38007"/>
                          <a:pt x="130978" y="38693"/>
                        </a:cubicBezTo>
                        <a:cubicBezTo>
                          <a:pt x="130978" y="39388"/>
                          <a:pt x="130626" y="40017"/>
                          <a:pt x="130026" y="40360"/>
                        </a:cubicBezTo>
                        <a:lnTo>
                          <a:pt x="66665" y="76869"/>
                        </a:lnTo>
                        <a:cubicBezTo>
                          <a:pt x="66361" y="77031"/>
                          <a:pt x="66046" y="77136"/>
                          <a:pt x="65694" y="77136"/>
                        </a:cubicBezTo>
                      </a:path>
                    </a:pathLst>
                  </a:custGeom>
                  <a:solidFill>
                    <a:srgbClr val="FFFFFF"/>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4" name="Freeform: Shape 1453">
                    <a:extLst>
                      <a:ext uri="{FF2B5EF4-FFF2-40B4-BE49-F238E27FC236}">
                        <a16:creationId xmlns:a16="http://schemas.microsoft.com/office/drawing/2014/main" id="{6F7EC06D-DCD2-4860-A027-29F7B08E9D44}"/>
                      </a:ext>
                    </a:extLst>
                  </p:cNvPr>
                  <p:cNvSpPr/>
                  <p:nvPr/>
                </p:nvSpPr>
                <p:spPr>
                  <a:xfrm>
                    <a:off x="3318782" y="2258375"/>
                    <a:ext cx="66675" cy="104775"/>
                  </a:xfrm>
                  <a:custGeom>
                    <a:avLst/>
                    <a:gdLst/>
                    <a:ahLst/>
                    <a:cxnLst/>
                    <a:rect l="0" t="0" r="0" b="0"/>
                    <a:pathLst>
                      <a:path w="66675" h="104775">
                        <a:moveTo>
                          <a:pt x="65542" y="114031"/>
                        </a:moveTo>
                        <a:cubicBezTo>
                          <a:pt x="65180" y="114031"/>
                          <a:pt x="64856" y="113945"/>
                          <a:pt x="64570" y="113774"/>
                        </a:cubicBezTo>
                        <a:lnTo>
                          <a:pt x="991" y="77131"/>
                        </a:lnTo>
                        <a:cubicBezTo>
                          <a:pt x="371" y="76788"/>
                          <a:pt x="0" y="76169"/>
                          <a:pt x="0" y="75464"/>
                        </a:cubicBezTo>
                        <a:lnTo>
                          <a:pt x="0" y="1931"/>
                        </a:lnTo>
                        <a:cubicBezTo>
                          <a:pt x="0" y="1236"/>
                          <a:pt x="371" y="607"/>
                          <a:pt x="991" y="264"/>
                        </a:cubicBezTo>
                        <a:cubicBezTo>
                          <a:pt x="1581" y="-88"/>
                          <a:pt x="2296" y="-88"/>
                          <a:pt x="2934" y="264"/>
                        </a:cubicBezTo>
                        <a:lnTo>
                          <a:pt x="66504" y="36897"/>
                        </a:lnTo>
                        <a:cubicBezTo>
                          <a:pt x="67066" y="37259"/>
                          <a:pt x="67447" y="37888"/>
                          <a:pt x="67447" y="38583"/>
                        </a:cubicBezTo>
                        <a:lnTo>
                          <a:pt x="67447" y="112116"/>
                        </a:lnTo>
                        <a:cubicBezTo>
                          <a:pt x="67447" y="112821"/>
                          <a:pt x="67075" y="113440"/>
                          <a:pt x="66504" y="113783"/>
                        </a:cubicBezTo>
                        <a:cubicBezTo>
                          <a:pt x="66189" y="113945"/>
                          <a:pt x="65856" y="114031"/>
                          <a:pt x="65542" y="114031"/>
                        </a:cubicBezTo>
                      </a:path>
                    </a:pathLst>
                  </a:custGeom>
                  <a:solidFill>
                    <a:srgbClr val="FFFFFF">
                      <a:alpha val="70000"/>
                    </a:srgbClr>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5" name="Freeform: Shape 1454">
                    <a:extLst>
                      <a:ext uri="{FF2B5EF4-FFF2-40B4-BE49-F238E27FC236}">
                        <a16:creationId xmlns:a16="http://schemas.microsoft.com/office/drawing/2014/main" id="{4E5F6DB8-C63C-492B-A647-63C3F2AFD946}"/>
                      </a:ext>
                    </a:extLst>
                  </p:cNvPr>
                  <p:cNvSpPr/>
                  <p:nvPr/>
                </p:nvSpPr>
                <p:spPr>
                  <a:xfrm>
                    <a:off x="3400392" y="2258858"/>
                    <a:ext cx="66675" cy="104775"/>
                  </a:xfrm>
                  <a:custGeom>
                    <a:avLst/>
                    <a:gdLst/>
                    <a:ahLst/>
                    <a:cxnLst/>
                    <a:rect l="0" t="0" r="0" b="0"/>
                    <a:pathLst>
                      <a:path w="66675" h="104775">
                        <a:moveTo>
                          <a:pt x="1934" y="113548"/>
                        </a:moveTo>
                        <a:cubicBezTo>
                          <a:pt x="1581" y="113548"/>
                          <a:pt x="1257" y="113462"/>
                          <a:pt x="933" y="113290"/>
                        </a:cubicBezTo>
                        <a:cubicBezTo>
                          <a:pt x="371" y="112947"/>
                          <a:pt x="0" y="112319"/>
                          <a:pt x="0" y="111623"/>
                        </a:cubicBezTo>
                        <a:lnTo>
                          <a:pt x="0" y="38548"/>
                        </a:lnTo>
                        <a:cubicBezTo>
                          <a:pt x="0" y="37871"/>
                          <a:pt x="371" y="37233"/>
                          <a:pt x="933" y="36881"/>
                        </a:cubicBezTo>
                        <a:lnTo>
                          <a:pt x="64503" y="257"/>
                        </a:lnTo>
                        <a:cubicBezTo>
                          <a:pt x="65113" y="-86"/>
                          <a:pt x="65818" y="-86"/>
                          <a:pt x="66418" y="257"/>
                        </a:cubicBezTo>
                        <a:cubicBezTo>
                          <a:pt x="67027" y="600"/>
                          <a:pt x="67389" y="1229"/>
                          <a:pt x="67389" y="1924"/>
                        </a:cubicBezTo>
                        <a:lnTo>
                          <a:pt x="67389" y="74990"/>
                        </a:lnTo>
                        <a:cubicBezTo>
                          <a:pt x="67389" y="75695"/>
                          <a:pt x="67018" y="76324"/>
                          <a:pt x="66418" y="76657"/>
                        </a:cubicBezTo>
                        <a:lnTo>
                          <a:pt x="2867" y="113300"/>
                        </a:lnTo>
                        <a:cubicBezTo>
                          <a:pt x="2600" y="113462"/>
                          <a:pt x="2257" y="113548"/>
                          <a:pt x="1934" y="113548"/>
                        </a:cubicBezTo>
                      </a:path>
                    </a:pathLst>
                  </a:custGeom>
                  <a:solidFill>
                    <a:srgbClr val="FFFFFF">
                      <a:alpha val="40000"/>
                    </a:srgbClr>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386" name="Group 1385">
                  <a:extLst>
                    <a:ext uri="{FF2B5EF4-FFF2-40B4-BE49-F238E27FC236}">
                      <a16:creationId xmlns:a16="http://schemas.microsoft.com/office/drawing/2014/main" id="{35172BDE-5F33-4FBD-921F-897C3A880A03}"/>
                    </a:ext>
                  </a:extLst>
                </p:cNvPr>
                <p:cNvGrpSpPr>
                  <a:grpSpLocks noChangeAspect="1"/>
                </p:cNvGrpSpPr>
                <p:nvPr/>
              </p:nvGrpSpPr>
              <p:grpSpPr>
                <a:xfrm>
                  <a:off x="4974444" y="4765325"/>
                  <a:ext cx="914400" cy="696854"/>
                  <a:chOff x="4817192" y="4571599"/>
                  <a:chExt cx="1228038" cy="935873"/>
                </a:xfrm>
              </p:grpSpPr>
              <p:grpSp>
                <p:nvGrpSpPr>
                  <p:cNvPr id="1387" name="Group 1386">
                    <a:extLst>
                      <a:ext uri="{FF2B5EF4-FFF2-40B4-BE49-F238E27FC236}">
                        <a16:creationId xmlns:a16="http://schemas.microsoft.com/office/drawing/2014/main" id="{5A941270-4BD4-41D9-9725-3611A9506D08}"/>
                      </a:ext>
                    </a:extLst>
                  </p:cNvPr>
                  <p:cNvGrpSpPr/>
                  <p:nvPr/>
                </p:nvGrpSpPr>
                <p:grpSpPr>
                  <a:xfrm>
                    <a:off x="5309908" y="4571599"/>
                    <a:ext cx="735322" cy="630823"/>
                    <a:chOff x="5387968" y="4679219"/>
                    <a:chExt cx="596136" cy="511417"/>
                  </a:xfrm>
                </p:grpSpPr>
                <p:grpSp>
                  <p:nvGrpSpPr>
                    <p:cNvPr id="1427" name="Group 1426">
                      <a:extLst>
                        <a:ext uri="{FF2B5EF4-FFF2-40B4-BE49-F238E27FC236}">
                          <a16:creationId xmlns:a16="http://schemas.microsoft.com/office/drawing/2014/main" id="{D0956D9B-DC2F-4B6B-90DC-63A3BCE1C54D}"/>
                        </a:ext>
                      </a:extLst>
                    </p:cNvPr>
                    <p:cNvGrpSpPr/>
                    <p:nvPr/>
                  </p:nvGrpSpPr>
                  <p:grpSpPr>
                    <a:xfrm>
                      <a:off x="5387968" y="4679219"/>
                      <a:ext cx="596136" cy="511417"/>
                      <a:chOff x="-2759706" y="1099471"/>
                      <a:chExt cx="7926138" cy="6799720"/>
                    </a:xfrm>
                  </p:grpSpPr>
                  <p:sp>
                    <p:nvSpPr>
                      <p:cNvPr id="1444" name="Rectangle 317">
                        <a:extLst>
                          <a:ext uri="{FF2B5EF4-FFF2-40B4-BE49-F238E27FC236}">
                            <a16:creationId xmlns:a16="http://schemas.microsoft.com/office/drawing/2014/main" id="{1AEA9563-B199-4D0D-9FD9-C2A773515EDC}"/>
                          </a:ext>
                        </a:extLst>
                      </p:cNvPr>
                      <p:cNvSpPr/>
                      <p:nvPr/>
                    </p:nvSpPr>
                    <p:spPr bwMode="auto">
                      <a:xfrm>
                        <a:off x="-1103535" y="6493181"/>
                        <a:ext cx="4613796" cy="1133080"/>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0372A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5" name="Rounded Rectangle 460">
                        <a:extLst>
                          <a:ext uri="{FF2B5EF4-FFF2-40B4-BE49-F238E27FC236}">
                            <a16:creationId xmlns:a16="http://schemas.microsoft.com/office/drawing/2014/main" id="{618356A4-70F1-49E7-B29D-EF73340CDA3C}"/>
                          </a:ext>
                        </a:extLst>
                      </p:cNvPr>
                      <p:cNvSpPr/>
                      <p:nvPr/>
                    </p:nvSpPr>
                    <p:spPr bwMode="auto">
                      <a:xfrm>
                        <a:off x="-2759706" y="1099471"/>
                        <a:ext cx="7926138" cy="5508724"/>
                      </a:xfrm>
                      <a:prstGeom prst="roundRect">
                        <a:avLst>
                          <a:gd name="adj" fmla="val 8482"/>
                        </a:avLst>
                      </a:prstGeom>
                      <a:solidFill>
                        <a:srgbClr val="0372A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6" name="Rectangle 1445">
                        <a:extLst>
                          <a:ext uri="{FF2B5EF4-FFF2-40B4-BE49-F238E27FC236}">
                            <a16:creationId xmlns:a16="http://schemas.microsoft.com/office/drawing/2014/main" id="{6585DBE5-B06B-4E62-B658-476682BD1B9D}"/>
                          </a:ext>
                        </a:extLst>
                      </p:cNvPr>
                      <p:cNvSpPr/>
                      <p:nvPr/>
                    </p:nvSpPr>
                    <p:spPr bwMode="auto">
                      <a:xfrm>
                        <a:off x="-2133709" y="1626404"/>
                        <a:ext cx="6674143" cy="4361520"/>
                      </a:xfrm>
                      <a:prstGeom prst="rect">
                        <a:avLst/>
                      </a:prstGeom>
                      <a:gradFill flip="none" rotWithShape="1">
                        <a:gsLst>
                          <a:gs pos="45000">
                            <a:srgbClr val="AFE5FD"/>
                          </a:gs>
                          <a:gs pos="45000">
                            <a:srgbClr val="C3ECFE"/>
                          </a:gs>
                        </a:gsLst>
                        <a:lin ang="24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7" name="Rectangle 1446">
                        <a:extLst>
                          <a:ext uri="{FF2B5EF4-FFF2-40B4-BE49-F238E27FC236}">
                            <a16:creationId xmlns:a16="http://schemas.microsoft.com/office/drawing/2014/main" id="{CC1A92F5-EEB5-49E8-8DD9-1E3F3B894017}"/>
                          </a:ext>
                        </a:extLst>
                      </p:cNvPr>
                      <p:cNvSpPr/>
                      <p:nvPr/>
                    </p:nvSpPr>
                    <p:spPr bwMode="auto">
                      <a:xfrm>
                        <a:off x="-1332157" y="7460658"/>
                        <a:ext cx="5071038" cy="438533"/>
                      </a:xfrm>
                      <a:prstGeom prst="rect">
                        <a:avLst/>
                      </a:prstGeom>
                      <a:solidFill>
                        <a:srgbClr val="0372A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428" name="Group 1427">
                      <a:extLst>
                        <a:ext uri="{FF2B5EF4-FFF2-40B4-BE49-F238E27FC236}">
                          <a16:creationId xmlns:a16="http://schemas.microsoft.com/office/drawing/2014/main" id="{7F8A6078-8733-4323-B669-4292C016177B}"/>
                        </a:ext>
                      </a:extLst>
                    </p:cNvPr>
                    <p:cNvGrpSpPr/>
                    <p:nvPr/>
                  </p:nvGrpSpPr>
                  <p:grpSpPr>
                    <a:xfrm>
                      <a:off x="5724146" y="4755542"/>
                      <a:ext cx="100379" cy="121637"/>
                      <a:chOff x="8079057" y="3685619"/>
                      <a:chExt cx="1044575" cy="1265794"/>
                    </a:xfrm>
                  </p:grpSpPr>
                  <p:sp>
                    <p:nvSpPr>
                      <p:cNvPr id="1441" name="Freeform 456">
                        <a:extLst>
                          <a:ext uri="{FF2B5EF4-FFF2-40B4-BE49-F238E27FC236}">
                            <a16:creationId xmlns:a16="http://schemas.microsoft.com/office/drawing/2014/main" id="{095FC234-5318-4818-BB41-14AF80ED8FD2}"/>
                          </a:ext>
                        </a:extLst>
                      </p:cNvPr>
                      <p:cNvSpPr/>
                      <p:nvPr/>
                    </p:nvSpPr>
                    <p:spPr>
                      <a:xfrm>
                        <a:off x="8079057" y="3685619"/>
                        <a:ext cx="1044575"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42" name="Freeform 457">
                        <a:extLst>
                          <a:ext uri="{FF2B5EF4-FFF2-40B4-BE49-F238E27FC236}">
                            <a16:creationId xmlns:a16="http://schemas.microsoft.com/office/drawing/2014/main" id="{30043C5C-2397-457B-87D6-BC841521E72E}"/>
                          </a:ext>
                        </a:extLst>
                      </p:cNvPr>
                      <p:cNvSpPr/>
                      <p:nvPr/>
                    </p:nvSpPr>
                    <p:spPr>
                      <a:xfrm>
                        <a:off x="8083817" y="3970337"/>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43" name="Freeform 458">
                        <a:extLst>
                          <a:ext uri="{FF2B5EF4-FFF2-40B4-BE49-F238E27FC236}">
                            <a16:creationId xmlns:a16="http://schemas.microsoft.com/office/drawing/2014/main" id="{7F2DA5D6-7A6F-4E05-9C96-D8F6D9FEB7A4}"/>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1429" name="Group 1428">
                      <a:extLst>
                        <a:ext uri="{FF2B5EF4-FFF2-40B4-BE49-F238E27FC236}">
                          <a16:creationId xmlns:a16="http://schemas.microsoft.com/office/drawing/2014/main" id="{BE47D7FF-79E1-4704-9AC7-C163F8DA4390}"/>
                        </a:ext>
                      </a:extLst>
                    </p:cNvPr>
                    <p:cNvGrpSpPr/>
                    <p:nvPr/>
                  </p:nvGrpSpPr>
                  <p:grpSpPr>
                    <a:xfrm>
                      <a:off x="5724146" y="4899243"/>
                      <a:ext cx="100379" cy="121637"/>
                      <a:chOff x="8079063" y="3685618"/>
                      <a:chExt cx="1044576" cy="1265795"/>
                    </a:xfrm>
                  </p:grpSpPr>
                  <p:sp>
                    <p:nvSpPr>
                      <p:cNvPr id="1438" name="Freeform 453">
                        <a:extLst>
                          <a:ext uri="{FF2B5EF4-FFF2-40B4-BE49-F238E27FC236}">
                            <a16:creationId xmlns:a16="http://schemas.microsoft.com/office/drawing/2014/main" id="{2E46B0D8-C15B-4FC4-8E8B-E7D9B9DF687A}"/>
                          </a:ext>
                        </a:extLst>
                      </p:cNvPr>
                      <p:cNvSpPr/>
                      <p:nvPr/>
                    </p:nvSpPr>
                    <p:spPr>
                      <a:xfrm>
                        <a:off x="8079063" y="3685618"/>
                        <a:ext cx="1044576"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39" name="Freeform 454">
                        <a:extLst>
                          <a:ext uri="{FF2B5EF4-FFF2-40B4-BE49-F238E27FC236}">
                            <a16:creationId xmlns:a16="http://schemas.microsoft.com/office/drawing/2014/main" id="{F0CA3EB3-7E77-477B-ADA7-50203084CCE1}"/>
                          </a:ext>
                        </a:extLst>
                      </p:cNvPr>
                      <p:cNvSpPr/>
                      <p:nvPr/>
                    </p:nvSpPr>
                    <p:spPr>
                      <a:xfrm>
                        <a:off x="8083823" y="3970336"/>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40" name="Freeform 455">
                        <a:extLst>
                          <a:ext uri="{FF2B5EF4-FFF2-40B4-BE49-F238E27FC236}">
                            <a16:creationId xmlns:a16="http://schemas.microsoft.com/office/drawing/2014/main" id="{6F646215-F90C-4567-8EC2-E0429874B47E}"/>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1430" name="Group 1429">
                      <a:extLst>
                        <a:ext uri="{FF2B5EF4-FFF2-40B4-BE49-F238E27FC236}">
                          <a16:creationId xmlns:a16="http://schemas.microsoft.com/office/drawing/2014/main" id="{C8F22279-54DF-46B7-A59E-76F2379A57E5}"/>
                        </a:ext>
                      </a:extLst>
                    </p:cNvPr>
                    <p:cNvGrpSpPr/>
                    <p:nvPr/>
                  </p:nvGrpSpPr>
                  <p:grpSpPr>
                    <a:xfrm>
                      <a:off x="5539678" y="4755542"/>
                      <a:ext cx="100379" cy="121637"/>
                      <a:chOff x="8079057" y="3685619"/>
                      <a:chExt cx="1044575" cy="1265794"/>
                    </a:xfrm>
                  </p:grpSpPr>
                  <p:sp>
                    <p:nvSpPr>
                      <p:cNvPr id="1435" name="Freeform 446">
                        <a:extLst>
                          <a:ext uri="{FF2B5EF4-FFF2-40B4-BE49-F238E27FC236}">
                            <a16:creationId xmlns:a16="http://schemas.microsoft.com/office/drawing/2014/main" id="{88C7961D-3044-48A8-B376-16A8C435ABF3}"/>
                          </a:ext>
                        </a:extLst>
                      </p:cNvPr>
                      <p:cNvSpPr/>
                      <p:nvPr/>
                    </p:nvSpPr>
                    <p:spPr>
                      <a:xfrm>
                        <a:off x="8079057" y="3685619"/>
                        <a:ext cx="1044575"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36" name="Freeform 447">
                        <a:extLst>
                          <a:ext uri="{FF2B5EF4-FFF2-40B4-BE49-F238E27FC236}">
                            <a16:creationId xmlns:a16="http://schemas.microsoft.com/office/drawing/2014/main" id="{132A8482-00D8-4E42-A71C-0253BF41DD1C}"/>
                          </a:ext>
                        </a:extLst>
                      </p:cNvPr>
                      <p:cNvSpPr/>
                      <p:nvPr/>
                    </p:nvSpPr>
                    <p:spPr>
                      <a:xfrm>
                        <a:off x="8083817" y="3970337"/>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37" name="Freeform 448">
                        <a:extLst>
                          <a:ext uri="{FF2B5EF4-FFF2-40B4-BE49-F238E27FC236}">
                            <a16:creationId xmlns:a16="http://schemas.microsoft.com/office/drawing/2014/main" id="{D89A27B8-ACA7-4B20-AA22-350DEA76A709}"/>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1431" name="Group 1430">
                      <a:extLst>
                        <a:ext uri="{FF2B5EF4-FFF2-40B4-BE49-F238E27FC236}">
                          <a16:creationId xmlns:a16="http://schemas.microsoft.com/office/drawing/2014/main" id="{BA255C16-1FC1-4874-8DF1-B2B0ECBD3400}"/>
                        </a:ext>
                      </a:extLst>
                    </p:cNvPr>
                    <p:cNvGrpSpPr/>
                    <p:nvPr/>
                  </p:nvGrpSpPr>
                  <p:grpSpPr>
                    <a:xfrm>
                      <a:off x="5539677" y="4899243"/>
                      <a:ext cx="100379" cy="121637"/>
                      <a:chOff x="8079063" y="3685618"/>
                      <a:chExt cx="1044576" cy="1265795"/>
                    </a:xfrm>
                  </p:grpSpPr>
                  <p:sp>
                    <p:nvSpPr>
                      <p:cNvPr id="1432" name="Freeform 443">
                        <a:extLst>
                          <a:ext uri="{FF2B5EF4-FFF2-40B4-BE49-F238E27FC236}">
                            <a16:creationId xmlns:a16="http://schemas.microsoft.com/office/drawing/2014/main" id="{2716B28B-FCF9-4D80-956F-CEA03A120D9E}"/>
                          </a:ext>
                        </a:extLst>
                      </p:cNvPr>
                      <p:cNvSpPr/>
                      <p:nvPr/>
                    </p:nvSpPr>
                    <p:spPr>
                      <a:xfrm>
                        <a:off x="8079063" y="3685618"/>
                        <a:ext cx="1044576"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33" name="Freeform 444">
                        <a:extLst>
                          <a:ext uri="{FF2B5EF4-FFF2-40B4-BE49-F238E27FC236}">
                            <a16:creationId xmlns:a16="http://schemas.microsoft.com/office/drawing/2014/main" id="{D693BE97-449C-401D-A9B2-2BBADCF0E857}"/>
                          </a:ext>
                        </a:extLst>
                      </p:cNvPr>
                      <p:cNvSpPr/>
                      <p:nvPr/>
                    </p:nvSpPr>
                    <p:spPr>
                      <a:xfrm>
                        <a:off x="8083823" y="3970336"/>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34" name="Freeform 445">
                        <a:extLst>
                          <a:ext uri="{FF2B5EF4-FFF2-40B4-BE49-F238E27FC236}">
                            <a16:creationId xmlns:a16="http://schemas.microsoft.com/office/drawing/2014/main" id="{331BF84B-B41A-44D9-BE80-7B9BCAF11026}"/>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grpSp>
                <p:nvGrpSpPr>
                  <p:cNvPr id="1388" name="Group 1387">
                    <a:extLst>
                      <a:ext uri="{FF2B5EF4-FFF2-40B4-BE49-F238E27FC236}">
                        <a16:creationId xmlns:a16="http://schemas.microsoft.com/office/drawing/2014/main" id="{E8EE28A2-587A-4408-94F3-23B838C3CFE3}"/>
                      </a:ext>
                    </a:extLst>
                  </p:cNvPr>
                  <p:cNvGrpSpPr/>
                  <p:nvPr/>
                </p:nvGrpSpPr>
                <p:grpSpPr>
                  <a:xfrm>
                    <a:off x="4888179" y="5002454"/>
                    <a:ext cx="237146" cy="203443"/>
                    <a:chOff x="4888179" y="5002454"/>
                    <a:chExt cx="237146" cy="203443"/>
                  </a:xfrm>
                </p:grpSpPr>
                <p:grpSp>
                  <p:nvGrpSpPr>
                    <p:cNvPr id="1418" name="Group 1417">
                      <a:extLst>
                        <a:ext uri="{FF2B5EF4-FFF2-40B4-BE49-F238E27FC236}">
                          <a16:creationId xmlns:a16="http://schemas.microsoft.com/office/drawing/2014/main" id="{024BEE84-BAED-4FA5-8144-049D4DF576E2}"/>
                        </a:ext>
                      </a:extLst>
                    </p:cNvPr>
                    <p:cNvGrpSpPr/>
                    <p:nvPr/>
                  </p:nvGrpSpPr>
                  <p:grpSpPr>
                    <a:xfrm>
                      <a:off x="4888179" y="5002454"/>
                      <a:ext cx="237146" cy="203443"/>
                      <a:chOff x="-2759707" y="1099472"/>
                      <a:chExt cx="7926138" cy="6799719"/>
                    </a:xfrm>
                  </p:grpSpPr>
                  <p:sp>
                    <p:nvSpPr>
                      <p:cNvPr id="1423" name="Rectangle 317">
                        <a:extLst>
                          <a:ext uri="{FF2B5EF4-FFF2-40B4-BE49-F238E27FC236}">
                            <a16:creationId xmlns:a16="http://schemas.microsoft.com/office/drawing/2014/main" id="{C74B1437-E427-44F8-AA8F-AE73B31E0E16}"/>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24" name="Rounded Rectangle 450">
                        <a:extLst>
                          <a:ext uri="{FF2B5EF4-FFF2-40B4-BE49-F238E27FC236}">
                            <a16:creationId xmlns:a16="http://schemas.microsoft.com/office/drawing/2014/main" id="{D0E97D7D-31B3-4109-8744-48C235F8AC78}"/>
                          </a:ext>
                        </a:extLst>
                      </p:cNvPr>
                      <p:cNvSpPr/>
                      <p:nvPr/>
                    </p:nvSpPr>
                    <p:spPr bwMode="auto">
                      <a:xfrm>
                        <a:off x="-2759707" y="1099472"/>
                        <a:ext cx="7926138" cy="5508726"/>
                      </a:xfrm>
                      <a:prstGeom prst="roundRect">
                        <a:avLst>
                          <a:gd name="adj" fmla="val 8482"/>
                        </a:avLst>
                      </a:prstGeom>
                      <a:solidFill>
                        <a:srgbClr val="494949"/>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25" name="Rectangle 1424">
                        <a:extLst>
                          <a:ext uri="{FF2B5EF4-FFF2-40B4-BE49-F238E27FC236}">
                            <a16:creationId xmlns:a16="http://schemas.microsoft.com/office/drawing/2014/main" id="{D6EF9DB0-4AEC-4FB4-A88A-2B9481854655}"/>
                          </a:ext>
                        </a:extLst>
                      </p:cNvPr>
                      <p:cNvSpPr/>
                      <p:nvPr/>
                    </p:nvSpPr>
                    <p:spPr bwMode="auto">
                      <a:xfrm>
                        <a:off x="-2133709" y="1626405"/>
                        <a:ext cx="6674142" cy="4361521"/>
                      </a:xfrm>
                      <a:prstGeom prst="rect">
                        <a:avLst/>
                      </a:prstGeom>
                      <a:gradFill flip="none" rotWithShape="1">
                        <a:gsLst>
                          <a:gs pos="45000">
                            <a:srgbClr val="AFE5FD"/>
                          </a:gs>
                          <a:gs pos="45000">
                            <a:srgbClr val="C3ECFE"/>
                          </a:gs>
                        </a:gsLst>
                        <a:lin ang="24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26" name="Rectangle 1425">
                        <a:extLst>
                          <a:ext uri="{FF2B5EF4-FFF2-40B4-BE49-F238E27FC236}">
                            <a16:creationId xmlns:a16="http://schemas.microsoft.com/office/drawing/2014/main" id="{B1EA5EDD-0694-4741-9C68-539A27AB7315}"/>
                          </a:ext>
                        </a:extLst>
                      </p:cNvPr>
                      <p:cNvSpPr/>
                      <p:nvPr/>
                    </p:nvSpPr>
                    <p:spPr bwMode="auto">
                      <a:xfrm>
                        <a:off x="-1332157" y="7460659"/>
                        <a:ext cx="5071038" cy="438532"/>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419" name="Group 1418">
                      <a:extLst>
                        <a:ext uri="{FF2B5EF4-FFF2-40B4-BE49-F238E27FC236}">
                          <a16:creationId xmlns:a16="http://schemas.microsoft.com/office/drawing/2014/main" id="{3739FBBB-91FA-47DE-B8F3-BB771E07BBEE}"/>
                        </a:ext>
                      </a:extLst>
                    </p:cNvPr>
                    <p:cNvGrpSpPr/>
                    <p:nvPr/>
                  </p:nvGrpSpPr>
                  <p:grpSpPr>
                    <a:xfrm>
                      <a:off x="4967500" y="5035695"/>
                      <a:ext cx="78504" cy="95130"/>
                      <a:chOff x="8079067" y="3685620"/>
                      <a:chExt cx="1044576" cy="1265793"/>
                    </a:xfrm>
                  </p:grpSpPr>
                  <p:sp>
                    <p:nvSpPr>
                      <p:cNvPr id="1420" name="Freeform 440">
                        <a:extLst>
                          <a:ext uri="{FF2B5EF4-FFF2-40B4-BE49-F238E27FC236}">
                            <a16:creationId xmlns:a16="http://schemas.microsoft.com/office/drawing/2014/main" id="{A2107441-DF94-45BF-8E0D-82D5F7F5D5AB}"/>
                          </a:ext>
                        </a:extLst>
                      </p:cNvPr>
                      <p:cNvSpPr/>
                      <p:nvPr/>
                    </p:nvSpPr>
                    <p:spPr>
                      <a:xfrm>
                        <a:off x="8079067" y="3685620"/>
                        <a:ext cx="1044576" cy="560388"/>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21" name="Freeform 441">
                        <a:extLst>
                          <a:ext uri="{FF2B5EF4-FFF2-40B4-BE49-F238E27FC236}">
                            <a16:creationId xmlns:a16="http://schemas.microsoft.com/office/drawing/2014/main" id="{897E295D-329C-44EA-AA16-73E0BA79F221}"/>
                          </a:ext>
                        </a:extLst>
                      </p:cNvPr>
                      <p:cNvSpPr/>
                      <p:nvPr/>
                    </p:nvSpPr>
                    <p:spPr>
                      <a:xfrm>
                        <a:off x="8083830"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22" name="Freeform 442">
                        <a:extLst>
                          <a:ext uri="{FF2B5EF4-FFF2-40B4-BE49-F238E27FC236}">
                            <a16:creationId xmlns:a16="http://schemas.microsoft.com/office/drawing/2014/main" id="{42DABFD4-9F61-415F-A1B5-6BC938765949}"/>
                          </a:ext>
                        </a:extLst>
                      </p:cNvPr>
                      <p:cNvSpPr/>
                      <p:nvPr/>
                    </p:nvSpPr>
                    <p:spPr>
                      <a:xfrm flipH="1">
                        <a:off x="8601355"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sp>
                <p:nvSpPr>
                  <p:cNvPr id="1389" name="Freeform: Shape 1388">
                    <a:extLst>
                      <a:ext uri="{FF2B5EF4-FFF2-40B4-BE49-F238E27FC236}">
                        <a16:creationId xmlns:a16="http://schemas.microsoft.com/office/drawing/2014/main" id="{812C558D-D47E-4318-80A2-230D0AC4B0D8}"/>
                      </a:ext>
                    </a:extLst>
                  </p:cNvPr>
                  <p:cNvSpPr/>
                  <p:nvPr/>
                </p:nvSpPr>
                <p:spPr bwMode="auto">
                  <a:xfrm rot="18900000">
                    <a:off x="4817192" y="4775170"/>
                    <a:ext cx="585046" cy="69372"/>
                  </a:xfrm>
                  <a:custGeom>
                    <a:avLst/>
                    <a:gdLst>
                      <a:gd name="connsiteX0" fmla="*/ 39422 w 585046"/>
                      <a:gd name="connsiteY0" fmla="*/ 31543 h 69372"/>
                      <a:gd name="connsiteX1" fmla="*/ 39422 w 585046"/>
                      <a:gd name="connsiteY1" fmla="*/ 40687 h 69372"/>
                      <a:gd name="connsiteX2" fmla="*/ 0 w 585046"/>
                      <a:gd name="connsiteY2" fmla="*/ 40687 h 69372"/>
                      <a:gd name="connsiteX3" fmla="*/ 0 w 585046"/>
                      <a:gd name="connsiteY3" fmla="*/ 31543 h 69372"/>
                      <a:gd name="connsiteX4" fmla="*/ 85636 w 585046"/>
                      <a:gd name="connsiteY4" fmla="*/ 31543 h 69372"/>
                      <a:gd name="connsiteX5" fmla="*/ 85636 w 585046"/>
                      <a:gd name="connsiteY5" fmla="*/ 40687 h 69372"/>
                      <a:gd name="connsiteX6" fmla="*/ 46214 w 585046"/>
                      <a:gd name="connsiteY6" fmla="*/ 40687 h 69372"/>
                      <a:gd name="connsiteX7" fmla="*/ 46214 w 585046"/>
                      <a:gd name="connsiteY7" fmla="*/ 31543 h 69372"/>
                      <a:gd name="connsiteX8" fmla="*/ 131850 w 585046"/>
                      <a:gd name="connsiteY8" fmla="*/ 31543 h 69372"/>
                      <a:gd name="connsiteX9" fmla="*/ 131850 w 585046"/>
                      <a:gd name="connsiteY9" fmla="*/ 40687 h 69372"/>
                      <a:gd name="connsiteX10" fmla="*/ 92429 w 585046"/>
                      <a:gd name="connsiteY10" fmla="*/ 40687 h 69372"/>
                      <a:gd name="connsiteX11" fmla="*/ 92429 w 585046"/>
                      <a:gd name="connsiteY11" fmla="*/ 31543 h 69372"/>
                      <a:gd name="connsiteX12" fmla="*/ 178065 w 585046"/>
                      <a:gd name="connsiteY12" fmla="*/ 31543 h 69372"/>
                      <a:gd name="connsiteX13" fmla="*/ 178065 w 585046"/>
                      <a:gd name="connsiteY13" fmla="*/ 40687 h 69372"/>
                      <a:gd name="connsiteX14" fmla="*/ 138643 w 585046"/>
                      <a:gd name="connsiteY14" fmla="*/ 40687 h 69372"/>
                      <a:gd name="connsiteX15" fmla="*/ 138643 w 585046"/>
                      <a:gd name="connsiteY15" fmla="*/ 31543 h 69372"/>
                      <a:gd name="connsiteX16" fmla="*/ 224279 w 585046"/>
                      <a:gd name="connsiteY16" fmla="*/ 31543 h 69372"/>
                      <a:gd name="connsiteX17" fmla="*/ 224279 w 585046"/>
                      <a:gd name="connsiteY17" fmla="*/ 40687 h 69372"/>
                      <a:gd name="connsiteX18" fmla="*/ 184857 w 585046"/>
                      <a:gd name="connsiteY18" fmla="*/ 40687 h 69372"/>
                      <a:gd name="connsiteX19" fmla="*/ 184857 w 585046"/>
                      <a:gd name="connsiteY19" fmla="*/ 31543 h 69372"/>
                      <a:gd name="connsiteX20" fmla="*/ 270493 w 585046"/>
                      <a:gd name="connsiteY20" fmla="*/ 31543 h 69372"/>
                      <a:gd name="connsiteX21" fmla="*/ 270493 w 585046"/>
                      <a:gd name="connsiteY21" fmla="*/ 40687 h 69372"/>
                      <a:gd name="connsiteX22" fmla="*/ 231071 w 585046"/>
                      <a:gd name="connsiteY22" fmla="*/ 40687 h 69372"/>
                      <a:gd name="connsiteX23" fmla="*/ 231071 w 585046"/>
                      <a:gd name="connsiteY23" fmla="*/ 31543 h 69372"/>
                      <a:gd name="connsiteX24" fmla="*/ 317569 w 585046"/>
                      <a:gd name="connsiteY24" fmla="*/ 31543 h 69372"/>
                      <a:gd name="connsiteX25" fmla="*/ 317569 w 585046"/>
                      <a:gd name="connsiteY25" fmla="*/ 40687 h 69372"/>
                      <a:gd name="connsiteX26" fmla="*/ 278147 w 585046"/>
                      <a:gd name="connsiteY26" fmla="*/ 40687 h 69372"/>
                      <a:gd name="connsiteX27" fmla="*/ 278147 w 585046"/>
                      <a:gd name="connsiteY27" fmla="*/ 31543 h 69372"/>
                      <a:gd name="connsiteX28" fmla="*/ 363783 w 585046"/>
                      <a:gd name="connsiteY28" fmla="*/ 31543 h 69372"/>
                      <a:gd name="connsiteX29" fmla="*/ 363783 w 585046"/>
                      <a:gd name="connsiteY29" fmla="*/ 40687 h 69372"/>
                      <a:gd name="connsiteX30" fmla="*/ 324361 w 585046"/>
                      <a:gd name="connsiteY30" fmla="*/ 40687 h 69372"/>
                      <a:gd name="connsiteX31" fmla="*/ 324361 w 585046"/>
                      <a:gd name="connsiteY31" fmla="*/ 31543 h 69372"/>
                      <a:gd name="connsiteX32" fmla="*/ 409998 w 585046"/>
                      <a:gd name="connsiteY32" fmla="*/ 31543 h 69372"/>
                      <a:gd name="connsiteX33" fmla="*/ 409998 w 585046"/>
                      <a:gd name="connsiteY33" fmla="*/ 40687 h 69372"/>
                      <a:gd name="connsiteX34" fmla="*/ 370576 w 585046"/>
                      <a:gd name="connsiteY34" fmla="*/ 40687 h 69372"/>
                      <a:gd name="connsiteX35" fmla="*/ 370576 w 585046"/>
                      <a:gd name="connsiteY35" fmla="*/ 31543 h 69372"/>
                      <a:gd name="connsiteX36" fmla="*/ 456212 w 585046"/>
                      <a:gd name="connsiteY36" fmla="*/ 31543 h 69372"/>
                      <a:gd name="connsiteX37" fmla="*/ 456212 w 585046"/>
                      <a:gd name="connsiteY37" fmla="*/ 40687 h 69372"/>
                      <a:gd name="connsiteX38" fmla="*/ 416790 w 585046"/>
                      <a:gd name="connsiteY38" fmla="*/ 40687 h 69372"/>
                      <a:gd name="connsiteX39" fmla="*/ 416790 w 585046"/>
                      <a:gd name="connsiteY39" fmla="*/ 31543 h 69372"/>
                      <a:gd name="connsiteX40" fmla="*/ 502426 w 585046"/>
                      <a:gd name="connsiteY40" fmla="*/ 31543 h 69372"/>
                      <a:gd name="connsiteX41" fmla="*/ 502426 w 585046"/>
                      <a:gd name="connsiteY41" fmla="*/ 40687 h 69372"/>
                      <a:gd name="connsiteX42" fmla="*/ 463004 w 585046"/>
                      <a:gd name="connsiteY42" fmla="*/ 40687 h 69372"/>
                      <a:gd name="connsiteX43" fmla="*/ 463004 w 585046"/>
                      <a:gd name="connsiteY43" fmla="*/ 31543 h 69372"/>
                      <a:gd name="connsiteX44" fmla="*/ 585046 w 585046"/>
                      <a:gd name="connsiteY44" fmla="*/ 36367 h 69372"/>
                      <a:gd name="connsiteX45" fmla="*/ 531245 w 585046"/>
                      <a:gd name="connsiteY45" fmla="*/ 69372 h 69372"/>
                      <a:gd name="connsiteX46" fmla="*/ 532160 w 585046"/>
                      <a:gd name="connsiteY46" fmla="*/ 40687 h 69372"/>
                      <a:gd name="connsiteX47" fmla="*/ 509218 w 585046"/>
                      <a:gd name="connsiteY47" fmla="*/ 40687 h 69372"/>
                      <a:gd name="connsiteX48" fmla="*/ 509218 w 585046"/>
                      <a:gd name="connsiteY48" fmla="*/ 31543 h 69372"/>
                      <a:gd name="connsiteX49" fmla="*/ 532451 w 585046"/>
                      <a:gd name="connsiteY49" fmla="*/ 31543 h 69372"/>
                      <a:gd name="connsiteX50" fmla="*/ 533458 w 585046"/>
                      <a:gd name="connsiteY50" fmla="*/ 0 h 6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85046" h="69372">
                        <a:moveTo>
                          <a:pt x="39422" y="31543"/>
                        </a:moveTo>
                        <a:lnTo>
                          <a:pt x="39422" y="40687"/>
                        </a:lnTo>
                        <a:lnTo>
                          <a:pt x="0" y="40687"/>
                        </a:lnTo>
                        <a:lnTo>
                          <a:pt x="0" y="31543"/>
                        </a:lnTo>
                        <a:close/>
                        <a:moveTo>
                          <a:pt x="85636" y="31543"/>
                        </a:moveTo>
                        <a:lnTo>
                          <a:pt x="85636" y="40687"/>
                        </a:lnTo>
                        <a:lnTo>
                          <a:pt x="46214" y="40687"/>
                        </a:lnTo>
                        <a:lnTo>
                          <a:pt x="46214" y="31543"/>
                        </a:lnTo>
                        <a:close/>
                        <a:moveTo>
                          <a:pt x="131850" y="31543"/>
                        </a:moveTo>
                        <a:lnTo>
                          <a:pt x="131850" y="40687"/>
                        </a:lnTo>
                        <a:lnTo>
                          <a:pt x="92429" y="40687"/>
                        </a:lnTo>
                        <a:lnTo>
                          <a:pt x="92429" y="31543"/>
                        </a:lnTo>
                        <a:close/>
                        <a:moveTo>
                          <a:pt x="178065" y="31543"/>
                        </a:moveTo>
                        <a:lnTo>
                          <a:pt x="178065" y="40687"/>
                        </a:lnTo>
                        <a:lnTo>
                          <a:pt x="138643" y="40687"/>
                        </a:lnTo>
                        <a:lnTo>
                          <a:pt x="138643" y="31543"/>
                        </a:lnTo>
                        <a:close/>
                        <a:moveTo>
                          <a:pt x="224279" y="31543"/>
                        </a:moveTo>
                        <a:lnTo>
                          <a:pt x="224279" y="40687"/>
                        </a:lnTo>
                        <a:lnTo>
                          <a:pt x="184857" y="40687"/>
                        </a:lnTo>
                        <a:lnTo>
                          <a:pt x="184857" y="31543"/>
                        </a:lnTo>
                        <a:close/>
                        <a:moveTo>
                          <a:pt x="270493" y="31543"/>
                        </a:moveTo>
                        <a:lnTo>
                          <a:pt x="270493" y="40687"/>
                        </a:lnTo>
                        <a:lnTo>
                          <a:pt x="231071" y="40687"/>
                        </a:lnTo>
                        <a:lnTo>
                          <a:pt x="231071" y="31543"/>
                        </a:lnTo>
                        <a:close/>
                        <a:moveTo>
                          <a:pt x="317569" y="31543"/>
                        </a:moveTo>
                        <a:lnTo>
                          <a:pt x="317569" y="40687"/>
                        </a:lnTo>
                        <a:lnTo>
                          <a:pt x="278147" y="40687"/>
                        </a:lnTo>
                        <a:lnTo>
                          <a:pt x="278147" y="31543"/>
                        </a:lnTo>
                        <a:close/>
                        <a:moveTo>
                          <a:pt x="363783" y="31543"/>
                        </a:moveTo>
                        <a:lnTo>
                          <a:pt x="363783" y="40687"/>
                        </a:lnTo>
                        <a:lnTo>
                          <a:pt x="324361" y="40687"/>
                        </a:lnTo>
                        <a:lnTo>
                          <a:pt x="324361" y="31543"/>
                        </a:lnTo>
                        <a:close/>
                        <a:moveTo>
                          <a:pt x="409998" y="31543"/>
                        </a:moveTo>
                        <a:lnTo>
                          <a:pt x="409998" y="40687"/>
                        </a:lnTo>
                        <a:lnTo>
                          <a:pt x="370576" y="40687"/>
                        </a:lnTo>
                        <a:lnTo>
                          <a:pt x="370576" y="31543"/>
                        </a:lnTo>
                        <a:close/>
                        <a:moveTo>
                          <a:pt x="456212" y="31543"/>
                        </a:moveTo>
                        <a:lnTo>
                          <a:pt x="456212" y="40687"/>
                        </a:lnTo>
                        <a:lnTo>
                          <a:pt x="416790" y="40687"/>
                        </a:lnTo>
                        <a:lnTo>
                          <a:pt x="416790" y="31543"/>
                        </a:lnTo>
                        <a:close/>
                        <a:moveTo>
                          <a:pt x="502426" y="31543"/>
                        </a:moveTo>
                        <a:lnTo>
                          <a:pt x="502426" y="40687"/>
                        </a:lnTo>
                        <a:lnTo>
                          <a:pt x="463004" y="40687"/>
                        </a:lnTo>
                        <a:lnTo>
                          <a:pt x="463004" y="31543"/>
                        </a:lnTo>
                        <a:close/>
                        <a:moveTo>
                          <a:pt x="585046" y="36367"/>
                        </a:moveTo>
                        <a:lnTo>
                          <a:pt x="531245" y="69372"/>
                        </a:lnTo>
                        <a:lnTo>
                          <a:pt x="532160" y="40687"/>
                        </a:lnTo>
                        <a:lnTo>
                          <a:pt x="509218" y="40687"/>
                        </a:lnTo>
                        <a:lnTo>
                          <a:pt x="509218" y="31543"/>
                        </a:lnTo>
                        <a:lnTo>
                          <a:pt x="532451" y="31543"/>
                        </a:lnTo>
                        <a:lnTo>
                          <a:pt x="533458" y="0"/>
                        </a:lnTo>
                        <a:close/>
                      </a:path>
                    </a:pathLst>
                  </a:cu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90" name="Freeform: Shape 1389">
                    <a:extLst>
                      <a:ext uri="{FF2B5EF4-FFF2-40B4-BE49-F238E27FC236}">
                        <a16:creationId xmlns:a16="http://schemas.microsoft.com/office/drawing/2014/main" id="{6438A17E-F906-4127-86F1-48249569F59A}"/>
                      </a:ext>
                    </a:extLst>
                  </p:cNvPr>
                  <p:cNvSpPr/>
                  <p:nvPr/>
                </p:nvSpPr>
                <p:spPr bwMode="auto">
                  <a:xfrm rot="5062782">
                    <a:off x="5537811" y="4680200"/>
                    <a:ext cx="69407" cy="917597"/>
                  </a:xfrm>
                  <a:custGeom>
                    <a:avLst/>
                    <a:gdLst>
                      <a:gd name="connsiteX0" fmla="*/ 8596 w 69407"/>
                      <a:gd name="connsiteY0" fmla="*/ 854979 h 917597"/>
                      <a:gd name="connsiteX1" fmla="*/ 17737 w 69407"/>
                      <a:gd name="connsiteY1" fmla="*/ 855196 h 917597"/>
                      <a:gd name="connsiteX2" fmla="*/ 16254 w 69407"/>
                      <a:gd name="connsiteY2" fmla="*/ 917597 h 917597"/>
                      <a:gd name="connsiteX3" fmla="*/ 7113 w 69407"/>
                      <a:gd name="connsiteY3" fmla="*/ 917379 h 917597"/>
                      <a:gd name="connsiteX4" fmla="*/ 10334 w 69407"/>
                      <a:gd name="connsiteY4" fmla="*/ 781827 h 917597"/>
                      <a:gd name="connsiteX5" fmla="*/ 19476 w 69407"/>
                      <a:gd name="connsiteY5" fmla="*/ 782044 h 917597"/>
                      <a:gd name="connsiteX6" fmla="*/ 17993 w 69407"/>
                      <a:gd name="connsiteY6" fmla="*/ 844445 h 917597"/>
                      <a:gd name="connsiteX7" fmla="*/ 8851 w 69407"/>
                      <a:gd name="connsiteY7" fmla="*/ 844227 h 917597"/>
                      <a:gd name="connsiteX8" fmla="*/ 12072 w 69407"/>
                      <a:gd name="connsiteY8" fmla="*/ 708675 h 917597"/>
                      <a:gd name="connsiteX9" fmla="*/ 21214 w 69407"/>
                      <a:gd name="connsiteY9" fmla="*/ 708892 h 917597"/>
                      <a:gd name="connsiteX10" fmla="*/ 19731 w 69407"/>
                      <a:gd name="connsiteY10" fmla="*/ 771293 h 917597"/>
                      <a:gd name="connsiteX11" fmla="*/ 10590 w 69407"/>
                      <a:gd name="connsiteY11" fmla="*/ 771075 h 917597"/>
                      <a:gd name="connsiteX12" fmla="*/ 13811 w 69407"/>
                      <a:gd name="connsiteY12" fmla="*/ 635523 h 917597"/>
                      <a:gd name="connsiteX13" fmla="*/ 22952 w 69407"/>
                      <a:gd name="connsiteY13" fmla="*/ 635741 h 917597"/>
                      <a:gd name="connsiteX14" fmla="*/ 21469 w 69407"/>
                      <a:gd name="connsiteY14" fmla="*/ 698140 h 917597"/>
                      <a:gd name="connsiteX15" fmla="*/ 12328 w 69407"/>
                      <a:gd name="connsiteY15" fmla="*/ 697924 h 917597"/>
                      <a:gd name="connsiteX16" fmla="*/ 15549 w 69407"/>
                      <a:gd name="connsiteY16" fmla="*/ 562371 h 917597"/>
                      <a:gd name="connsiteX17" fmla="*/ 24691 w 69407"/>
                      <a:gd name="connsiteY17" fmla="*/ 562589 h 917597"/>
                      <a:gd name="connsiteX18" fmla="*/ 23208 w 69407"/>
                      <a:gd name="connsiteY18" fmla="*/ 624988 h 917597"/>
                      <a:gd name="connsiteX19" fmla="*/ 14066 w 69407"/>
                      <a:gd name="connsiteY19" fmla="*/ 624771 h 917597"/>
                      <a:gd name="connsiteX20" fmla="*/ 17287 w 69407"/>
                      <a:gd name="connsiteY20" fmla="*/ 489220 h 917597"/>
                      <a:gd name="connsiteX21" fmla="*/ 26429 w 69407"/>
                      <a:gd name="connsiteY21" fmla="*/ 489437 h 917597"/>
                      <a:gd name="connsiteX22" fmla="*/ 24946 w 69407"/>
                      <a:gd name="connsiteY22" fmla="*/ 551837 h 917597"/>
                      <a:gd name="connsiteX23" fmla="*/ 15805 w 69407"/>
                      <a:gd name="connsiteY23" fmla="*/ 551620 h 917597"/>
                      <a:gd name="connsiteX24" fmla="*/ 19058 w 69407"/>
                      <a:gd name="connsiteY24" fmla="*/ 414704 h 917597"/>
                      <a:gd name="connsiteX25" fmla="*/ 28200 w 69407"/>
                      <a:gd name="connsiteY25" fmla="*/ 414921 h 917597"/>
                      <a:gd name="connsiteX26" fmla="*/ 26717 w 69407"/>
                      <a:gd name="connsiteY26" fmla="*/ 477321 h 917597"/>
                      <a:gd name="connsiteX27" fmla="*/ 17575 w 69407"/>
                      <a:gd name="connsiteY27" fmla="*/ 477104 h 917597"/>
                      <a:gd name="connsiteX28" fmla="*/ 20797 w 69407"/>
                      <a:gd name="connsiteY28" fmla="*/ 341552 h 917597"/>
                      <a:gd name="connsiteX29" fmla="*/ 29938 w 69407"/>
                      <a:gd name="connsiteY29" fmla="*/ 341769 h 917597"/>
                      <a:gd name="connsiteX30" fmla="*/ 28455 w 69407"/>
                      <a:gd name="connsiteY30" fmla="*/ 404169 h 917597"/>
                      <a:gd name="connsiteX31" fmla="*/ 19314 w 69407"/>
                      <a:gd name="connsiteY31" fmla="*/ 403952 h 917597"/>
                      <a:gd name="connsiteX32" fmla="*/ 22535 w 69407"/>
                      <a:gd name="connsiteY32" fmla="*/ 268400 h 917597"/>
                      <a:gd name="connsiteX33" fmla="*/ 31676 w 69407"/>
                      <a:gd name="connsiteY33" fmla="*/ 268617 h 917597"/>
                      <a:gd name="connsiteX34" fmla="*/ 30194 w 69407"/>
                      <a:gd name="connsiteY34" fmla="*/ 331017 h 917597"/>
                      <a:gd name="connsiteX35" fmla="*/ 21052 w 69407"/>
                      <a:gd name="connsiteY35" fmla="*/ 330800 h 917597"/>
                      <a:gd name="connsiteX36" fmla="*/ 24273 w 69407"/>
                      <a:gd name="connsiteY36" fmla="*/ 195248 h 917597"/>
                      <a:gd name="connsiteX37" fmla="*/ 33415 w 69407"/>
                      <a:gd name="connsiteY37" fmla="*/ 195465 h 917597"/>
                      <a:gd name="connsiteX38" fmla="*/ 31932 w 69407"/>
                      <a:gd name="connsiteY38" fmla="*/ 257865 h 917597"/>
                      <a:gd name="connsiteX39" fmla="*/ 22790 w 69407"/>
                      <a:gd name="connsiteY39" fmla="*/ 257648 h 917597"/>
                      <a:gd name="connsiteX40" fmla="*/ 26012 w 69407"/>
                      <a:gd name="connsiteY40" fmla="*/ 122096 h 917597"/>
                      <a:gd name="connsiteX41" fmla="*/ 35153 w 69407"/>
                      <a:gd name="connsiteY41" fmla="*/ 122313 h 917597"/>
                      <a:gd name="connsiteX42" fmla="*/ 33670 w 69407"/>
                      <a:gd name="connsiteY42" fmla="*/ 184713 h 917597"/>
                      <a:gd name="connsiteX43" fmla="*/ 24529 w 69407"/>
                      <a:gd name="connsiteY43" fmla="*/ 184496 h 917597"/>
                      <a:gd name="connsiteX44" fmla="*/ 0 w 69407"/>
                      <a:gd name="connsiteY44" fmla="*/ 52721 h 917597"/>
                      <a:gd name="connsiteX45" fmla="*/ 34704 w 69407"/>
                      <a:gd name="connsiteY45" fmla="*/ 0 h 917597"/>
                      <a:gd name="connsiteX46" fmla="*/ 69407 w 69407"/>
                      <a:gd name="connsiteY46" fmla="*/ 52721 h 917597"/>
                      <a:gd name="connsiteX47" fmla="*/ 36807 w 69407"/>
                      <a:gd name="connsiteY47" fmla="*/ 52721 h 917597"/>
                      <a:gd name="connsiteX48" fmla="*/ 35409 w 69407"/>
                      <a:gd name="connsiteY48" fmla="*/ 111562 h 917597"/>
                      <a:gd name="connsiteX49" fmla="*/ 26267 w 69407"/>
                      <a:gd name="connsiteY49" fmla="*/ 111345 h 917597"/>
                      <a:gd name="connsiteX50" fmla="*/ 27661 w 69407"/>
                      <a:gd name="connsiteY50" fmla="*/ 52721 h 9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9407" h="917597">
                        <a:moveTo>
                          <a:pt x="8596" y="854979"/>
                        </a:moveTo>
                        <a:lnTo>
                          <a:pt x="17737" y="855196"/>
                        </a:lnTo>
                        <a:lnTo>
                          <a:pt x="16254" y="917597"/>
                        </a:lnTo>
                        <a:lnTo>
                          <a:pt x="7113" y="917379"/>
                        </a:lnTo>
                        <a:close/>
                        <a:moveTo>
                          <a:pt x="10334" y="781827"/>
                        </a:moveTo>
                        <a:lnTo>
                          <a:pt x="19476" y="782044"/>
                        </a:lnTo>
                        <a:lnTo>
                          <a:pt x="17993" y="844445"/>
                        </a:lnTo>
                        <a:lnTo>
                          <a:pt x="8851" y="844227"/>
                        </a:lnTo>
                        <a:close/>
                        <a:moveTo>
                          <a:pt x="12072" y="708675"/>
                        </a:moveTo>
                        <a:lnTo>
                          <a:pt x="21214" y="708892"/>
                        </a:lnTo>
                        <a:lnTo>
                          <a:pt x="19731" y="771293"/>
                        </a:lnTo>
                        <a:lnTo>
                          <a:pt x="10590" y="771075"/>
                        </a:lnTo>
                        <a:close/>
                        <a:moveTo>
                          <a:pt x="13811" y="635523"/>
                        </a:moveTo>
                        <a:lnTo>
                          <a:pt x="22952" y="635741"/>
                        </a:lnTo>
                        <a:lnTo>
                          <a:pt x="21469" y="698140"/>
                        </a:lnTo>
                        <a:lnTo>
                          <a:pt x="12328" y="697924"/>
                        </a:lnTo>
                        <a:close/>
                        <a:moveTo>
                          <a:pt x="15549" y="562371"/>
                        </a:moveTo>
                        <a:lnTo>
                          <a:pt x="24691" y="562589"/>
                        </a:lnTo>
                        <a:lnTo>
                          <a:pt x="23208" y="624988"/>
                        </a:lnTo>
                        <a:lnTo>
                          <a:pt x="14066" y="624771"/>
                        </a:lnTo>
                        <a:close/>
                        <a:moveTo>
                          <a:pt x="17287" y="489220"/>
                        </a:moveTo>
                        <a:lnTo>
                          <a:pt x="26429" y="489437"/>
                        </a:lnTo>
                        <a:lnTo>
                          <a:pt x="24946" y="551837"/>
                        </a:lnTo>
                        <a:lnTo>
                          <a:pt x="15805" y="551620"/>
                        </a:lnTo>
                        <a:close/>
                        <a:moveTo>
                          <a:pt x="19058" y="414704"/>
                        </a:moveTo>
                        <a:lnTo>
                          <a:pt x="28200" y="414921"/>
                        </a:lnTo>
                        <a:lnTo>
                          <a:pt x="26717" y="477321"/>
                        </a:lnTo>
                        <a:lnTo>
                          <a:pt x="17575" y="477104"/>
                        </a:lnTo>
                        <a:close/>
                        <a:moveTo>
                          <a:pt x="20797" y="341552"/>
                        </a:moveTo>
                        <a:lnTo>
                          <a:pt x="29938" y="341769"/>
                        </a:lnTo>
                        <a:lnTo>
                          <a:pt x="28455" y="404169"/>
                        </a:lnTo>
                        <a:lnTo>
                          <a:pt x="19314" y="403952"/>
                        </a:lnTo>
                        <a:close/>
                        <a:moveTo>
                          <a:pt x="22535" y="268400"/>
                        </a:moveTo>
                        <a:lnTo>
                          <a:pt x="31676" y="268617"/>
                        </a:lnTo>
                        <a:lnTo>
                          <a:pt x="30194" y="331017"/>
                        </a:lnTo>
                        <a:lnTo>
                          <a:pt x="21052" y="330800"/>
                        </a:lnTo>
                        <a:close/>
                        <a:moveTo>
                          <a:pt x="24273" y="195248"/>
                        </a:moveTo>
                        <a:lnTo>
                          <a:pt x="33415" y="195465"/>
                        </a:lnTo>
                        <a:lnTo>
                          <a:pt x="31932" y="257865"/>
                        </a:lnTo>
                        <a:lnTo>
                          <a:pt x="22790" y="257648"/>
                        </a:lnTo>
                        <a:close/>
                        <a:moveTo>
                          <a:pt x="26012" y="122096"/>
                        </a:moveTo>
                        <a:lnTo>
                          <a:pt x="35153" y="122313"/>
                        </a:lnTo>
                        <a:lnTo>
                          <a:pt x="33670" y="184713"/>
                        </a:lnTo>
                        <a:lnTo>
                          <a:pt x="24529" y="184496"/>
                        </a:lnTo>
                        <a:close/>
                        <a:moveTo>
                          <a:pt x="0" y="52721"/>
                        </a:moveTo>
                        <a:lnTo>
                          <a:pt x="34704" y="0"/>
                        </a:lnTo>
                        <a:lnTo>
                          <a:pt x="69407" y="52721"/>
                        </a:lnTo>
                        <a:lnTo>
                          <a:pt x="36807" y="52721"/>
                        </a:lnTo>
                        <a:lnTo>
                          <a:pt x="35409" y="111562"/>
                        </a:lnTo>
                        <a:lnTo>
                          <a:pt x="26267" y="111345"/>
                        </a:lnTo>
                        <a:lnTo>
                          <a:pt x="27661" y="52721"/>
                        </a:lnTo>
                        <a:close/>
                      </a:path>
                    </a:pathLst>
                  </a:custGeom>
                  <a:solidFill>
                    <a:srgbClr val="58B3D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91" name="Freeform: Shape 1390">
                    <a:extLst>
                      <a:ext uri="{FF2B5EF4-FFF2-40B4-BE49-F238E27FC236}">
                        <a16:creationId xmlns:a16="http://schemas.microsoft.com/office/drawing/2014/main" id="{E32FCC9E-ECF3-413E-9B9C-3DC6C49F6DED}"/>
                      </a:ext>
                    </a:extLst>
                  </p:cNvPr>
                  <p:cNvSpPr>
                    <a:spLocks noChangeAspect="1"/>
                  </p:cNvSpPr>
                  <p:nvPr/>
                </p:nvSpPr>
                <p:spPr bwMode="auto">
                  <a:xfrm>
                    <a:off x="4875628" y="5243272"/>
                    <a:ext cx="1163902" cy="69407"/>
                  </a:xfrm>
                  <a:custGeom>
                    <a:avLst/>
                    <a:gdLst>
                      <a:gd name="connsiteX0" fmla="*/ 1083694 w 1163902"/>
                      <a:gd name="connsiteY0" fmla="*/ 26002 h 69407"/>
                      <a:gd name="connsiteX1" fmla="*/ 1102579 w 1163902"/>
                      <a:gd name="connsiteY1" fmla="*/ 26002 h 69407"/>
                      <a:gd name="connsiteX2" fmla="*/ 1102579 w 1163902"/>
                      <a:gd name="connsiteY2" fmla="*/ 44886 h 69407"/>
                      <a:gd name="connsiteX3" fmla="*/ 1083694 w 1163902"/>
                      <a:gd name="connsiteY3" fmla="*/ 44886 h 69407"/>
                      <a:gd name="connsiteX4" fmla="*/ 1057300 w 1163902"/>
                      <a:gd name="connsiteY4" fmla="*/ 26002 h 69407"/>
                      <a:gd name="connsiteX5" fmla="*/ 1076185 w 1163902"/>
                      <a:gd name="connsiteY5" fmla="*/ 26002 h 69407"/>
                      <a:gd name="connsiteX6" fmla="*/ 1076185 w 1163902"/>
                      <a:gd name="connsiteY6" fmla="*/ 44886 h 69407"/>
                      <a:gd name="connsiteX7" fmla="*/ 1057300 w 1163902"/>
                      <a:gd name="connsiteY7" fmla="*/ 44886 h 69407"/>
                      <a:gd name="connsiteX8" fmla="*/ 1030907 w 1163902"/>
                      <a:gd name="connsiteY8" fmla="*/ 26002 h 69407"/>
                      <a:gd name="connsiteX9" fmla="*/ 1049791 w 1163902"/>
                      <a:gd name="connsiteY9" fmla="*/ 26002 h 69407"/>
                      <a:gd name="connsiteX10" fmla="*/ 1049791 w 1163902"/>
                      <a:gd name="connsiteY10" fmla="*/ 44886 h 69407"/>
                      <a:gd name="connsiteX11" fmla="*/ 1030907 w 1163902"/>
                      <a:gd name="connsiteY11" fmla="*/ 44886 h 69407"/>
                      <a:gd name="connsiteX12" fmla="*/ 1004513 w 1163902"/>
                      <a:gd name="connsiteY12" fmla="*/ 26002 h 69407"/>
                      <a:gd name="connsiteX13" fmla="*/ 1023398 w 1163902"/>
                      <a:gd name="connsiteY13" fmla="*/ 26002 h 69407"/>
                      <a:gd name="connsiteX14" fmla="*/ 1023398 w 1163902"/>
                      <a:gd name="connsiteY14" fmla="*/ 44886 h 69407"/>
                      <a:gd name="connsiteX15" fmla="*/ 1004513 w 1163902"/>
                      <a:gd name="connsiteY15" fmla="*/ 44886 h 69407"/>
                      <a:gd name="connsiteX16" fmla="*/ 978119 w 1163902"/>
                      <a:gd name="connsiteY16" fmla="*/ 26002 h 69407"/>
                      <a:gd name="connsiteX17" fmla="*/ 997004 w 1163902"/>
                      <a:gd name="connsiteY17" fmla="*/ 26002 h 69407"/>
                      <a:gd name="connsiteX18" fmla="*/ 997004 w 1163902"/>
                      <a:gd name="connsiteY18" fmla="*/ 44886 h 69407"/>
                      <a:gd name="connsiteX19" fmla="*/ 978119 w 1163902"/>
                      <a:gd name="connsiteY19" fmla="*/ 44886 h 69407"/>
                      <a:gd name="connsiteX20" fmla="*/ 951725 w 1163902"/>
                      <a:gd name="connsiteY20" fmla="*/ 26002 h 69407"/>
                      <a:gd name="connsiteX21" fmla="*/ 970610 w 1163902"/>
                      <a:gd name="connsiteY21" fmla="*/ 26002 h 69407"/>
                      <a:gd name="connsiteX22" fmla="*/ 970610 w 1163902"/>
                      <a:gd name="connsiteY22" fmla="*/ 44886 h 69407"/>
                      <a:gd name="connsiteX23" fmla="*/ 951725 w 1163902"/>
                      <a:gd name="connsiteY23" fmla="*/ 44886 h 69407"/>
                      <a:gd name="connsiteX24" fmla="*/ 925331 w 1163902"/>
                      <a:gd name="connsiteY24" fmla="*/ 26002 h 69407"/>
                      <a:gd name="connsiteX25" fmla="*/ 944216 w 1163902"/>
                      <a:gd name="connsiteY25" fmla="*/ 26002 h 69407"/>
                      <a:gd name="connsiteX26" fmla="*/ 944216 w 1163902"/>
                      <a:gd name="connsiteY26" fmla="*/ 44886 h 69407"/>
                      <a:gd name="connsiteX27" fmla="*/ 925331 w 1163902"/>
                      <a:gd name="connsiteY27" fmla="*/ 44886 h 69407"/>
                      <a:gd name="connsiteX28" fmla="*/ 898937 w 1163902"/>
                      <a:gd name="connsiteY28" fmla="*/ 26002 h 69407"/>
                      <a:gd name="connsiteX29" fmla="*/ 917822 w 1163902"/>
                      <a:gd name="connsiteY29" fmla="*/ 26002 h 69407"/>
                      <a:gd name="connsiteX30" fmla="*/ 917822 w 1163902"/>
                      <a:gd name="connsiteY30" fmla="*/ 44886 h 69407"/>
                      <a:gd name="connsiteX31" fmla="*/ 898937 w 1163902"/>
                      <a:gd name="connsiteY31" fmla="*/ 44886 h 69407"/>
                      <a:gd name="connsiteX32" fmla="*/ 872543 w 1163902"/>
                      <a:gd name="connsiteY32" fmla="*/ 26002 h 69407"/>
                      <a:gd name="connsiteX33" fmla="*/ 891428 w 1163902"/>
                      <a:gd name="connsiteY33" fmla="*/ 26002 h 69407"/>
                      <a:gd name="connsiteX34" fmla="*/ 891428 w 1163902"/>
                      <a:gd name="connsiteY34" fmla="*/ 44886 h 69407"/>
                      <a:gd name="connsiteX35" fmla="*/ 872543 w 1163902"/>
                      <a:gd name="connsiteY35" fmla="*/ 44886 h 69407"/>
                      <a:gd name="connsiteX36" fmla="*/ 846150 w 1163902"/>
                      <a:gd name="connsiteY36" fmla="*/ 26002 h 69407"/>
                      <a:gd name="connsiteX37" fmla="*/ 865034 w 1163902"/>
                      <a:gd name="connsiteY37" fmla="*/ 26002 h 69407"/>
                      <a:gd name="connsiteX38" fmla="*/ 865034 w 1163902"/>
                      <a:gd name="connsiteY38" fmla="*/ 44886 h 69407"/>
                      <a:gd name="connsiteX39" fmla="*/ 846150 w 1163902"/>
                      <a:gd name="connsiteY39" fmla="*/ 44886 h 69407"/>
                      <a:gd name="connsiteX40" fmla="*/ 819756 w 1163902"/>
                      <a:gd name="connsiteY40" fmla="*/ 26002 h 69407"/>
                      <a:gd name="connsiteX41" fmla="*/ 838641 w 1163902"/>
                      <a:gd name="connsiteY41" fmla="*/ 26002 h 69407"/>
                      <a:gd name="connsiteX42" fmla="*/ 838641 w 1163902"/>
                      <a:gd name="connsiteY42" fmla="*/ 44886 h 69407"/>
                      <a:gd name="connsiteX43" fmla="*/ 819756 w 1163902"/>
                      <a:gd name="connsiteY43" fmla="*/ 44886 h 69407"/>
                      <a:gd name="connsiteX44" fmla="*/ 793362 w 1163902"/>
                      <a:gd name="connsiteY44" fmla="*/ 26002 h 69407"/>
                      <a:gd name="connsiteX45" fmla="*/ 812247 w 1163902"/>
                      <a:gd name="connsiteY45" fmla="*/ 26002 h 69407"/>
                      <a:gd name="connsiteX46" fmla="*/ 812247 w 1163902"/>
                      <a:gd name="connsiteY46" fmla="*/ 44886 h 69407"/>
                      <a:gd name="connsiteX47" fmla="*/ 793362 w 1163902"/>
                      <a:gd name="connsiteY47" fmla="*/ 44886 h 69407"/>
                      <a:gd name="connsiteX48" fmla="*/ 766968 w 1163902"/>
                      <a:gd name="connsiteY48" fmla="*/ 26002 h 69407"/>
                      <a:gd name="connsiteX49" fmla="*/ 785853 w 1163902"/>
                      <a:gd name="connsiteY49" fmla="*/ 26002 h 69407"/>
                      <a:gd name="connsiteX50" fmla="*/ 785853 w 1163902"/>
                      <a:gd name="connsiteY50" fmla="*/ 44886 h 69407"/>
                      <a:gd name="connsiteX51" fmla="*/ 766968 w 1163902"/>
                      <a:gd name="connsiteY51" fmla="*/ 44886 h 69407"/>
                      <a:gd name="connsiteX52" fmla="*/ 740574 w 1163902"/>
                      <a:gd name="connsiteY52" fmla="*/ 26002 h 69407"/>
                      <a:gd name="connsiteX53" fmla="*/ 759459 w 1163902"/>
                      <a:gd name="connsiteY53" fmla="*/ 26002 h 69407"/>
                      <a:gd name="connsiteX54" fmla="*/ 759459 w 1163902"/>
                      <a:gd name="connsiteY54" fmla="*/ 44886 h 69407"/>
                      <a:gd name="connsiteX55" fmla="*/ 740574 w 1163902"/>
                      <a:gd name="connsiteY55" fmla="*/ 44886 h 69407"/>
                      <a:gd name="connsiteX56" fmla="*/ 712635 w 1163902"/>
                      <a:gd name="connsiteY56" fmla="*/ 26002 h 69407"/>
                      <a:gd name="connsiteX57" fmla="*/ 731520 w 1163902"/>
                      <a:gd name="connsiteY57" fmla="*/ 26002 h 69407"/>
                      <a:gd name="connsiteX58" fmla="*/ 731520 w 1163902"/>
                      <a:gd name="connsiteY58" fmla="*/ 44886 h 69407"/>
                      <a:gd name="connsiteX59" fmla="*/ 712635 w 1163902"/>
                      <a:gd name="connsiteY59" fmla="*/ 44886 h 69407"/>
                      <a:gd name="connsiteX60" fmla="*/ 686240 w 1163902"/>
                      <a:gd name="connsiteY60" fmla="*/ 26002 h 69407"/>
                      <a:gd name="connsiteX61" fmla="*/ 705125 w 1163902"/>
                      <a:gd name="connsiteY61" fmla="*/ 26002 h 69407"/>
                      <a:gd name="connsiteX62" fmla="*/ 705125 w 1163902"/>
                      <a:gd name="connsiteY62" fmla="*/ 44886 h 69407"/>
                      <a:gd name="connsiteX63" fmla="*/ 686240 w 1163902"/>
                      <a:gd name="connsiteY63" fmla="*/ 44886 h 69407"/>
                      <a:gd name="connsiteX64" fmla="*/ 659846 w 1163902"/>
                      <a:gd name="connsiteY64" fmla="*/ 26002 h 69407"/>
                      <a:gd name="connsiteX65" fmla="*/ 678731 w 1163902"/>
                      <a:gd name="connsiteY65" fmla="*/ 26002 h 69407"/>
                      <a:gd name="connsiteX66" fmla="*/ 678731 w 1163902"/>
                      <a:gd name="connsiteY66" fmla="*/ 44886 h 69407"/>
                      <a:gd name="connsiteX67" fmla="*/ 659846 w 1163902"/>
                      <a:gd name="connsiteY67" fmla="*/ 44886 h 69407"/>
                      <a:gd name="connsiteX68" fmla="*/ 633452 w 1163902"/>
                      <a:gd name="connsiteY68" fmla="*/ 26002 h 69407"/>
                      <a:gd name="connsiteX69" fmla="*/ 652337 w 1163902"/>
                      <a:gd name="connsiteY69" fmla="*/ 26002 h 69407"/>
                      <a:gd name="connsiteX70" fmla="*/ 652337 w 1163902"/>
                      <a:gd name="connsiteY70" fmla="*/ 44886 h 69407"/>
                      <a:gd name="connsiteX71" fmla="*/ 633452 w 1163902"/>
                      <a:gd name="connsiteY71" fmla="*/ 44886 h 69407"/>
                      <a:gd name="connsiteX72" fmla="*/ 607058 w 1163902"/>
                      <a:gd name="connsiteY72" fmla="*/ 26002 h 69407"/>
                      <a:gd name="connsiteX73" fmla="*/ 625943 w 1163902"/>
                      <a:gd name="connsiteY73" fmla="*/ 26002 h 69407"/>
                      <a:gd name="connsiteX74" fmla="*/ 625943 w 1163902"/>
                      <a:gd name="connsiteY74" fmla="*/ 44886 h 69407"/>
                      <a:gd name="connsiteX75" fmla="*/ 607058 w 1163902"/>
                      <a:gd name="connsiteY75" fmla="*/ 44886 h 69407"/>
                      <a:gd name="connsiteX76" fmla="*/ 580664 w 1163902"/>
                      <a:gd name="connsiteY76" fmla="*/ 26002 h 69407"/>
                      <a:gd name="connsiteX77" fmla="*/ 599549 w 1163902"/>
                      <a:gd name="connsiteY77" fmla="*/ 26002 h 69407"/>
                      <a:gd name="connsiteX78" fmla="*/ 599549 w 1163902"/>
                      <a:gd name="connsiteY78" fmla="*/ 44886 h 69407"/>
                      <a:gd name="connsiteX79" fmla="*/ 580664 w 1163902"/>
                      <a:gd name="connsiteY79" fmla="*/ 44886 h 69407"/>
                      <a:gd name="connsiteX80" fmla="*/ 554271 w 1163902"/>
                      <a:gd name="connsiteY80" fmla="*/ 26002 h 69407"/>
                      <a:gd name="connsiteX81" fmla="*/ 573155 w 1163902"/>
                      <a:gd name="connsiteY81" fmla="*/ 26002 h 69407"/>
                      <a:gd name="connsiteX82" fmla="*/ 573155 w 1163902"/>
                      <a:gd name="connsiteY82" fmla="*/ 44886 h 69407"/>
                      <a:gd name="connsiteX83" fmla="*/ 554271 w 1163902"/>
                      <a:gd name="connsiteY83" fmla="*/ 44886 h 69407"/>
                      <a:gd name="connsiteX84" fmla="*/ 527877 w 1163902"/>
                      <a:gd name="connsiteY84" fmla="*/ 26002 h 69407"/>
                      <a:gd name="connsiteX85" fmla="*/ 546762 w 1163902"/>
                      <a:gd name="connsiteY85" fmla="*/ 26002 h 69407"/>
                      <a:gd name="connsiteX86" fmla="*/ 546762 w 1163902"/>
                      <a:gd name="connsiteY86" fmla="*/ 44886 h 69407"/>
                      <a:gd name="connsiteX87" fmla="*/ 527877 w 1163902"/>
                      <a:gd name="connsiteY87" fmla="*/ 44886 h 69407"/>
                      <a:gd name="connsiteX88" fmla="*/ 501483 w 1163902"/>
                      <a:gd name="connsiteY88" fmla="*/ 26002 h 69407"/>
                      <a:gd name="connsiteX89" fmla="*/ 520368 w 1163902"/>
                      <a:gd name="connsiteY89" fmla="*/ 26002 h 69407"/>
                      <a:gd name="connsiteX90" fmla="*/ 520368 w 1163902"/>
                      <a:gd name="connsiteY90" fmla="*/ 44886 h 69407"/>
                      <a:gd name="connsiteX91" fmla="*/ 501483 w 1163902"/>
                      <a:gd name="connsiteY91" fmla="*/ 44886 h 69407"/>
                      <a:gd name="connsiteX92" fmla="*/ 475089 w 1163902"/>
                      <a:gd name="connsiteY92" fmla="*/ 26002 h 69407"/>
                      <a:gd name="connsiteX93" fmla="*/ 493974 w 1163902"/>
                      <a:gd name="connsiteY93" fmla="*/ 26002 h 69407"/>
                      <a:gd name="connsiteX94" fmla="*/ 493974 w 1163902"/>
                      <a:gd name="connsiteY94" fmla="*/ 44886 h 69407"/>
                      <a:gd name="connsiteX95" fmla="*/ 475089 w 1163902"/>
                      <a:gd name="connsiteY95" fmla="*/ 44886 h 69407"/>
                      <a:gd name="connsiteX96" fmla="*/ 448695 w 1163902"/>
                      <a:gd name="connsiteY96" fmla="*/ 26002 h 69407"/>
                      <a:gd name="connsiteX97" fmla="*/ 467580 w 1163902"/>
                      <a:gd name="connsiteY97" fmla="*/ 26002 h 69407"/>
                      <a:gd name="connsiteX98" fmla="*/ 467580 w 1163902"/>
                      <a:gd name="connsiteY98" fmla="*/ 44886 h 69407"/>
                      <a:gd name="connsiteX99" fmla="*/ 448695 w 1163902"/>
                      <a:gd name="connsiteY99" fmla="*/ 44886 h 69407"/>
                      <a:gd name="connsiteX100" fmla="*/ 422301 w 1163902"/>
                      <a:gd name="connsiteY100" fmla="*/ 26002 h 69407"/>
                      <a:gd name="connsiteX101" fmla="*/ 441186 w 1163902"/>
                      <a:gd name="connsiteY101" fmla="*/ 26002 h 69407"/>
                      <a:gd name="connsiteX102" fmla="*/ 441186 w 1163902"/>
                      <a:gd name="connsiteY102" fmla="*/ 44886 h 69407"/>
                      <a:gd name="connsiteX103" fmla="*/ 422301 w 1163902"/>
                      <a:gd name="connsiteY103" fmla="*/ 44886 h 69407"/>
                      <a:gd name="connsiteX104" fmla="*/ 395908 w 1163902"/>
                      <a:gd name="connsiteY104" fmla="*/ 26002 h 69407"/>
                      <a:gd name="connsiteX105" fmla="*/ 414792 w 1163902"/>
                      <a:gd name="connsiteY105" fmla="*/ 26002 h 69407"/>
                      <a:gd name="connsiteX106" fmla="*/ 414792 w 1163902"/>
                      <a:gd name="connsiteY106" fmla="*/ 44886 h 69407"/>
                      <a:gd name="connsiteX107" fmla="*/ 395908 w 1163902"/>
                      <a:gd name="connsiteY107" fmla="*/ 44886 h 69407"/>
                      <a:gd name="connsiteX108" fmla="*/ 369514 w 1163902"/>
                      <a:gd name="connsiteY108" fmla="*/ 26002 h 69407"/>
                      <a:gd name="connsiteX109" fmla="*/ 388398 w 1163902"/>
                      <a:gd name="connsiteY109" fmla="*/ 26002 h 69407"/>
                      <a:gd name="connsiteX110" fmla="*/ 388398 w 1163902"/>
                      <a:gd name="connsiteY110" fmla="*/ 44886 h 69407"/>
                      <a:gd name="connsiteX111" fmla="*/ 369514 w 1163902"/>
                      <a:gd name="connsiteY111" fmla="*/ 44886 h 69407"/>
                      <a:gd name="connsiteX112" fmla="*/ 343120 w 1163902"/>
                      <a:gd name="connsiteY112" fmla="*/ 26002 h 69407"/>
                      <a:gd name="connsiteX113" fmla="*/ 362005 w 1163902"/>
                      <a:gd name="connsiteY113" fmla="*/ 26002 h 69407"/>
                      <a:gd name="connsiteX114" fmla="*/ 362005 w 1163902"/>
                      <a:gd name="connsiteY114" fmla="*/ 44886 h 69407"/>
                      <a:gd name="connsiteX115" fmla="*/ 343120 w 1163902"/>
                      <a:gd name="connsiteY115" fmla="*/ 44886 h 69407"/>
                      <a:gd name="connsiteX116" fmla="*/ 316726 w 1163902"/>
                      <a:gd name="connsiteY116" fmla="*/ 26002 h 69407"/>
                      <a:gd name="connsiteX117" fmla="*/ 335611 w 1163902"/>
                      <a:gd name="connsiteY117" fmla="*/ 26002 h 69407"/>
                      <a:gd name="connsiteX118" fmla="*/ 335611 w 1163902"/>
                      <a:gd name="connsiteY118" fmla="*/ 44886 h 69407"/>
                      <a:gd name="connsiteX119" fmla="*/ 316726 w 1163902"/>
                      <a:gd name="connsiteY119" fmla="*/ 44886 h 69407"/>
                      <a:gd name="connsiteX120" fmla="*/ 290332 w 1163902"/>
                      <a:gd name="connsiteY120" fmla="*/ 26002 h 69407"/>
                      <a:gd name="connsiteX121" fmla="*/ 309217 w 1163902"/>
                      <a:gd name="connsiteY121" fmla="*/ 26002 h 69407"/>
                      <a:gd name="connsiteX122" fmla="*/ 309217 w 1163902"/>
                      <a:gd name="connsiteY122" fmla="*/ 44886 h 69407"/>
                      <a:gd name="connsiteX123" fmla="*/ 290332 w 1163902"/>
                      <a:gd name="connsiteY123" fmla="*/ 44886 h 69407"/>
                      <a:gd name="connsiteX124" fmla="*/ 263938 w 1163902"/>
                      <a:gd name="connsiteY124" fmla="*/ 26002 h 69407"/>
                      <a:gd name="connsiteX125" fmla="*/ 282823 w 1163902"/>
                      <a:gd name="connsiteY125" fmla="*/ 26002 h 69407"/>
                      <a:gd name="connsiteX126" fmla="*/ 282823 w 1163902"/>
                      <a:gd name="connsiteY126" fmla="*/ 44886 h 69407"/>
                      <a:gd name="connsiteX127" fmla="*/ 263938 w 1163902"/>
                      <a:gd name="connsiteY127" fmla="*/ 44886 h 69407"/>
                      <a:gd name="connsiteX128" fmla="*/ 237544 w 1163902"/>
                      <a:gd name="connsiteY128" fmla="*/ 26002 h 69407"/>
                      <a:gd name="connsiteX129" fmla="*/ 256429 w 1163902"/>
                      <a:gd name="connsiteY129" fmla="*/ 26002 h 69407"/>
                      <a:gd name="connsiteX130" fmla="*/ 256429 w 1163902"/>
                      <a:gd name="connsiteY130" fmla="*/ 44886 h 69407"/>
                      <a:gd name="connsiteX131" fmla="*/ 237544 w 1163902"/>
                      <a:gd name="connsiteY131" fmla="*/ 44886 h 69407"/>
                      <a:gd name="connsiteX132" fmla="*/ 211151 w 1163902"/>
                      <a:gd name="connsiteY132" fmla="*/ 26002 h 69407"/>
                      <a:gd name="connsiteX133" fmla="*/ 230035 w 1163902"/>
                      <a:gd name="connsiteY133" fmla="*/ 26002 h 69407"/>
                      <a:gd name="connsiteX134" fmla="*/ 230035 w 1163902"/>
                      <a:gd name="connsiteY134" fmla="*/ 44886 h 69407"/>
                      <a:gd name="connsiteX135" fmla="*/ 211151 w 1163902"/>
                      <a:gd name="connsiteY135" fmla="*/ 44886 h 69407"/>
                      <a:gd name="connsiteX136" fmla="*/ 184757 w 1163902"/>
                      <a:gd name="connsiteY136" fmla="*/ 26002 h 69407"/>
                      <a:gd name="connsiteX137" fmla="*/ 203642 w 1163902"/>
                      <a:gd name="connsiteY137" fmla="*/ 26002 h 69407"/>
                      <a:gd name="connsiteX138" fmla="*/ 203642 w 1163902"/>
                      <a:gd name="connsiteY138" fmla="*/ 44886 h 69407"/>
                      <a:gd name="connsiteX139" fmla="*/ 184757 w 1163902"/>
                      <a:gd name="connsiteY139" fmla="*/ 44886 h 69407"/>
                      <a:gd name="connsiteX140" fmla="*/ 158363 w 1163902"/>
                      <a:gd name="connsiteY140" fmla="*/ 26002 h 69407"/>
                      <a:gd name="connsiteX141" fmla="*/ 177248 w 1163902"/>
                      <a:gd name="connsiteY141" fmla="*/ 26002 h 69407"/>
                      <a:gd name="connsiteX142" fmla="*/ 177248 w 1163902"/>
                      <a:gd name="connsiteY142" fmla="*/ 44886 h 69407"/>
                      <a:gd name="connsiteX143" fmla="*/ 158363 w 1163902"/>
                      <a:gd name="connsiteY143" fmla="*/ 44886 h 69407"/>
                      <a:gd name="connsiteX144" fmla="*/ 131969 w 1163902"/>
                      <a:gd name="connsiteY144" fmla="*/ 26002 h 69407"/>
                      <a:gd name="connsiteX145" fmla="*/ 150854 w 1163902"/>
                      <a:gd name="connsiteY145" fmla="*/ 26002 h 69407"/>
                      <a:gd name="connsiteX146" fmla="*/ 150854 w 1163902"/>
                      <a:gd name="connsiteY146" fmla="*/ 44886 h 69407"/>
                      <a:gd name="connsiteX147" fmla="*/ 131969 w 1163902"/>
                      <a:gd name="connsiteY147" fmla="*/ 44886 h 69407"/>
                      <a:gd name="connsiteX148" fmla="*/ 105575 w 1163902"/>
                      <a:gd name="connsiteY148" fmla="*/ 26002 h 69407"/>
                      <a:gd name="connsiteX149" fmla="*/ 124460 w 1163902"/>
                      <a:gd name="connsiteY149" fmla="*/ 26002 h 69407"/>
                      <a:gd name="connsiteX150" fmla="*/ 124460 w 1163902"/>
                      <a:gd name="connsiteY150" fmla="*/ 44886 h 69407"/>
                      <a:gd name="connsiteX151" fmla="*/ 105575 w 1163902"/>
                      <a:gd name="connsiteY151" fmla="*/ 44886 h 69407"/>
                      <a:gd name="connsiteX152" fmla="*/ 79181 w 1163902"/>
                      <a:gd name="connsiteY152" fmla="*/ 26002 h 69407"/>
                      <a:gd name="connsiteX153" fmla="*/ 98066 w 1163902"/>
                      <a:gd name="connsiteY153" fmla="*/ 26002 h 69407"/>
                      <a:gd name="connsiteX154" fmla="*/ 98066 w 1163902"/>
                      <a:gd name="connsiteY154" fmla="*/ 44886 h 69407"/>
                      <a:gd name="connsiteX155" fmla="*/ 79181 w 1163902"/>
                      <a:gd name="connsiteY155" fmla="*/ 44886 h 69407"/>
                      <a:gd name="connsiteX156" fmla="*/ 52787 w 1163902"/>
                      <a:gd name="connsiteY156" fmla="*/ 26002 h 69407"/>
                      <a:gd name="connsiteX157" fmla="*/ 71672 w 1163902"/>
                      <a:gd name="connsiteY157" fmla="*/ 26002 h 69407"/>
                      <a:gd name="connsiteX158" fmla="*/ 71672 w 1163902"/>
                      <a:gd name="connsiteY158" fmla="*/ 44886 h 69407"/>
                      <a:gd name="connsiteX159" fmla="*/ 52787 w 1163902"/>
                      <a:gd name="connsiteY159" fmla="*/ 44886 h 69407"/>
                      <a:gd name="connsiteX160" fmla="*/ 26394 w 1163902"/>
                      <a:gd name="connsiteY160" fmla="*/ 26002 h 69407"/>
                      <a:gd name="connsiteX161" fmla="*/ 45278 w 1163902"/>
                      <a:gd name="connsiteY161" fmla="*/ 26002 h 69407"/>
                      <a:gd name="connsiteX162" fmla="*/ 45278 w 1163902"/>
                      <a:gd name="connsiteY162" fmla="*/ 44886 h 69407"/>
                      <a:gd name="connsiteX163" fmla="*/ 26394 w 1163902"/>
                      <a:gd name="connsiteY163" fmla="*/ 44886 h 69407"/>
                      <a:gd name="connsiteX164" fmla="*/ 0 w 1163902"/>
                      <a:gd name="connsiteY164" fmla="*/ 26002 h 69407"/>
                      <a:gd name="connsiteX165" fmla="*/ 18885 w 1163902"/>
                      <a:gd name="connsiteY165" fmla="*/ 26002 h 69407"/>
                      <a:gd name="connsiteX166" fmla="*/ 18885 w 1163902"/>
                      <a:gd name="connsiteY166" fmla="*/ 44886 h 69407"/>
                      <a:gd name="connsiteX167" fmla="*/ 0 w 1163902"/>
                      <a:gd name="connsiteY167" fmla="*/ 44886 h 69407"/>
                      <a:gd name="connsiteX168" fmla="*/ 1111181 w 1163902"/>
                      <a:gd name="connsiteY168" fmla="*/ 0 h 69407"/>
                      <a:gd name="connsiteX169" fmla="*/ 1163902 w 1163902"/>
                      <a:gd name="connsiteY169" fmla="*/ 34704 h 69407"/>
                      <a:gd name="connsiteX170" fmla="*/ 1111181 w 1163902"/>
                      <a:gd name="connsiteY170" fmla="*/ 69407 h 69407"/>
                      <a:gd name="connsiteX171" fmla="*/ 1111181 w 1163902"/>
                      <a:gd name="connsiteY171" fmla="*/ 44886 h 69407"/>
                      <a:gd name="connsiteX172" fmla="*/ 1110088 w 1163902"/>
                      <a:gd name="connsiteY172" fmla="*/ 44886 h 69407"/>
                      <a:gd name="connsiteX173" fmla="*/ 1110088 w 1163902"/>
                      <a:gd name="connsiteY173" fmla="*/ 26002 h 69407"/>
                      <a:gd name="connsiteX174" fmla="*/ 1111181 w 1163902"/>
                      <a:gd name="connsiteY174" fmla="*/ 26002 h 69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163902" h="69407">
                        <a:moveTo>
                          <a:pt x="1083694" y="26002"/>
                        </a:moveTo>
                        <a:lnTo>
                          <a:pt x="1102579" y="26002"/>
                        </a:lnTo>
                        <a:lnTo>
                          <a:pt x="1102579" y="44886"/>
                        </a:lnTo>
                        <a:lnTo>
                          <a:pt x="1083694" y="44886"/>
                        </a:lnTo>
                        <a:close/>
                        <a:moveTo>
                          <a:pt x="1057300" y="26002"/>
                        </a:moveTo>
                        <a:lnTo>
                          <a:pt x="1076185" y="26002"/>
                        </a:lnTo>
                        <a:lnTo>
                          <a:pt x="1076185" y="44886"/>
                        </a:lnTo>
                        <a:lnTo>
                          <a:pt x="1057300" y="44886"/>
                        </a:lnTo>
                        <a:close/>
                        <a:moveTo>
                          <a:pt x="1030907" y="26002"/>
                        </a:moveTo>
                        <a:lnTo>
                          <a:pt x="1049791" y="26002"/>
                        </a:lnTo>
                        <a:lnTo>
                          <a:pt x="1049791" y="44886"/>
                        </a:lnTo>
                        <a:lnTo>
                          <a:pt x="1030907" y="44886"/>
                        </a:lnTo>
                        <a:close/>
                        <a:moveTo>
                          <a:pt x="1004513" y="26002"/>
                        </a:moveTo>
                        <a:lnTo>
                          <a:pt x="1023398" y="26002"/>
                        </a:lnTo>
                        <a:lnTo>
                          <a:pt x="1023398" y="44886"/>
                        </a:lnTo>
                        <a:lnTo>
                          <a:pt x="1004513" y="44886"/>
                        </a:lnTo>
                        <a:close/>
                        <a:moveTo>
                          <a:pt x="978119" y="26002"/>
                        </a:moveTo>
                        <a:lnTo>
                          <a:pt x="997004" y="26002"/>
                        </a:lnTo>
                        <a:lnTo>
                          <a:pt x="997004" y="44886"/>
                        </a:lnTo>
                        <a:lnTo>
                          <a:pt x="978119" y="44886"/>
                        </a:lnTo>
                        <a:close/>
                        <a:moveTo>
                          <a:pt x="951725" y="26002"/>
                        </a:moveTo>
                        <a:lnTo>
                          <a:pt x="970610" y="26002"/>
                        </a:lnTo>
                        <a:lnTo>
                          <a:pt x="970610" y="44886"/>
                        </a:lnTo>
                        <a:lnTo>
                          <a:pt x="951725" y="44886"/>
                        </a:lnTo>
                        <a:close/>
                        <a:moveTo>
                          <a:pt x="925331" y="26002"/>
                        </a:moveTo>
                        <a:lnTo>
                          <a:pt x="944216" y="26002"/>
                        </a:lnTo>
                        <a:lnTo>
                          <a:pt x="944216" y="44886"/>
                        </a:lnTo>
                        <a:lnTo>
                          <a:pt x="925331" y="44886"/>
                        </a:lnTo>
                        <a:close/>
                        <a:moveTo>
                          <a:pt x="898937" y="26002"/>
                        </a:moveTo>
                        <a:lnTo>
                          <a:pt x="917822" y="26002"/>
                        </a:lnTo>
                        <a:lnTo>
                          <a:pt x="917822" y="44886"/>
                        </a:lnTo>
                        <a:lnTo>
                          <a:pt x="898937" y="44886"/>
                        </a:lnTo>
                        <a:close/>
                        <a:moveTo>
                          <a:pt x="872543" y="26002"/>
                        </a:moveTo>
                        <a:lnTo>
                          <a:pt x="891428" y="26002"/>
                        </a:lnTo>
                        <a:lnTo>
                          <a:pt x="891428" y="44886"/>
                        </a:lnTo>
                        <a:lnTo>
                          <a:pt x="872543" y="44886"/>
                        </a:lnTo>
                        <a:close/>
                        <a:moveTo>
                          <a:pt x="846150" y="26002"/>
                        </a:moveTo>
                        <a:lnTo>
                          <a:pt x="865034" y="26002"/>
                        </a:lnTo>
                        <a:lnTo>
                          <a:pt x="865034" y="44886"/>
                        </a:lnTo>
                        <a:lnTo>
                          <a:pt x="846150" y="44886"/>
                        </a:lnTo>
                        <a:close/>
                        <a:moveTo>
                          <a:pt x="819756" y="26002"/>
                        </a:moveTo>
                        <a:lnTo>
                          <a:pt x="838641" y="26002"/>
                        </a:lnTo>
                        <a:lnTo>
                          <a:pt x="838641" y="44886"/>
                        </a:lnTo>
                        <a:lnTo>
                          <a:pt x="819756" y="44886"/>
                        </a:lnTo>
                        <a:close/>
                        <a:moveTo>
                          <a:pt x="793362" y="26002"/>
                        </a:moveTo>
                        <a:lnTo>
                          <a:pt x="812247" y="26002"/>
                        </a:lnTo>
                        <a:lnTo>
                          <a:pt x="812247" y="44886"/>
                        </a:lnTo>
                        <a:lnTo>
                          <a:pt x="793362" y="44886"/>
                        </a:lnTo>
                        <a:close/>
                        <a:moveTo>
                          <a:pt x="766968" y="26002"/>
                        </a:moveTo>
                        <a:lnTo>
                          <a:pt x="785853" y="26002"/>
                        </a:lnTo>
                        <a:lnTo>
                          <a:pt x="785853" y="44886"/>
                        </a:lnTo>
                        <a:lnTo>
                          <a:pt x="766968" y="44886"/>
                        </a:lnTo>
                        <a:close/>
                        <a:moveTo>
                          <a:pt x="740574" y="26002"/>
                        </a:moveTo>
                        <a:lnTo>
                          <a:pt x="759459" y="26002"/>
                        </a:lnTo>
                        <a:lnTo>
                          <a:pt x="759459" y="44886"/>
                        </a:lnTo>
                        <a:lnTo>
                          <a:pt x="740574" y="44886"/>
                        </a:lnTo>
                        <a:close/>
                        <a:moveTo>
                          <a:pt x="712635" y="26002"/>
                        </a:moveTo>
                        <a:lnTo>
                          <a:pt x="731520" y="26002"/>
                        </a:lnTo>
                        <a:lnTo>
                          <a:pt x="731520" y="44886"/>
                        </a:lnTo>
                        <a:lnTo>
                          <a:pt x="712635" y="44886"/>
                        </a:lnTo>
                        <a:close/>
                        <a:moveTo>
                          <a:pt x="686240" y="26002"/>
                        </a:moveTo>
                        <a:lnTo>
                          <a:pt x="705125" y="26002"/>
                        </a:lnTo>
                        <a:lnTo>
                          <a:pt x="705125" y="44886"/>
                        </a:lnTo>
                        <a:lnTo>
                          <a:pt x="686240" y="44886"/>
                        </a:lnTo>
                        <a:close/>
                        <a:moveTo>
                          <a:pt x="659846" y="26002"/>
                        </a:moveTo>
                        <a:lnTo>
                          <a:pt x="678731" y="26002"/>
                        </a:lnTo>
                        <a:lnTo>
                          <a:pt x="678731" y="44886"/>
                        </a:lnTo>
                        <a:lnTo>
                          <a:pt x="659846" y="44886"/>
                        </a:lnTo>
                        <a:close/>
                        <a:moveTo>
                          <a:pt x="633452" y="26002"/>
                        </a:moveTo>
                        <a:lnTo>
                          <a:pt x="652337" y="26002"/>
                        </a:lnTo>
                        <a:lnTo>
                          <a:pt x="652337" y="44886"/>
                        </a:lnTo>
                        <a:lnTo>
                          <a:pt x="633452" y="44886"/>
                        </a:lnTo>
                        <a:close/>
                        <a:moveTo>
                          <a:pt x="607058" y="26002"/>
                        </a:moveTo>
                        <a:lnTo>
                          <a:pt x="625943" y="26002"/>
                        </a:lnTo>
                        <a:lnTo>
                          <a:pt x="625943" y="44886"/>
                        </a:lnTo>
                        <a:lnTo>
                          <a:pt x="607058" y="44886"/>
                        </a:lnTo>
                        <a:close/>
                        <a:moveTo>
                          <a:pt x="580664" y="26002"/>
                        </a:moveTo>
                        <a:lnTo>
                          <a:pt x="599549" y="26002"/>
                        </a:lnTo>
                        <a:lnTo>
                          <a:pt x="599549" y="44886"/>
                        </a:lnTo>
                        <a:lnTo>
                          <a:pt x="580664" y="44886"/>
                        </a:lnTo>
                        <a:close/>
                        <a:moveTo>
                          <a:pt x="554271" y="26002"/>
                        </a:moveTo>
                        <a:lnTo>
                          <a:pt x="573155" y="26002"/>
                        </a:lnTo>
                        <a:lnTo>
                          <a:pt x="573155" y="44886"/>
                        </a:lnTo>
                        <a:lnTo>
                          <a:pt x="554271" y="44886"/>
                        </a:lnTo>
                        <a:close/>
                        <a:moveTo>
                          <a:pt x="527877" y="26002"/>
                        </a:moveTo>
                        <a:lnTo>
                          <a:pt x="546762" y="26002"/>
                        </a:lnTo>
                        <a:lnTo>
                          <a:pt x="546762" y="44886"/>
                        </a:lnTo>
                        <a:lnTo>
                          <a:pt x="527877" y="44886"/>
                        </a:lnTo>
                        <a:close/>
                        <a:moveTo>
                          <a:pt x="501483" y="26002"/>
                        </a:moveTo>
                        <a:lnTo>
                          <a:pt x="520368" y="26002"/>
                        </a:lnTo>
                        <a:lnTo>
                          <a:pt x="520368" y="44886"/>
                        </a:lnTo>
                        <a:lnTo>
                          <a:pt x="501483" y="44886"/>
                        </a:lnTo>
                        <a:close/>
                        <a:moveTo>
                          <a:pt x="475089" y="26002"/>
                        </a:moveTo>
                        <a:lnTo>
                          <a:pt x="493974" y="26002"/>
                        </a:lnTo>
                        <a:lnTo>
                          <a:pt x="493974" y="44886"/>
                        </a:lnTo>
                        <a:lnTo>
                          <a:pt x="475089" y="44886"/>
                        </a:lnTo>
                        <a:close/>
                        <a:moveTo>
                          <a:pt x="448695" y="26002"/>
                        </a:moveTo>
                        <a:lnTo>
                          <a:pt x="467580" y="26002"/>
                        </a:lnTo>
                        <a:lnTo>
                          <a:pt x="467580" y="44886"/>
                        </a:lnTo>
                        <a:lnTo>
                          <a:pt x="448695" y="44886"/>
                        </a:lnTo>
                        <a:close/>
                        <a:moveTo>
                          <a:pt x="422301" y="26002"/>
                        </a:moveTo>
                        <a:lnTo>
                          <a:pt x="441186" y="26002"/>
                        </a:lnTo>
                        <a:lnTo>
                          <a:pt x="441186" y="44886"/>
                        </a:lnTo>
                        <a:lnTo>
                          <a:pt x="422301" y="44886"/>
                        </a:lnTo>
                        <a:close/>
                        <a:moveTo>
                          <a:pt x="395908" y="26002"/>
                        </a:moveTo>
                        <a:lnTo>
                          <a:pt x="414792" y="26002"/>
                        </a:lnTo>
                        <a:lnTo>
                          <a:pt x="414792" y="44886"/>
                        </a:lnTo>
                        <a:lnTo>
                          <a:pt x="395908" y="44886"/>
                        </a:lnTo>
                        <a:close/>
                        <a:moveTo>
                          <a:pt x="369514" y="26002"/>
                        </a:moveTo>
                        <a:lnTo>
                          <a:pt x="388398" y="26002"/>
                        </a:lnTo>
                        <a:lnTo>
                          <a:pt x="388398" y="44886"/>
                        </a:lnTo>
                        <a:lnTo>
                          <a:pt x="369514" y="44886"/>
                        </a:lnTo>
                        <a:close/>
                        <a:moveTo>
                          <a:pt x="343120" y="26002"/>
                        </a:moveTo>
                        <a:lnTo>
                          <a:pt x="362005" y="26002"/>
                        </a:lnTo>
                        <a:lnTo>
                          <a:pt x="362005" y="44886"/>
                        </a:lnTo>
                        <a:lnTo>
                          <a:pt x="343120" y="44886"/>
                        </a:lnTo>
                        <a:close/>
                        <a:moveTo>
                          <a:pt x="316726" y="26002"/>
                        </a:moveTo>
                        <a:lnTo>
                          <a:pt x="335611" y="26002"/>
                        </a:lnTo>
                        <a:lnTo>
                          <a:pt x="335611" y="44886"/>
                        </a:lnTo>
                        <a:lnTo>
                          <a:pt x="316726" y="44886"/>
                        </a:lnTo>
                        <a:close/>
                        <a:moveTo>
                          <a:pt x="290332" y="26002"/>
                        </a:moveTo>
                        <a:lnTo>
                          <a:pt x="309217" y="26002"/>
                        </a:lnTo>
                        <a:lnTo>
                          <a:pt x="309217" y="44886"/>
                        </a:lnTo>
                        <a:lnTo>
                          <a:pt x="290332" y="44886"/>
                        </a:lnTo>
                        <a:close/>
                        <a:moveTo>
                          <a:pt x="263938" y="26002"/>
                        </a:moveTo>
                        <a:lnTo>
                          <a:pt x="282823" y="26002"/>
                        </a:lnTo>
                        <a:lnTo>
                          <a:pt x="282823" y="44886"/>
                        </a:lnTo>
                        <a:lnTo>
                          <a:pt x="263938" y="44886"/>
                        </a:lnTo>
                        <a:close/>
                        <a:moveTo>
                          <a:pt x="237544" y="26002"/>
                        </a:moveTo>
                        <a:lnTo>
                          <a:pt x="256429" y="26002"/>
                        </a:lnTo>
                        <a:lnTo>
                          <a:pt x="256429" y="44886"/>
                        </a:lnTo>
                        <a:lnTo>
                          <a:pt x="237544" y="44886"/>
                        </a:lnTo>
                        <a:close/>
                        <a:moveTo>
                          <a:pt x="211151" y="26002"/>
                        </a:moveTo>
                        <a:lnTo>
                          <a:pt x="230035" y="26002"/>
                        </a:lnTo>
                        <a:lnTo>
                          <a:pt x="230035" y="44886"/>
                        </a:lnTo>
                        <a:lnTo>
                          <a:pt x="211151" y="44886"/>
                        </a:lnTo>
                        <a:close/>
                        <a:moveTo>
                          <a:pt x="184757" y="26002"/>
                        </a:moveTo>
                        <a:lnTo>
                          <a:pt x="203642" y="26002"/>
                        </a:lnTo>
                        <a:lnTo>
                          <a:pt x="203642" y="44886"/>
                        </a:lnTo>
                        <a:lnTo>
                          <a:pt x="184757" y="44886"/>
                        </a:lnTo>
                        <a:close/>
                        <a:moveTo>
                          <a:pt x="158363" y="26002"/>
                        </a:moveTo>
                        <a:lnTo>
                          <a:pt x="177248" y="26002"/>
                        </a:lnTo>
                        <a:lnTo>
                          <a:pt x="177248" y="44886"/>
                        </a:lnTo>
                        <a:lnTo>
                          <a:pt x="158363" y="44886"/>
                        </a:lnTo>
                        <a:close/>
                        <a:moveTo>
                          <a:pt x="131969" y="26002"/>
                        </a:moveTo>
                        <a:lnTo>
                          <a:pt x="150854" y="26002"/>
                        </a:lnTo>
                        <a:lnTo>
                          <a:pt x="150854" y="44886"/>
                        </a:lnTo>
                        <a:lnTo>
                          <a:pt x="131969" y="44886"/>
                        </a:lnTo>
                        <a:close/>
                        <a:moveTo>
                          <a:pt x="105575" y="26002"/>
                        </a:moveTo>
                        <a:lnTo>
                          <a:pt x="124460" y="26002"/>
                        </a:lnTo>
                        <a:lnTo>
                          <a:pt x="124460" y="44886"/>
                        </a:lnTo>
                        <a:lnTo>
                          <a:pt x="105575" y="44886"/>
                        </a:lnTo>
                        <a:close/>
                        <a:moveTo>
                          <a:pt x="79181" y="26002"/>
                        </a:moveTo>
                        <a:lnTo>
                          <a:pt x="98066" y="26002"/>
                        </a:lnTo>
                        <a:lnTo>
                          <a:pt x="98066" y="44886"/>
                        </a:lnTo>
                        <a:lnTo>
                          <a:pt x="79181" y="44886"/>
                        </a:lnTo>
                        <a:close/>
                        <a:moveTo>
                          <a:pt x="52787" y="26002"/>
                        </a:moveTo>
                        <a:lnTo>
                          <a:pt x="71672" y="26002"/>
                        </a:lnTo>
                        <a:lnTo>
                          <a:pt x="71672" y="44886"/>
                        </a:lnTo>
                        <a:lnTo>
                          <a:pt x="52787" y="44886"/>
                        </a:lnTo>
                        <a:close/>
                        <a:moveTo>
                          <a:pt x="26394" y="26002"/>
                        </a:moveTo>
                        <a:lnTo>
                          <a:pt x="45278" y="26002"/>
                        </a:lnTo>
                        <a:lnTo>
                          <a:pt x="45278" y="44886"/>
                        </a:lnTo>
                        <a:lnTo>
                          <a:pt x="26394" y="44886"/>
                        </a:lnTo>
                        <a:close/>
                        <a:moveTo>
                          <a:pt x="0" y="26002"/>
                        </a:moveTo>
                        <a:lnTo>
                          <a:pt x="18885" y="26002"/>
                        </a:lnTo>
                        <a:lnTo>
                          <a:pt x="18885" y="44886"/>
                        </a:lnTo>
                        <a:lnTo>
                          <a:pt x="0" y="44886"/>
                        </a:lnTo>
                        <a:close/>
                        <a:moveTo>
                          <a:pt x="1111181" y="0"/>
                        </a:moveTo>
                        <a:lnTo>
                          <a:pt x="1163902" y="34704"/>
                        </a:lnTo>
                        <a:lnTo>
                          <a:pt x="1111181" y="69407"/>
                        </a:lnTo>
                        <a:lnTo>
                          <a:pt x="1111181" y="44886"/>
                        </a:lnTo>
                        <a:lnTo>
                          <a:pt x="1110088" y="44886"/>
                        </a:lnTo>
                        <a:lnTo>
                          <a:pt x="1110088" y="26002"/>
                        </a:lnTo>
                        <a:lnTo>
                          <a:pt x="1111181" y="26002"/>
                        </a:lnTo>
                        <a:close/>
                      </a:path>
                    </a:pathLst>
                  </a:custGeom>
                  <a:solidFill>
                    <a:srgbClr val="58B3D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392" name="Group 1391">
                    <a:extLst>
                      <a:ext uri="{FF2B5EF4-FFF2-40B4-BE49-F238E27FC236}">
                        <a16:creationId xmlns:a16="http://schemas.microsoft.com/office/drawing/2014/main" id="{4B82BF5C-38A3-48E3-9AD8-7CC88ED9B6DC}"/>
                      </a:ext>
                    </a:extLst>
                  </p:cNvPr>
                  <p:cNvGrpSpPr/>
                  <p:nvPr/>
                </p:nvGrpSpPr>
                <p:grpSpPr>
                  <a:xfrm>
                    <a:off x="4877410" y="5321735"/>
                    <a:ext cx="1140385" cy="185737"/>
                    <a:chOff x="4877410" y="5321735"/>
                    <a:chExt cx="1140385" cy="185737"/>
                  </a:xfrm>
                </p:grpSpPr>
                <p:grpSp>
                  <p:nvGrpSpPr>
                    <p:cNvPr id="1393" name="Group 1392">
                      <a:extLst>
                        <a:ext uri="{FF2B5EF4-FFF2-40B4-BE49-F238E27FC236}">
                          <a16:creationId xmlns:a16="http://schemas.microsoft.com/office/drawing/2014/main" id="{979EDDDB-A1FB-4B11-A4AB-2FFA5568420E}"/>
                        </a:ext>
                      </a:extLst>
                    </p:cNvPr>
                    <p:cNvGrpSpPr/>
                    <p:nvPr/>
                  </p:nvGrpSpPr>
                  <p:grpSpPr>
                    <a:xfrm>
                      <a:off x="5544448" y="5321735"/>
                      <a:ext cx="190838" cy="185737"/>
                      <a:chOff x="5652683" y="1636246"/>
                      <a:chExt cx="3791758" cy="3791758"/>
                    </a:xfrm>
                  </p:grpSpPr>
                  <p:sp>
                    <p:nvSpPr>
                      <p:cNvPr id="1413" name="Oval 1412">
                        <a:extLst>
                          <a:ext uri="{FF2B5EF4-FFF2-40B4-BE49-F238E27FC236}">
                            <a16:creationId xmlns:a16="http://schemas.microsoft.com/office/drawing/2014/main" id="{F1DAA47E-7292-4678-B735-30EE20AD8BA2}"/>
                          </a:ext>
                        </a:extLst>
                      </p:cNvPr>
                      <p:cNvSpPr/>
                      <p:nvPr/>
                    </p:nvSpPr>
                    <p:spPr>
                      <a:xfrm>
                        <a:off x="5652683" y="1636246"/>
                        <a:ext cx="3791758" cy="3791758"/>
                      </a:xfrm>
                      <a:prstGeom prst="ellipse">
                        <a:avLst/>
                      </a:prstGeom>
                      <a:solidFill>
                        <a:srgbClr val="BAD80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14" name="Oval 1413">
                        <a:extLst>
                          <a:ext uri="{FF2B5EF4-FFF2-40B4-BE49-F238E27FC236}">
                            <a16:creationId xmlns:a16="http://schemas.microsoft.com/office/drawing/2014/main" id="{D7744067-CCF9-4C7D-8765-CF080FDEB07D}"/>
                          </a:ext>
                        </a:extLst>
                      </p:cNvPr>
                      <p:cNvSpPr/>
                      <p:nvPr/>
                    </p:nvSpPr>
                    <p:spPr>
                      <a:xfrm>
                        <a:off x="5974946" y="1932012"/>
                        <a:ext cx="3147232" cy="3147232"/>
                      </a:xfrm>
                      <a:prstGeom prst="ellipse">
                        <a:avLst/>
                      </a:prstGeom>
                      <a:solidFill>
                        <a:srgbClr val="FFFFFF"/>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15" name="Freeform 91">
                        <a:extLst>
                          <a:ext uri="{FF2B5EF4-FFF2-40B4-BE49-F238E27FC236}">
                            <a16:creationId xmlns:a16="http://schemas.microsoft.com/office/drawing/2014/main" id="{8B315DFE-A572-4ACC-A726-2E5A3B45292A}"/>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16" name="Rounded Rectangle 92">
                        <a:extLst>
                          <a:ext uri="{FF2B5EF4-FFF2-40B4-BE49-F238E27FC236}">
                            <a16:creationId xmlns:a16="http://schemas.microsoft.com/office/drawing/2014/main" id="{427334E8-85BF-4D05-85CF-2AEA1ED477F8}"/>
                          </a:ext>
                        </a:extLst>
                      </p:cNvPr>
                      <p:cNvSpPr/>
                      <p:nvPr/>
                    </p:nvSpPr>
                    <p:spPr>
                      <a:xfrm>
                        <a:off x="7498946" y="3360193"/>
                        <a:ext cx="1447800" cy="290870"/>
                      </a:xfrm>
                      <a:prstGeom prst="roundRect">
                        <a:avLst>
                          <a:gd name="adj" fmla="val 50000"/>
                        </a:avLst>
                      </a:prstGeom>
                      <a:solidFill>
                        <a:srgbClr val="E6E6E6"/>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17" name="Oval 1416">
                        <a:extLst>
                          <a:ext uri="{FF2B5EF4-FFF2-40B4-BE49-F238E27FC236}">
                            <a16:creationId xmlns:a16="http://schemas.microsoft.com/office/drawing/2014/main" id="{193C013B-7FA4-4EA4-89F9-BF38E05FD92D}"/>
                          </a:ext>
                        </a:extLst>
                      </p:cNvPr>
                      <p:cNvSpPr/>
                      <p:nvPr/>
                    </p:nvSpPr>
                    <p:spPr>
                      <a:xfrm>
                        <a:off x="7294564" y="3236912"/>
                        <a:ext cx="546099" cy="546099"/>
                      </a:xfrm>
                      <a:prstGeom prst="ellipse">
                        <a:avLst/>
                      </a:prstGeom>
                      <a:solidFill>
                        <a:srgbClr val="E6E6E6"/>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1394" name="Group 1393">
                      <a:extLst>
                        <a:ext uri="{FF2B5EF4-FFF2-40B4-BE49-F238E27FC236}">
                          <a16:creationId xmlns:a16="http://schemas.microsoft.com/office/drawing/2014/main" id="{D4FB6C9D-42C4-4150-BA9F-8C4FDC1D8FC9}"/>
                        </a:ext>
                      </a:extLst>
                    </p:cNvPr>
                    <p:cNvGrpSpPr/>
                    <p:nvPr/>
                  </p:nvGrpSpPr>
                  <p:grpSpPr>
                    <a:xfrm>
                      <a:off x="5229625" y="5330499"/>
                      <a:ext cx="160179" cy="153308"/>
                      <a:chOff x="4870626" y="2658174"/>
                      <a:chExt cx="903709" cy="807852"/>
                    </a:xfrm>
                  </p:grpSpPr>
                  <p:grpSp>
                    <p:nvGrpSpPr>
                      <p:cNvPr id="1405" name="Group 1404">
                        <a:extLst>
                          <a:ext uri="{FF2B5EF4-FFF2-40B4-BE49-F238E27FC236}">
                            <a16:creationId xmlns:a16="http://schemas.microsoft.com/office/drawing/2014/main" id="{71EB144B-A568-4913-A21D-F4AC84A92686}"/>
                          </a:ext>
                        </a:extLst>
                      </p:cNvPr>
                      <p:cNvGrpSpPr/>
                      <p:nvPr/>
                    </p:nvGrpSpPr>
                    <p:grpSpPr>
                      <a:xfrm>
                        <a:off x="4870626" y="2658174"/>
                        <a:ext cx="663633" cy="595577"/>
                        <a:chOff x="3393735" y="1575630"/>
                        <a:chExt cx="335303" cy="300917"/>
                      </a:xfrm>
                    </p:grpSpPr>
                    <p:sp>
                      <p:nvSpPr>
                        <p:cNvPr id="1410" name="Rounded Rectangle 348">
                          <a:extLst>
                            <a:ext uri="{FF2B5EF4-FFF2-40B4-BE49-F238E27FC236}">
                              <a16:creationId xmlns:a16="http://schemas.microsoft.com/office/drawing/2014/main" id="{92D7EB22-1790-41EB-99B5-C5EABE426707}"/>
                            </a:ext>
                          </a:extLst>
                        </p:cNvPr>
                        <p:cNvSpPr/>
                        <p:nvPr/>
                      </p:nvSpPr>
                      <p:spPr>
                        <a:xfrm>
                          <a:off x="3393735" y="1577644"/>
                          <a:ext cx="335303" cy="298903"/>
                        </a:xfrm>
                        <a:prstGeom prst="roundRect">
                          <a:avLst>
                            <a:gd name="adj" fmla="val 7107"/>
                          </a:avLst>
                        </a:prstGeom>
                        <a:solidFill>
                          <a:srgbClr val="4DA3CC"/>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11" name="Round Same Side Corner Rectangle 349">
                          <a:extLst>
                            <a:ext uri="{FF2B5EF4-FFF2-40B4-BE49-F238E27FC236}">
                              <a16:creationId xmlns:a16="http://schemas.microsoft.com/office/drawing/2014/main" id="{75A48166-BCF6-4AB1-936A-0856342146D5}"/>
                            </a:ext>
                          </a:extLst>
                        </p:cNvPr>
                        <p:cNvSpPr/>
                        <p:nvPr/>
                      </p:nvSpPr>
                      <p:spPr>
                        <a:xfrm>
                          <a:off x="3393735" y="1577644"/>
                          <a:ext cx="335303" cy="50709"/>
                        </a:xfrm>
                        <a:prstGeom prst="round2SameRect">
                          <a:avLst>
                            <a:gd name="adj1" fmla="val 26060"/>
                            <a:gd name="adj2" fmla="val 0"/>
                          </a:avLst>
                        </a:prstGeom>
                        <a:solidFill>
                          <a:srgbClr val="B9B9B9"/>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12" name="Freeform 350">
                          <a:extLst>
                            <a:ext uri="{FF2B5EF4-FFF2-40B4-BE49-F238E27FC236}">
                              <a16:creationId xmlns:a16="http://schemas.microsoft.com/office/drawing/2014/main" id="{D17C4EE6-0213-47FD-A26F-145D54355E92}"/>
                            </a:ext>
                          </a:extLst>
                        </p:cNvPr>
                        <p:cNvSpPr/>
                        <p:nvPr/>
                      </p:nvSpPr>
                      <p:spPr>
                        <a:xfrm>
                          <a:off x="3519380" y="1575630"/>
                          <a:ext cx="209658" cy="298903"/>
                        </a:xfrm>
                        <a:custGeom>
                          <a:avLst/>
                          <a:gdLst>
                            <a:gd name="connsiteX0" fmla="*/ 146969 w 209658"/>
                            <a:gd name="connsiteY0" fmla="*/ 0 h 298903"/>
                            <a:gd name="connsiteX1" fmla="*/ 188415 w 209658"/>
                            <a:gd name="connsiteY1" fmla="*/ 0 h 298903"/>
                            <a:gd name="connsiteX2" fmla="*/ 209658 w 209658"/>
                            <a:gd name="connsiteY2" fmla="*/ 21243 h 298903"/>
                            <a:gd name="connsiteX3" fmla="*/ 209658 w 209658"/>
                            <a:gd name="connsiteY3" fmla="*/ 277660 h 298903"/>
                            <a:gd name="connsiteX4" fmla="*/ 188415 w 209658"/>
                            <a:gd name="connsiteY4" fmla="*/ 298903 h 298903"/>
                            <a:gd name="connsiteX5" fmla="*/ 0 w 209658"/>
                            <a:gd name="connsiteY5" fmla="*/ 298903 h 2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58" h="298903">
                              <a:moveTo>
                                <a:pt x="146969" y="0"/>
                              </a:moveTo>
                              <a:lnTo>
                                <a:pt x="188415" y="0"/>
                              </a:lnTo>
                              <a:cubicBezTo>
                                <a:pt x="200147" y="0"/>
                                <a:pt x="209658" y="9511"/>
                                <a:pt x="209658" y="21243"/>
                              </a:cubicBezTo>
                              <a:lnTo>
                                <a:pt x="209658" y="277660"/>
                              </a:lnTo>
                              <a:cubicBezTo>
                                <a:pt x="209658" y="289392"/>
                                <a:pt x="200147" y="298903"/>
                                <a:pt x="188415" y="298903"/>
                              </a:cubicBezTo>
                              <a:lnTo>
                                <a:pt x="0" y="298903"/>
                              </a:lnTo>
                              <a:close/>
                            </a:path>
                          </a:pathLst>
                        </a:custGeom>
                        <a:solidFill>
                          <a:srgbClr val="000000">
                            <a:alpha val="16863"/>
                          </a:srgbClr>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1406" name="Group 1405">
                        <a:extLst>
                          <a:ext uri="{FF2B5EF4-FFF2-40B4-BE49-F238E27FC236}">
                            <a16:creationId xmlns:a16="http://schemas.microsoft.com/office/drawing/2014/main" id="{61D225B2-9133-4345-BF2E-E6E324457FDC}"/>
                          </a:ext>
                        </a:extLst>
                      </p:cNvPr>
                      <p:cNvGrpSpPr/>
                      <p:nvPr/>
                    </p:nvGrpSpPr>
                    <p:grpSpPr>
                      <a:xfrm>
                        <a:off x="5110702" y="2870449"/>
                        <a:ext cx="663633" cy="595577"/>
                        <a:chOff x="3393735" y="1575630"/>
                        <a:chExt cx="335303" cy="300917"/>
                      </a:xfrm>
                    </p:grpSpPr>
                    <p:sp>
                      <p:nvSpPr>
                        <p:cNvPr id="1407" name="Rounded Rectangle 345">
                          <a:extLst>
                            <a:ext uri="{FF2B5EF4-FFF2-40B4-BE49-F238E27FC236}">
                              <a16:creationId xmlns:a16="http://schemas.microsoft.com/office/drawing/2014/main" id="{582C6404-AA00-4B4C-836C-0646CEF3A75F}"/>
                            </a:ext>
                          </a:extLst>
                        </p:cNvPr>
                        <p:cNvSpPr/>
                        <p:nvPr/>
                      </p:nvSpPr>
                      <p:spPr>
                        <a:xfrm>
                          <a:off x="3393735" y="1577644"/>
                          <a:ext cx="335303" cy="298903"/>
                        </a:xfrm>
                        <a:prstGeom prst="roundRect">
                          <a:avLst>
                            <a:gd name="adj" fmla="val 7107"/>
                          </a:avLst>
                        </a:prstGeom>
                        <a:solidFill>
                          <a:srgbClr val="338ED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08" name="Round Same Side Corner Rectangle 346">
                          <a:extLst>
                            <a:ext uri="{FF2B5EF4-FFF2-40B4-BE49-F238E27FC236}">
                              <a16:creationId xmlns:a16="http://schemas.microsoft.com/office/drawing/2014/main" id="{163B636F-E3E7-4BD1-A8A6-3E6D6EDAAA2E}"/>
                            </a:ext>
                          </a:extLst>
                        </p:cNvPr>
                        <p:cNvSpPr/>
                        <p:nvPr/>
                      </p:nvSpPr>
                      <p:spPr>
                        <a:xfrm>
                          <a:off x="3393735" y="1577644"/>
                          <a:ext cx="335303" cy="50709"/>
                        </a:xfrm>
                        <a:prstGeom prst="round2SameRect">
                          <a:avLst>
                            <a:gd name="adj1" fmla="val 26060"/>
                            <a:gd name="adj2" fmla="val 0"/>
                          </a:avLst>
                        </a:prstGeom>
                        <a:solidFill>
                          <a:srgbClr val="65656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409" name="Freeform 347">
                          <a:extLst>
                            <a:ext uri="{FF2B5EF4-FFF2-40B4-BE49-F238E27FC236}">
                              <a16:creationId xmlns:a16="http://schemas.microsoft.com/office/drawing/2014/main" id="{0FCD9404-7117-4CE3-A4C6-AAA88802FD57}"/>
                            </a:ext>
                          </a:extLst>
                        </p:cNvPr>
                        <p:cNvSpPr/>
                        <p:nvPr/>
                      </p:nvSpPr>
                      <p:spPr>
                        <a:xfrm>
                          <a:off x="3519380" y="1575630"/>
                          <a:ext cx="209658" cy="298903"/>
                        </a:xfrm>
                        <a:custGeom>
                          <a:avLst/>
                          <a:gdLst>
                            <a:gd name="connsiteX0" fmla="*/ 146969 w 209658"/>
                            <a:gd name="connsiteY0" fmla="*/ 0 h 298903"/>
                            <a:gd name="connsiteX1" fmla="*/ 188415 w 209658"/>
                            <a:gd name="connsiteY1" fmla="*/ 0 h 298903"/>
                            <a:gd name="connsiteX2" fmla="*/ 209658 w 209658"/>
                            <a:gd name="connsiteY2" fmla="*/ 21243 h 298903"/>
                            <a:gd name="connsiteX3" fmla="*/ 209658 w 209658"/>
                            <a:gd name="connsiteY3" fmla="*/ 277660 h 298903"/>
                            <a:gd name="connsiteX4" fmla="*/ 188415 w 209658"/>
                            <a:gd name="connsiteY4" fmla="*/ 298903 h 298903"/>
                            <a:gd name="connsiteX5" fmla="*/ 0 w 209658"/>
                            <a:gd name="connsiteY5" fmla="*/ 298903 h 2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58" h="298903">
                              <a:moveTo>
                                <a:pt x="146969" y="0"/>
                              </a:moveTo>
                              <a:lnTo>
                                <a:pt x="188415" y="0"/>
                              </a:lnTo>
                              <a:cubicBezTo>
                                <a:pt x="200147" y="0"/>
                                <a:pt x="209658" y="9511"/>
                                <a:pt x="209658" y="21243"/>
                              </a:cubicBezTo>
                              <a:lnTo>
                                <a:pt x="209658" y="277660"/>
                              </a:lnTo>
                              <a:cubicBezTo>
                                <a:pt x="209658" y="289392"/>
                                <a:pt x="200147" y="298903"/>
                                <a:pt x="188415" y="298903"/>
                              </a:cubicBezTo>
                              <a:lnTo>
                                <a:pt x="0" y="298903"/>
                              </a:lnTo>
                              <a:close/>
                            </a:path>
                          </a:pathLst>
                        </a:custGeom>
                        <a:solidFill>
                          <a:srgbClr val="000000">
                            <a:alpha val="16863"/>
                          </a:srgbClr>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grpSp>
                  <p:nvGrpSpPr>
                    <p:cNvPr id="1395" name="Group 1394">
                      <a:extLst>
                        <a:ext uri="{FF2B5EF4-FFF2-40B4-BE49-F238E27FC236}">
                          <a16:creationId xmlns:a16="http://schemas.microsoft.com/office/drawing/2014/main" id="{26302719-6D30-4C7E-A3E2-9DD16143C41C}"/>
                        </a:ext>
                      </a:extLst>
                    </p:cNvPr>
                    <p:cNvGrpSpPr/>
                    <p:nvPr/>
                  </p:nvGrpSpPr>
                  <p:grpSpPr>
                    <a:xfrm>
                      <a:off x="5859812" y="5327089"/>
                      <a:ext cx="157983" cy="145053"/>
                      <a:chOff x="-594587" y="2618847"/>
                      <a:chExt cx="651178" cy="597883"/>
                    </a:xfrm>
                  </p:grpSpPr>
                  <p:grpSp>
                    <p:nvGrpSpPr>
                      <p:cNvPr id="1399" name="Group 1398">
                        <a:extLst>
                          <a:ext uri="{FF2B5EF4-FFF2-40B4-BE49-F238E27FC236}">
                            <a16:creationId xmlns:a16="http://schemas.microsoft.com/office/drawing/2014/main" id="{BBE0A0CD-963D-43EF-AAD4-A80C1795394E}"/>
                          </a:ext>
                        </a:extLst>
                      </p:cNvPr>
                      <p:cNvGrpSpPr/>
                      <p:nvPr/>
                    </p:nvGrpSpPr>
                    <p:grpSpPr>
                      <a:xfrm>
                        <a:off x="-594587" y="2806085"/>
                        <a:ext cx="608911" cy="410645"/>
                        <a:chOff x="-594587" y="2806085"/>
                        <a:chExt cx="608911" cy="410645"/>
                      </a:xfrm>
                    </p:grpSpPr>
                    <p:sp>
                      <p:nvSpPr>
                        <p:cNvPr id="1401" name="Rectangle 1400">
                          <a:extLst>
                            <a:ext uri="{FF2B5EF4-FFF2-40B4-BE49-F238E27FC236}">
                              <a16:creationId xmlns:a16="http://schemas.microsoft.com/office/drawing/2014/main" id="{6CB88458-B61C-4386-8D02-48C583CC253D}"/>
                            </a:ext>
                          </a:extLst>
                        </p:cNvPr>
                        <p:cNvSpPr/>
                        <p:nvPr/>
                      </p:nvSpPr>
                      <p:spPr bwMode="auto">
                        <a:xfrm>
                          <a:off x="-594587" y="2885997"/>
                          <a:ext cx="113086" cy="330733"/>
                        </a:xfrm>
                        <a:prstGeom prst="rect">
                          <a:avLst/>
                        </a:prstGeom>
                        <a:solidFill>
                          <a:srgbClr val="0071C5"/>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02" name="Rectangle 1401">
                          <a:extLst>
                            <a:ext uri="{FF2B5EF4-FFF2-40B4-BE49-F238E27FC236}">
                              <a16:creationId xmlns:a16="http://schemas.microsoft.com/office/drawing/2014/main" id="{A2B226F7-6823-4DAF-85ED-447FC75F14B1}"/>
                            </a:ext>
                          </a:extLst>
                        </p:cNvPr>
                        <p:cNvSpPr/>
                        <p:nvPr/>
                      </p:nvSpPr>
                      <p:spPr bwMode="auto">
                        <a:xfrm>
                          <a:off x="-429312" y="2806085"/>
                          <a:ext cx="113086" cy="410645"/>
                        </a:xfrm>
                        <a:prstGeom prst="rect">
                          <a:avLst/>
                        </a:prstGeom>
                        <a:solidFill>
                          <a:srgbClr val="5EB5D9"/>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03" name="Rectangle 1402">
                          <a:extLst>
                            <a:ext uri="{FF2B5EF4-FFF2-40B4-BE49-F238E27FC236}">
                              <a16:creationId xmlns:a16="http://schemas.microsoft.com/office/drawing/2014/main" id="{AF33FAB4-7A35-44C6-BFEA-0B54798308D9}"/>
                            </a:ext>
                          </a:extLst>
                        </p:cNvPr>
                        <p:cNvSpPr/>
                        <p:nvPr/>
                      </p:nvSpPr>
                      <p:spPr bwMode="auto">
                        <a:xfrm>
                          <a:off x="-98762" y="2837090"/>
                          <a:ext cx="113086" cy="379640"/>
                        </a:xfrm>
                        <a:prstGeom prst="rect">
                          <a:avLst/>
                        </a:prstGeom>
                        <a:solidFill>
                          <a:srgbClr val="0071C5"/>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04" name="Rectangle 1403">
                          <a:extLst>
                            <a:ext uri="{FF2B5EF4-FFF2-40B4-BE49-F238E27FC236}">
                              <a16:creationId xmlns:a16="http://schemas.microsoft.com/office/drawing/2014/main" id="{C105071A-3405-4AC8-BAC1-B100AC871955}"/>
                            </a:ext>
                          </a:extLst>
                        </p:cNvPr>
                        <p:cNvSpPr/>
                        <p:nvPr/>
                      </p:nvSpPr>
                      <p:spPr bwMode="auto">
                        <a:xfrm>
                          <a:off x="-264037" y="2943226"/>
                          <a:ext cx="113086" cy="273504"/>
                        </a:xfrm>
                        <a:prstGeom prst="rect">
                          <a:avLst/>
                        </a:prstGeom>
                        <a:solidFill>
                          <a:srgbClr val="3998C5"/>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400" name="Freeform: Shape 1399">
                        <a:extLst>
                          <a:ext uri="{FF2B5EF4-FFF2-40B4-BE49-F238E27FC236}">
                            <a16:creationId xmlns:a16="http://schemas.microsoft.com/office/drawing/2014/main" id="{1776BD79-5135-409E-864E-E3C71F3671E3}"/>
                          </a:ext>
                        </a:extLst>
                      </p:cNvPr>
                      <p:cNvSpPr/>
                      <p:nvPr/>
                    </p:nvSpPr>
                    <p:spPr bwMode="auto">
                      <a:xfrm>
                        <a:off x="-594587" y="2618847"/>
                        <a:ext cx="651178" cy="269876"/>
                      </a:xfrm>
                      <a:custGeom>
                        <a:avLst/>
                        <a:gdLst>
                          <a:gd name="connsiteX0" fmla="*/ 599546 w 651178"/>
                          <a:gd name="connsiteY0" fmla="*/ 0 h 269876"/>
                          <a:gd name="connsiteX1" fmla="*/ 651178 w 651178"/>
                          <a:gd name="connsiteY1" fmla="*/ 51633 h 269876"/>
                          <a:gd name="connsiteX2" fmla="*/ 599546 w 651178"/>
                          <a:gd name="connsiteY2" fmla="*/ 103264 h 269876"/>
                          <a:gd name="connsiteX3" fmla="*/ 586355 w 651178"/>
                          <a:gd name="connsiteY3" fmla="*/ 100601 h 269876"/>
                          <a:gd name="connsiteX4" fmla="*/ 447696 w 651178"/>
                          <a:gd name="connsiteY4" fmla="*/ 207457 h 269876"/>
                          <a:gd name="connsiteX5" fmla="*/ 452164 w 651178"/>
                          <a:gd name="connsiteY5" fmla="*/ 218244 h 269876"/>
                          <a:gd name="connsiteX6" fmla="*/ 400532 w 651178"/>
                          <a:gd name="connsiteY6" fmla="*/ 269876 h 269876"/>
                          <a:gd name="connsiteX7" fmla="*/ 348900 w 651178"/>
                          <a:gd name="connsiteY7" fmla="*/ 218244 h 269876"/>
                          <a:gd name="connsiteX8" fmla="*/ 349905 w 651178"/>
                          <a:gd name="connsiteY8" fmla="*/ 215818 h 269876"/>
                          <a:gd name="connsiteX9" fmla="*/ 283152 w 651178"/>
                          <a:gd name="connsiteY9" fmla="*/ 100199 h 269876"/>
                          <a:gd name="connsiteX10" fmla="*/ 267969 w 651178"/>
                          <a:gd name="connsiteY10" fmla="*/ 103265 h 269876"/>
                          <a:gd name="connsiteX11" fmla="*/ 247871 w 651178"/>
                          <a:gd name="connsiteY11" fmla="*/ 99207 h 269876"/>
                          <a:gd name="connsiteX12" fmla="*/ 247047 w 651178"/>
                          <a:gd name="connsiteY12" fmla="*/ 98651 h 269876"/>
                          <a:gd name="connsiteX13" fmla="*/ 94480 w 651178"/>
                          <a:gd name="connsiteY13" fmla="*/ 216225 h 269876"/>
                          <a:gd name="connsiteX14" fmla="*/ 88142 w 651178"/>
                          <a:gd name="connsiteY14" fmla="*/ 231527 h 269876"/>
                          <a:gd name="connsiteX15" fmla="*/ 51633 w 651178"/>
                          <a:gd name="connsiteY15" fmla="*/ 246650 h 269876"/>
                          <a:gd name="connsiteX16" fmla="*/ 0 w 651178"/>
                          <a:gd name="connsiteY16" fmla="*/ 195018 h 269876"/>
                          <a:gd name="connsiteX17" fmla="*/ 51633 w 651178"/>
                          <a:gd name="connsiteY17" fmla="*/ 143386 h 269876"/>
                          <a:gd name="connsiteX18" fmla="*/ 88142 w 651178"/>
                          <a:gd name="connsiteY18" fmla="*/ 158508 h 269876"/>
                          <a:gd name="connsiteX19" fmla="*/ 93300 w 651178"/>
                          <a:gd name="connsiteY19" fmla="*/ 170959 h 269876"/>
                          <a:gd name="connsiteX20" fmla="*/ 224032 w 651178"/>
                          <a:gd name="connsiteY20" fmla="*/ 70210 h 269876"/>
                          <a:gd name="connsiteX21" fmla="*/ 216336 w 651178"/>
                          <a:gd name="connsiteY21" fmla="*/ 51632 h 269876"/>
                          <a:gd name="connsiteX22" fmla="*/ 267969 w 651178"/>
                          <a:gd name="connsiteY22" fmla="*/ 1 h 269876"/>
                          <a:gd name="connsiteX23" fmla="*/ 319601 w 651178"/>
                          <a:gd name="connsiteY23" fmla="*/ 51632 h 269876"/>
                          <a:gd name="connsiteX24" fmla="*/ 310305 w 651178"/>
                          <a:gd name="connsiteY24" fmla="*/ 74076 h 269876"/>
                          <a:gd name="connsiteX25" fmla="*/ 370097 w 651178"/>
                          <a:gd name="connsiteY25" fmla="*/ 177639 h 269876"/>
                          <a:gd name="connsiteX26" fmla="*/ 380434 w 651178"/>
                          <a:gd name="connsiteY26" fmla="*/ 170670 h 269876"/>
                          <a:gd name="connsiteX27" fmla="*/ 400532 w 651178"/>
                          <a:gd name="connsiteY27" fmla="*/ 166612 h 269876"/>
                          <a:gd name="connsiteX28" fmla="*/ 420630 w 651178"/>
                          <a:gd name="connsiteY28" fmla="*/ 170670 h 269876"/>
                          <a:gd name="connsiteX29" fmla="*/ 428568 w 651178"/>
                          <a:gd name="connsiteY29" fmla="*/ 176022 h 269876"/>
                          <a:gd name="connsiteX30" fmla="*/ 558092 w 651178"/>
                          <a:gd name="connsiteY30" fmla="*/ 76205 h 269876"/>
                          <a:gd name="connsiteX31" fmla="*/ 547914 w 651178"/>
                          <a:gd name="connsiteY31" fmla="*/ 51633 h 269876"/>
                          <a:gd name="connsiteX32" fmla="*/ 599546 w 651178"/>
                          <a:gd name="connsiteY32" fmla="*/ 0 h 269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51178" h="269876">
                            <a:moveTo>
                              <a:pt x="599546" y="0"/>
                            </a:moveTo>
                            <a:cubicBezTo>
                              <a:pt x="628062" y="0"/>
                              <a:pt x="651178" y="23116"/>
                              <a:pt x="651178" y="51633"/>
                            </a:cubicBezTo>
                            <a:cubicBezTo>
                              <a:pt x="651178" y="80148"/>
                              <a:pt x="628062" y="103264"/>
                              <a:pt x="599546" y="103264"/>
                            </a:cubicBezTo>
                            <a:lnTo>
                              <a:pt x="586355" y="100601"/>
                            </a:lnTo>
                            <a:lnTo>
                              <a:pt x="447696" y="207457"/>
                            </a:lnTo>
                            <a:lnTo>
                              <a:pt x="452164" y="218244"/>
                            </a:lnTo>
                            <a:cubicBezTo>
                              <a:pt x="452164" y="246760"/>
                              <a:pt x="429048" y="269876"/>
                              <a:pt x="400532" y="269876"/>
                            </a:cubicBezTo>
                            <a:cubicBezTo>
                              <a:pt x="372016" y="269876"/>
                              <a:pt x="348900" y="246760"/>
                              <a:pt x="348900" y="218244"/>
                            </a:cubicBezTo>
                            <a:lnTo>
                              <a:pt x="349905" y="215818"/>
                            </a:lnTo>
                            <a:lnTo>
                              <a:pt x="283152" y="100199"/>
                            </a:lnTo>
                            <a:lnTo>
                              <a:pt x="267969" y="103265"/>
                            </a:lnTo>
                            <a:cubicBezTo>
                              <a:pt x="260840" y="103264"/>
                              <a:pt x="254048" y="101819"/>
                              <a:pt x="247871" y="99207"/>
                            </a:cubicBezTo>
                            <a:lnTo>
                              <a:pt x="247047" y="98651"/>
                            </a:lnTo>
                            <a:lnTo>
                              <a:pt x="94480" y="216225"/>
                            </a:lnTo>
                            <a:lnTo>
                              <a:pt x="88142" y="231527"/>
                            </a:lnTo>
                            <a:cubicBezTo>
                              <a:pt x="78799" y="240871"/>
                              <a:pt x="65891" y="246650"/>
                              <a:pt x="51633" y="246650"/>
                            </a:cubicBezTo>
                            <a:cubicBezTo>
                              <a:pt x="23116" y="246650"/>
                              <a:pt x="0" y="223534"/>
                              <a:pt x="0" y="195018"/>
                            </a:cubicBezTo>
                            <a:cubicBezTo>
                              <a:pt x="1" y="166502"/>
                              <a:pt x="23117" y="143386"/>
                              <a:pt x="51633" y="143386"/>
                            </a:cubicBezTo>
                            <a:cubicBezTo>
                              <a:pt x="65891" y="143386"/>
                              <a:pt x="78799" y="149164"/>
                              <a:pt x="88142" y="158508"/>
                            </a:cubicBezTo>
                            <a:lnTo>
                              <a:pt x="93300" y="170959"/>
                            </a:lnTo>
                            <a:lnTo>
                              <a:pt x="224032" y="70210"/>
                            </a:lnTo>
                            <a:lnTo>
                              <a:pt x="216336" y="51632"/>
                            </a:lnTo>
                            <a:cubicBezTo>
                              <a:pt x="216337" y="23117"/>
                              <a:pt x="239453" y="1"/>
                              <a:pt x="267969" y="1"/>
                            </a:cubicBezTo>
                            <a:cubicBezTo>
                              <a:pt x="296485" y="1"/>
                              <a:pt x="319601" y="23117"/>
                              <a:pt x="319601" y="51632"/>
                            </a:cubicBezTo>
                            <a:lnTo>
                              <a:pt x="310305" y="74076"/>
                            </a:lnTo>
                            <a:lnTo>
                              <a:pt x="370097" y="177639"/>
                            </a:lnTo>
                            <a:lnTo>
                              <a:pt x="380434" y="170670"/>
                            </a:lnTo>
                            <a:cubicBezTo>
                              <a:pt x="386612" y="168057"/>
                              <a:pt x="393403" y="166612"/>
                              <a:pt x="400532" y="166612"/>
                            </a:cubicBezTo>
                            <a:cubicBezTo>
                              <a:pt x="407661" y="166612"/>
                              <a:pt x="414453" y="168057"/>
                              <a:pt x="420630" y="170670"/>
                            </a:cubicBezTo>
                            <a:lnTo>
                              <a:pt x="428568" y="176022"/>
                            </a:lnTo>
                            <a:lnTo>
                              <a:pt x="558092" y="76205"/>
                            </a:lnTo>
                            <a:lnTo>
                              <a:pt x="547914" y="51633"/>
                            </a:lnTo>
                            <a:cubicBezTo>
                              <a:pt x="547913" y="23117"/>
                              <a:pt x="571030" y="0"/>
                              <a:pt x="599546" y="0"/>
                            </a:cubicBezTo>
                            <a:close/>
                          </a:path>
                        </a:pathLst>
                      </a:custGeom>
                      <a:solidFill>
                        <a:srgbClr val="804896"/>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396" name="Group 1395">
                      <a:extLst>
                        <a:ext uri="{FF2B5EF4-FFF2-40B4-BE49-F238E27FC236}">
                          <a16:creationId xmlns:a16="http://schemas.microsoft.com/office/drawing/2014/main" id="{21C2B0CA-7F17-44E5-9A58-DF83BCA6C981}"/>
                        </a:ext>
                      </a:extLst>
                    </p:cNvPr>
                    <p:cNvGrpSpPr>
                      <a:grpSpLocks noChangeAspect="1"/>
                    </p:cNvGrpSpPr>
                    <p:nvPr/>
                  </p:nvGrpSpPr>
                  <p:grpSpPr>
                    <a:xfrm>
                      <a:off x="4877410" y="5333954"/>
                      <a:ext cx="186971" cy="155137"/>
                      <a:chOff x="6017424" y="5359615"/>
                      <a:chExt cx="186971" cy="155137"/>
                    </a:xfrm>
                  </p:grpSpPr>
                  <p:sp>
                    <p:nvSpPr>
                      <p:cNvPr id="1397" name="Heart 1396">
                        <a:extLst>
                          <a:ext uri="{FF2B5EF4-FFF2-40B4-BE49-F238E27FC236}">
                            <a16:creationId xmlns:a16="http://schemas.microsoft.com/office/drawing/2014/main" id="{5FC8C5B3-F177-4F3B-9061-1412BD0F7B0F}"/>
                          </a:ext>
                        </a:extLst>
                      </p:cNvPr>
                      <p:cNvSpPr/>
                      <p:nvPr/>
                    </p:nvSpPr>
                    <p:spPr bwMode="auto">
                      <a:xfrm>
                        <a:off x="6017424" y="5359615"/>
                        <a:ext cx="186971" cy="155137"/>
                      </a:xfrm>
                      <a:prstGeom prst="heart">
                        <a:avLst/>
                      </a:prstGeom>
                      <a:solidFill>
                        <a:srgbClr val="C7434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98" name="Freeform: Shape 1397">
                        <a:extLst>
                          <a:ext uri="{FF2B5EF4-FFF2-40B4-BE49-F238E27FC236}">
                            <a16:creationId xmlns:a16="http://schemas.microsoft.com/office/drawing/2014/main" id="{EBBE7094-C9A8-4710-9F5C-14DEEAE66786}"/>
                          </a:ext>
                        </a:extLst>
                      </p:cNvPr>
                      <p:cNvSpPr/>
                      <p:nvPr/>
                    </p:nvSpPr>
                    <p:spPr bwMode="auto">
                      <a:xfrm>
                        <a:off x="6082263" y="5368123"/>
                        <a:ext cx="122132" cy="146629"/>
                      </a:xfrm>
                      <a:custGeom>
                        <a:avLst/>
                        <a:gdLst>
                          <a:gd name="connsiteX0" fmla="*/ 99825 w 122132"/>
                          <a:gd name="connsiteY0" fmla="*/ 0 h 146629"/>
                          <a:gd name="connsiteX1" fmla="*/ 114147 w 122132"/>
                          <a:gd name="connsiteY1" fmla="*/ 10884 h 146629"/>
                          <a:gd name="connsiteX2" fmla="*/ 27965 w 122132"/>
                          <a:gd name="connsiteY2" fmla="*/ 146629 h 146629"/>
                          <a:gd name="connsiteX3" fmla="*/ 0 w 122132"/>
                          <a:gd name="connsiteY3" fmla="*/ 127792 h 146629"/>
                        </a:gdLst>
                        <a:ahLst/>
                        <a:cxnLst>
                          <a:cxn ang="0">
                            <a:pos x="connsiteX0" y="connsiteY0"/>
                          </a:cxn>
                          <a:cxn ang="0">
                            <a:pos x="connsiteX1" y="connsiteY1"/>
                          </a:cxn>
                          <a:cxn ang="0">
                            <a:pos x="connsiteX2" y="connsiteY2"/>
                          </a:cxn>
                          <a:cxn ang="0">
                            <a:pos x="connsiteX3" y="connsiteY3"/>
                          </a:cxn>
                        </a:cxnLst>
                        <a:rect l="l" t="t" r="r" b="b"/>
                        <a:pathLst>
                          <a:path w="122132" h="146629">
                            <a:moveTo>
                              <a:pt x="99825" y="0"/>
                            </a:moveTo>
                            <a:lnTo>
                              <a:pt x="114147" y="10884"/>
                            </a:lnTo>
                            <a:cubicBezTo>
                              <a:pt x="133136" y="36741"/>
                              <a:pt x="123398" y="88453"/>
                              <a:pt x="27965" y="146629"/>
                            </a:cubicBezTo>
                            <a:lnTo>
                              <a:pt x="0" y="127792"/>
                            </a:lnTo>
                            <a:close/>
                          </a:path>
                        </a:pathLst>
                      </a:custGeom>
                      <a:solidFill>
                        <a:srgbClr val="B9141A"/>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grpSp>
          <p:grpSp>
            <p:nvGrpSpPr>
              <p:cNvPr id="1307" name="Group 1306">
                <a:extLst>
                  <a:ext uri="{FF2B5EF4-FFF2-40B4-BE49-F238E27FC236}">
                    <a16:creationId xmlns:a16="http://schemas.microsoft.com/office/drawing/2014/main" id="{6A0020BC-B305-4B1E-9C5B-66FB160E6617}"/>
                  </a:ext>
                </a:extLst>
              </p:cNvPr>
              <p:cNvGrpSpPr/>
              <p:nvPr/>
            </p:nvGrpSpPr>
            <p:grpSpPr>
              <a:xfrm>
                <a:off x="4607904" y="4354362"/>
                <a:ext cx="1280940" cy="1365650"/>
                <a:chOff x="4607904" y="4354362"/>
                <a:chExt cx="1280940" cy="1365650"/>
              </a:xfrm>
            </p:grpSpPr>
            <p:sp>
              <p:nvSpPr>
                <p:cNvPr id="1383" name="TextBox 1382">
                  <a:extLst>
                    <a:ext uri="{FF2B5EF4-FFF2-40B4-BE49-F238E27FC236}">
                      <a16:creationId xmlns:a16="http://schemas.microsoft.com/office/drawing/2014/main" id="{2E12FAB4-0B8F-486C-95F5-4B389DC7D6A6}"/>
                    </a:ext>
                  </a:extLst>
                </p:cNvPr>
                <p:cNvSpPr txBox="1"/>
                <p:nvPr/>
              </p:nvSpPr>
              <p:spPr>
                <a:xfrm>
                  <a:off x="5016950" y="4354362"/>
                  <a:ext cx="184731" cy="284372"/>
                </a:xfrm>
                <a:prstGeom prst="rect">
                  <a:avLst/>
                </a:prstGeom>
                <a:noFill/>
                <a:ln>
                  <a:noFill/>
                </a:ln>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48" b="0" i="0" u="none" strike="noStrike" kern="0" cap="none" spc="0" normalizeH="0" baseline="0" noProof="0">
                    <a:ln>
                      <a:noFill/>
                    </a:ln>
                    <a:solidFill>
                      <a:srgbClr val="353535">
                        <a:lumMod val="60000"/>
                        <a:lumOff val="40000"/>
                      </a:srgbClr>
                    </a:solidFill>
                    <a:effectLst/>
                    <a:uLnTx/>
                    <a:uFillTx/>
                    <a:latin typeface="Segoe UI Semilight"/>
                    <a:ea typeface="+mn-ea"/>
                    <a:cs typeface="+mn-cs"/>
                  </a:endParaRPr>
                </a:p>
              </p:txBody>
            </p:sp>
            <p:grpSp>
              <p:nvGrpSpPr>
                <p:cNvPr id="1309" name="Group 1308">
                  <a:extLst>
                    <a:ext uri="{FF2B5EF4-FFF2-40B4-BE49-F238E27FC236}">
                      <a16:creationId xmlns:a16="http://schemas.microsoft.com/office/drawing/2014/main" id="{DC1A753E-ACCC-4710-80F0-A953D99AC51E}"/>
                    </a:ext>
                  </a:extLst>
                </p:cNvPr>
                <p:cNvGrpSpPr/>
                <p:nvPr/>
              </p:nvGrpSpPr>
              <p:grpSpPr>
                <a:xfrm>
                  <a:off x="4607904" y="5516214"/>
                  <a:ext cx="222858" cy="203798"/>
                  <a:chOff x="3208463" y="2157245"/>
                  <a:chExt cx="361960" cy="331004"/>
                </a:xfrm>
              </p:grpSpPr>
              <p:sp>
                <p:nvSpPr>
                  <p:cNvPr id="1372" name="Freeform: Shape 1371">
                    <a:extLst>
                      <a:ext uri="{FF2B5EF4-FFF2-40B4-BE49-F238E27FC236}">
                        <a16:creationId xmlns:a16="http://schemas.microsoft.com/office/drawing/2014/main" id="{DB3D6795-7C26-4A9D-8205-5F489B1CF663}"/>
                      </a:ext>
                    </a:extLst>
                  </p:cNvPr>
                  <p:cNvSpPr/>
                  <p:nvPr/>
                </p:nvSpPr>
                <p:spPr>
                  <a:xfrm>
                    <a:off x="3271138" y="2421497"/>
                    <a:ext cx="228600" cy="66675"/>
                  </a:xfrm>
                  <a:custGeom>
                    <a:avLst/>
                    <a:gdLst/>
                    <a:ahLst/>
                    <a:cxnLst/>
                    <a:rect l="0" t="0" r="0" b="0"/>
                    <a:pathLst>
                      <a:path w="228600" h="66675">
                        <a:moveTo>
                          <a:pt x="172174" y="0"/>
                        </a:moveTo>
                        <a:lnTo>
                          <a:pt x="163544" y="0"/>
                        </a:lnTo>
                        <a:lnTo>
                          <a:pt x="78153" y="0"/>
                        </a:lnTo>
                        <a:lnTo>
                          <a:pt x="73695" y="0"/>
                        </a:lnTo>
                        <a:cubicBezTo>
                          <a:pt x="85525" y="41719"/>
                          <a:pt x="69628" y="47701"/>
                          <a:pt x="0" y="47701"/>
                        </a:cubicBezTo>
                        <a:lnTo>
                          <a:pt x="0" y="69552"/>
                        </a:lnTo>
                        <a:lnTo>
                          <a:pt x="88554" y="69552"/>
                        </a:lnTo>
                        <a:lnTo>
                          <a:pt x="153210" y="69552"/>
                        </a:lnTo>
                        <a:lnTo>
                          <a:pt x="236772" y="69552"/>
                        </a:lnTo>
                        <a:lnTo>
                          <a:pt x="236772" y="47711"/>
                        </a:lnTo>
                        <a:cubicBezTo>
                          <a:pt x="167154" y="47701"/>
                          <a:pt x="160325" y="41748"/>
                          <a:pt x="172174" y="0"/>
                        </a:cubicBezTo>
                      </a:path>
                    </a:pathLst>
                  </a:custGeom>
                  <a:solidFill>
                    <a:srgbClr val="7A7A7A"/>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3" name="Freeform: Shape 1372">
                    <a:extLst>
                      <a:ext uri="{FF2B5EF4-FFF2-40B4-BE49-F238E27FC236}">
                        <a16:creationId xmlns:a16="http://schemas.microsoft.com/office/drawing/2014/main" id="{9D088B5F-B39F-4CD6-84D4-B5F69BA4A21A}"/>
                      </a:ext>
                    </a:extLst>
                  </p:cNvPr>
                  <p:cNvSpPr/>
                  <p:nvPr/>
                </p:nvSpPr>
                <p:spPr>
                  <a:xfrm>
                    <a:off x="3208473" y="2157245"/>
                    <a:ext cx="361950" cy="257175"/>
                  </a:xfrm>
                  <a:custGeom>
                    <a:avLst/>
                    <a:gdLst/>
                    <a:ahLst/>
                    <a:cxnLst/>
                    <a:rect l="0" t="0" r="0" b="0"/>
                    <a:pathLst>
                      <a:path w="361950" h="257175">
                        <a:moveTo>
                          <a:pt x="340252" y="0"/>
                        </a:moveTo>
                        <a:lnTo>
                          <a:pt x="19679" y="0"/>
                        </a:lnTo>
                        <a:cubicBezTo>
                          <a:pt x="8782" y="0"/>
                          <a:pt x="0" y="9725"/>
                          <a:pt x="0" y="20593"/>
                        </a:cubicBezTo>
                        <a:lnTo>
                          <a:pt x="0" y="243850"/>
                        </a:lnTo>
                        <a:cubicBezTo>
                          <a:pt x="0" y="254651"/>
                          <a:pt x="8782" y="264271"/>
                          <a:pt x="19679" y="264271"/>
                        </a:cubicBezTo>
                        <a:lnTo>
                          <a:pt x="340252" y="264271"/>
                        </a:lnTo>
                        <a:cubicBezTo>
                          <a:pt x="351120" y="264271"/>
                          <a:pt x="362131" y="254651"/>
                          <a:pt x="362131" y="243850"/>
                        </a:cubicBezTo>
                        <a:lnTo>
                          <a:pt x="362131" y="20593"/>
                        </a:lnTo>
                        <a:cubicBezTo>
                          <a:pt x="362131" y="9706"/>
                          <a:pt x="351120" y="0"/>
                          <a:pt x="340252" y="0"/>
                        </a:cubicBezTo>
                      </a:path>
                    </a:pathLst>
                  </a:custGeom>
                  <a:solidFill>
                    <a:srgbClr val="A0A1A2"/>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4" name="Freeform: Shape 1373">
                    <a:extLst>
                      <a:ext uri="{FF2B5EF4-FFF2-40B4-BE49-F238E27FC236}">
                        <a16:creationId xmlns:a16="http://schemas.microsoft.com/office/drawing/2014/main" id="{5E567396-112A-4C5E-8700-B4F9B40CBEAE}"/>
                      </a:ext>
                    </a:extLst>
                  </p:cNvPr>
                  <p:cNvSpPr/>
                  <p:nvPr/>
                </p:nvSpPr>
                <p:spPr>
                  <a:xfrm>
                    <a:off x="3208463" y="2157255"/>
                    <a:ext cx="333375" cy="257175"/>
                  </a:xfrm>
                  <a:custGeom>
                    <a:avLst/>
                    <a:gdLst/>
                    <a:ahLst/>
                    <a:cxnLst/>
                    <a:rect l="0" t="0" r="0" b="0"/>
                    <a:pathLst>
                      <a:path w="333375" h="257175">
                        <a:moveTo>
                          <a:pt x="340490" y="19"/>
                        </a:moveTo>
                        <a:cubicBezTo>
                          <a:pt x="340414" y="19"/>
                          <a:pt x="340338" y="0"/>
                          <a:pt x="340262" y="0"/>
                        </a:cubicBezTo>
                        <a:lnTo>
                          <a:pt x="19679" y="0"/>
                        </a:lnTo>
                        <a:cubicBezTo>
                          <a:pt x="8782" y="0"/>
                          <a:pt x="0" y="9725"/>
                          <a:pt x="0" y="20593"/>
                        </a:cubicBezTo>
                        <a:lnTo>
                          <a:pt x="0" y="243840"/>
                        </a:lnTo>
                        <a:cubicBezTo>
                          <a:pt x="0" y="254641"/>
                          <a:pt x="8782" y="264262"/>
                          <a:pt x="19679" y="264262"/>
                        </a:cubicBezTo>
                        <a:lnTo>
                          <a:pt x="27308" y="264262"/>
                        </a:lnTo>
                        <a:lnTo>
                          <a:pt x="340490" y="19"/>
                        </a:lnTo>
                        <a:close/>
                      </a:path>
                    </a:pathLst>
                  </a:custGeom>
                  <a:solidFill>
                    <a:srgbClr val="FFFFFF">
                      <a:alpha val="20000"/>
                    </a:srgbClr>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5" name="Freeform: Shape 1374">
                    <a:extLst>
                      <a:ext uri="{FF2B5EF4-FFF2-40B4-BE49-F238E27FC236}">
                        <a16:creationId xmlns:a16="http://schemas.microsoft.com/office/drawing/2014/main" id="{5C1C6F68-541F-4CE2-9D6F-E55043C71CC3}"/>
                      </a:ext>
                    </a:extLst>
                  </p:cNvPr>
                  <p:cNvSpPr/>
                  <p:nvPr/>
                </p:nvSpPr>
                <p:spPr>
                  <a:xfrm>
                    <a:off x="3235915" y="2184630"/>
                    <a:ext cx="304800" cy="200025"/>
                  </a:xfrm>
                  <a:custGeom>
                    <a:avLst/>
                    <a:gdLst/>
                    <a:ahLst/>
                    <a:cxnLst/>
                    <a:rect l="0" t="0" r="0" b="0"/>
                    <a:pathLst>
                      <a:path w="304800" h="200025">
                        <a:moveTo>
                          <a:pt x="307153" y="209064"/>
                        </a:moveTo>
                        <a:lnTo>
                          <a:pt x="0" y="209064"/>
                        </a:lnTo>
                        <a:lnTo>
                          <a:pt x="0" y="457"/>
                        </a:lnTo>
                        <a:lnTo>
                          <a:pt x="307153" y="0"/>
                        </a:lnTo>
                        <a:close/>
                      </a:path>
                    </a:pathLst>
                  </a:custGeom>
                  <a:solidFill>
                    <a:srgbClr val="59B4D9"/>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6" name="Freeform: Shape 1375">
                    <a:extLst>
                      <a:ext uri="{FF2B5EF4-FFF2-40B4-BE49-F238E27FC236}">
                        <a16:creationId xmlns:a16="http://schemas.microsoft.com/office/drawing/2014/main" id="{6E2E9D94-9CB0-4FBE-8174-0C2D1B1F6D84}"/>
                      </a:ext>
                    </a:extLst>
                  </p:cNvPr>
                  <p:cNvSpPr/>
                  <p:nvPr/>
                </p:nvSpPr>
                <p:spPr>
                  <a:xfrm>
                    <a:off x="3271148" y="2469199"/>
                    <a:ext cx="228600" cy="19050"/>
                  </a:xfrm>
                  <a:custGeom>
                    <a:avLst/>
                    <a:gdLst/>
                    <a:ahLst/>
                    <a:cxnLst/>
                    <a:rect l="0" t="0" r="0" b="0"/>
                    <a:pathLst>
                      <a:path w="228600" h="19050">
                        <a:moveTo>
                          <a:pt x="0" y="0"/>
                        </a:moveTo>
                        <a:lnTo>
                          <a:pt x="236772" y="0"/>
                        </a:lnTo>
                        <a:lnTo>
                          <a:pt x="236772" y="21850"/>
                        </a:lnTo>
                        <a:lnTo>
                          <a:pt x="0" y="21850"/>
                        </a:lnTo>
                        <a:close/>
                      </a:path>
                    </a:pathLst>
                  </a:custGeom>
                  <a:solidFill>
                    <a:srgbClr val="A0A1A2"/>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7" name="Freeform: Shape 1376">
                    <a:extLst>
                      <a:ext uri="{FF2B5EF4-FFF2-40B4-BE49-F238E27FC236}">
                        <a16:creationId xmlns:a16="http://schemas.microsoft.com/office/drawing/2014/main" id="{54F9288D-5C40-4A33-ACC6-F8AA7630AD02}"/>
                      </a:ext>
                    </a:extLst>
                  </p:cNvPr>
                  <p:cNvSpPr/>
                  <p:nvPr/>
                </p:nvSpPr>
                <p:spPr>
                  <a:xfrm>
                    <a:off x="3327793" y="2205925"/>
                    <a:ext cx="123825" cy="76200"/>
                  </a:xfrm>
                  <a:custGeom>
                    <a:avLst/>
                    <a:gdLst/>
                    <a:ahLst/>
                    <a:cxnLst/>
                    <a:rect l="0" t="0" r="0" b="0"/>
                    <a:pathLst>
                      <a:path w="123825" h="76200">
                        <a:moveTo>
                          <a:pt x="65694" y="77136"/>
                        </a:moveTo>
                        <a:cubicBezTo>
                          <a:pt x="65361" y="77136"/>
                          <a:pt x="65037" y="77031"/>
                          <a:pt x="64722" y="76860"/>
                        </a:cubicBezTo>
                        <a:lnTo>
                          <a:pt x="953" y="40103"/>
                        </a:lnTo>
                        <a:cubicBezTo>
                          <a:pt x="371" y="39760"/>
                          <a:pt x="0" y="39112"/>
                          <a:pt x="0" y="38436"/>
                        </a:cubicBezTo>
                        <a:cubicBezTo>
                          <a:pt x="0" y="37750"/>
                          <a:pt x="371" y="37112"/>
                          <a:pt x="953" y="36769"/>
                        </a:cubicBezTo>
                        <a:lnTo>
                          <a:pt x="64332" y="250"/>
                        </a:lnTo>
                        <a:cubicBezTo>
                          <a:pt x="64922" y="-83"/>
                          <a:pt x="65646" y="-83"/>
                          <a:pt x="66237" y="250"/>
                        </a:cubicBezTo>
                        <a:lnTo>
                          <a:pt x="130026" y="37026"/>
                        </a:lnTo>
                        <a:cubicBezTo>
                          <a:pt x="130616" y="37369"/>
                          <a:pt x="130978" y="38007"/>
                          <a:pt x="130978" y="38693"/>
                        </a:cubicBezTo>
                        <a:cubicBezTo>
                          <a:pt x="130978" y="39388"/>
                          <a:pt x="130626" y="40017"/>
                          <a:pt x="130026" y="40360"/>
                        </a:cubicBezTo>
                        <a:lnTo>
                          <a:pt x="66665" y="76869"/>
                        </a:lnTo>
                        <a:cubicBezTo>
                          <a:pt x="66361" y="77031"/>
                          <a:pt x="66046" y="77136"/>
                          <a:pt x="65694" y="77136"/>
                        </a:cubicBezTo>
                      </a:path>
                    </a:pathLst>
                  </a:custGeom>
                  <a:solidFill>
                    <a:srgbClr val="FFFFFF"/>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8" name="Freeform: Shape 1377">
                    <a:extLst>
                      <a:ext uri="{FF2B5EF4-FFF2-40B4-BE49-F238E27FC236}">
                        <a16:creationId xmlns:a16="http://schemas.microsoft.com/office/drawing/2014/main" id="{2B9E722C-4343-4EF0-B73A-E145228D27D8}"/>
                      </a:ext>
                    </a:extLst>
                  </p:cNvPr>
                  <p:cNvSpPr/>
                  <p:nvPr/>
                </p:nvSpPr>
                <p:spPr>
                  <a:xfrm>
                    <a:off x="3318782" y="2258375"/>
                    <a:ext cx="66675" cy="104775"/>
                  </a:xfrm>
                  <a:custGeom>
                    <a:avLst/>
                    <a:gdLst/>
                    <a:ahLst/>
                    <a:cxnLst/>
                    <a:rect l="0" t="0" r="0" b="0"/>
                    <a:pathLst>
                      <a:path w="66675" h="104775">
                        <a:moveTo>
                          <a:pt x="65542" y="114031"/>
                        </a:moveTo>
                        <a:cubicBezTo>
                          <a:pt x="65180" y="114031"/>
                          <a:pt x="64856" y="113945"/>
                          <a:pt x="64570" y="113774"/>
                        </a:cubicBezTo>
                        <a:lnTo>
                          <a:pt x="991" y="77131"/>
                        </a:lnTo>
                        <a:cubicBezTo>
                          <a:pt x="371" y="76788"/>
                          <a:pt x="0" y="76169"/>
                          <a:pt x="0" y="75464"/>
                        </a:cubicBezTo>
                        <a:lnTo>
                          <a:pt x="0" y="1931"/>
                        </a:lnTo>
                        <a:cubicBezTo>
                          <a:pt x="0" y="1236"/>
                          <a:pt x="371" y="607"/>
                          <a:pt x="991" y="264"/>
                        </a:cubicBezTo>
                        <a:cubicBezTo>
                          <a:pt x="1581" y="-88"/>
                          <a:pt x="2296" y="-88"/>
                          <a:pt x="2934" y="264"/>
                        </a:cubicBezTo>
                        <a:lnTo>
                          <a:pt x="66504" y="36897"/>
                        </a:lnTo>
                        <a:cubicBezTo>
                          <a:pt x="67066" y="37259"/>
                          <a:pt x="67447" y="37888"/>
                          <a:pt x="67447" y="38583"/>
                        </a:cubicBezTo>
                        <a:lnTo>
                          <a:pt x="67447" y="112116"/>
                        </a:lnTo>
                        <a:cubicBezTo>
                          <a:pt x="67447" y="112821"/>
                          <a:pt x="67075" y="113440"/>
                          <a:pt x="66504" y="113783"/>
                        </a:cubicBezTo>
                        <a:cubicBezTo>
                          <a:pt x="66189" y="113945"/>
                          <a:pt x="65856" y="114031"/>
                          <a:pt x="65542" y="114031"/>
                        </a:cubicBezTo>
                      </a:path>
                    </a:pathLst>
                  </a:custGeom>
                  <a:solidFill>
                    <a:srgbClr val="FFFFFF">
                      <a:alpha val="70000"/>
                    </a:srgbClr>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9" name="Freeform: Shape 1378">
                    <a:extLst>
                      <a:ext uri="{FF2B5EF4-FFF2-40B4-BE49-F238E27FC236}">
                        <a16:creationId xmlns:a16="http://schemas.microsoft.com/office/drawing/2014/main" id="{6B81D0CE-F4A5-4BFC-B8EF-1255C1479BEE}"/>
                      </a:ext>
                    </a:extLst>
                  </p:cNvPr>
                  <p:cNvSpPr/>
                  <p:nvPr/>
                </p:nvSpPr>
                <p:spPr>
                  <a:xfrm>
                    <a:off x="3400392" y="2258858"/>
                    <a:ext cx="66675" cy="104775"/>
                  </a:xfrm>
                  <a:custGeom>
                    <a:avLst/>
                    <a:gdLst/>
                    <a:ahLst/>
                    <a:cxnLst/>
                    <a:rect l="0" t="0" r="0" b="0"/>
                    <a:pathLst>
                      <a:path w="66675" h="104775">
                        <a:moveTo>
                          <a:pt x="1934" y="113548"/>
                        </a:moveTo>
                        <a:cubicBezTo>
                          <a:pt x="1581" y="113548"/>
                          <a:pt x="1257" y="113462"/>
                          <a:pt x="933" y="113290"/>
                        </a:cubicBezTo>
                        <a:cubicBezTo>
                          <a:pt x="371" y="112947"/>
                          <a:pt x="0" y="112319"/>
                          <a:pt x="0" y="111623"/>
                        </a:cubicBezTo>
                        <a:lnTo>
                          <a:pt x="0" y="38548"/>
                        </a:lnTo>
                        <a:cubicBezTo>
                          <a:pt x="0" y="37871"/>
                          <a:pt x="371" y="37233"/>
                          <a:pt x="933" y="36881"/>
                        </a:cubicBezTo>
                        <a:lnTo>
                          <a:pt x="64503" y="257"/>
                        </a:lnTo>
                        <a:cubicBezTo>
                          <a:pt x="65113" y="-86"/>
                          <a:pt x="65818" y="-86"/>
                          <a:pt x="66418" y="257"/>
                        </a:cubicBezTo>
                        <a:cubicBezTo>
                          <a:pt x="67027" y="600"/>
                          <a:pt x="67389" y="1229"/>
                          <a:pt x="67389" y="1924"/>
                        </a:cubicBezTo>
                        <a:lnTo>
                          <a:pt x="67389" y="74990"/>
                        </a:lnTo>
                        <a:cubicBezTo>
                          <a:pt x="67389" y="75695"/>
                          <a:pt x="67018" y="76324"/>
                          <a:pt x="66418" y="76657"/>
                        </a:cubicBezTo>
                        <a:lnTo>
                          <a:pt x="2867" y="113300"/>
                        </a:lnTo>
                        <a:cubicBezTo>
                          <a:pt x="2600" y="113462"/>
                          <a:pt x="2257" y="113548"/>
                          <a:pt x="1934" y="113548"/>
                        </a:cubicBezTo>
                      </a:path>
                    </a:pathLst>
                  </a:custGeom>
                  <a:solidFill>
                    <a:srgbClr val="FFFFFF">
                      <a:alpha val="40000"/>
                    </a:srgbClr>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310" name="Group 1309">
                  <a:extLst>
                    <a:ext uri="{FF2B5EF4-FFF2-40B4-BE49-F238E27FC236}">
                      <a16:creationId xmlns:a16="http://schemas.microsoft.com/office/drawing/2014/main" id="{E744A882-8595-43FA-8A14-A8D7670F2C62}"/>
                    </a:ext>
                  </a:extLst>
                </p:cNvPr>
                <p:cNvGrpSpPr>
                  <a:grpSpLocks noChangeAspect="1"/>
                </p:cNvGrpSpPr>
                <p:nvPr/>
              </p:nvGrpSpPr>
              <p:grpSpPr>
                <a:xfrm>
                  <a:off x="4974444" y="4765325"/>
                  <a:ext cx="914400" cy="696854"/>
                  <a:chOff x="4817192" y="4571599"/>
                  <a:chExt cx="1228038" cy="935873"/>
                </a:xfrm>
              </p:grpSpPr>
              <p:grpSp>
                <p:nvGrpSpPr>
                  <p:cNvPr id="1311" name="Group 1310">
                    <a:extLst>
                      <a:ext uri="{FF2B5EF4-FFF2-40B4-BE49-F238E27FC236}">
                        <a16:creationId xmlns:a16="http://schemas.microsoft.com/office/drawing/2014/main" id="{9BFF076F-FFA9-48B9-A864-2C11D91569EE}"/>
                      </a:ext>
                    </a:extLst>
                  </p:cNvPr>
                  <p:cNvGrpSpPr/>
                  <p:nvPr/>
                </p:nvGrpSpPr>
                <p:grpSpPr>
                  <a:xfrm>
                    <a:off x="5309908" y="4571599"/>
                    <a:ext cx="735322" cy="630823"/>
                    <a:chOff x="5387968" y="4679219"/>
                    <a:chExt cx="596136" cy="511417"/>
                  </a:xfrm>
                </p:grpSpPr>
                <p:grpSp>
                  <p:nvGrpSpPr>
                    <p:cNvPr id="1351" name="Group 1350">
                      <a:extLst>
                        <a:ext uri="{FF2B5EF4-FFF2-40B4-BE49-F238E27FC236}">
                          <a16:creationId xmlns:a16="http://schemas.microsoft.com/office/drawing/2014/main" id="{73E864E2-C33B-45F6-8401-01DA321BF2E5}"/>
                        </a:ext>
                      </a:extLst>
                    </p:cNvPr>
                    <p:cNvGrpSpPr/>
                    <p:nvPr/>
                  </p:nvGrpSpPr>
                  <p:grpSpPr>
                    <a:xfrm>
                      <a:off x="5387968" y="4679219"/>
                      <a:ext cx="596136" cy="511417"/>
                      <a:chOff x="-2759706" y="1099471"/>
                      <a:chExt cx="7926138" cy="6799720"/>
                    </a:xfrm>
                  </p:grpSpPr>
                  <p:sp>
                    <p:nvSpPr>
                      <p:cNvPr id="1368" name="Rectangle 317">
                        <a:extLst>
                          <a:ext uri="{FF2B5EF4-FFF2-40B4-BE49-F238E27FC236}">
                            <a16:creationId xmlns:a16="http://schemas.microsoft.com/office/drawing/2014/main" id="{89EDD18B-4474-455A-BE6E-E596ADC66550}"/>
                          </a:ext>
                        </a:extLst>
                      </p:cNvPr>
                      <p:cNvSpPr/>
                      <p:nvPr/>
                    </p:nvSpPr>
                    <p:spPr bwMode="auto">
                      <a:xfrm>
                        <a:off x="-1103535" y="6493181"/>
                        <a:ext cx="4613796" cy="1133080"/>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0372A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69" name="Rounded Rectangle 460">
                        <a:extLst>
                          <a:ext uri="{FF2B5EF4-FFF2-40B4-BE49-F238E27FC236}">
                            <a16:creationId xmlns:a16="http://schemas.microsoft.com/office/drawing/2014/main" id="{07D8D4A1-55E3-4553-B732-FCE292F22E4C}"/>
                          </a:ext>
                        </a:extLst>
                      </p:cNvPr>
                      <p:cNvSpPr/>
                      <p:nvPr/>
                    </p:nvSpPr>
                    <p:spPr bwMode="auto">
                      <a:xfrm>
                        <a:off x="-2759706" y="1099471"/>
                        <a:ext cx="7926138" cy="5508724"/>
                      </a:xfrm>
                      <a:prstGeom prst="roundRect">
                        <a:avLst>
                          <a:gd name="adj" fmla="val 8482"/>
                        </a:avLst>
                      </a:prstGeom>
                      <a:solidFill>
                        <a:srgbClr val="0372A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70" name="Rectangle 1369">
                        <a:extLst>
                          <a:ext uri="{FF2B5EF4-FFF2-40B4-BE49-F238E27FC236}">
                            <a16:creationId xmlns:a16="http://schemas.microsoft.com/office/drawing/2014/main" id="{DB9BAED7-66F6-4E88-BEBB-124A216524FC}"/>
                          </a:ext>
                        </a:extLst>
                      </p:cNvPr>
                      <p:cNvSpPr/>
                      <p:nvPr/>
                    </p:nvSpPr>
                    <p:spPr bwMode="auto">
                      <a:xfrm>
                        <a:off x="-2133709" y="1626404"/>
                        <a:ext cx="6674143" cy="4361520"/>
                      </a:xfrm>
                      <a:prstGeom prst="rect">
                        <a:avLst/>
                      </a:prstGeom>
                      <a:gradFill flip="none" rotWithShape="1">
                        <a:gsLst>
                          <a:gs pos="45000">
                            <a:srgbClr val="AFE5FD"/>
                          </a:gs>
                          <a:gs pos="45000">
                            <a:srgbClr val="C3ECFE"/>
                          </a:gs>
                        </a:gsLst>
                        <a:lin ang="24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71" name="Rectangle 1370">
                        <a:extLst>
                          <a:ext uri="{FF2B5EF4-FFF2-40B4-BE49-F238E27FC236}">
                            <a16:creationId xmlns:a16="http://schemas.microsoft.com/office/drawing/2014/main" id="{C5AA98DD-67A0-4A4D-BC1A-F55754B52768}"/>
                          </a:ext>
                        </a:extLst>
                      </p:cNvPr>
                      <p:cNvSpPr/>
                      <p:nvPr/>
                    </p:nvSpPr>
                    <p:spPr bwMode="auto">
                      <a:xfrm>
                        <a:off x="-1332157" y="7460658"/>
                        <a:ext cx="5071038" cy="438533"/>
                      </a:xfrm>
                      <a:prstGeom prst="rect">
                        <a:avLst/>
                      </a:prstGeom>
                      <a:solidFill>
                        <a:srgbClr val="0372A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352" name="Group 1351">
                      <a:extLst>
                        <a:ext uri="{FF2B5EF4-FFF2-40B4-BE49-F238E27FC236}">
                          <a16:creationId xmlns:a16="http://schemas.microsoft.com/office/drawing/2014/main" id="{20AD4FF5-BEC2-44FF-9BF0-292D38278049}"/>
                        </a:ext>
                      </a:extLst>
                    </p:cNvPr>
                    <p:cNvGrpSpPr/>
                    <p:nvPr/>
                  </p:nvGrpSpPr>
                  <p:grpSpPr>
                    <a:xfrm>
                      <a:off x="5724146" y="4755542"/>
                      <a:ext cx="100379" cy="121637"/>
                      <a:chOff x="8079057" y="3685619"/>
                      <a:chExt cx="1044575" cy="1265794"/>
                    </a:xfrm>
                  </p:grpSpPr>
                  <p:sp>
                    <p:nvSpPr>
                      <p:cNvPr id="1365" name="Freeform 456">
                        <a:extLst>
                          <a:ext uri="{FF2B5EF4-FFF2-40B4-BE49-F238E27FC236}">
                            <a16:creationId xmlns:a16="http://schemas.microsoft.com/office/drawing/2014/main" id="{36AB89C4-06C4-45B1-A9A4-8739139CA207}"/>
                          </a:ext>
                        </a:extLst>
                      </p:cNvPr>
                      <p:cNvSpPr/>
                      <p:nvPr/>
                    </p:nvSpPr>
                    <p:spPr>
                      <a:xfrm>
                        <a:off x="8079057" y="3685619"/>
                        <a:ext cx="1044575"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366" name="Freeform 457">
                        <a:extLst>
                          <a:ext uri="{FF2B5EF4-FFF2-40B4-BE49-F238E27FC236}">
                            <a16:creationId xmlns:a16="http://schemas.microsoft.com/office/drawing/2014/main" id="{7831B31D-BD38-4250-8D08-E215A8678928}"/>
                          </a:ext>
                        </a:extLst>
                      </p:cNvPr>
                      <p:cNvSpPr/>
                      <p:nvPr/>
                    </p:nvSpPr>
                    <p:spPr>
                      <a:xfrm>
                        <a:off x="8083817" y="3970337"/>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367" name="Freeform 458">
                        <a:extLst>
                          <a:ext uri="{FF2B5EF4-FFF2-40B4-BE49-F238E27FC236}">
                            <a16:creationId xmlns:a16="http://schemas.microsoft.com/office/drawing/2014/main" id="{8C9C4091-EBD5-4988-83D8-4EF5B449448E}"/>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1353" name="Group 1352">
                      <a:extLst>
                        <a:ext uri="{FF2B5EF4-FFF2-40B4-BE49-F238E27FC236}">
                          <a16:creationId xmlns:a16="http://schemas.microsoft.com/office/drawing/2014/main" id="{F2EED260-9400-4521-9FEA-E0E8CB0373ED}"/>
                        </a:ext>
                      </a:extLst>
                    </p:cNvPr>
                    <p:cNvGrpSpPr/>
                    <p:nvPr/>
                  </p:nvGrpSpPr>
                  <p:grpSpPr>
                    <a:xfrm>
                      <a:off x="5724146" y="4899243"/>
                      <a:ext cx="100379" cy="121637"/>
                      <a:chOff x="8079063" y="3685618"/>
                      <a:chExt cx="1044576" cy="1265795"/>
                    </a:xfrm>
                  </p:grpSpPr>
                  <p:sp>
                    <p:nvSpPr>
                      <p:cNvPr id="1362" name="Freeform 453">
                        <a:extLst>
                          <a:ext uri="{FF2B5EF4-FFF2-40B4-BE49-F238E27FC236}">
                            <a16:creationId xmlns:a16="http://schemas.microsoft.com/office/drawing/2014/main" id="{D0EA5AB3-2AA6-4A75-8629-224973424232}"/>
                          </a:ext>
                        </a:extLst>
                      </p:cNvPr>
                      <p:cNvSpPr/>
                      <p:nvPr/>
                    </p:nvSpPr>
                    <p:spPr>
                      <a:xfrm>
                        <a:off x="8079063" y="3685618"/>
                        <a:ext cx="1044576"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363" name="Freeform 454">
                        <a:extLst>
                          <a:ext uri="{FF2B5EF4-FFF2-40B4-BE49-F238E27FC236}">
                            <a16:creationId xmlns:a16="http://schemas.microsoft.com/office/drawing/2014/main" id="{87240C6A-3ACC-46C3-BB17-336D3B340445}"/>
                          </a:ext>
                        </a:extLst>
                      </p:cNvPr>
                      <p:cNvSpPr/>
                      <p:nvPr/>
                    </p:nvSpPr>
                    <p:spPr>
                      <a:xfrm>
                        <a:off x="8083823" y="3970336"/>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364" name="Freeform 455">
                        <a:extLst>
                          <a:ext uri="{FF2B5EF4-FFF2-40B4-BE49-F238E27FC236}">
                            <a16:creationId xmlns:a16="http://schemas.microsoft.com/office/drawing/2014/main" id="{466C86A0-0A63-4801-9457-EA433502AED1}"/>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1354" name="Group 1353">
                      <a:extLst>
                        <a:ext uri="{FF2B5EF4-FFF2-40B4-BE49-F238E27FC236}">
                          <a16:creationId xmlns:a16="http://schemas.microsoft.com/office/drawing/2014/main" id="{FE63D4CE-9620-4470-B349-F17692C943E8}"/>
                        </a:ext>
                      </a:extLst>
                    </p:cNvPr>
                    <p:cNvGrpSpPr/>
                    <p:nvPr/>
                  </p:nvGrpSpPr>
                  <p:grpSpPr>
                    <a:xfrm>
                      <a:off x="5539678" y="4755542"/>
                      <a:ext cx="100379" cy="121637"/>
                      <a:chOff x="8079057" y="3685619"/>
                      <a:chExt cx="1044575" cy="1265794"/>
                    </a:xfrm>
                  </p:grpSpPr>
                  <p:sp>
                    <p:nvSpPr>
                      <p:cNvPr id="1359" name="Freeform 446">
                        <a:extLst>
                          <a:ext uri="{FF2B5EF4-FFF2-40B4-BE49-F238E27FC236}">
                            <a16:creationId xmlns:a16="http://schemas.microsoft.com/office/drawing/2014/main" id="{6AF97720-E0F4-4555-B95B-A375C0F400D5}"/>
                          </a:ext>
                        </a:extLst>
                      </p:cNvPr>
                      <p:cNvSpPr/>
                      <p:nvPr/>
                    </p:nvSpPr>
                    <p:spPr>
                      <a:xfrm>
                        <a:off x="8079057" y="3685619"/>
                        <a:ext cx="1044575"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360" name="Freeform 447">
                        <a:extLst>
                          <a:ext uri="{FF2B5EF4-FFF2-40B4-BE49-F238E27FC236}">
                            <a16:creationId xmlns:a16="http://schemas.microsoft.com/office/drawing/2014/main" id="{C17FDECE-A9A4-4C50-8C95-0C6B2A04883E}"/>
                          </a:ext>
                        </a:extLst>
                      </p:cNvPr>
                      <p:cNvSpPr/>
                      <p:nvPr/>
                    </p:nvSpPr>
                    <p:spPr>
                      <a:xfrm>
                        <a:off x="8083817" y="3970337"/>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361" name="Freeform 448">
                        <a:extLst>
                          <a:ext uri="{FF2B5EF4-FFF2-40B4-BE49-F238E27FC236}">
                            <a16:creationId xmlns:a16="http://schemas.microsoft.com/office/drawing/2014/main" id="{80DA97A6-7B97-4303-B318-892BDA9902A7}"/>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1355" name="Group 1354">
                      <a:extLst>
                        <a:ext uri="{FF2B5EF4-FFF2-40B4-BE49-F238E27FC236}">
                          <a16:creationId xmlns:a16="http://schemas.microsoft.com/office/drawing/2014/main" id="{2970AEF0-4AB7-48CE-8CDD-5BBA7F9122C2}"/>
                        </a:ext>
                      </a:extLst>
                    </p:cNvPr>
                    <p:cNvGrpSpPr/>
                    <p:nvPr/>
                  </p:nvGrpSpPr>
                  <p:grpSpPr>
                    <a:xfrm>
                      <a:off x="5539677" y="4899243"/>
                      <a:ext cx="100379" cy="121637"/>
                      <a:chOff x="8079063" y="3685618"/>
                      <a:chExt cx="1044576" cy="1265795"/>
                    </a:xfrm>
                  </p:grpSpPr>
                  <p:sp>
                    <p:nvSpPr>
                      <p:cNvPr id="1356" name="Freeform 443">
                        <a:extLst>
                          <a:ext uri="{FF2B5EF4-FFF2-40B4-BE49-F238E27FC236}">
                            <a16:creationId xmlns:a16="http://schemas.microsoft.com/office/drawing/2014/main" id="{7F7239DD-101D-4788-A16E-8E274E119531}"/>
                          </a:ext>
                        </a:extLst>
                      </p:cNvPr>
                      <p:cNvSpPr/>
                      <p:nvPr/>
                    </p:nvSpPr>
                    <p:spPr>
                      <a:xfrm>
                        <a:off x="8079063" y="3685618"/>
                        <a:ext cx="1044576"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357" name="Freeform 444">
                        <a:extLst>
                          <a:ext uri="{FF2B5EF4-FFF2-40B4-BE49-F238E27FC236}">
                            <a16:creationId xmlns:a16="http://schemas.microsoft.com/office/drawing/2014/main" id="{D2C81091-0A3B-48D1-806A-881810658EF9}"/>
                          </a:ext>
                        </a:extLst>
                      </p:cNvPr>
                      <p:cNvSpPr/>
                      <p:nvPr/>
                    </p:nvSpPr>
                    <p:spPr>
                      <a:xfrm>
                        <a:off x="8083823" y="3970336"/>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358" name="Freeform 445">
                        <a:extLst>
                          <a:ext uri="{FF2B5EF4-FFF2-40B4-BE49-F238E27FC236}">
                            <a16:creationId xmlns:a16="http://schemas.microsoft.com/office/drawing/2014/main" id="{323CB43A-454B-4C90-8B84-8C7EFCB566A9}"/>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grpSp>
                <p:nvGrpSpPr>
                  <p:cNvPr id="1312" name="Group 1311">
                    <a:extLst>
                      <a:ext uri="{FF2B5EF4-FFF2-40B4-BE49-F238E27FC236}">
                        <a16:creationId xmlns:a16="http://schemas.microsoft.com/office/drawing/2014/main" id="{EC71F944-5903-4F9A-913A-3B00A598A9F7}"/>
                      </a:ext>
                    </a:extLst>
                  </p:cNvPr>
                  <p:cNvGrpSpPr/>
                  <p:nvPr/>
                </p:nvGrpSpPr>
                <p:grpSpPr>
                  <a:xfrm>
                    <a:off x="4888179" y="5002454"/>
                    <a:ext cx="237146" cy="203443"/>
                    <a:chOff x="4888179" y="5002454"/>
                    <a:chExt cx="237146" cy="203443"/>
                  </a:xfrm>
                </p:grpSpPr>
                <p:grpSp>
                  <p:nvGrpSpPr>
                    <p:cNvPr id="1342" name="Group 1341">
                      <a:extLst>
                        <a:ext uri="{FF2B5EF4-FFF2-40B4-BE49-F238E27FC236}">
                          <a16:creationId xmlns:a16="http://schemas.microsoft.com/office/drawing/2014/main" id="{1611A01D-E604-49CF-9825-1842B3A9499F}"/>
                        </a:ext>
                      </a:extLst>
                    </p:cNvPr>
                    <p:cNvGrpSpPr/>
                    <p:nvPr/>
                  </p:nvGrpSpPr>
                  <p:grpSpPr>
                    <a:xfrm>
                      <a:off x="4888179" y="5002454"/>
                      <a:ext cx="237146" cy="203443"/>
                      <a:chOff x="-2759707" y="1099472"/>
                      <a:chExt cx="7926138" cy="6799719"/>
                    </a:xfrm>
                  </p:grpSpPr>
                  <p:sp>
                    <p:nvSpPr>
                      <p:cNvPr id="1347" name="Rectangle 317">
                        <a:extLst>
                          <a:ext uri="{FF2B5EF4-FFF2-40B4-BE49-F238E27FC236}">
                            <a16:creationId xmlns:a16="http://schemas.microsoft.com/office/drawing/2014/main" id="{3C87C327-6FFF-42D7-B224-4A2050FD7912}"/>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48" name="Rounded Rectangle 450">
                        <a:extLst>
                          <a:ext uri="{FF2B5EF4-FFF2-40B4-BE49-F238E27FC236}">
                            <a16:creationId xmlns:a16="http://schemas.microsoft.com/office/drawing/2014/main" id="{6E4A088B-A4A8-4248-9E11-275C4F3E887E}"/>
                          </a:ext>
                        </a:extLst>
                      </p:cNvPr>
                      <p:cNvSpPr/>
                      <p:nvPr/>
                    </p:nvSpPr>
                    <p:spPr bwMode="auto">
                      <a:xfrm>
                        <a:off x="-2759707" y="1099472"/>
                        <a:ext cx="7926138" cy="5508726"/>
                      </a:xfrm>
                      <a:prstGeom prst="roundRect">
                        <a:avLst>
                          <a:gd name="adj" fmla="val 8482"/>
                        </a:avLst>
                      </a:prstGeom>
                      <a:solidFill>
                        <a:srgbClr val="494949"/>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49" name="Rectangle 1348">
                        <a:extLst>
                          <a:ext uri="{FF2B5EF4-FFF2-40B4-BE49-F238E27FC236}">
                            <a16:creationId xmlns:a16="http://schemas.microsoft.com/office/drawing/2014/main" id="{C5E07058-2866-44C9-A031-63A0354A89BF}"/>
                          </a:ext>
                        </a:extLst>
                      </p:cNvPr>
                      <p:cNvSpPr/>
                      <p:nvPr/>
                    </p:nvSpPr>
                    <p:spPr bwMode="auto">
                      <a:xfrm>
                        <a:off x="-2133709" y="1626405"/>
                        <a:ext cx="6674142" cy="4361521"/>
                      </a:xfrm>
                      <a:prstGeom prst="rect">
                        <a:avLst/>
                      </a:prstGeom>
                      <a:gradFill flip="none" rotWithShape="1">
                        <a:gsLst>
                          <a:gs pos="45000">
                            <a:srgbClr val="AFE5FD"/>
                          </a:gs>
                          <a:gs pos="45000">
                            <a:srgbClr val="C3ECFE"/>
                          </a:gs>
                        </a:gsLst>
                        <a:lin ang="24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50" name="Rectangle 1349">
                        <a:extLst>
                          <a:ext uri="{FF2B5EF4-FFF2-40B4-BE49-F238E27FC236}">
                            <a16:creationId xmlns:a16="http://schemas.microsoft.com/office/drawing/2014/main" id="{EE02A339-AC2E-47C2-9EF0-BFE33AE8ACC9}"/>
                          </a:ext>
                        </a:extLst>
                      </p:cNvPr>
                      <p:cNvSpPr/>
                      <p:nvPr/>
                    </p:nvSpPr>
                    <p:spPr bwMode="auto">
                      <a:xfrm>
                        <a:off x="-1332157" y="7460659"/>
                        <a:ext cx="5071038" cy="438532"/>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343" name="Group 1342">
                      <a:extLst>
                        <a:ext uri="{FF2B5EF4-FFF2-40B4-BE49-F238E27FC236}">
                          <a16:creationId xmlns:a16="http://schemas.microsoft.com/office/drawing/2014/main" id="{8888023E-BF95-45D2-8314-DF8836A1FD56}"/>
                        </a:ext>
                      </a:extLst>
                    </p:cNvPr>
                    <p:cNvGrpSpPr/>
                    <p:nvPr/>
                  </p:nvGrpSpPr>
                  <p:grpSpPr>
                    <a:xfrm>
                      <a:off x="4967500" y="5035695"/>
                      <a:ext cx="78504" cy="95130"/>
                      <a:chOff x="8079067" y="3685620"/>
                      <a:chExt cx="1044576" cy="1265793"/>
                    </a:xfrm>
                  </p:grpSpPr>
                  <p:sp>
                    <p:nvSpPr>
                      <p:cNvPr id="1344" name="Freeform 440">
                        <a:extLst>
                          <a:ext uri="{FF2B5EF4-FFF2-40B4-BE49-F238E27FC236}">
                            <a16:creationId xmlns:a16="http://schemas.microsoft.com/office/drawing/2014/main" id="{6B7F2C19-3141-444B-B2F4-D5A469D5279D}"/>
                          </a:ext>
                        </a:extLst>
                      </p:cNvPr>
                      <p:cNvSpPr/>
                      <p:nvPr/>
                    </p:nvSpPr>
                    <p:spPr>
                      <a:xfrm>
                        <a:off x="8079067" y="3685620"/>
                        <a:ext cx="1044576" cy="560388"/>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345" name="Freeform 441">
                        <a:extLst>
                          <a:ext uri="{FF2B5EF4-FFF2-40B4-BE49-F238E27FC236}">
                            <a16:creationId xmlns:a16="http://schemas.microsoft.com/office/drawing/2014/main" id="{67F9AB6B-6018-4A22-9040-5410F13F2444}"/>
                          </a:ext>
                        </a:extLst>
                      </p:cNvPr>
                      <p:cNvSpPr/>
                      <p:nvPr/>
                    </p:nvSpPr>
                    <p:spPr>
                      <a:xfrm>
                        <a:off x="8083830"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346" name="Freeform 442">
                        <a:extLst>
                          <a:ext uri="{FF2B5EF4-FFF2-40B4-BE49-F238E27FC236}">
                            <a16:creationId xmlns:a16="http://schemas.microsoft.com/office/drawing/2014/main" id="{31E7A094-4485-474B-9A3A-26F41F1ABAA9}"/>
                          </a:ext>
                        </a:extLst>
                      </p:cNvPr>
                      <p:cNvSpPr/>
                      <p:nvPr/>
                    </p:nvSpPr>
                    <p:spPr>
                      <a:xfrm flipH="1">
                        <a:off x="8601355"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sp>
                <p:nvSpPr>
                  <p:cNvPr id="1313" name="Freeform: Shape 1312">
                    <a:extLst>
                      <a:ext uri="{FF2B5EF4-FFF2-40B4-BE49-F238E27FC236}">
                        <a16:creationId xmlns:a16="http://schemas.microsoft.com/office/drawing/2014/main" id="{6D9BEF80-52C5-4163-925E-1D7F14F38B36}"/>
                      </a:ext>
                    </a:extLst>
                  </p:cNvPr>
                  <p:cNvSpPr/>
                  <p:nvPr/>
                </p:nvSpPr>
                <p:spPr bwMode="auto">
                  <a:xfrm rot="18900000">
                    <a:off x="4817192" y="4775170"/>
                    <a:ext cx="585046" cy="69372"/>
                  </a:xfrm>
                  <a:custGeom>
                    <a:avLst/>
                    <a:gdLst>
                      <a:gd name="connsiteX0" fmla="*/ 39422 w 585046"/>
                      <a:gd name="connsiteY0" fmla="*/ 31543 h 69372"/>
                      <a:gd name="connsiteX1" fmla="*/ 39422 w 585046"/>
                      <a:gd name="connsiteY1" fmla="*/ 40687 h 69372"/>
                      <a:gd name="connsiteX2" fmla="*/ 0 w 585046"/>
                      <a:gd name="connsiteY2" fmla="*/ 40687 h 69372"/>
                      <a:gd name="connsiteX3" fmla="*/ 0 w 585046"/>
                      <a:gd name="connsiteY3" fmla="*/ 31543 h 69372"/>
                      <a:gd name="connsiteX4" fmla="*/ 85636 w 585046"/>
                      <a:gd name="connsiteY4" fmla="*/ 31543 h 69372"/>
                      <a:gd name="connsiteX5" fmla="*/ 85636 w 585046"/>
                      <a:gd name="connsiteY5" fmla="*/ 40687 h 69372"/>
                      <a:gd name="connsiteX6" fmla="*/ 46214 w 585046"/>
                      <a:gd name="connsiteY6" fmla="*/ 40687 h 69372"/>
                      <a:gd name="connsiteX7" fmla="*/ 46214 w 585046"/>
                      <a:gd name="connsiteY7" fmla="*/ 31543 h 69372"/>
                      <a:gd name="connsiteX8" fmla="*/ 131850 w 585046"/>
                      <a:gd name="connsiteY8" fmla="*/ 31543 h 69372"/>
                      <a:gd name="connsiteX9" fmla="*/ 131850 w 585046"/>
                      <a:gd name="connsiteY9" fmla="*/ 40687 h 69372"/>
                      <a:gd name="connsiteX10" fmla="*/ 92429 w 585046"/>
                      <a:gd name="connsiteY10" fmla="*/ 40687 h 69372"/>
                      <a:gd name="connsiteX11" fmla="*/ 92429 w 585046"/>
                      <a:gd name="connsiteY11" fmla="*/ 31543 h 69372"/>
                      <a:gd name="connsiteX12" fmla="*/ 178065 w 585046"/>
                      <a:gd name="connsiteY12" fmla="*/ 31543 h 69372"/>
                      <a:gd name="connsiteX13" fmla="*/ 178065 w 585046"/>
                      <a:gd name="connsiteY13" fmla="*/ 40687 h 69372"/>
                      <a:gd name="connsiteX14" fmla="*/ 138643 w 585046"/>
                      <a:gd name="connsiteY14" fmla="*/ 40687 h 69372"/>
                      <a:gd name="connsiteX15" fmla="*/ 138643 w 585046"/>
                      <a:gd name="connsiteY15" fmla="*/ 31543 h 69372"/>
                      <a:gd name="connsiteX16" fmla="*/ 224279 w 585046"/>
                      <a:gd name="connsiteY16" fmla="*/ 31543 h 69372"/>
                      <a:gd name="connsiteX17" fmla="*/ 224279 w 585046"/>
                      <a:gd name="connsiteY17" fmla="*/ 40687 h 69372"/>
                      <a:gd name="connsiteX18" fmla="*/ 184857 w 585046"/>
                      <a:gd name="connsiteY18" fmla="*/ 40687 h 69372"/>
                      <a:gd name="connsiteX19" fmla="*/ 184857 w 585046"/>
                      <a:gd name="connsiteY19" fmla="*/ 31543 h 69372"/>
                      <a:gd name="connsiteX20" fmla="*/ 270493 w 585046"/>
                      <a:gd name="connsiteY20" fmla="*/ 31543 h 69372"/>
                      <a:gd name="connsiteX21" fmla="*/ 270493 w 585046"/>
                      <a:gd name="connsiteY21" fmla="*/ 40687 h 69372"/>
                      <a:gd name="connsiteX22" fmla="*/ 231071 w 585046"/>
                      <a:gd name="connsiteY22" fmla="*/ 40687 h 69372"/>
                      <a:gd name="connsiteX23" fmla="*/ 231071 w 585046"/>
                      <a:gd name="connsiteY23" fmla="*/ 31543 h 69372"/>
                      <a:gd name="connsiteX24" fmla="*/ 317569 w 585046"/>
                      <a:gd name="connsiteY24" fmla="*/ 31543 h 69372"/>
                      <a:gd name="connsiteX25" fmla="*/ 317569 w 585046"/>
                      <a:gd name="connsiteY25" fmla="*/ 40687 h 69372"/>
                      <a:gd name="connsiteX26" fmla="*/ 278147 w 585046"/>
                      <a:gd name="connsiteY26" fmla="*/ 40687 h 69372"/>
                      <a:gd name="connsiteX27" fmla="*/ 278147 w 585046"/>
                      <a:gd name="connsiteY27" fmla="*/ 31543 h 69372"/>
                      <a:gd name="connsiteX28" fmla="*/ 363783 w 585046"/>
                      <a:gd name="connsiteY28" fmla="*/ 31543 h 69372"/>
                      <a:gd name="connsiteX29" fmla="*/ 363783 w 585046"/>
                      <a:gd name="connsiteY29" fmla="*/ 40687 h 69372"/>
                      <a:gd name="connsiteX30" fmla="*/ 324361 w 585046"/>
                      <a:gd name="connsiteY30" fmla="*/ 40687 h 69372"/>
                      <a:gd name="connsiteX31" fmla="*/ 324361 w 585046"/>
                      <a:gd name="connsiteY31" fmla="*/ 31543 h 69372"/>
                      <a:gd name="connsiteX32" fmla="*/ 409998 w 585046"/>
                      <a:gd name="connsiteY32" fmla="*/ 31543 h 69372"/>
                      <a:gd name="connsiteX33" fmla="*/ 409998 w 585046"/>
                      <a:gd name="connsiteY33" fmla="*/ 40687 h 69372"/>
                      <a:gd name="connsiteX34" fmla="*/ 370576 w 585046"/>
                      <a:gd name="connsiteY34" fmla="*/ 40687 h 69372"/>
                      <a:gd name="connsiteX35" fmla="*/ 370576 w 585046"/>
                      <a:gd name="connsiteY35" fmla="*/ 31543 h 69372"/>
                      <a:gd name="connsiteX36" fmla="*/ 456212 w 585046"/>
                      <a:gd name="connsiteY36" fmla="*/ 31543 h 69372"/>
                      <a:gd name="connsiteX37" fmla="*/ 456212 w 585046"/>
                      <a:gd name="connsiteY37" fmla="*/ 40687 h 69372"/>
                      <a:gd name="connsiteX38" fmla="*/ 416790 w 585046"/>
                      <a:gd name="connsiteY38" fmla="*/ 40687 h 69372"/>
                      <a:gd name="connsiteX39" fmla="*/ 416790 w 585046"/>
                      <a:gd name="connsiteY39" fmla="*/ 31543 h 69372"/>
                      <a:gd name="connsiteX40" fmla="*/ 502426 w 585046"/>
                      <a:gd name="connsiteY40" fmla="*/ 31543 h 69372"/>
                      <a:gd name="connsiteX41" fmla="*/ 502426 w 585046"/>
                      <a:gd name="connsiteY41" fmla="*/ 40687 h 69372"/>
                      <a:gd name="connsiteX42" fmla="*/ 463004 w 585046"/>
                      <a:gd name="connsiteY42" fmla="*/ 40687 h 69372"/>
                      <a:gd name="connsiteX43" fmla="*/ 463004 w 585046"/>
                      <a:gd name="connsiteY43" fmla="*/ 31543 h 69372"/>
                      <a:gd name="connsiteX44" fmla="*/ 585046 w 585046"/>
                      <a:gd name="connsiteY44" fmla="*/ 36367 h 69372"/>
                      <a:gd name="connsiteX45" fmla="*/ 531245 w 585046"/>
                      <a:gd name="connsiteY45" fmla="*/ 69372 h 69372"/>
                      <a:gd name="connsiteX46" fmla="*/ 532160 w 585046"/>
                      <a:gd name="connsiteY46" fmla="*/ 40687 h 69372"/>
                      <a:gd name="connsiteX47" fmla="*/ 509218 w 585046"/>
                      <a:gd name="connsiteY47" fmla="*/ 40687 h 69372"/>
                      <a:gd name="connsiteX48" fmla="*/ 509218 w 585046"/>
                      <a:gd name="connsiteY48" fmla="*/ 31543 h 69372"/>
                      <a:gd name="connsiteX49" fmla="*/ 532451 w 585046"/>
                      <a:gd name="connsiteY49" fmla="*/ 31543 h 69372"/>
                      <a:gd name="connsiteX50" fmla="*/ 533458 w 585046"/>
                      <a:gd name="connsiteY50" fmla="*/ 0 h 6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85046" h="69372">
                        <a:moveTo>
                          <a:pt x="39422" y="31543"/>
                        </a:moveTo>
                        <a:lnTo>
                          <a:pt x="39422" y="40687"/>
                        </a:lnTo>
                        <a:lnTo>
                          <a:pt x="0" y="40687"/>
                        </a:lnTo>
                        <a:lnTo>
                          <a:pt x="0" y="31543"/>
                        </a:lnTo>
                        <a:close/>
                        <a:moveTo>
                          <a:pt x="85636" y="31543"/>
                        </a:moveTo>
                        <a:lnTo>
                          <a:pt x="85636" y="40687"/>
                        </a:lnTo>
                        <a:lnTo>
                          <a:pt x="46214" y="40687"/>
                        </a:lnTo>
                        <a:lnTo>
                          <a:pt x="46214" y="31543"/>
                        </a:lnTo>
                        <a:close/>
                        <a:moveTo>
                          <a:pt x="131850" y="31543"/>
                        </a:moveTo>
                        <a:lnTo>
                          <a:pt x="131850" y="40687"/>
                        </a:lnTo>
                        <a:lnTo>
                          <a:pt x="92429" y="40687"/>
                        </a:lnTo>
                        <a:lnTo>
                          <a:pt x="92429" y="31543"/>
                        </a:lnTo>
                        <a:close/>
                        <a:moveTo>
                          <a:pt x="178065" y="31543"/>
                        </a:moveTo>
                        <a:lnTo>
                          <a:pt x="178065" y="40687"/>
                        </a:lnTo>
                        <a:lnTo>
                          <a:pt x="138643" y="40687"/>
                        </a:lnTo>
                        <a:lnTo>
                          <a:pt x="138643" y="31543"/>
                        </a:lnTo>
                        <a:close/>
                        <a:moveTo>
                          <a:pt x="224279" y="31543"/>
                        </a:moveTo>
                        <a:lnTo>
                          <a:pt x="224279" y="40687"/>
                        </a:lnTo>
                        <a:lnTo>
                          <a:pt x="184857" y="40687"/>
                        </a:lnTo>
                        <a:lnTo>
                          <a:pt x="184857" y="31543"/>
                        </a:lnTo>
                        <a:close/>
                        <a:moveTo>
                          <a:pt x="270493" y="31543"/>
                        </a:moveTo>
                        <a:lnTo>
                          <a:pt x="270493" y="40687"/>
                        </a:lnTo>
                        <a:lnTo>
                          <a:pt x="231071" y="40687"/>
                        </a:lnTo>
                        <a:lnTo>
                          <a:pt x="231071" y="31543"/>
                        </a:lnTo>
                        <a:close/>
                        <a:moveTo>
                          <a:pt x="317569" y="31543"/>
                        </a:moveTo>
                        <a:lnTo>
                          <a:pt x="317569" y="40687"/>
                        </a:lnTo>
                        <a:lnTo>
                          <a:pt x="278147" y="40687"/>
                        </a:lnTo>
                        <a:lnTo>
                          <a:pt x="278147" y="31543"/>
                        </a:lnTo>
                        <a:close/>
                        <a:moveTo>
                          <a:pt x="363783" y="31543"/>
                        </a:moveTo>
                        <a:lnTo>
                          <a:pt x="363783" y="40687"/>
                        </a:lnTo>
                        <a:lnTo>
                          <a:pt x="324361" y="40687"/>
                        </a:lnTo>
                        <a:lnTo>
                          <a:pt x="324361" y="31543"/>
                        </a:lnTo>
                        <a:close/>
                        <a:moveTo>
                          <a:pt x="409998" y="31543"/>
                        </a:moveTo>
                        <a:lnTo>
                          <a:pt x="409998" y="40687"/>
                        </a:lnTo>
                        <a:lnTo>
                          <a:pt x="370576" y="40687"/>
                        </a:lnTo>
                        <a:lnTo>
                          <a:pt x="370576" y="31543"/>
                        </a:lnTo>
                        <a:close/>
                        <a:moveTo>
                          <a:pt x="456212" y="31543"/>
                        </a:moveTo>
                        <a:lnTo>
                          <a:pt x="456212" y="40687"/>
                        </a:lnTo>
                        <a:lnTo>
                          <a:pt x="416790" y="40687"/>
                        </a:lnTo>
                        <a:lnTo>
                          <a:pt x="416790" y="31543"/>
                        </a:lnTo>
                        <a:close/>
                        <a:moveTo>
                          <a:pt x="502426" y="31543"/>
                        </a:moveTo>
                        <a:lnTo>
                          <a:pt x="502426" y="40687"/>
                        </a:lnTo>
                        <a:lnTo>
                          <a:pt x="463004" y="40687"/>
                        </a:lnTo>
                        <a:lnTo>
                          <a:pt x="463004" y="31543"/>
                        </a:lnTo>
                        <a:close/>
                        <a:moveTo>
                          <a:pt x="585046" y="36367"/>
                        </a:moveTo>
                        <a:lnTo>
                          <a:pt x="531245" y="69372"/>
                        </a:lnTo>
                        <a:lnTo>
                          <a:pt x="532160" y="40687"/>
                        </a:lnTo>
                        <a:lnTo>
                          <a:pt x="509218" y="40687"/>
                        </a:lnTo>
                        <a:lnTo>
                          <a:pt x="509218" y="31543"/>
                        </a:lnTo>
                        <a:lnTo>
                          <a:pt x="532451" y="31543"/>
                        </a:lnTo>
                        <a:lnTo>
                          <a:pt x="533458" y="0"/>
                        </a:lnTo>
                        <a:close/>
                      </a:path>
                    </a:pathLst>
                  </a:cu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14" name="Freeform: Shape 1313">
                    <a:extLst>
                      <a:ext uri="{FF2B5EF4-FFF2-40B4-BE49-F238E27FC236}">
                        <a16:creationId xmlns:a16="http://schemas.microsoft.com/office/drawing/2014/main" id="{772B75B2-1E1B-415C-A17B-C9423BE95A26}"/>
                      </a:ext>
                    </a:extLst>
                  </p:cNvPr>
                  <p:cNvSpPr/>
                  <p:nvPr/>
                </p:nvSpPr>
                <p:spPr bwMode="auto">
                  <a:xfrm rot="5062782">
                    <a:off x="5537811" y="4680200"/>
                    <a:ext cx="69407" cy="917597"/>
                  </a:xfrm>
                  <a:custGeom>
                    <a:avLst/>
                    <a:gdLst>
                      <a:gd name="connsiteX0" fmla="*/ 8596 w 69407"/>
                      <a:gd name="connsiteY0" fmla="*/ 854979 h 917597"/>
                      <a:gd name="connsiteX1" fmla="*/ 17737 w 69407"/>
                      <a:gd name="connsiteY1" fmla="*/ 855196 h 917597"/>
                      <a:gd name="connsiteX2" fmla="*/ 16254 w 69407"/>
                      <a:gd name="connsiteY2" fmla="*/ 917597 h 917597"/>
                      <a:gd name="connsiteX3" fmla="*/ 7113 w 69407"/>
                      <a:gd name="connsiteY3" fmla="*/ 917379 h 917597"/>
                      <a:gd name="connsiteX4" fmla="*/ 10334 w 69407"/>
                      <a:gd name="connsiteY4" fmla="*/ 781827 h 917597"/>
                      <a:gd name="connsiteX5" fmla="*/ 19476 w 69407"/>
                      <a:gd name="connsiteY5" fmla="*/ 782044 h 917597"/>
                      <a:gd name="connsiteX6" fmla="*/ 17993 w 69407"/>
                      <a:gd name="connsiteY6" fmla="*/ 844445 h 917597"/>
                      <a:gd name="connsiteX7" fmla="*/ 8851 w 69407"/>
                      <a:gd name="connsiteY7" fmla="*/ 844227 h 917597"/>
                      <a:gd name="connsiteX8" fmla="*/ 12072 w 69407"/>
                      <a:gd name="connsiteY8" fmla="*/ 708675 h 917597"/>
                      <a:gd name="connsiteX9" fmla="*/ 21214 w 69407"/>
                      <a:gd name="connsiteY9" fmla="*/ 708892 h 917597"/>
                      <a:gd name="connsiteX10" fmla="*/ 19731 w 69407"/>
                      <a:gd name="connsiteY10" fmla="*/ 771293 h 917597"/>
                      <a:gd name="connsiteX11" fmla="*/ 10590 w 69407"/>
                      <a:gd name="connsiteY11" fmla="*/ 771075 h 917597"/>
                      <a:gd name="connsiteX12" fmla="*/ 13811 w 69407"/>
                      <a:gd name="connsiteY12" fmla="*/ 635523 h 917597"/>
                      <a:gd name="connsiteX13" fmla="*/ 22952 w 69407"/>
                      <a:gd name="connsiteY13" fmla="*/ 635741 h 917597"/>
                      <a:gd name="connsiteX14" fmla="*/ 21469 w 69407"/>
                      <a:gd name="connsiteY14" fmla="*/ 698140 h 917597"/>
                      <a:gd name="connsiteX15" fmla="*/ 12328 w 69407"/>
                      <a:gd name="connsiteY15" fmla="*/ 697924 h 917597"/>
                      <a:gd name="connsiteX16" fmla="*/ 15549 w 69407"/>
                      <a:gd name="connsiteY16" fmla="*/ 562371 h 917597"/>
                      <a:gd name="connsiteX17" fmla="*/ 24691 w 69407"/>
                      <a:gd name="connsiteY17" fmla="*/ 562589 h 917597"/>
                      <a:gd name="connsiteX18" fmla="*/ 23208 w 69407"/>
                      <a:gd name="connsiteY18" fmla="*/ 624988 h 917597"/>
                      <a:gd name="connsiteX19" fmla="*/ 14066 w 69407"/>
                      <a:gd name="connsiteY19" fmla="*/ 624771 h 917597"/>
                      <a:gd name="connsiteX20" fmla="*/ 17287 w 69407"/>
                      <a:gd name="connsiteY20" fmla="*/ 489220 h 917597"/>
                      <a:gd name="connsiteX21" fmla="*/ 26429 w 69407"/>
                      <a:gd name="connsiteY21" fmla="*/ 489437 h 917597"/>
                      <a:gd name="connsiteX22" fmla="*/ 24946 w 69407"/>
                      <a:gd name="connsiteY22" fmla="*/ 551837 h 917597"/>
                      <a:gd name="connsiteX23" fmla="*/ 15805 w 69407"/>
                      <a:gd name="connsiteY23" fmla="*/ 551620 h 917597"/>
                      <a:gd name="connsiteX24" fmla="*/ 19058 w 69407"/>
                      <a:gd name="connsiteY24" fmla="*/ 414704 h 917597"/>
                      <a:gd name="connsiteX25" fmla="*/ 28200 w 69407"/>
                      <a:gd name="connsiteY25" fmla="*/ 414921 h 917597"/>
                      <a:gd name="connsiteX26" fmla="*/ 26717 w 69407"/>
                      <a:gd name="connsiteY26" fmla="*/ 477321 h 917597"/>
                      <a:gd name="connsiteX27" fmla="*/ 17575 w 69407"/>
                      <a:gd name="connsiteY27" fmla="*/ 477104 h 917597"/>
                      <a:gd name="connsiteX28" fmla="*/ 20797 w 69407"/>
                      <a:gd name="connsiteY28" fmla="*/ 341552 h 917597"/>
                      <a:gd name="connsiteX29" fmla="*/ 29938 w 69407"/>
                      <a:gd name="connsiteY29" fmla="*/ 341769 h 917597"/>
                      <a:gd name="connsiteX30" fmla="*/ 28455 w 69407"/>
                      <a:gd name="connsiteY30" fmla="*/ 404169 h 917597"/>
                      <a:gd name="connsiteX31" fmla="*/ 19314 w 69407"/>
                      <a:gd name="connsiteY31" fmla="*/ 403952 h 917597"/>
                      <a:gd name="connsiteX32" fmla="*/ 22535 w 69407"/>
                      <a:gd name="connsiteY32" fmla="*/ 268400 h 917597"/>
                      <a:gd name="connsiteX33" fmla="*/ 31676 w 69407"/>
                      <a:gd name="connsiteY33" fmla="*/ 268617 h 917597"/>
                      <a:gd name="connsiteX34" fmla="*/ 30194 w 69407"/>
                      <a:gd name="connsiteY34" fmla="*/ 331017 h 917597"/>
                      <a:gd name="connsiteX35" fmla="*/ 21052 w 69407"/>
                      <a:gd name="connsiteY35" fmla="*/ 330800 h 917597"/>
                      <a:gd name="connsiteX36" fmla="*/ 24273 w 69407"/>
                      <a:gd name="connsiteY36" fmla="*/ 195248 h 917597"/>
                      <a:gd name="connsiteX37" fmla="*/ 33415 w 69407"/>
                      <a:gd name="connsiteY37" fmla="*/ 195465 h 917597"/>
                      <a:gd name="connsiteX38" fmla="*/ 31932 w 69407"/>
                      <a:gd name="connsiteY38" fmla="*/ 257865 h 917597"/>
                      <a:gd name="connsiteX39" fmla="*/ 22790 w 69407"/>
                      <a:gd name="connsiteY39" fmla="*/ 257648 h 917597"/>
                      <a:gd name="connsiteX40" fmla="*/ 26012 w 69407"/>
                      <a:gd name="connsiteY40" fmla="*/ 122096 h 917597"/>
                      <a:gd name="connsiteX41" fmla="*/ 35153 w 69407"/>
                      <a:gd name="connsiteY41" fmla="*/ 122313 h 917597"/>
                      <a:gd name="connsiteX42" fmla="*/ 33670 w 69407"/>
                      <a:gd name="connsiteY42" fmla="*/ 184713 h 917597"/>
                      <a:gd name="connsiteX43" fmla="*/ 24529 w 69407"/>
                      <a:gd name="connsiteY43" fmla="*/ 184496 h 917597"/>
                      <a:gd name="connsiteX44" fmla="*/ 0 w 69407"/>
                      <a:gd name="connsiteY44" fmla="*/ 52721 h 917597"/>
                      <a:gd name="connsiteX45" fmla="*/ 34704 w 69407"/>
                      <a:gd name="connsiteY45" fmla="*/ 0 h 917597"/>
                      <a:gd name="connsiteX46" fmla="*/ 69407 w 69407"/>
                      <a:gd name="connsiteY46" fmla="*/ 52721 h 917597"/>
                      <a:gd name="connsiteX47" fmla="*/ 36807 w 69407"/>
                      <a:gd name="connsiteY47" fmla="*/ 52721 h 917597"/>
                      <a:gd name="connsiteX48" fmla="*/ 35409 w 69407"/>
                      <a:gd name="connsiteY48" fmla="*/ 111562 h 917597"/>
                      <a:gd name="connsiteX49" fmla="*/ 26267 w 69407"/>
                      <a:gd name="connsiteY49" fmla="*/ 111345 h 917597"/>
                      <a:gd name="connsiteX50" fmla="*/ 27661 w 69407"/>
                      <a:gd name="connsiteY50" fmla="*/ 52721 h 9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9407" h="917597">
                        <a:moveTo>
                          <a:pt x="8596" y="854979"/>
                        </a:moveTo>
                        <a:lnTo>
                          <a:pt x="17737" y="855196"/>
                        </a:lnTo>
                        <a:lnTo>
                          <a:pt x="16254" y="917597"/>
                        </a:lnTo>
                        <a:lnTo>
                          <a:pt x="7113" y="917379"/>
                        </a:lnTo>
                        <a:close/>
                        <a:moveTo>
                          <a:pt x="10334" y="781827"/>
                        </a:moveTo>
                        <a:lnTo>
                          <a:pt x="19476" y="782044"/>
                        </a:lnTo>
                        <a:lnTo>
                          <a:pt x="17993" y="844445"/>
                        </a:lnTo>
                        <a:lnTo>
                          <a:pt x="8851" y="844227"/>
                        </a:lnTo>
                        <a:close/>
                        <a:moveTo>
                          <a:pt x="12072" y="708675"/>
                        </a:moveTo>
                        <a:lnTo>
                          <a:pt x="21214" y="708892"/>
                        </a:lnTo>
                        <a:lnTo>
                          <a:pt x="19731" y="771293"/>
                        </a:lnTo>
                        <a:lnTo>
                          <a:pt x="10590" y="771075"/>
                        </a:lnTo>
                        <a:close/>
                        <a:moveTo>
                          <a:pt x="13811" y="635523"/>
                        </a:moveTo>
                        <a:lnTo>
                          <a:pt x="22952" y="635741"/>
                        </a:lnTo>
                        <a:lnTo>
                          <a:pt x="21469" y="698140"/>
                        </a:lnTo>
                        <a:lnTo>
                          <a:pt x="12328" y="697924"/>
                        </a:lnTo>
                        <a:close/>
                        <a:moveTo>
                          <a:pt x="15549" y="562371"/>
                        </a:moveTo>
                        <a:lnTo>
                          <a:pt x="24691" y="562589"/>
                        </a:lnTo>
                        <a:lnTo>
                          <a:pt x="23208" y="624988"/>
                        </a:lnTo>
                        <a:lnTo>
                          <a:pt x="14066" y="624771"/>
                        </a:lnTo>
                        <a:close/>
                        <a:moveTo>
                          <a:pt x="17287" y="489220"/>
                        </a:moveTo>
                        <a:lnTo>
                          <a:pt x="26429" y="489437"/>
                        </a:lnTo>
                        <a:lnTo>
                          <a:pt x="24946" y="551837"/>
                        </a:lnTo>
                        <a:lnTo>
                          <a:pt x="15805" y="551620"/>
                        </a:lnTo>
                        <a:close/>
                        <a:moveTo>
                          <a:pt x="19058" y="414704"/>
                        </a:moveTo>
                        <a:lnTo>
                          <a:pt x="28200" y="414921"/>
                        </a:lnTo>
                        <a:lnTo>
                          <a:pt x="26717" y="477321"/>
                        </a:lnTo>
                        <a:lnTo>
                          <a:pt x="17575" y="477104"/>
                        </a:lnTo>
                        <a:close/>
                        <a:moveTo>
                          <a:pt x="20797" y="341552"/>
                        </a:moveTo>
                        <a:lnTo>
                          <a:pt x="29938" y="341769"/>
                        </a:lnTo>
                        <a:lnTo>
                          <a:pt x="28455" y="404169"/>
                        </a:lnTo>
                        <a:lnTo>
                          <a:pt x="19314" y="403952"/>
                        </a:lnTo>
                        <a:close/>
                        <a:moveTo>
                          <a:pt x="22535" y="268400"/>
                        </a:moveTo>
                        <a:lnTo>
                          <a:pt x="31676" y="268617"/>
                        </a:lnTo>
                        <a:lnTo>
                          <a:pt x="30194" y="331017"/>
                        </a:lnTo>
                        <a:lnTo>
                          <a:pt x="21052" y="330800"/>
                        </a:lnTo>
                        <a:close/>
                        <a:moveTo>
                          <a:pt x="24273" y="195248"/>
                        </a:moveTo>
                        <a:lnTo>
                          <a:pt x="33415" y="195465"/>
                        </a:lnTo>
                        <a:lnTo>
                          <a:pt x="31932" y="257865"/>
                        </a:lnTo>
                        <a:lnTo>
                          <a:pt x="22790" y="257648"/>
                        </a:lnTo>
                        <a:close/>
                        <a:moveTo>
                          <a:pt x="26012" y="122096"/>
                        </a:moveTo>
                        <a:lnTo>
                          <a:pt x="35153" y="122313"/>
                        </a:lnTo>
                        <a:lnTo>
                          <a:pt x="33670" y="184713"/>
                        </a:lnTo>
                        <a:lnTo>
                          <a:pt x="24529" y="184496"/>
                        </a:lnTo>
                        <a:close/>
                        <a:moveTo>
                          <a:pt x="0" y="52721"/>
                        </a:moveTo>
                        <a:lnTo>
                          <a:pt x="34704" y="0"/>
                        </a:lnTo>
                        <a:lnTo>
                          <a:pt x="69407" y="52721"/>
                        </a:lnTo>
                        <a:lnTo>
                          <a:pt x="36807" y="52721"/>
                        </a:lnTo>
                        <a:lnTo>
                          <a:pt x="35409" y="111562"/>
                        </a:lnTo>
                        <a:lnTo>
                          <a:pt x="26267" y="111345"/>
                        </a:lnTo>
                        <a:lnTo>
                          <a:pt x="27661" y="52721"/>
                        </a:lnTo>
                        <a:close/>
                      </a:path>
                    </a:pathLst>
                  </a:custGeom>
                  <a:solidFill>
                    <a:srgbClr val="58B3D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15" name="Freeform: Shape 1314">
                    <a:extLst>
                      <a:ext uri="{FF2B5EF4-FFF2-40B4-BE49-F238E27FC236}">
                        <a16:creationId xmlns:a16="http://schemas.microsoft.com/office/drawing/2014/main" id="{46178674-8FA4-40B1-8085-67C89EAF1FA2}"/>
                      </a:ext>
                    </a:extLst>
                  </p:cNvPr>
                  <p:cNvSpPr>
                    <a:spLocks noChangeAspect="1"/>
                  </p:cNvSpPr>
                  <p:nvPr/>
                </p:nvSpPr>
                <p:spPr bwMode="auto">
                  <a:xfrm>
                    <a:off x="4875628" y="5243272"/>
                    <a:ext cx="1163902" cy="69407"/>
                  </a:xfrm>
                  <a:custGeom>
                    <a:avLst/>
                    <a:gdLst>
                      <a:gd name="connsiteX0" fmla="*/ 1083694 w 1163902"/>
                      <a:gd name="connsiteY0" fmla="*/ 26002 h 69407"/>
                      <a:gd name="connsiteX1" fmla="*/ 1102579 w 1163902"/>
                      <a:gd name="connsiteY1" fmla="*/ 26002 h 69407"/>
                      <a:gd name="connsiteX2" fmla="*/ 1102579 w 1163902"/>
                      <a:gd name="connsiteY2" fmla="*/ 44886 h 69407"/>
                      <a:gd name="connsiteX3" fmla="*/ 1083694 w 1163902"/>
                      <a:gd name="connsiteY3" fmla="*/ 44886 h 69407"/>
                      <a:gd name="connsiteX4" fmla="*/ 1057300 w 1163902"/>
                      <a:gd name="connsiteY4" fmla="*/ 26002 h 69407"/>
                      <a:gd name="connsiteX5" fmla="*/ 1076185 w 1163902"/>
                      <a:gd name="connsiteY5" fmla="*/ 26002 h 69407"/>
                      <a:gd name="connsiteX6" fmla="*/ 1076185 w 1163902"/>
                      <a:gd name="connsiteY6" fmla="*/ 44886 h 69407"/>
                      <a:gd name="connsiteX7" fmla="*/ 1057300 w 1163902"/>
                      <a:gd name="connsiteY7" fmla="*/ 44886 h 69407"/>
                      <a:gd name="connsiteX8" fmla="*/ 1030907 w 1163902"/>
                      <a:gd name="connsiteY8" fmla="*/ 26002 h 69407"/>
                      <a:gd name="connsiteX9" fmla="*/ 1049791 w 1163902"/>
                      <a:gd name="connsiteY9" fmla="*/ 26002 h 69407"/>
                      <a:gd name="connsiteX10" fmla="*/ 1049791 w 1163902"/>
                      <a:gd name="connsiteY10" fmla="*/ 44886 h 69407"/>
                      <a:gd name="connsiteX11" fmla="*/ 1030907 w 1163902"/>
                      <a:gd name="connsiteY11" fmla="*/ 44886 h 69407"/>
                      <a:gd name="connsiteX12" fmla="*/ 1004513 w 1163902"/>
                      <a:gd name="connsiteY12" fmla="*/ 26002 h 69407"/>
                      <a:gd name="connsiteX13" fmla="*/ 1023398 w 1163902"/>
                      <a:gd name="connsiteY13" fmla="*/ 26002 h 69407"/>
                      <a:gd name="connsiteX14" fmla="*/ 1023398 w 1163902"/>
                      <a:gd name="connsiteY14" fmla="*/ 44886 h 69407"/>
                      <a:gd name="connsiteX15" fmla="*/ 1004513 w 1163902"/>
                      <a:gd name="connsiteY15" fmla="*/ 44886 h 69407"/>
                      <a:gd name="connsiteX16" fmla="*/ 978119 w 1163902"/>
                      <a:gd name="connsiteY16" fmla="*/ 26002 h 69407"/>
                      <a:gd name="connsiteX17" fmla="*/ 997004 w 1163902"/>
                      <a:gd name="connsiteY17" fmla="*/ 26002 h 69407"/>
                      <a:gd name="connsiteX18" fmla="*/ 997004 w 1163902"/>
                      <a:gd name="connsiteY18" fmla="*/ 44886 h 69407"/>
                      <a:gd name="connsiteX19" fmla="*/ 978119 w 1163902"/>
                      <a:gd name="connsiteY19" fmla="*/ 44886 h 69407"/>
                      <a:gd name="connsiteX20" fmla="*/ 951725 w 1163902"/>
                      <a:gd name="connsiteY20" fmla="*/ 26002 h 69407"/>
                      <a:gd name="connsiteX21" fmla="*/ 970610 w 1163902"/>
                      <a:gd name="connsiteY21" fmla="*/ 26002 h 69407"/>
                      <a:gd name="connsiteX22" fmla="*/ 970610 w 1163902"/>
                      <a:gd name="connsiteY22" fmla="*/ 44886 h 69407"/>
                      <a:gd name="connsiteX23" fmla="*/ 951725 w 1163902"/>
                      <a:gd name="connsiteY23" fmla="*/ 44886 h 69407"/>
                      <a:gd name="connsiteX24" fmla="*/ 925331 w 1163902"/>
                      <a:gd name="connsiteY24" fmla="*/ 26002 h 69407"/>
                      <a:gd name="connsiteX25" fmla="*/ 944216 w 1163902"/>
                      <a:gd name="connsiteY25" fmla="*/ 26002 h 69407"/>
                      <a:gd name="connsiteX26" fmla="*/ 944216 w 1163902"/>
                      <a:gd name="connsiteY26" fmla="*/ 44886 h 69407"/>
                      <a:gd name="connsiteX27" fmla="*/ 925331 w 1163902"/>
                      <a:gd name="connsiteY27" fmla="*/ 44886 h 69407"/>
                      <a:gd name="connsiteX28" fmla="*/ 898937 w 1163902"/>
                      <a:gd name="connsiteY28" fmla="*/ 26002 h 69407"/>
                      <a:gd name="connsiteX29" fmla="*/ 917822 w 1163902"/>
                      <a:gd name="connsiteY29" fmla="*/ 26002 h 69407"/>
                      <a:gd name="connsiteX30" fmla="*/ 917822 w 1163902"/>
                      <a:gd name="connsiteY30" fmla="*/ 44886 h 69407"/>
                      <a:gd name="connsiteX31" fmla="*/ 898937 w 1163902"/>
                      <a:gd name="connsiteY31" fmla="*/ 44886 h 69407"/>
                      <a:gd name="connsiteX32" fmla="*/ 872543 w 1163902"/>
                      <a:gd name="connsiteY32" fmla="*/ 26002 h 69407"/>
                      <a:gd name="connsiteX33" fmla="*/ 891428 w 1163902"/>
                      <a:gd name="connsiteY33" fmla="*/ 26002 h 69407"/>
                      <a:gd name="connsiteX34" fmla="*/ 891428 w 1163902"/>
                      <a:gd name="connsiteY34" fmla="*/ 44886 h 69407"/>
                      <a:gd name="connsiteX35" fmla="*/ 872543 w 1163902"/>
                      <a:gd name="connsiteY35" fmla="*/ 44886 h 69407"/>
                      <a:gd name="connsiteX36" fmla="*/ 846150 w 1163902"/>
                      <a:gd name="connsiteY36" fmla="*/ 26002 h 69407"/>
                      <a:gd name="connsiteX37" fmla="*/ 865034 w 1163902"/>
                      <a:gd name="connsiteY37" fmla="*/ 26002 h 69407"/>
                      <a:gd name="connsiteX38" fmla="*/ 865034 w 1163902"/>
                      <a:gd name="connsiteY38" fmla="*/ 44886 h 69407"/>
                      <a:gd name="connsiteX39" fmla="*/ 846150 w 1163902"/>
                      <a:gd name="connsiteY39" fmla="*/ 44886 h 69407"/>
                      <a:gd name="connsiteX40" fmla="*/ 819756 w 1163902"/>
                      <a:gd name="connsiteY40" fmla="*/ 26002 h 69407"/>
                      <a:gd name="connsiteX41" fmla="*/ 838641 w 1163902"/>
                      <a:gd name="connsiteY41" fmla="*/ 26002 h 69407"/>
                      <a:gd name="connsiteX42" fmla="*/ 838641 w 1163902"/>
                      <a:gd name="connsiteY42" fmla="*/ 44886 h 69407"/>
                      <a:gd name="connsiteX43" fmla="*/ 819756 w 1163902"/>
                      <a:gd name="connsiteY43" fmla="*/ 44886 h 69407"/>
                      <a:gd name="connsiteX44" fmla="*/ 793362 w 1163902"/>
                      <a:gd name="connsiteY44" fmla="*/ 26002 h 69407"/>
                      <a:gd name="connsiteX45" fmla="*/ 812247 w 1163902"/>
                      <a:gd name="connsiteY45" fmla="*/ 26002 h 69407"/>
                      <a:gd name="connsiteX46" fmla="*/ 812247 w 1163902"/>
                      <a:gd name="connsiteY46" fmla="*/ 44886 h 69407"/>
                      <a:gd name="connsiteX47" fmla="*/ 793362 w 1163902"/>
                      <a:gd name="connsiteY47" fmla="*/ 44886 h 69407"/>
                      <a:gd name="connsiteX48" fmla="*/ 766968 w 1163902"/>
                      <a:gd name="connsiteY48" fmla="*/ 26002 h 69407"/>
                      <a:gd name="connsiteX49" fmla="*/ 785853 w 1163902"/>
                      <a:gd name="connsiteY49" fmla="*/ 26002 h 69407"/>
                      <a:gd name="connsiteX50" fmla="*/ 785853 w 1163902"/>
                      <a:gd name="connsiteY50" fmla="*/ 44886 h 69407"/>
                      <a:gd name="connsiteX51" fmla="*/ 766968 w 1163902"/>
                      <a:gd name="connsiteY51" fmla="*/ 44886 h 69407"/>
                      <a:gd name="connsiteX52" fmla="*/ 740574 w 1163902"/>
                      <a:gd name="connsiteY52" fmla="*/ 26002 h 69407"/>
                      <a:gd name="connsiteX53" fmla="*/ 759459 w 1163902"/>
                      <a:gd name="connsiteY53" fmla="*/ 26002 h 69407"/>
                      <a:gd name="connsiteX54" fmla="*/ 759459 w 1163902"/>
                      <a:gd name="connsiteY54" fmla="*/ 44886 h 69407"/>
                      <a:gd name="connsiteX55" fmla="*/ 740574 w 1163902"/>
                      <a:gd name="connsiteY55" fmla="*/ 44886 h 69407"/>
                      <a:gd name="connsiteX56" fmla="*/ 712635 w 1163902"/>
                      <a:gd name="connsiteY56" fmla="*/ 26002 h 69407"/>
                      <a:gd name="connsiteX57" fmla="*/ 731520 w 1163902"/>
                      <a:gd name="connsiteY57" fmla="*/ 26002 h 69407"/>
                      <a:gd name="connsiteX58" fmla="*/ 731520 w 1163902"/>
                      <a:gd name="connsiteY58" fmla="*/ 44886 h 69407"/>
                      <a:gd name="connsiteX59" fmla="*/ 712635 w 1163902"/>
                      <a:gd name="connsiteY59" fmla="*/ 44886 h 69407"/>
                      <a:gd name="connsiteX60" fmla="*/ 686240 w 1163902"/>
                      <a:gd name="connsiteY60" fmla="*/ 26002 h 69407"/>
                      <a:gd name="connsiteX61" fmla="*/ 705125 w 1163902"/>
                      <a:gd name="connsiteY61" fmla="*/ 26002 h 69407"/>
                      <a:gd name="connsiteX62" fmla="*/ 705125 w 1163902"/>
                      <a:gd name="connsiteY62" fmla="*/ 44886 h 69407"/>
                      <a:gd name="connsiteX63" fmla="*/ 686240 w 1163902"/>
                      <a:gd name="connsiteY63" fmla="*/ 44886 h 69407"/>
                      <a:gd name="connsiteX64" fmla="*/ 659846 w 1163902"/>
                      <a:gd name="connsiteY64" fmla="*/ 26002 h 69407"/>
                      <a:gd name="connsiteX65" fmla="*/ 678731 w 1163902"/>
                      <a:gd name="connsiteY65" fmla="*/ 26002 h 69407"/>
                      <a:gd name="connsiteX66" fmla="*/ 678731 w 1163902"/>
                      <a:gd name="connsiteY66" fmla="*/ 44886 h 69407"/>
                      <a:gd name="connsiteX67" fmla="*/ 659846 w 1163902"/>
                      <a:gd name="connsiteY67" fmla="*/ 44886 h 69407"/>
                      <a:gd name="connsiteX68" fmla="*/ 633452 w 1163902"/>
                      <a:gd name="connsiteY68" fmla="*/ 26002 h 69407"/>
                      <a:gd name="connsiteX69" fmla="*/ 652337 w 1163902"/>
                      <a:gd name="connsiteY69" fmla="*/ 26002 h 69407"/>
                      <a:gd name="connsiteX70" fmla="*/ 652337 w 1163902"/>
                      <a:gd name="connsiteY70" fmla="*/ 44886 h 69407"/>
                      <a:gd name="connsiteX71" fmla="*/ 633452 w 1163902"/>
                      <a:gd name="connsiteY71" fmla="*/ 44886 h 69407"/>
                      <a:gd name="connsiteX72" fmla="*/ 607058 w 1163902"/>
                      <a:gd name="connsiteY72" fmla="*/ 26002 h 69407"/>
                      <a:gd name="connsiteX73" fmla="*/ 625943 w 1163902"/>
                      <a:gd name="connsiteY73" fmla="*/ 26002 h 69407"/>
                      <a:gd name="connsiteX74" fmla="*/ 625943 w 1163902"/>
                      <a:gd name="connsiteY74" fmla="*/ 44886 h 69407"/>
                      <a:gd name="connsiteX75" fmla="*/ 607058 w 1163902"/>
                      <a:gd name="connsiteY75" fmla="*/ 44886 h 69407"/>
                      <a:gd name="connsiteX76" fmla="*/ 580664 w 1163902"/>
                      <a:gd name="connsiteY76" fmla="*/ 26002 h 69407"/>
                      <a:gd name="connsiteX77" fmla="*/ 599549 w 1163902"/>
                      <a:gd name="connsiteY77" fmla="*/ 26002 h 69407"/>
                      <a:gd name="connsiteX78" fmla="*/ 599549 w 1163902"/>
                      <a:gd name="connsiteY78" fmla="*/ 44886 h 69407"/>
                      <a:gd name="connsiteX79" fmla="*/ 580664 w 1163902"/>
                      <a:gd name="connsiteY79" fmla="*/ 44886 h 69407"/>
                      <a:gd name="connsiteX80" fmla="*/ 554271 w 1163902"/>
                      <a:gd name="connsiteY80" fmla="*/ 26002 h 69407"/>
                      <a:gd name="connsiteX81" fmla="*/ 573155 w 1163902"/>
                      <a:gd name="connsiteY81" fmla="*/ 26002 h 69407"/>
                      <a:gd name="connsiteX82" fmla="*/ 573155 w 1163902"/>
                      <a:gd name="connsiteY82" fmla="*/ 44886 h 69407"/>
                      <a:gd name="connsiteX83" fmla="*/ 554271 w 1163902"/>
                      <a:gd name="connsiteY83" fmla="*/ 44886 h 69407"/>
                      <a:gd name="connsiteX84" fmla="*/ 527877 w 1163902"/>
                      <a:gd name="connsiteY84" fmla="*/ 26002 h 69407"/>
                      <a:gd name="connsiteX85" fmla="*/ 546762 w 1163902"/>
                      <a:gd name="connsiteY85" fmla="*/ 26002 h 69407"/>
                      <a:gd name="connsiteX86" fmla="*/ 546762 w 1163902"/>
                      <a:gd name="connsiteY86" fmla="*/ 44886 h 69407"/>
                      <a:gd name="connsiteX87" fmla="*/ 527877 w 1163902"/>
                      <a:gd name="connsiteY87" fmla="*/ 44886 h 69407"/>
                      <a:gd name="connsiteX88" fmla="*/ 501483 w 1163902"/>
                      <a:gd name="connsiteY88" fmla="*/ 26002 h 69407"/>
                      <a:gd name="connsiteX89" fmla="*/ 520368 w 1163902"/>
                      <a:gd name="connsiteY89" fmla="*/ 26002 h 69407"/>
                      <a:gd name="connsiteX90" fmla="*/ 520368 w 1163902"/>
                      <a:gd name="connsiteY90" fmla="*/ 44886 h 69407"/>
                      <a:gd name="connsiteX91" fmla="*/ 501483 w 1163902"/>
                      <a:gd name="connsiteY91" fmla="*/ 44886 h 69407"/>
                      <a:gd name="connsiteX92" fmla="*/ 475089 w 1163902"/>
                      <a:gd name="connsiteY92" fmla="*/ 26002 h 69407"/>
                      <a:gd name="connsiteX93" fmla="*/ 493974 w 1163902"/>
                      <a:gd name="connsiteY93" fmla="*/ 26002 h 69407"/>
                      <a:gd name="connsiteX94" fmla="*/ 493974 w 1163902"/>
                      <a:gd name="connsiteY94" fmla="*/ 44886 h 69407"/>
                      <a:gd name="connsiteX95" fmla="*/ 475089 w 1163902"/>
                      <a:gd name="connsiteY95" fmla="*/ 44886 h 69407"/>
                      <a:gd name="connsiteX96" fmla="*/ 448695 w 1163902"/>
                      <a:gd name="connsiteY96" fmla="*/ 26002 h 69407"/>
                      <a:gd name="connsiteX97" fmla="*/ 467580 w 1163902"/>
                      <a:gd name="connsiteY97" fmla="*/ 26002 h 69407"/>
                      <a:gd name="connsiteX98" fmla="*/ 467580 w 1163902"/>
                      <a:gd name="connsiteY98" fmla="*/ 44886 h 69407"/>
                      <a:gd name="connsiteX99" fmla="*/ 448695 w 1163902"/>
                      <a:gd name="connsiteY99" fmla="*/ 44886 h 69407"/>
                      <a:gd name="connsiteX100" fmla="*/ 422301 w 1163902"/>
                      <a:gd name="connsiteY100" fmla="*/ 26002 h 69407"/>
                      <a:gd name="connsiteX101" fmla="*/ 441186 w 1163902"/>
                      <a:gd name="connsiteY101" fmla="*/ 26002 h 69407"/>
                      <a:gd name="connsiteX102" fmla="*/ 441186 w 1163902"/>
                      <a:gd name="connsiteY102" fmla="*/ 44886 h 69407"/>
                      <a:gd name="connsiteX103" fmla="*/ 422301 w 1163902"/>
                      <a:gd name="connsiteY103" fmla="*/ 44886 h 69407"/>
                      <a:gd name="connsiteX104" fmla="*/ 395908 w 1163902"/>
                      <a:gd name="connsiteY104" fmla="*/ 26002 h 69407"/>
                      <a:gd name="connsiteX105" fmla="*/ 414792 w 1163902"/>
                      <a:gd name="connsiteY105" fmla="*/ 26002 h 69407"/>
                      <a:gd name="connsiteX106" fmla="*/ 414792 w 1163902"/>
                      <a:gd name="connsiteY106" fmla="*/ 44886 h 69407"/>
                      <a:gd name="connsiteX107" fmla="*/ 395908 w 1163902"/>
                      <a:gd name="connsiteY107" fmla="*/ 44886 h 69407"/>
                      <a:gd name="connsiteX108" fmla="*/ 369514 w 1163902"/>
                      <a:gd name="connsiteY108" fmla="*/ 26002 h 69407"/>
                      <a:gd name="connsiteX109" fmla="*/ 388398 w 1163902"/>
                      <a:gd name="connsiteY109" fmla="*/ 26002 h 69407"/>
                      <a:gd name="connsiteX110" fmla="*/ 388398 w 1163902"/>
                      <a:gd name="connsiteY110" fmla="*/ 44886 h 69407"/>
                      <a:gd name="connsiteX111" fmla="*/ 369514 w 1163902"/>
                      <a:gd name="connsiteY111" fmla="*/ 44886 h 69407"/>
                      <a:gd name="connsiteX112" fmla="*/ 343120 w 1163902"/>
                      <a:gd name="connsiteY112" fmla="*/ 26002 h 69407"/>
                      <a:gd name="connsiteX113" fmla="*/ 362005 w 1163902"/>
                      <a:gd name="connsiteY113" fmla="*/ 26002 h 69407"/>
                      <a:gd name="connsiteX114" fmla="*/ 362005 w 1163902"/>
                      <a:gd name="connsiteY114" fmla="*/ 44886 h 69407"/>
                      <a:gd name="connsiteX115" fmla="*/ 343120 w 1163902"/>
                      <a:gd name="connsiteY115" fmla="*/ 44886 h 69407"/>
                      <a:gd name="connsiteX116" fmla="*/ 316726 w 1163902"/>
                      <a:gd name="connsiteY116" fmla="*/ 26002 h 69407"/>
                      <a:gd name="connsiteX117" fmla="*/ 335611 w 1163902"/>
                      <a:gd name="connsiteY117" fmla="*/ 26002 h 69407"/>
                      <a:gd name="connsiteX118" fmla="*/ 335611 w 1163902"/>
                      <a:gd name="connsiteY118" fmla="*/ 44886 h 69407"/>
                      <a:gd name="connsiteX119" fmla="*/ 316726 w 1163902"/>
                      <a:gd name="connsiteY119" fmla="*/ 44886 h 69407"/>
                      <a:gd name="connsiteX120" fmla="*/ 290332 w 1163902"/>
                      <a:gd name="connsiteY120" fmla="*/ 26002 h 69407"/>
                      <a:gd name="connsiteX121" fmla="*/ 309217 w 1163902"/>
                      <a:gd name="connsiteY121" fmla="*/ 26002 h 69407"/>
                      <a:gd name="connsiteX122" fmla="*/ 309217 w 1163902"/>
                      <a:gd name="connsiteY122" fmla="*/ 44886 h 69407"/>
                      <a:gd name="connsiteX123" fmla="*/ 290332 w 1163902"/>
                      <a:gd name="connsiteY123" fmla="*/ 44886 h 69407"/>
                      <a:gd name="connsiteX124" fmla="*/ 263938 w 1163902"/>
                      <a:gd name="connsiteY124" fmla="*/ 26002 h 69407"/>
                      <a:gd name="connsiteX125" fmla="*/ 282823 w 1163902"/>
                      <a:gd name="connsiteY125" fmla="*/ 26002 h 69407"/>
                      <a:gd name="connsiteX126" fmla="*/ 282823 w 1163902"/>
                      <a:gd name="connsiteY126" fmla="*/ 44886 h 69407"/>
                      <a:gd name="connsiteX127" fmla="*/ 263938 w 1163902"/>
                      <a:gd name="connsiteY127" fmla="*/ 44886 h 69407"/>
                      <a:gd name="connsiteX128" fmla="*/ 237544 w 1163902"/>
                      <a:gd name="connsiteY128" fmla="*/ 26002 h 69407"/>
                      <a:gd name="connsiteX129" fmla="*/ 256429 w 1163902"/>
                      <a:gd name="connsiteY129" fmla="*/ 26002 h 69407"/>
                      <a:gd name="connsiteX130" fmla="*/ 256429 w 1163902"/>
                      <a:gd name="connsiteY130" fmla="*/ 44886 h 69407"/>
                      <a:gd name="connsiteX131" fmla="*/ 237544 w 1163902"/>
                      <a:gd name="connsiteY131" fmla="*/ 44886 h 69407"/>
                      <a:gd name="connsiteX132" fmla="*/ 211151 w 1163902"/>
                      <a:gd name="connsiteY132" fmla="*/ 26002 h 69407"/>
                      <a:gd name="connsiteX133" fmla="*/ 230035 w 1163902"/>
                      <a:gd name="connsiteY133" fmla="*/ 26002 h 69407"/>
                      <a:gd name="connsiteX134" fmla="*/ 230035 w 1163902"/>
                      <a:gd name="connsiteY134" fmla="*/ 44886 h 69407"/>
                      <a:gd name="connsiteX135" fmla="*/ 211151 w 1163902"/>
                      <a:gd name="connsiteY135" fmla="*/ 44886 h 69407"/>
                      <a:gd name="connsiteX136" fmla="*/ 184757 w 1163902"/>
                      <a:gd name="connsiteY136" fmla="*/ 26002 h 69407"/>
                      <a:gd name="connsiteX137" fmla="*/ 203642 w 1163902"/>
                      <a:gd name="connsiteY137" fmla="*/ 26002 h 69407"/>
                      <a:gd name="connsiteX138" fmla="*/ 203642 w 1163902"/>
                      <a:gd name="connsiteY138" fmla="*/ 44886 h 69407"/>
                      <a:gd name="connsiteX139" fmla="*/ 184757 w 1163902"/>
                      <a:gd name="connsiteY139" fmla="*/ 44886 h 69407"/>
                      <a:gd name="connsiteX140" fmla="*/ 158363 w 1163902"/>
                      <a:gd name="connsiteY140" fmla="*/ 26002 h 69407"/>
                      <a:gd name="connsiteX141" fmla="*/ 177248 w 1163902"/>
                      <a:gd name="connsiteY141" fmla="*/ 26002 h 69407"/>
                      <a:gd name="connsiteX142" fmla="*/ 177248 w 1163902"/>
                      <a:gd name="connsiteY142" fmla="*/ 44886 h 69407"/>
                      <a:gd name="connsiteX143" fmla="*/ 158363 w 1163902"/>
                      <a:gd name="connsiteY143" fmla="*/ 44886 h 69407"/>
                      <a:gd name="connsiteX144" fmla="*/ 131969 w 1163902"/>
                      <a:gd name="connsiteY144" fmla="*/ 26002 h 69407"/>
                      <a:gd name="connsiteX145" fmla="*/ 150854 w 1163902"/>
                      <a:gd name="connsiteY145" fmla="*/ 26002 h 69407"/>
                      <a:gd name="connsiteX146" fmla="*/ 150854 w 1163902"/>
                      <a:gd name="connsiteY146" fmla="*/ 44886 h 69407"/>
                      <a:gd name="connsiteX147" fmla="*/ 131969 w 1163902"/>
                      <a:gd name="connsiteY147" fmla="*/ 44886 h 69407"/>
                      <a:gd name="connsiteX148" fmla="*/ 105575 w 1163902"/>
                      <a:gd name="connsiteY148" fmla="*/ 26002 h 69407"/>
                      <a:gd name="connsiteX149" fmla="*/ 124460 w 1163902"/>
                      <a:gd name="connsiteY149" fmla="*/ 26002 h 69407"/>
                      <a:gd name="connsiteX150" fmla="*/ 124460 w 1163902"/>
                      <a:gd name="connsiteY150" fmla="*/ 44886 h 69407"/>
                      <a:gd name="connsiteX151" fmla="*/ 105575 w 1163902"/>
                      <a:gd name="connsiteY151" fmla="*/ 44886 h 69407"/>
                      <a:gd name="connsiteX152" fmla="*/ 79181 w 1163902"/>
                      <a:gd name="connsiteY152" fmla="*/ 26002 h 69407"/>
                      <a:gd name="connsiteX153" fmla="*/ 98066 w 1163902"/>
                      <a:gd name="connsiteY153" fmla="*/ 26002 h 69407"/>
                      <a:gd name="connsiteX154" fmla="*/ 98066 w 1163902"/>
                      <a:gd name="connsiteY154" fmla="*/ 44886 h 69407"/>
                      <a:gd name="connsiteX155" fmla="*/ 79181 w 1163902"/>
                      <a:gd name="connsiteY155" fmla="*/ 44886 h 69407"/>
                      <a:gd name="connsiteX156" fmla="*/ 52787 w 1163902"/>
                      <a:gd name="connsiteY156" fmla="*/ 26002 h 69407"/>
                      <a:gd name="connsiteX157" fmla="*/ 71672 w 1163902"/>
                      <a:gd name="connsiteY157" fmla="*/ 26002 h 69407"/>
                      <a:gd name="connsiteX158" fmla="*/ 71672 w 1163902"/>
                      <a:gd name="connsiteY158" fmla="*/ 44886 h 69407"/>
                      <a:gd name="connsiteX159" fmla="*/ 52787 w 1163902"/>
                      <a:gd name="connsiteY159" fmla="*/ 44886 h 69407"/>
                      <a:gd name="connsiteX160" fmla="*/ 26394 w 1163902"/>
                      <a:gd name="connsiteY160" fmla="*/ 26002 h 69407"/>
                      <a:gd name="connsiteX161" fmla="*/ 45278 w 1163902"/>
                      <a:gd name="connsiteY161" fmla="*/ 26002 h 69407"/>
                      <a:gd name="connsiteX162" fmla="*/ 45278 w 1163902"/>
                      <a:gd name="connsiteY162" fmla="*/ 44886 h 69407"/>
                      <a:gd name="connsiteX163" fmla="*/ 26394 w 1163902"/>
                      <a:gd name="connsiteY163" fmla="*/ 44886 h 69407"/>
                      <a:gd name="connsiteX164" fmla="*/ 0 w 1163902"/>
                      <a:gd name="connsiteY164" fmla="*/ 26002 h 69407"/>
                      <a:gd name="connsiteX165" fmla="*/ 18885 w 1163902"/>
                      <a:gd name="connsiteY165" fmla="*/ 26002 h 69407"/>
                      <a:gd name="connsiteX166" fmla="*/ 18885 w 1163902"/>
                      <a:gd name="connsiteY166" fmla="*/ 44886 h 69407"/>
                      <a:gd name="connsiteX167" fmla="*/ 0 w 1163902"/>
                      <a:gd name="connsiteY167" fmla="*/ 44886 h 69407"/>
                      <a:gd name="connsiteX168" fmla="*/ 1111181 w 1163902"/>
                      <a:gd name="connsiteY168" fmla="*/ 0 h 69407"/>
                      <a:gd name="connsiteX169" fmla="*/ 1163902 w 1163902"/>
                      <a:gd name="connsiteY169" fmla="*/ 34704 h 69407"/>
                      <a:gd name="connsiteX170" fmla="*/ 1111181 w 1163902"/>
                      <a:gd name="connsiteY170" fmla="*/ 69407 h 69407"/>
                      <a:gd name="connsiteX171" fmla="*/ 1111181 w 1163902"/>
                      <a:gd name="connsiteY171" fmla="*/ 44886 h 69407"/>
                      <a:gd name="connsiteX172" fmla="*/ 1110088 w 1163902"/>
                      <a:gd name="connsiteY172" fmla="*/ 44886 h 69407"/>
                      <a:gd name="connsiteX173" fmla="*/ 1110088 w 1163902"/>
                      <a:gd name="connsiteY173" fmla="*/ 26002 h 69407"/>
                      <a:gd name="connsiteX174" fmla="*/ 1111181 w 1163902"/>
                      <a:gd name="connsiteY174" fmla="*/ 26002 h 69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163902" h="69407">
                        <a:moveTo>
                          <a:pt x="1083694" y="26002"/>
                        </a:moveTo>
                        <a:lnTo>
                          <a:pt x="1102579" y="26002"/>
                        </a:lnTo>
                        <a:lnTo>
                          <a:pt x="1102579" y="44886"/>
                        </a:lnTo>
                        <a:lnTo>
                          <a:pt x="1083694" y="44886"/>
                        </a:lnTo>
                        <a:close/>
                        <a:moveTo>
                          <a:pt x="1057300" y="26002"/>
                        </a:moveTo>
                        <a:lnTo>
                          <a:pt x="1076185" y="26002"/>
                        </a:lnTo>
                        <a:lnTo>
                          <a:pt x="1076185" y="44886"/>
                        </a:lnTo>
                        <a:lnTo>
                          <a:pt x="1057300" y="44886"/>
                        </a:lnTo>
                        <a:close/>
                        <a:moveTo>
                          <a:pt x="1030907" y="26002"/>
                        </a:moveTo>
                        <a:lnTo>
                          <a:pt x="1049791" y="26002"/>
                        </a:lnTo>
                        <a:lnTo>
                          <a:pt x="1049791" y="44886"/>
                        </a:lnTo>
                        <a:lnTo>
                          <a:pt x="1030907" y="44886"/>
                        </a:lnTo>
                        <a:close/>
                        <a:moveTo>
                          <a:pt x="1004513" y="26002"/>
                        </a:moveTo>
                        <a:lnTo>
                          <a:pt x="1023398" y="26002"/>
                        </a:lnTo>
                        <a:lnTo>
                          <a:pt x="1023398" y="44886"/>
                        </a:lnTo>
                        <a:lnTo>
                          <a:pt x="1004513" y="44886"/>
                        </a:lnTo>
                        <a:close/>
                        <a:moveTo>
                          <a:pt x="978119" y="26002"/>
                        </a:moveTo>
                        <a:lnTo>
                          <a:pt x="997004" y="26002"/>
                        </a:lnTo>
                        <a:lnTo>
                          <a:pt x="997004" y="44886"/>
                        </a:lnTo>
                        <a:lnTo>
                          <a:pt x="978119" y="44886"/>
                        </a:lnTo>
                        <a:close/>
                        <a:moveTo>
                          <a:pt x="951725" y="26002"/>
                        </a:moveTo>
                        <a:lnTo>
                          <a:pt x="970610" y="26002"/>
                        </a:lnTo>
                        <a:lnTo>
                          <a:pt x="970610" y="44886"/>
                        </a:lnTo>
                        <a:lnTo>
                          <a:pt x="951725" y="44886"/>
                        </a:lnTo>
                        <a:close/>
                        <a:moveTo>
                          <a:pt x="925331" y="26002"/>
                        </a:moveTo>
                        <a:lnTo>
                          <a:pt x="944216" y="26002"/>
                        </a:lnTo>
                        <a:lnTo>
                          <a:pt x="944216" y="44886"/>
                        </a:lnTo>
                        <a:lnTo>
                          <a:pt x="925331" y="44886"/>
                        </a:lnTo>
                        <a:close/>
                        <a:moveTo>
                          <a:pt x="898937" y="26002"/>
                        </a:moveTo>
                        <a:lnTo>
                          <a:pt x="917822" y="26002"/>
                        </a:lnTo>
                        <a:lnTo>
                          <a:pt x="917822" y="44886"/>
                        </a:lnTo>
                        <a:lnTo>
                          <a:pt x="898937" y="44886"/>
                        </a:lnTo>
                        <a:close/>
                        <a:moveTo>
                          <a:pt x="872543" y="26002"/>
                        </a:moveTo>
                        <a:lnTo>
                          <a:pt x="891428" y="26002"/>
                        </a:lnTo>
                        <a:lnTo>
                          <a:pt x="891428" y="44886"/>
                        </a:lnTo>
                        <a:lnTo>
                          <a:pt x="872543" y="44886"/>
                        </a:lnTo>
                        <a:close/>
                        <a:moveTo>
                          <a:pt x="846150" y="26002"/>
                        </a:moveTo>
                        <a:lnTo>
                          <a:pt x="865034" y="26002"/>
                        </a:lnTo>
                        <a:lnTo>
                          <a:pt x="865034" y="44886"/>
                        </a:lnTo>
                        <a:lnTo>
                          <a:pt x="846150" y="44886"/>
                        </a:lnTo>
                        <a:close/>
                        <a:moveTo>
                          <a:pt x="819756" y="26002"/>
                        </a:moveTo>
                        <a:lnTo>
                          <a:pt x="838641" y="26002"/>
                        </a:lnTo>
                        <a:lnTo>
                          <a:pt x="838641" y="44886"/>
                        </a:lnTo>
                        <a:lnTo>
                          <a:pt x="819756" y="44886"/>
                        </a:lnTo>
                        <a:close/>
                        <a:moveTo>
                          <a:pt x="793362" y="26002"/>
                        </a:moveTo>
                        <a:lnTo>
                          <a:pt x="812247" y="26002"/>
                        </a:lnTo>
                        <a:lnTo>
                          <a:pt x="812247" y="44886"/>
                        </a:lnTo>
                        <a:lnTo>
                          <a:pt x="793362" y="44886"/>
                        </a:lnTo>
                        <a:close/>
                        <a:moveTo>
                          <a:pt x="766968" y="26002"/>
                        </a:moveTo>
                        <a:lnTo>
                          <a:pt x="785853" y="26002"/>
                        </a:lnTo>
                        <a:lnTo>
                          <a:pt x="785853" y="44886"/>
                        </a:lnTo>
                        <a:lnTo>
                          <a:pt x="766968" y="44886"/>
                        </a:lnTo>
                        <a:close/>
                        <a:moveTo>
                          <a:pt x="740574" y="26002"/>
                        </a:moveTo>
                        <a:lnTo>
                          <a:pt x="759459" y="26002"/>
                        </a:lnTo>
                        <a:lnTo>
                          <a:pt x="759459" y="44886"/>
                        </a:lnTo>
                        <a:lnTo>
                          <a:pt x="740574" y="44886"/>
                        </a:lnTo>
                        <a:close/>
                        <a:moveTo>
                          <a:pt x="712635" y="26002"/>
                        </a:moveTo>
                        <a:lnTo>
                          <a:pt x="731520" y="26002"/>
                        </a:lnTo>
                        <a:lnTo>
                          <a:pt x="731520" y="44886"/>
                        </a:lnTo>
                        <a:lnTo>
                          <a:pt x="712635" y="44886"/>
                        </a:lnTo>
                        <a:close/>
                        <a:moveTo>
                          <a:pt x="686240" y="26002"/>
                        </a:moveTo>
                        <a:lnTo>
                          <a:pt x="705125" y="26002"/>
                        </a:lnTo>
                        <a:lnTo>
                          <a:pt x="705125" y="44886"/>
                        </a:lnTo>
                        <a:lnTo>
                          <a:pt x="686240" y="44886"/>
                        </a:lnTo>
                        <a:close/>
                        <a:moveTo>
                          <a:pt x="659846" y="26002"/>
                        </a:moveTo>
                        <a:lnTo>
                          <a:pt x="678731" y="26002"/>
                        </a:lnTo>
                        <a:lnTo>
                          <a:pt x="678731" y="44886"/>
                        </a:lnTo>
                        <a:lnTo>
                          <a:pt x="659846" y="44886"/>
                        </a:lnTo>
                        <a:close/>
                        <a:moveTo>
                          <a:pt x="633452" y="26002"/>
                        </a:moveTo>
                        <a:lnTo>
                          <a:pt x="652337" y="26002"/>
                        </a:lnTo>
                        <a:lnTo>
                          <a:pt x="652337" y="44886"/>
                        </a:lnTo>
                        <a:lnTo>
                          <a:pt x="633452" y="44886"/>
                        </a:lnTo>
                        <a:close/>
                        <a:moveTo>
                          <a:pt x="607058" y="26002"/>
                        </a:moveTo>
                        <a:lnTo>
                          <a:pt x="625943" y="26002"/>
                        </a:lnTo>
                        <a:lnTo>
                          <a:pt x="625943" y="44886"/>
                        </a:lnTo>
                        <a:lnTo>
                          <a:pt x="607058" y="44886"/>
                        </a:lnTo>
                        <a:close/>
                        <a:moveTo>
                          <a:pt x="580664" y="26002"/>
                        </a:moveTo>
                        <a:lnTo>
                          <a:pt x="599549" y="26002"/>
                        </a:lnTo>
                        <a:lnTo>
                          <a:pt x="599549" y="44886"/>
                        </a:lnTo>
                        <a:lnTo>
                          <a:pt x="580664" y="44886"/>
                        </a:lnTo>
                        <a:close/>
                        <a:moveTo>
                          <a:pt x="554271" y="26002"/>
                        </a:moveTo>
                        <a:lnTo>
                          <a:pt x="573155" y="26002"/>
                        </a:lnTo>
                        <a:lnTo>
                          <a:pt x="573155" y="44886"/>
                        </a:lnTo>
                        <a:lnTo>
                          <a:pt x="554271" y="44886"/>
                        </a:lnTo>
                        <a:close/>
                        <a:moveTo>
                          <a:pt x="527877" y="26002"/>
                        </a:moveTo>
                        <a:lnTo>
                          <a:pt x="546762" y="26002"/>
                        </a:lnTo>
                        <a:lnTo>
                          <a:pt x="546762" y="44886"/>
                        </a:lnTo>
                        <a:lnTo>
                          <a:pt x="527877" y="44886"/>
                        </a:lnTo>
                        <a:close/>
                        <a:moveTo>
                          <a:pt x="501483" y="26002"/>
                        </a:moveTo>
                        <a:lnTo>
                          <a:pt x="520368" y="26002"/>
                        </a:lnTo>
                        <a:lnTo>
                          <a:pt x="520368" y="44886"/>
                        </a:lnTo>
                        <a:lnTo>
                          <a:pt x="501483" y="44886"/>
                        </a:lnTo>
                        <a:close/>
                        <a:moveTo>
                          <a:pt x="475089" y="26002"/>
                        </a:moveTo>
                        <a:lnTo>
                          <a:pt x="493974" y="26002"/>
                        </a:lnTo>
                        <a:lnTo>
                          <a:pt x="493974" y="44886"/>
                        </a:lnTo>
                        <a:lnTo>
                          <a:pt x="475089" y="44886"/>
                        </a:lnTo>
                        <a:close/>
                        <a:moveTo>
                          <a:pt x="448695" y="26002"/>
                        </a:moveTo>
                        <a:lnTo>
                          <a:pt x="467580" y="26002"/>
                        </a:lnTo>
                        <a:lnTo>
                          <a:pt x="467580" y="44886"/>
                        </a:lnTo>
                        <a:lnTo>
                          <a:pt x="448695" y="44886"/>
                        </a:lnTo>
                        <a:close/>
                        <a:moveTo>
                          <a:pt x="422301" y="26002"/>
                        </a:moveTo>
                        <a:lnTo>
                          <a:pt x="441186" y="26002"/>
                        </a:lnTo>
                        <a:lnTo>
                          <a:pt x="441186" y="44886"/>
                        </a:lnTo>
                        <a:lnTo>
                          <a:pt x="422301" y="44886"/>
                        </a:lnTo>
                        <a:close/>
                        <a:moveTo>
                          <a:pt x="395908" y="26002"/>
                        </a:moveTo>
                        <a:lnTo>
                          <a:pt x="414792" y="26002"/>
                        </a:lnTo>
                        <a:lnTo>
                          <a:pt x="414792" y="44886"/>
                        </a:lnTo>
                        <a:lnTo>
                          <a:pt x="395908" y="44886"/>
                        </a:lnTo>
                        <a:close/>
                        <a:moveTo>
                          <a:pt x="369514" y="26002"/>
                        </a:moveTo>
                        <a:lnTo>
                          <a:pt x="388398" y="26002"/>
                        </a:lnTo>
                        <a:lnTo>
                          <a:pt x="388398" y="44886"/>
                        </a:lnTo>
                        <a:lnTo>
                          <a:pt x="369514" y="44886"/>
                        </a:lnTo>
                        <a:close/>
                        <a:moveTo>
                          <a:pt x="343120" y="26002"/>
                        </a:moveTo>
                        <a:lnTo>
                          <a:pt x="362005" y="26002"/>
                        </a:lnTo>
                        <a:lnTo>
                          <a:pt x="362005" y="44886"/>
                        </a:lnTo>
                        <a:lnTo>
                          <a:pt x="343120" y="44886"/>
                        </a:lnTo>
                        <a:close/>
                        <a:moveTo>
                          <a:pt x="316726" y="26002"/>
                        </a:moveTo>
                        <a:lnTo>
                          <a:pt x="335611" y="26002"/>
                        </a:lnTo>
                        <a:lnTo>
                          <a:pt x="335611" y="44886"/>
                        </a:lnTo>
                        <a:lnTo>
                          <a:pt x="316726" y="44886"/>
                        </a:lnTo>
                        <a:close/>
                        <a:moveTo>
                          <a:pt x="290332" y="26002"/>
                        </a:moveTo>
                        <a:lnTo>
                          <a:pt x="309217" y="26002"/>
                        </a:lnTo>
                        <a:lnTo>
                          <a:pt x="309217" y="44886"/>
                        </a:lnTo>
                        <a:lnTo>
                          <a:pt x="290332" y="44886"/>
                        </a:lnTo>
                        <a:close/>
                        <a:moveTo>
                          <a:pt x="263938" y="26002"/>
                        </a:moveTo>
                        <a:lnTo>
                          <a:pt x="282823" y="26002"/>
                        </a:lnTo>
                        <a:lnTo>
                          <a:pt x="282823" y="44886"/>
                        </a:lnTo>
                        <a:lnTo>
                          <a:pt x="263938" y="44886"/>
                        </a:lnTo>
                        <a:close/>
                        <a:moveTo>
                          <a:pt x="237544" y="26002"/>
                        </a:moveTo>
                        <a:lnTo>
                          <a:pt x="256429" y="26002"/>
                        </a:lnTo>
                        <a:lnTo>
                          <a:pt x="256429" y="44886"/>
                        </a:lnTo>
                        <a:lnTo>
                          <a:pt x="237544" y="44886"/>
                        </a:lnTo>
                        <a:close/>
                        <a:moveTo>
                          <a:pt x="211151" y="26002"/>
                        </a:moveTo>
                        <a:lnTo>
                          <a:pt x="230035" y="26002"/>
                        </a:lnTo>
                        <a:lnTo>
                          <a:pt x="230035" y="44886"/>
                        </a:lnTo>
                        <a:lnTo>
                          <a:pt x="211151" y="44886"/>
                        </a:lnTo>
                        <a:close/>
                        <a:moveTo>
                          <a:pt x="184757" y="26002"/>
                        </a:moveTo>
                        <a:lnTo>
                          <a:pt x="203642" y="26002"/>
                        </a:lnTo>
                        <a:lnTo>
                          <a:pt x="203642" y="44886"/>
                        </a:lnTo>
                        <a:lnTo>
                          <a:pt x="184757" y="44886"/>
                        </a:lnTo>
                        <a:close/>
                        <a:moveTo>
                          <a:pt x="158363" y="26002"/>
                        </a:moveTo>
                        <a:lnTo>
                          <a:pt x="177248" y="26002"/>
                        </a:lnTo>
                        <a:lnTo>
                          <a:pt x="177248" y="44886"/>
                        </a:lnTo>
                        <a:lnTo>
                          <a:pt x="158363" y="44886"/>
                        </a:lnTo>
                        <a:close/>
                        <a:moveTo>
                          <a:pt x="131969" y="26002"/>
                        </a:moveTo>
                        <a:lnTo>
                          <a:pt x="150854" y="26002"/>
                        </a:lnTo>
                        <a:lnTo>
                          <a:pt x="150854" y="44886"/>
                        </a:lnTo>
                        <a:lnTo>
                          <a:pt x="131969" y="44886"/>
                        </a:lnTo>
                        <a:close/>
                        <a:moveTo>
                          <a:pt x="105575" y="26002"/>
                        </a:moveTo>
                        <a:lnTo>
                          <a:pt x="124460" y="26002"/>
                        </a:lnTo>
                        <a:lnTo>
                          <a:pt x="124460" y="44886"/>
                        </a:lnTo>
                        <a:lnTo>
                          <a:pt x="105575" y="44886"/>
                        </a:lnTo>
                        <a:close/>
                        <a:moveTo>
                          <a:pt x="79181" y="26002"/>
                        </a:moveTo>
                        <a:lnTo>
                          <a:pt x="98066" y="26002"/>
                        </a:lnTo>
                        <a:lnTo>
                          <a:pt x="98066" y="44886"/>
                        </a:lnTo>
                        <a:lnTo>
                          <a:pt x="79181" y="44886"/>
                        </a:lnTo>
                        <a:close/>
                        <a:moveTo>
                          <a:pt x="52787" y="26002"/>
                        </a:moveTo>
                        <a:lnTo>
                          <a:pt x="71672" y="26002"/>
                        </a:lnTo>
                        <a:lnTo>
                          <a:pt x="71672" y="44886"/>
                        </a:lnTo>
                        <a:lnTo>
                          <a:pt x="52787" y="44886"/>
                        </a:lnTo>
                        <a:close/>
                        <a:moveTo>
                          <a:pt x="26394" y="26002"/>
                        </a:moveTo>
                        <a:lnTo>
                          <a:pt x="45278" y="26002"/>
                        </a:lnTo>
                        <a:lnTo>
                          <a:pt x="45278" y="44886"/>
                        </a:lnTo>
                        <a:lnTo>
                          <a:pt x="26394" y="44886"/>
                        </a:lnTo>
                        <a:close/>
                        <a:moveTo>
                          <a:pt x="0" y="26002"/>
                        </a:moveTo>
                        <a:lnTo>
                          <a:pt x="18885" y="26002"/>
                        </a:lnTo>
                        <a:lnTo>
                          <a:pt x="18885" y="44886"/>
                        </a:lnTo>
                        <a:lnTo>
                          <a:pt x="0" y="44886"/>
                        </a:lnTo>
                        <a:close/>
                        <a:moveTo>
                          <a:pt x="1111181" y="0"/>
                        </a:moveTo>
                        <a:lnTo>
                          <a:pt x="1163902" y="34704"/>
                        </a:lnTo>
                        <a:lnTo>
                          <a:pt x="1111181" y="69407"/>
                        </a:lnTo>
                        <a:lnTo>
                          <a:pt x="1111181" y="44886"/>
                        </a:lnTo>
                        <a:lnTo>
                          <a:pt x="1110088" y="44886"/>
                        </a:lnTo>
                        <a:lnTo>
                          <a:pt x="1110088" y="26002"/>
                        </a:lnTo>
                        <a:lnTo>
                          <a:pt x="1111181" y="26002"/>
                        </a:lnTo>
                        <a:close/>
                      </a:path>
                    </a:pathLst>
                  </a:custGeom>
                  <a:solidFill>
                    <a:srgbClr val="58B3D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316" name="Group 1315">
                    <a:extLst>
                      <a:ext uri="{FF2B5EF4-FFF2-40B4-BE49-F238E27FC236}">
                        <a16:creationId xmlns:a16="http://schemas.microsoft.com/office/drawing/2014/main" id="{A1FB1292-AD5F-48D4-9914-2BEF45989355}"/>
                      </a:ext>
                    </a:extLst>
                  </p:cNvPr>
                  <p:cNvGrpSpPr/>
                  <p:nvPr/>
                </p:nvGrpSpPr>
                <p:grpSpPr>
                  <a:xfrm>
                    <a:off x="4877410" y="5321735"/>
                    <a:ext cx="1140385" cy="185737"/>
                    <a:chOff x="4877410" y="5321735"/>
                    <a:chExt cx="1140385" cy="185737"/>
                  </a:xfrm>
                </p:grpSpPr>
                <p:grpSp>
                  <p:nvGrpSpPr>
                    <p:cNvPr id="1317" name="Group 1316">
                      <a:extLst>
                        <a:ext uri="{FF2B5EF4-FFF2-40B4-BE49-F238E27FC236}">
                          <a16:creationId xmlns:a16="http://schemas.microsoft.com/office/drawing/2014/main" id="{E9F14DE9-EF72-4D79-BE4C-E3936F4A3F84}"/>
                        </a:ext>
                      </a:extLst>
                    </p:cNvPr>
                    <p:cNvGrpSpPr/>
                    <p:nvPr/>
                  </p:nvGrpSpPr>
                  <p:grpSpPr>
                    <a:xfrm>
                      <a:off x="5544448" y="5321735"/>
                      <a:ext cx="190838" cy="185737"/>
                      <a:chOff x="5652683" y="1636246"/>
                      <a:chExt cx="3791758" cy="3791758"/>
                    </a:xfrm>
                  </p:grpSpPr>
                  <p:sp>
                    <p:nvSpPr>
                      <p:cNvPr id="1337" name="Oval 1336">
                        <a:extLst>
                          <a:ext uri="{FF2B5EF4-FFF2-40B4-BE49-F238E27FC236}">
                            <a16:creationId xmlns:a16="http://schemas.microsoft.com/office/drawing/2014/main" id="{5BE09228-9C62-4AE8-9C14-EA303444598A}"/>
                          </a:ext>
                        </a:extLst>
                      </p:cNvPr>
                      <p:cNvSpPr/>
                      <p:nvPr/>
                    </p:nvSpPr>
                    <p:spPr>
                      <a:xfrm>
                        <a:off x="5652683" y="1636246"/>
                        <a:ext cx="3791758" cy="3791758"/>
                      </a:xfrm>
                      <a:prstGeom prst="ellipse">
                        <a:avLst/>
                      </a:prstGeom>
                      <a:solidFill>
                        <a:srgbClr val="BAD80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338" name="Oval 1337">
                        <a:extLst>
                          <a:ext uri="{FF2B5EF4-FFF2-40B4-BE49-F238E27FC236}">
                            <a16:creationId xmlns:a16="http://schemas.microsoft.com/office/drawing/2014/main" id="{67F4301C-BF12-47C2-B583-33F80002F7C7}"/>
                          </a:ext>
                        </a:extLst>
                      </p:cNvPr>
                      <p:cNvSpPr/>
                      <p:nvPr/>
                    </p:nvSpPr>
                    <p:spPr>
                      <a:xfrm>
                        <a:off x="5974946" y="1932012"/>
                        <a:ext cx="3147232" cy="3147232"/>
                      </a:xfrm>
                      <a:prstGeom prst="ellipse">
                        <a:avLst/>
                      </a:prstGeom>
                      <a:solidFill>
                        <a:srgbClr val="FFFFFF"/>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339" name="Freeform 91">
                        <a:extLst>
                          <a:ext uri="{FF2B5EF4-FFF2-40B4-BE49-F238E27FC236}">
                            <a16:creationId xmlns:a16="http://schemas.microsoft.com/office/drawing/2014/main" id="{F63C9CE5-8085-4279-86C9-E891185AE033}"/>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340" name="Rounded Rectangle 92">
                        <a:extLst>
                          <a:ext uri="{FF2B5EF4-FFF2-40B4-BE49-F238E27FC236}">
                            <a16:creationId xmlns:a16="http://schemas.microsoft.com/office/drawing/2014/main" id="{EB4D9245-3D4A-40E0-B6F8-4F8E2E852C66}"/>
                          </a:ext>
                        </a:extLst>
                      </p:cNvPr>
                      <p:cNvSpPr/>
                      <p:nvPr/>
                    </p:nvSpPr>
                    <p:spPr>
                      <a:xfrm>
                        <a:off x="7498946" y="3360193"/>
                        <a:ext cx="1447800" cy="290870"/>
                      </a:xfrm>
                      <a:prstGeom prst="roundRect">
                        <a:avLst>
                          <a:gd name="adj" fmla="val 50000"/>
                        </a:avLst>
                      </a:prstGeom>
                      <a:solidFill>
                        <a:srgbClr val="E6E6E6"/>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341" name="Oval 1340">
                        <a:extLst>
                          <a:ext uri="{FF2B5EF4-FFF2-40B4-BE49-F238E27FC236}">
                            <a16:creationId xmlns:a16="http://schemas.microsoft.com/office/drawing/2014/main" id="{0E6F8762-CB44-4EEE-9245-CA98B860A864}"/>
                          </a:ext>
                        </a:extLst>
                      </p:cNvPr>
                      <p:cNvSpPr/>
                      <p:nvPr/>
                    </p:nvSpPr>
                    <p:spPr>
                      <a:xfrm>
                        <a:off x="7294564" y="3236912"/>
                        <a:ext cx="546099" cy="546099"/>
                      </a:xfrm>
                      <a:prstGeom prst="ellipse">
                        <a:avLst/>
                      </a:prstGeom>
                      <a:solidFill>
                        <a:srgbClr val="E6E6E6"/>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1318" name="Group 1317">
                      <a:extLst>
                        <a:ext uri="{FF2B5EF4-FFF2-40B4-BE49-F238E27FC236}">
                          <a16:creationId xmlns:a16="http://schemas.microsoft.com/office/drawing/2014/main" id="{CFF27B97-3EF5-407C-8BDA-F684C288E0A2}"/>
                        </a:ext>
                      </a:extLst>
                    </p:cNvPr>
                    <p:cNvGrpSpPr/>
                    <p:nvPr/>
                  </p:nvGrpSpPr>
                  <p:grpSpPr>
                    <a:xfrm>
                      <a:off x="5229625" y="5330499"/>
                      <a:ext cx="160179" cy="153308"/>
                      <a:chOff x="4870626" y="2658174"/>
                      <a:chExt cx="903709" cy="807852"/>
                    </a:xfrm>
                  </p:grpSpPr>
                  <p:grpSp>
                    <p:nvGrpSpPr>
                      <p:cNvPr id="1329" name="Group 1328">
                        <a:extLst>
                          <a:ext uri="{FF2B5EF4-FFF2-40B4-BE49-F238E27FC236}">
                            <a16:creationId xmlns:a16="http://schemas.microsoft.com/office/drawing/2014/main" id="{2B4258E7-38A1-4F9D-A83F-57B7F16E67E6}"/>
                          </a:ext>
                        </a:extLst>
                      </p:cNvPr>
                      <p:cNvGrpSpPr/>
                      <p:nvPr/>
                    </p:nvGrpSpPr>
                    <p:grpSpPr>
                      <a:xfrm>
                        <a:off x="4870626" y="2658174"/>
                        <a:ext cx="663633" cy="595577"/>
                        <a:chOff x="3393735" y="1575630"/>
                        <a:chExt cx="335303" cy="300917"/>
                      </a:xfrm>
                    </p:grpSpPr>
                    <p:sp>
                      <p:nvSpPr>
                        <p:cNvPr id="1334" name="Rounded Rectangle 348">
                          <a:extLst>
                            <a:ext uri="{FF2B5EF4-FFF2-40B4-BE49-F238E27FC236}">
                              <a16:creationId xmlns:a16="http://schemas.microsoft.com/office/drawing/2014/main" id="{490009F2-3D5C-4578-8F98-4904336069FE}"/>
                            </a:ext>
                          </a:extLst>
                        </p:cNvPr>
                        <p:cNvSpPr/>
                        <p:nvPr/>
                      </p:nvSpPr>
                      <p:spPr>
                        <a:xfrm>
                          <a:off x="3393735" y="1577644"/>
                          <a:ext cx="335303" cy="298903"/>
                        </a:xfrm>
                        <a:prstGeom prst="roundRect">
                          <a:avLst>
                            <a:gd name="adj" fmla="val 7107"/>
                          </a:avLst>
                        </a:prstGeom>
                        <a:solidFill>
                          <a:srgbClr val="4DA3CC"/>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335" name="Round Same Side Corner Rectangle 349">
                          <a:extLst>
                            <a:ext uri="{FF2B5EF4-FFF2-40B4-BE49-F238E27FC236}">
                              <a16:creationId xmlns:a16="http://schemas.microsoft.com/office/drawing/2014/main" id="{0999A3B6-6F61-446D-83EB-B1D2B3723CE8}"/>
                            </a:ext>
                          </a:extLst>
                        </p:cNvPr>
                        <p:cNvSpPr/>
                        <p:nvPr/>
                      </p:nvSpPr>
                      <p:spPr>
                        <a:xfrm>
                          <a:off x="3393735" y="1577644"/>
                          <a:ext cx="335303" cy="50709"/>
                        </a:xfrm>
                        <a:prstGeom prst="round2SameRect">
                          <a:avLst>
                            <a:gd name="adj1" fmla="val 26060"/>
                            <a:gd name="adj2" fmla="val 0"/>
                          </a:avLst>
                        </a:prstGeom>
                        <a:solidFill>
                          <a:srgbClr val="B9B9B9"/>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336" name="Freeform 350">
                          <a:extLst>
                            <a:ext uri="{FF2B5EF4-FFF2-40B4-BE49-F238E27FC236}">
                              <a16:creationId xmlns:a16="http://schemas.microsoft.com/office/drawing/2014/main" id="{C3D888FF-670D-40E3-AA91-CE6B6F574765}"/>
                            </a:ext>
                          </a:extLst>
                        </p:cNvPr>
                        <p:cNvSpPr/>
                        <p:nvPr/>
                      </p:nvSpPr>
                      <p:spPr>
                        <a:xfrm>
                          <a:off x="3519380" y="1575630"/>
                          <a:ext cx="209658" cy="298903"/>
                        </a:xfrm>
                        <a:custGeom>
                          <a:avLst/>
                          <a:gdLst>
                            <a:gd name="connsiteX0" fmla="*/ 146969 w 209658"/>
                            <a:gd name="connsiteY0" fmla="*/ 0 h 298903"/>
                            <a:gd name="connsiteX1" fmla="*/ 188415 w 209658"/>
                            <a:gd name="connsiteY1" fmla="*/ 0 h 298903"/>
                            <a:gd name="connsiteX2" fmla="*/ 209658 w 209658"/>
                            <a:gd name="connsiteY2" fmla="*/ 21243 h 298903"/>
                            <a:gd name="connsiteX3" fmla="*/ 209658 w 209658"/>
                            <a:gd name="connsiteY3" fmla="*/ 277660 h 298903"/>
                            <a:gd name="connsiteX4" fmla="*/ 188415 w 209658"/>
                            <a:gd name="connsiteY4" fmla="*/ 298903 h 298903"/>
                            <a:gd name="connsiteX5" fmla="*/ 0 w 209658"/>
                            <a:gd name="connsiteY5" fmla="*/ 298903 h 2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58" h="298903">
                              <a:moveTo>
                                <a:pt x="146969" y="0"/>
                              </a:moveTo>
                              <a:lnTo>
                                <a:pt x="188415" y="0"/>
                              </a:lnTo>
                              <a:cubicBezTo>
                                <a:pt x="200147" y="0"/>
                                <a:pt x="209658" y="9511"/>
                                <a:pt x="209658" y="21243"/>
                              </a:cubicBezTo>
                              <a:lnTo>
                                <a:pt x="209658" y="277660"/>
                              </a:lnTo>
                              <a:cubicBezTo>
                                <a:pt x="209658" y="289392"/>
                                <a:pt x="200147" y="298903"/>
                                <a:pt x="188415" y="298903"/>
                              </a:cubicBezTo>
                              <a:lnTo>
                                <a:pt x="0" y="298903"/>
                              </a:lnTo>
                              <a:close/>
                            </a:path>
                          </a:pathLst>
                        </a:custGeom>
                        <a:solidFill>
                          <a:srgbClr val="000000">
                            <a:alpha val="16863"/>
                          </a:srgbClr>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1330" name="Group 1329">
                        <a:extLst>
                          <a:ext uri="{FF2B5EF4-FFF2-40B4-BE49-F238E27FC236}">
                            <a16:creationId xmlns:a16="http://schemas.microsoft.com/office/drawing/2014/main" id="{1C91D670-B31A-4CF8-A7E8-DBFE96925929}"/>
                          </a:ext>
                        </a:extLst>
                      </p:cNvPr>
                      <p:cNvGrpSpPr/>
                      <p:nvPr/>
                    </p:nvGrpSpPr>
                    <p:grpSpPr>
                      <a:xfrm>
                        <a:off x="5110702" y="2870449"/>
                        <a:ext cx="663633" cy="595577"/>
                        <a:chOff x="3393735" y="1575630"/>
                        <a:chExt cx="335303" cy="300917"/>
                      </a:xfrm>
                    </p:grpSpPr>
                    <p:sp>
                      <p:nvSpPr>
                        <p:cNvPr id="1331" name="Rounded Rectangle 345">
                          <a:extLst>
                            <a:ext uri="{FF2B5EF4-FFF2-40B4-BE49-F238E27FC236}">
                              <a16:creationId xmlns:a16="http://schemas.microsoft.com/office/drawing/2014/main" id="{EBF89EC1-C448-41C3-AA72-435D715454BD}"/>
                            </a:ext>
                          </a:extLst>
                        </p:cNvPr>
                        <p:cNvSpPr/>
                        <p:nvPr/>
                      </p:nvSpPr>
                      <p:spPr>
                        <a:xfrm>
                          <a:off x="3393735" y="1577644"/>
                          <a:ext cx="335303" cy="298903"/>
                        </a:xfrm>
                        <a:prstGeom prst="roundRect">
                          <a:avLst>
                            <a:gd name="adj" fmla="val 7107"/>
                          </a:avLst>
                        </a:prstGeom>
                        <a:solidFill>
                          <a:srgbClr val="338ED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332" name="Round Same Side Corner Rectangle 346">
                          <a:extLst>
                            <a:ext uri="{FF2B5EF4-FFF2-40B4-BE49-F238E27FC236}">
                              <a16:creationId xmlns:a16="http://schemas.microsoft.com/office/drawing/2014/main" id="{0A1C9374-3958-4A82-B5B0-38D84BE7C839}"/>
                            </a:ext>
                          </a:extLst>
                        </p:cNvPr>
                        <p:cNvSpPr/>
                        <p:nvPr/>
                      </p:nvSpPr>
                      <p:spPr>
                        <a:xfrm>
                          <a:off x="3393735" y="1577644"/>
                          <a:ext cx="335303" cy="50709"/>
                        </a:xfrm>
                        <a:prstGeom prst="round2SameRect">
                          <a:avLst>
                            <a:gd name="adj1" fmla="val 26060"/>
                            <a:gd name="adj2" fmla="val 0"/>
                          </a:avLst>
                        </a:prstGeom>
                        <a:solidFill>
                          <a:srgbClr val="65656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333" name="Freeform 347">
                          <a:extLst>
                            <a:ext uri="{FF2B5EF4-FFF2-40B4-BE49-F238E27FC236}">
                              <a16:creationId xmlns:a16="http://schemas.microsoft.com/office/drawing/2014/main" id="{8F3F989E-418B-41E7-A152-8404A089370F}"/>
                            </a:ext>
                          </a:extLst>
                        </p:cNvPr>
                        <p:cNvSpPr/>
                        <p:nvPr/>
                      </p:nvSpPr>
                      <p:spPr>
                        <a:xfrm>
                          <a:off x="3519380" y="1575630"/>
                          <a:ext cx="209658" cy="298903"/>
                        </a:xfrm>
                        <a:custGeom>
                          <a:avLst/>
                          <a:gdLst>
                            <a:gd name="connsiteX0" fmla="*/ 146969 w 209658"/>
                            <a:gd name="connsiteY0" fmla="*/ 0 h 298903"/>
                            <a:gd name="connsiteX1" fmla="*/ 188415 w 209658"/>
                            <a:gd name="connsiteY1" fmla="*/ 0 h 298903"/>
                            <a:gd name="connsiteX2" fmla="*/ 209658 w 209658"/>
                            <a:gd name="connsiteY2" fmla="*/ 21243 h 298903"/>
                            <a:gd name="connsiteX3" fmla="*/ 209658 w 209658"/>
                            <a:gd name="connsiteY3" fmla="*/ 277660 h 298903"/>
                            <a:gd name="connsiteX4" fmla="*/ 188415 w 209658"/>
                            <a:gd name="connsiteY4" fmla="*/ 298903 h 298903"/>
                            <a:gd name="connsiteX5" fmla="*/ 0 w 209658"/>
                            <a:gd name="connsiteY5" fmla="*/ 298903 h 2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58" h="298903">
                              <a:moveTo>
                                <a:pt x="146969" y="0"/>
                              </a:moveTo>
                              <a:lnTo>
                                <a:pt x="188415" y="0"/>
                              </a:lnTo>
                              <a:cubicBezTo>
                                <a:pt x="200147" y="0"/>
                                <a:pt x="209658" y="9511"/>
                                <a:pt x="209658" y="21243"/>
                              </a:cubicBezTo>
                              <a:lnTo>
                                <a:pt x="209658" y="277660"/>
                              </a:lnTo>
                              <a:cubicBezTo>
                                <a:pt x="209658" y="289392"/>
                                <a:pt x="200147" y="298903"/>
                                <a:pt x="188415" y="298903"/>
                              </a:cubicBezTo>
                              <a:lnTo>
                                <a:pt x="0" y="298903"/>
                              </a:lnTo>
                              <a:close/>
                            </a:path>
                          </a:pathLst>
                        </a:custGeom>
                        <a:solidFill>
                          <a:srgbClr val="000000">
                            <a:alpha val="16863"/>
                          </a:srgbClr>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grpSp>
                  <p:nvGrpSpPr>
                    <p:cNvPr id="1319" name="Group 1318">
                      <a:extLst>
                        <a:ext uri="{FF2B5EF4-FFF2-40B4-BE49-F238E27FC236}">
                          <a16:creationId xmlns:a16="http://schemas.microsoft.com/office/drawing/2014/main" id="{8C4A5362-493B-4FA8-A983-4143E96010A2}"/>
                        </a:ext>
                      </a:extLst>
                    </p:cNvPr>
                    <p:cNvGrpSpPr/>
                    <p:nvPr/>
                  </p:nvGrpSpPr>
                  <p:grpSpPr>
                    <a:xfrm>
                      <a:off x="5859812" y="5327089"/>
                      <a:ext cx="157983" cy="145053"/>
                      <a:chOff x="-594587" y="2618847"/>
                      <a:chExt cx="651178" cy="597883"/>
                    </a:xfrm>
                  </p:grpSpPr>
                  <p:grpSp>
                    <p:nvGrpSpPr>
                      <p:cNvPr id="1323" name="Group 1322">
                        <a:extLst>
                          <a:ext uri="{FF2B5EF4-FFF2-40B4-BE49-F238E27FC236}">
                            <a16:creationId xmlns:a16="http://schemas.microsoft.com/office/drawing/2014/main" id="{42F5864C-A7D9-41CE-995A-5FE6F23EB444}"/>
                          </a:ext>
                        </a:extLst>
                      </p:cNvPr>
                      <p:cNvGrpSpPr/>
                      <p:nvPr/>
                    </p:nvGrpSpPr>
                    <p:grpSpPr>
                      <a:xfrm>
                        <a:off x="-594587" y="2806085"/>
                        <a:ext cx="608911" cy="410645"/>
                        <a:chOff x="-594587" y="2806085"/>
                        <a:chExt cx="608911" cy="410645"/>
                      </a:xfrm>
                    </p:grpSpPr>
                    <p:sp>
                      <p:nvSpPr>
                        <p:cNvPr id="1325" name="Rectangle 1324">
                          <a:extLst>
                            <a:ext uri="{FF2B5EF4-FFF2-40B4-BE49-F238E27FC236}">
                              <a16:creationId xmlns:a16="http://schemas.microsoft.com/office/drawing/2014/main" id="{96D14EB9-B41B-4E3A-9502-38A37D89FEFC}"/>
                            </a:ext>
                          </a:extLst>
                        </p:cNvPr>
                        <p:cNvSpPr/>
                        <p:nvPr/>
                      </p:nvSpPr>
                      <p:spPr bwMode="auto">
                        <a:xfrm>
                          <a:off x="-594587" y="2885997"/>
                          <a:ext cx="113086" cy="330733"/>
                        </a:xfrm>
                        <a:prstGeom prst="rect">
                          <a:avLst/>
                        </a:prstGeom>
                        <a:solidFill>
                          <a:srgbClr val="0071C5"/>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26" name="Rectangle 1325">
                          <a:extLst>
                            <a:ext uri="{FF2B5EF4-FFF2-40B4-BE49-F238E27FC236}">
                              <a16:creationId xmlns:a16="http://schemas.microsoft.com/office/drawing/2014/main" id="{3C45AE18-3E55-4137-875A-499A8E3BE32E}"/>
                            </a:ext>
                          </a:extLst>
                        </p:cNvPr>
                        <p:cNvSpPr/>
                        <p:nvPr/>
                      </p:nvSpPr>
                      <p:spPr bwMode="auto">
                        <a:xfrm>
                          <a:off x="-429312" y="2806085"/>
                          <a:ext cx="113086" cy="410645"/>
                        </a:xfrm>
                        <a:prstGeom prst="rect">
                          <a:avLst/>
                        </a:prstGeom>
                        <a:solidFill>
                          <a:srgbClr val="5EB5D9"/>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27" name="Rectangle 1326">
                          <a:extLst>
                            <a:ext uri="{FF2B5EF4-FFF2-40B4-BE49-F238E27FC236}">
                              <a16:creationId xmlns:a16="http://schemas.microsoft.com/office/drawing/2014/main" id="{5BEEE939-9492-4911-BE0F-A5014FB2CF77}"/>
                            </a:ext>
                          </a:extLst>
                        </p:cNvPr>
                        <p:cNvSpPr/>
                        <p:nvPr/>
                      </p:nvSpPr>
                      <p:spPr bwMode="auto">
                        <a:xfrm>
                          <a:off x="-98762" y="2837090"/>
                          <a:ext cx="113086" cy="379640"/>
                        </a:xfrm>
                        <a:prstGeom prst="rect">
                          <a:avLst/>
                        </a:prstGeom>
                        <a:solidFill>
                          <a:srgbClr val="0071C5"/>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28" name="Rectangle 1327">
                          <a:extLst>
                            <a:ext uri="{FF2B5EF4-FFF2-40B4-BE49-F238E27FC236}">
                              <a16:creationId xmlns:a16="http://schemas.microsoft.com/office/drawing/2014/main" id="{92F692DD-79A3-4EE2-B4FC-24C876834353}"/>
                            </a:ext>
                          </a:extLst>
                        </p:cNvPr>
                        <p:cNvSpPr/>
                        <p:nvPr/>
                      </p:nvSpPr>
                      <p:spPr bwMode="auto">
                        <a:xfrm>
                          <a:off x="-264037" y="2943226"/>
                          <a:ext cx="113086" cy="273504"/>
                        </a:xfrm>
                        <a:prstGeom prst="rect">
                          <a:avLst/>
                        </a:prstGeom>
                        <a:solidFill>
                          <a:srgbClr val="3998C5"/>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324" name="Freeform: Shape 1323">
                        <a:extLst>
                          <a:ext uri="{FF2B5EF4-FFF2-40B4-BE49-F238E27FC236}">
                            <a16:creationId xmlns:a16="http://schemas.microsoft.com/office/drawing/2014/main" id="{8C53EDDD-11BC-4A4A-8333-C393D3DFF45A}"/>
                          </a:ext>
                        </a:extLst>
                      </p:cNvPr>
                      <p:cNvSpPr/>
                      <p:nvPr/>
                    </p:nvSpPr>
                    <p:spPr bwMode="auto">
                      <a:xfrm>
                        <a:off x="-594587" y="2618847"/>
                        <a:ext cx="651178" cy="269876"/>
                      </a:xfrm>
                      <a:custGeom>
                        <a:avLst/>
                        <a:gdLst>
                          <a:gd name="connsiteX0" fmla="*/ 599546 w 651178"/>
                          <a:gd name="connsiteY0" fmla="*/ 0 h 269876"/>
                          <a:gd name="connsiteX1" fmla="*/ 651178 w 651178"/>
                          <a:gd name="connsiteY1" fmla="*/ 51633 h 269876"/>
                          <a:gd name="connsiteX2" fmla="*/ 599546 w 651178"/>
                          <a:gd name="connsiteY2" fmla="*/ 103264 h 269876"/>
                          <a:gd name="connsiteX3" fmla="*/ 586355 w 651178"/>
                          <a:gd name="connsiteY3" fmla="*/ 100601 h 269876"/>
                          <a:gd name="connsiteX4" fmla="*/ 447696 w 651178"/>
                          <a:gd name="connsiteY4" fmla="*/ 207457 h 269876"/>
                          <a:gd name="connsiteX5" fmla="*/ 452164 w 651178"/>
                          <a:gd name="connsiteY5" fmla="*/ 218244 h 269876"/>
                          <a:gd name="connsiteX6" fmla="*/ 400532 w 651178"/>
                          <a:gd name="connsiteY6" fmla="*/ 269876 h 269876"/>
                          <a:gd name="connsiteX7" fmla="*/ 348900 w 651178"/>
                          <a:gd name="connsiteY7" fmla="*/ 218244 h 269876"/>
                          <a:gd name="connsiteX8" fmla="*/ 349905 w 651178"/>
                          <a:gd name="connsiteY8" fmla="*/ 215818 h 269876"/>
                          <a:gd name="connsiteX9" fmla="*/ 283152 w 651178"/>
                          <a:gd name="connsiteY9" fmla="*/ 100199 h 269876"/>
                          <a:gd name="connsiteX10" fmla="*/ 267969 w 651178"/>
                          <a:gd name="connsiteY10" fmla="*/ 103265 h 269876"/>
                          <a:gd name="connsiteX11" fmla="*/ 247871 w 651178"/>
                          <a:gd name="connsiteY11" fmla="*/ 99207 h 269876"/>
                          <a:gd name="connsiteX12" fmla="*/ 247047 w 651178"/>
                          <a:gd name="connsiteY12" fmla="*/ 98651 h 269876"/>
                          <a:gd name="connsiteX13" fmla="*/ 94480 w 651178"/>
                          <a:gd name="connsiteY13" fmla="*/ 216225 h 269876"/>
                          <a:gd name="connsiteX14" fmla="*/ 88142 w 651178"/>
                          <a:gd name="connsiteY14" fmla="*/ 231527 h 269876"/>
                          <a:gd name="connsiteX15" fmla="*/ 51633 w 651178"/>
                          <a:gd name="connsiteY15" fmla="*/ 246650 h 269876"/>
                          <a:gd name="connsiteX16" fmla="*/ 0 w 651178"/>
                          <a:gd name="connsiteY16" fmla="*/ 195018 h 269876"/>
                          <a:gd name="connsiteX17" fmla="*/ 51633 w 651178"/>
                          <a:gd name="connsiteY17" fmla="*/ 143386 h 269876"/>
                          <a:gd name="connsiteX18" fmla="*/ 88142 w 651178"/>
                          <a:gd name="connsiteY18" fmla="*/ 158508 h 269876"/>
                          <a:gd name="connsiteX19" fmla="*/ 93300 w 651178"/>
                          <a:gd name="connsiteY19" fmla="*/ 170959 h 269876"/>
                          <a:gd name="connsiteX20" fmla="*/ 224032 w 651178"/>
                          <a:gd name="connsiteY20" fmla="*/ 70210 h 269876"/>
                          <a:gd name="connsiteX21" fmla="*/ 216336 w 651178"/>
                          <a:gd name="connsiteY21" fmla="*/ 51632 h 269876"/>
                          <a:gd name="connsiteX22" fmla="*/ 267969 w 651178"/>
                          <a:gd name="connsiteY22" fmla="*/ 1 h 269876"/>
                          <a:gd name="connsiteX23" fmla="*/ 319601 w 651178"/>
                          <a:gd name="connsiteY23" fmla="*/ 51632 h 269876"/>
                          <a:gd name="connsiteX24" fmla="*/ 310305 w 651178"/>
                          <a:gd name="connsiteY24" fmla="*/ 74076 h 269876"/>
                          <a:gd name="connsiteX25" fmla="*/ 370097 w 651178"/>
                          <a:gd name="connsiteY25" fmla="*/ 177639 h 269876"/>
                          <a:gd name="connsiteX26" fmla="*/ 380434 w 651178"/>
                          <a:gd name="connsiteY26" fmla="*/ 170670 h 269876"/>
                          <a:gd name="connsiteX27" fmla="*/ 400532 w 651178"/>
                          <a:gd name="connsiteY27" fmla="*/ 166612 h 269876"/>
                          <a:gd name="connsiteX28" fmla="*/ 420630 w 651178"/>
                          <a:gd name="connsiteY28" fmla="*/ 170670 h 269876"/>
                          <a:gd name="connsiteX29" fmla="*/ 428568 w 651178"/>
                          <a:gd name="connsiteY29" fmla="*/ 176022 h 269876"/>
                          <a:gd name="connsiteX30" fmla="*/ 558092 w 651178"/>
                          <a:gd name="connsiteY30" fmla="*/ 76205 h 269876"/>
                          <a:gd name="connsiteX31" fmla="*/ 547914 w 651178"/>
                          <a:gd name="connsiteY31" fmla="*/ 51633 h 269876"/>
                          <a:gd name="connsiteX32" fmla="*/ 599546 w 651178"/>
                          <a:gd name="connsiteY32" fmla="*/ 0 h 269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51178" h="269876">
                            <a:moveTo>
                              <a:pt x="599546" y="0"/>
                            </a:moveTo>
                            <a:cubicBezTo>
                              <a:pt x="628062" y="0"/>
                              <a:pt x="651178" y="23116"/>
                              <a:pt x="651178" y="51633"/>
                            </a:cubicBezTo>
                            <a:cubicBezTo>
                              <a:pt x="651178" y="80148"/>
                              <a:pt x="628062" y="103264"/>
                              <a:pt x="599546" y="103264"/>
                            </a:cubicBezTo>
                            <a:lnTo>
                              <a:pt x="586355" y="100601"/>
                            </a:lnTo>
                            <a:lnTo>
                              <a:pt x="447696" y="207457"/>
                            </a:lnTo>
                            <a:lnTo>
                              <a:pt x="452164" y="218244"/>
                            </a:lnTo>
                            <a:cubicBezTo>
                              <a:pt x="452164" y="246760"/>
                              <a:pt x="429048" y="269876"/>
                              <a:pt x="400532" y="269876"/>
                            </a:cubicBezTo>
                            <a:cubicBezTo>
                              <a:pt x="372016" y="269876"/>
                              <a:pt x="348900" y="246760"/>
                              <a:pt x="348900" y="218244"/>
                            </a:cubicBezTo>
                            <a:lnTo>
                              <a:pt x="349905" y="215818"/>
                            </a:lnTo>
                            <a:lnTo>
                              <a:pt x="283152" y="100199"/>
                            </a:lnTo>
                            <a:lnTo>
                              <a:pt x="267969" y="103265"/>
                            </a:lnTo>
                            <a:cubicBezTo>
                              <a:pt x="260840" y="103264"/>
                              <a:pt x="254048" y="101819"/>
                              <a:pt x="247871" y="99207"/>
                            </a:cubicBezTo>
                            <a:lnTo>
                              <a:pt x="247047" y="98651"/>
                            </a:lnTo>
                            <a:lnTo>
                              <a:pt x="94480" y="216225"/>
                            </a:lnTo>
                            <a:lnTo>
                              <a:pt x="88142" y="231527"/>
                            </a:lnTo>
                            <a:cubicBezTo>
                              <a:pt x="78799" y="240871"/>
                              <a:pt x="65891" y="246650"/>
                              <a:pt x="51633" y="246650"/>
                            </a:cubicBezTo>
                            <a:cubicBezTo>
                              <a:pt x="23116" y="246650"/>
                              <a:pt x="0" y="223534"/>
                              <a:pt x="0" y="195018"/>
                            </a:cubicBezTo>
                            <a:cubicBezTo>
                              <a:pt x="1" y="166502"/>
                              <a:pt x="23117" y="143386"/>
                              <a:pt x="51633" y="143386"/>
                            </a:cubicBezTo>
                            <a:cubicBezTo>
                              <a:pt x="65891" y="143386"/>
                              <a:pt x="78799" y="149164"/>
                              <a:pt x="88142" y="158508"/>
                            </a:cubicBezTo>
                            <a:lnTo>
                              <a:pt x="93300" y="170959"/>
                            </a:lnTo>
                            <a:lnTo>
                              <a:pt x="224032" y="70210"/>
                            </a:lnTo>
                            <a:lnTo>
                              <a:pt x="216336" y="51632"/>
                            </a:lnTo>
                            <a:cubicBezTo>
                              <a:pt x="216337" y="23117"/>
                              <a:pt x="239453" y="1"/>
                              <a:pt x="267969" y="1"/>
                            </a:cubicBezTo>
                            <a:cubicBezTo>
                              <a:pt x="296485" y="1"/>
                              <a:pt x="319601" y="23117"/>
                              <a:pt x="319601" y="51632"/>
                            </a:cubicBezTo>
                            <a:lnTo>
                              <a:pt x="310305" y="74076"/>
                            </a:lnTo>
                            <a:lnTo>
                              <a:pt x="370097" y="177639"/>
                            </a:lnTo>
                            <a:lnTo>
                              <a:pt x="380434" y="170670"/>
                            </a:lnTo>
                            <a:cubicBezTo>
                              <a:pt x="386612" y="168057"/>
                              <a:pt x="393403" y="166612"/>
                              <a:pt x="400532" y="166612"/>
                            </a:cubicBezTo>
                            <a:cubicBezTo>
                              <a:pt x="407661" y="166612"/>
                              <a:pt x="414453" y="168057"/>
                              <a:pt x="420630" y="170670"/>
                            </a:cubicBezTo>
                            <a:lnTo>
                              <a:pt x="428568" y="176022"/>
                            </a:lnTo>
                            <a:lnTo>
                              <a:pt x="558092" y="76205"/>
                            </a:lnTo>
                            <a:lnTo>
                              <a:pt x="547914" y="51633"/>
                            </a:lnTo>
                            <a:cubicBezTo>
                              <a:pt x="547913" y="23117"/>
                              <a:pt x="571030" y="0"/>
                              <a:pt x="599546" y="0"/>
                            </a:cubicBezTo>
                            <a:close/>
                          </a:path>
                        </a:pathLst>
                      </a:custGeom>
                      <a:solidFill>
                        <a:srgbClr val="804896"/>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320" name="Group 1319">
                      <a:extLst>
                        <a:ext uri="{FF2B5EF4-FFF2-40B4-BE49-F238E27FC236}">
                          <a16:creationId xmlns:a16="http://schemas.microsoft.com/office/drawing/2014/main" id="{7FC4C00F-E868-47A9-A769-817472944399}"/>
                        </a:ext>
                      </a:extLst>
                    </p:cNvPr>
                    <p:cNvGrpSpPr>
                      <a:grpSpLocks noChangeAspect="1"/>
                    </p:cNvGrpSpPr>
                    <p:nvPr/>
                  </p:nvGrpSpPr>
                  <p:grpSpPr>
                    <a:xfrm>
                      <a:off x="4877410" y="5333954"/>
                      <a:ext cx="186971" cy="155137"/>
                      <a:chOff x="6017424" y="5359615"/>
                      <a:chExt cx="186971" cy="155137"/>
                    </a:xfrm>
                  </p:grpSpPr>
                  <p:sp>
                    <p:nvSpPr>
                      <p:cNvPr id="1321" name="Heart 1320">
                        <a:extLst>
                          <a:ext uri="{FF2B5EF4-FFF2-40B4-BE49-F238E27FC236}">
                            <a16:creationId xmlns:a16="http://schemas.microsoft.com/office/drawing/2014/main" id="{65E61CF1-DD67-4639-9632-00FA8D3FED4E}"/>
                          </a:ext>
                        </a:extLst>
                      </p:cNvPr>
                      <p:cNvSpPr/>
                      <p:nvPr/>
                    </p:nvSpPr>
                    <p:spPr bwMode="auto">
                      <a:xfrm>
                        <a:off x="6017424" y="5359615"/>
                        <a:ext cx="186971" cy="155137"/>
                      </a:xfrm>
                      <a:prstGeom prst="heart">
                        <a:avLst/>
                      </a:prstGeom>
                      <a:solidFill>
                        <a:srgbClr val="C7434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22" name="Freeform: Shape 1321">
                        <a:extLst>
                          <a:ext uri="{FF2B5EF4-FFF2-40B4-BE49-F238E27FC236}">
                            <a16:creationId xmlns:a16="http://schemas.microsoft.com/office/drawing/2014/main" id="{B12B1504-3104-4869-A2E6-6D517240C60F}"/>
                          </a:ext>
                        </a:extLst>
                      </p:cNvPr>
                      <p:cNvSpPr/>
                      <p:nvPr/>
                    </p:nvSpPr>
                    <p:spPr bwMode="auto">
                      <a:xfrm>
                        <a:off x="6082263" y="5368123"/>
                        <a:ext cx="122132" cy="146629"/>
                      </a:xfrm>
                      <a:custGeom>
                        <a:avLst/>
                        <a:gdLst>
                          <a:gd name="connsiteX0" fmla="*/ 99825 w 122132"/>
                          <a:gd name="connsiteY0" fmla="*/ 0 h 146629"/>
                          <a:gd name="connsiteX1" fmla="*/ 114147 w 122132"/>
                          <a:gd name="connsiteY1" fmla="*/ 10884 h 146629"/>
                          <a:gd name="connsiteX2" fmla="*/ 27965 w 122132"/>
                          <a:gd name="connsiteY2" fmla="*/ 146629 h 146629"/>
                          <a:gd name="connsiteX3" fmla="*/ 0 w 122132"/>
                          <a:gd name="connsiteY3" fmla="*/ 127792 h 146629"/>
                        </a:gdLst>
                        <a:ahLst/>
                        <a:cxnLst>
                          <a:cxn ang="0">
                            <a:pos x="connsiteX0" y="connsiteY0"/>
                          </a:cxn>
                          <a:cxn ang="0">
                            <a:pos x="connsiteX1" y="connsiteY1"/>
                          </a:cxn>
                          <a:cxn ang="0">
                            <a:pos x="connsiteX2" y="connsiteY2"/>
                          </a:cxn>
                          <a:cxn ang="0">
                            <a:pos x="connsiteX3" y="connsiteY3"/>
                          </a:cxn>
                        </a:cxnLst>
                        <a:rect l="l" t="t" r="r" b="b"/>
                        <a:pathLst>
                          <a:path w="122132" h="146629">
                            <a:moveTo>
                              <a:pt x="99825" y="0"/>
                            </a:moveTo>
                            <a:lnTo>
                              <a:pt x="114147" y="10884"/>
                            </a:lnTo>
                            <a:cubicBezTo>
                              <a:pt x="133136" y="36741"/>
                              <a:pt x="123398" y="88453"/>
                              <a:pt x="27965" y="146629"/>
                            </a:cubicBezTo>
                            <a:lnTo>
                              <a:pt x="0" y="127792"/>
                            </a:lnTo>
                            <a:close/>
                          </a:path>
                        </a:pathLst>
                      </a:custGeom>
                      <a:solidFill>
                        <a:srgbClr val="B9141A"/>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grpSp>
        </p:grpSp>
        <p:sp>
          <p:nvSpPr>
            <p:cNvPr id="1024" name="Line 251">
              <a:extLst>
                <a:ext uri="{FF2B5EF4-FFF2-40B4-BE49-F238E27FC236}">
                  <a16:creationId xmlns:a16="http://schemas.microsoft.com/office/drawing/2014/main" id="{014BC0F1-45B6-484D-96CB-47DDF33194EA}"/>
                </a:ext>
              </a:extLst>
            </p:cNvPr>
            <p:cNvSpPr>
              <a:spLocks noChangeShapeType="1"/>
            </p:cNvSpPr>
            <p:nvPr/>
          </p:nvSpPr>
          <p:spPr bwMode="auto">
            <a:xfrm>
              <a:off x="7223406" y="4658138"/>
              <a:ext cx="1990281" cy="0"/>
            </a:xfrm>
            <a:prstGeom prst="line">
              <a:avLst/>
            </a:prstGeom>
            <a:noFill/>
            <a:ln w="19050" cap="rnd">
              <a:solidFill>
                <a:srgbClr val="000000"/>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marL="0" marR="0" lvl="0" indent="0" algn="l" defTabSz="93241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25" name="Line 18">
              <a:extLst>
                <a:ext uri="{FF2B5EF4-FFF2-40B4-BE49-F238E27FC236}">
                  <a16:creationId xmlns:a16="http://schemas.microsoft.com/office/drawing/2014/main" id="{42FB7908-A47F-4775-B254-E61953206B25}"/>
                </a:ext>
              </a:extLst>
            </p:cNvPr>
            <p:cNvSpPr>
              <a:spLocks noChangeShapeType="1"/>
            </p:cNvSpPr>
            <p:nvPr/>
          </p:nvSpPr>
          <p:spPr bwMode="auto">
            <a:xfrm>
              <a:off x="2112321" y="4767287"/>
              <a:ext cx="739850" cy="0"/>
            </a:xfrm>
            <a:prstGeom prst="line">
              <a:avLst/>
            </a:prstGeom>
            <a:solidFill>
              <a:srgbClr val="000000"/>
            </a:solidFill>
            <a:ln w="19050" cap="rnd">
              <a:solidFill>
                <a:srgbClr val="000000"/>
              </a:solidFill>
              <a:prstDash val="solid"/>
              <a:round/>
              <a:headEnd type="triangle" w="med" len="sm"/>
              <a:tailEnd type="none" w="med" len="sm"/>
            </a:ln>
          </p:spPr>
          <p:txBody>
            <a:bodyPr vert="horz" wrap="square" lIns="93247" tIns="46623" rIns="93247" bIns="46623" numCol="1" anchor="t" anchorCtr="0" compatLnSpc="1">
              <a:prstTxWarp prst="textNoShape">
                <a:avLst/>
              </a:prstTxWarp>
            </a:bodyPr>
            <a:lstStyle/>
            <a:p>
              <a:pPr marL="0" marR="0" lvl="0" indent="0" algn="l" defTabSz="93241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26" name="Line 83">
              <a:extLst>
                <a:ext uri="{FF2B5EF4-FFF2-40B4-BE49-F238E27FC236}">
                  <a16:creationId xmlns:a16="http://schemas.microsoft.com/office/drawing/2014/main" id="{A21220E2-417F-46C9-83AD-223BA4A10CE3}"/>
                </a:ext>
              </a:extLst>
            </p:cNvPr>
            <p:cNvSpPr>
              <a:spLocks noChangeShapeType="1"/>
            </p:cNvSpPr>
            <p:nvPr/>
          </p:nvSpPr>
          <p:spPr bwMode="auto">
            <a:xfrm flipH="1">
              <a:off x="2112321" y="4527662"/>
              <a:ext cx="739850" cy="0"/>
            </a:xfrm>
            <a:prstGeom prst="line">
              <a:avLst/>
            </a:prstGeom>
            <a:solidFill>
              <a:srgbClr val="000000"/>
            </a:solidFill>
            <a:ln w="19050" cap="rnd">
              <a:solidFill>
                <a:srgbClr val="000000"/>
              </a:solidFill>
              <a:prstDash val="solid"/>
              <a:round/>
              <a:headEnd type="triangle" w="med" len="sm"/>
              <a:tailEnd/>
            </a:ln>
          </p:spPr>
          <p:txBody>
            <a:bodyPr vert="horz" wrap="square" lIns="93247" tIns="46623" rIns="93247" bIns="46623" numCol="1" anchor="t" anchorCtr="0" compatLnSpc="1">
              <a:prstTxWarp prst="textNoShape">
                <a:avLst/>
              </a:prstTxWarp>
            </a:bodyPr>
            <a:lstStyle/>
            <a:p>
              <a:pPr marL="0" marR="0" lvl="0" indent="0" algn="l" defTabSz="93241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27" name="Rectangle 16">
              <a:extLst>
                <a:ext uri="{FF2B5EF4-FFF2-40B4-BE49-F238E27FC236}">
                  <a16:creationId xmlns:a16="http://schemas.microsoft.com/office/drawing/2014/main" id="{F342FADB-903C-4E30-8127-3DEDEA3F1DE1}"/>
                </a:ext>
              </a:extLst>
            </p:cNvPr>
            <p:cNvSpPr>
              <a:spLocks noChangeArrowheads="1"/>
            </p:cNvSpPr>
            <p:nvPr/>
          </p:nvSpPr>
          <p:spPr bwMode="auto">
            <a:xfrm>
              <a:off x="469738" y="2356635"/>
              <a:ext cx="1464101" cy="4172822"/>
            </a:xfrm>
            <a:prstGeom prst="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alt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Devices</a:t>
              </a: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028" name="Group 1027">
              <a:extLst>
                <a:ext uri="{FF2B5EF4-FFF2-40B4-BE49-F238E27FC236}">
                  <a16:creationId xmlns:a16="http://schemas.microsoft.com/office/drawing/2014/main" id="{F5F670CB-73AC-40B7-BEC0-A5E2A73EF229}"/>
                </a:ext>
              </a:extLst>
            </p:cNvPr>
            <p:cNvGrpSpPr/>
            <p:nvPr/>
          </p:nvGrpSpPr>
          <p:grpSpPr>
            <a:xfrm>
              <a:off x="786294" y="3977517"/>
              <a:ext cx="746103" cy="771461"/>
              <a:chOff x="1308100" y="3205163"/>
              <a:chExt cx="327025" cy="338138"/>
            </a:xfrm>
            <a:solidFill>
              <a:srgbClr val="FFFFFF">
                <a:lumMod val="95000"/>
              </a:srgbClr>
            </a:solidFill>
          </p:grpSpPr>
          <p:sp>
            <p:nvSpPr>
              <p:cNvPr id="1302" name="Freeform 123">
                <a:extLst>
                  <a:ext uri="{FF2B5EF4-FFF2-40B4-BE49-F238E27FC236}">
                    <a16:creationId xmlns:a16="http://schemas.microsoft.com/office/drawing/2014/main" id="{7589F38F-147A-40F8-B624-514462F9638A}"/>
                  </a:ext>
                </a:extLst>
              </p:cNvPr>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marL="0" marR="0" lvl="0" indent="0" algn="l" defTabSz="93241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303" name="Freeform 124">
                <a:extLst>
                  <a:ext uri="{FF2B5EF4-FFF2-40B4-BE49-F238E27FC236}">
                    <a16:creationId xmlns:a16="http://schemas.microsoft.com/office/drawing/2014/main" id="{5C8ABE59-D296-4B6B-9F67-0F9AA4196E8B}"/>
                  </a:ext>
                </a:extLst>
              </p:cNvPr>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marL="0" marR="0" lvl="0" indent="0" algn="l" defTabSz="93241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304" name="Freeform 125">
                <a:extLst>
                  <a:ext uri="{FF2B5EF4-FFF2-40B4-BE49-F238E27FC236}">
                    <a16:creationId xmlns:a16="http://schemas.microsoft.com/office/drawing/2014/main" id="{01CF688A-4FCC-458B-9DF7-DA426FDB4F0F}"/>
                  </a:ext>
                </a:extLst>
              </p:cNvPr>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marL="0" marR="0" lvl="0" indent="0" algn="l" defTabSz="93241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1029" name="Rectangle 20">
              <a:extLst>
                <a:ext uri="{FF2B5EF4-FFF2-40B4-BE49-F238E27FC236}">
                  <a16:creationId xmlns:a16="http://schemas.microsoft.com/office/drawing/2014/main" id="{EAAD964E-3925-4396-B770-6E751CCC561A}"/>
                </a:ext>
              </a:extLst>
            </p:cNvPr>
            <p:cNvSpPr>
              <a:spLocks noChangeArrowheads="1"/>
            </p:cNvSpPr>
            <p:nvPr/>
          </p:nvSpPr>
          <p:spPr bwMode="auto">
            <a:xfrm>
              <a:off x="10549596" y="2356635"/>
              <a:ext cx="1563968" cy="4172821"/>
            </a:xfrm>
            <a:prstGeom prst="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alt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Back end systems and processes</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30" name="Rectangle 127">
              <a:extLst>
                <a:ext uri="{FF2B5EF4-FFF2-40B4-BE49-F238E27FC236}">
                  <a16:creationId xmlns:a16="http://schemas.microsoft.com/office/drawing/2014/main" id="{6A1B81D7-045E-4BE0-83AD-C9502902E74E}"/>
                </a:ext>
              </a:extLst>
            </p:cNvPr>
            <p:cNvSpPr>
              <a:spLocks noChangeArrowheads="1"/>
            </p:cNvSpPr>
            <p:nvPr/>
          </p:nvSpPr>
          <p:spPr bwMode="auto">
            <a:xfrm>
              <a:off x="951180" y="4660328"/>
              <a:ext cx="35266" cy="15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417" rtl="0" eaLnBrk="0" fontAlgn="base" latinLnBrk="0" hangingPunct="0">
                <a:lnSpc>
                  <a:spcPct val="100000"/>
                </a:lnSpc>
                <a:spcBef>
                  <a:spcPct val="0"/>
                </a:spcBef>
                <a:spcAft>
                  <a:spcPct val="0"/>
                </a:spcAft>
                <a:buClrTx/>
                <a:buSzTx/>
                <a:buFontTx/>
                <a:buNone/>
                <a:tabLst/>
                <a:defRPr/>
              </a:pPr>
              <a:r>
                <a:rPr kumimoji="0" lang="en-US" altLang="en-US" sz="1020" b="0" i="0" u="none" strike="noStrike" kern="0" cap="none" spc="0" normalizeH="0" baseline="0" noProof="0">
                  <a:ln>
                    <a:noFill/>
                  </a:ln>
                  <a:solidFill>
                    <a:srgbClr val="00188F"/>
                  </a:solidFill>
                  <a:effectLst/>
                  <a:uLnTx/>
                  <a:uFillTx/>
                  <a:latin typeface="Segoe UI" panose="020B0502040204020203" pitchFamily="34" charset="0"/>
                  <a:ea typeface="+mn-ea"/>
                  <a:cs typeface="+mn-cs"/>
                </a:rPr>
                <a:t> </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1" name="Rectangle 191">
              <a:extLst>
                <a:ext uri="{FF2B5EF4-FFF2-40B4-BE49-F238E27FC236}">
                  <a16:creationId xmlns:a16="http://schemas.microsoft.com/office/drawing/2014/main" id="{97707E5C-DADA-4C3E-9457-5EBC3C7D15DE}"/>
                </a:ext>
              </a:extLst>
            </p:cNvPr>
            <p:cNvSpPr>
              <a:spLocks noChangeArrowheads="1"/>
            </p:cNvSpPr>
            <p:nvPr/>
          </p:nvSpPr>
          <p:spPr bwMode="auto">
            <a:xfrm>
              <a:off x="5703764" y="4088711"/>
              <a:ext cx="77585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32417"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gradFill>
                    <a:gsLst>
                      <a:gs pos="92001">
                        <a:srgbClr val="0D0D0D"/>
                      </a:gs>
                      <a:gs pos="1250">
                        <a:srgbClr val="0D0D0D"/>
                      </a:gs>
                    </a:gsLst>
                    <a:lin ang="5400000" scaled="0"/>
                  </a:gradFill>
                  <a:effectLst/>
                  <a:uLnTx/>
                  <a:uFillTx/>
                  <a:latin typeface="Segoe UI" panose="020B0502040204020203" pitchFamily="34" charset="0"/>
                  <a:ea typeface="+mn-ea"/>
                  <a:cs typeface="Segoe UI" panose="020B0502040204020203" pitchFamily="34" charset="0"/>
                </a:rPr>
                <a:t>Cosmos DB</a:t>
              </a:r>
            </a:p>
          </p:txBody>
        </p:sp>
        <p:sp>
          <p:nvSpPr>
            <p:cNvPr id="1032" name="Freeform 194">
              <a:extLst>
                <a:ext uri="{FF2B5EF4-FFF2-40B4-BE49-F238E27FC236}">
                  <a16:creationId xmlns:a16="http://schemas.microsoft.com/office/drawing/2014/main" id="{371635DA-5488-4128-B7E2-89192C8CEC91}"/>
                </a:ext>
              </a:extLst>
            </p:cNvPr>
            <p:cNvSpPr>
              <a:spLocks/>
            </p:cNvSpPr>
            <p:nvPr/>
          </p:nvSpPr>
          <p:spPr bwMode="auto">
            <a:xfrm>
              <a:off x="5423988" y="3811073"/>
              <a:ext cx="452990" cy="555274"/>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19050" cap="rnd">
              <a:solidFill>
                <a:srgbClr val="000000"/>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marL="0" marR="0" lvl="0" indent="0" algn="l" defTabSz="93241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Segoe UI"/>
                <a:ea typeface="+mn-ea"/>
                <a:cs typeface="+mn-cs"/>
              </a:endParaRPr>
            </a:p>
          </p:txBody>
        </p:sp>
        <p:sp>
          <p:nvSpPr>
            <p:cNvPr id="1033" name="Rectangle 212">
              <a:extLst>
                <a:ext uri="{FF2B5EF4-FFF2-40B4-BE49-F238E27FC236}">
                  <a16:creationId xmlns:a16="http://schemas.microsoft.com/office/drawing/2014/main" id="{4944EA4D-C717-4461-B778-9D24E3A8F84F}"/>
                </a:ext>
              </a:extLst>
            </p:cNvPr>
            <p:cNvSpPr>
              <a:spLocks noChangeArrowheads="1"/>
            </p:cNvSpPr>
            <p:nvPr/>
          </p:nvSpPr>
          <p:spPr bwMode="auto">
            <a:xfrm>
              <a:off x="6417299" y="3290054"/>
              <a:ext cx="639207" cy="18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32417"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gradFill>
                    <a:gsLst>
                      <a:gs pos="92001">
                        <a:srgbClr val="0D0D0D"/>
                      </a:gs>
                      <a:gs pos="1250">
                        <a:srgbClr val="0D0D0D"/>
                      </a:gs>
                    </a:gsLst>
                    <a:lin ang="5400000" scaled="0"/>
                  </a:gradFill>
                  <a:effectLst/>
                  <a:uLnTx/>
                  <a:uFillTx/>
                  <a:latin typeface="Segoe UI" panose="020B0502040204020203" pitchFamily="34" charset="0"/>
                  <a:ea typeface="+mn-ea"/>
                  <a:cs typeface="Segoe UI" panose="020B0502040204020203" pitchFamily="34" charset="0"/>
                </a:rPr>
                <a:t>Web app</a:t>
              </a:r>
            </a:p>
          </p:txBody>
        </p:sp>
        <p:sp>
          <p:nvSpPr>
            <p:cNvPr id="1034" name="Freeform 218">
              <a:extLst>
                <a:ext uri="{FF2B5EF4-FFF2-40B4-BE49-F238E27FC236}">
                  <a16:creationId xmlns:a16="http://schemas.microsoft.com/office/drawing/2014/main" id="{05248F9E-DD08-4780-AD80-1D6923329747}"/>
                </a:ext>
              </a:extLst>
            </p:cNvPr>
            <p:cNvSpPr>
              <a:spLocks/>
            </p:cNvSpPr>
            <p:nvPr/>
          </p:nvSpPr>
          <p:spPr bwMode="auto">
            <a:xfrm>
              <a:off x="6894052" y="3543388"/>
              <a:ext cx="129510" cy="129510"/>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noFill/>
            <a:ln w="0">
              <a:noFill/>
              <a:prstDash val="solid"/>
              <a:round/>
              <a:headEnd/>
              <a:tailEnd/>
            </a:ln>
          </p:spPr>
          <p:txBody>
            <a:bodyPr vert="horz" wrap="square" lIns="93247" tIns="46623" rIns="93247" bIns="46623" numCol="1" anchor="t" anchorCtr="0" compatLnSpc="1">
              <a:prstTxWarp prst="textNoShape">
                <a:avLst/>
              </a:prstTxWarp>
            </a:bodyPr>
            <a:lstStyle/>
            <a:p>
              <a:pPr marL="0" marR="0" lvl="0" indent="0" algn="l" defTabSz="93241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35" name="Freeform 234">
              <a:extLst>
                <a:ext uri="{FF2B5EF4-FFF2-40B4-BE49-F238E27FC236}">
                  <a16:creationId xmlns:a16="http://schemas.microsoft.com/office/drawing/2014/main" id="{E19CADE8-B04A-4B04-B2C0-E6B77BF8D78D}"/>
                </a:ext>
              </a:extLst>
            </p:cNvPr>
            <p:cNvSpPr>
              <a:spLocks/>
            </p:cNvSpPr>
            <p:nvPr/>
          </p:nvSpPr>
          <p:spPr bwMode="auto">
            <a:xfrm>
              <a:off x="3764470" y="3033442"/>
              <a:ext cx="2622720" cy="1312906"/>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19050" cap="rnd">
              <a:solidFill>
                <a:srgbClr val="000000"/>
              </a:solidFill>
              <a:prstDash val="solid"/>
              <a:round/>
              <a:headEnd type="triangle" w="med" len="sm"/>
              <a:tailEnd type="triangle" w="med" len="sm"/>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marL="0" marR="0" lvl="0" indent="0" algn="l" defTabSz="93241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36" name="Rectangle 250">
              <a:extLst>
                <a:ext uri="{FF2B5EF4-FFF2-40B4-BE49-F238E27FC236}">
                  <a16:creationId xmlns:a16="http://schemas.microsoft.com/office/drawing/2014/main" id="{42A448A2-2811-4EDE-A233-03727F66E83A}"/>
                </a:ext>
              </a:extLst>
            </p:cNvPr>
            <p:cNvSpPr>
              <a:spLocks noChangeArrowheads="1"/>
            </p:cNvSpPr>
            <p:nvPr/>
          </p:nvSpPr>
          <p:spPr bwMode="auto">
            <a:xfrm>
              <a:off x="9232063" y="4989666"/>
              <a:ext cx="74975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32417"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gradFill>
                    <a:gsLst>
                      <a:gs pos="92001">
                        <a:srgbClr val="0D0D0D"/>
                      </a:gs>
                      <a:gs pos="1250">
                        <a:srgbClr val="0D0D0D"/>
                      </a:gs>
                    </a:gsLst>
                    <a:lin ang="5400000" scaled="0"/>
                  </a:gradFill>
                  <a:effectLst/>
                  <a:uLnTx/>
                  <a:uFillTx/>
                  <a:latin typeface="Segoe UI" panose="020B0502040204020203" pitchFamily="34" charset="0"/>
                  <a:ea typeface="+mn-ea"/>
                  <a:cs typeface="Segoe UI" panose="020B0502040204020203" pitchFamily="34" charset="0"/>
                </a:rPr>
                <a:t>Logic apps</a:t>
              </a:r>
            </a:p>
          </p:txBody>
        </p:sp>
        <p:sp>
          <p:nvSpPr>
            <p:cNvPr id="1037" name="Rectangle 260">
              <a:extLst>
                <a:ext uri="{FF2B5EF4-FFF2-40B4-BE49-F238E27FC236}">
                  <a16:creationId xmlns:a16="http://schemas.microsoft.com/office/drawing/2014/main" id="{4C0801DC-FE83-467B-BD25-4B4E8C7BA5C5}"/>
                </a:ext>
              </a:extLst>
            </p:cNvPr>
            <p:cNvSpPr>
              <a:spLocks noChangeArrowheads="1"/>
            </p:cNvSpPr>
            <p:nvPr/>
          </p:nvSpPr>
          <p:spPr bwMode="auto">
            <a:xfrm>
              <a:off x="3328510" y="5047286"/>
              <a:ext cx="54386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417"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gradFill>
                    <a:gsLst>
                      <a:gs pos="92001">
                        <a:srgbClr val="0D0D0D"/>
                      </a:gs>
                      <a:gs pos="1250">
                        <a:srgbClr val="0D0D0D"/>
                      </a:gs>
                    </a:gsLst>
                    <a:lin ang="5400000" scaled="0"/>
                  </a:gradFill>
                  <a:effectLst/>
                  <a:uLnTx/>
                  <a:uFillTx/>
                  <a:latin typeface="Segoe UI" panose="020B0502040204020203" pitchFamily="34" charset="0"/>
                  <a:ea typeface="+mn-ea"/>
                  <a:cs typeface="Segoe UI" panose="020B0502040204020203" pitchFamily="34" charset="0"/>
                </a:rPr>
                <a:t>IoT Hub</a:t>
              </a:r>
            </a:p>
          </p:txBody>
        </p:sp>
        <p:sp>
          <p:nvSpPr>
            <p:cNvPr id="1038" name="Line 18">
              <a:extLst>
                <a:ext uri="{FF2B5EF4-FFF2-40B4-BE49-F238E27FC236}">
                  <a16:creationId xmlns:a16="http://schemas.microsoft.com/office/drawing/2014/main" id="{7A4AD8DD-7C10-4F87-A0AE-739EE781D70D}"/>
                </a:ext>
              </a:extLst>
            </p:cNvPr>
            <p:cNvSpPr>
              <a:spLocks noChangeShapeType="1"/>
            </p:cNvSpPr>
            <p:nvPr/>
          </p:nvSpPr>
          <p:spPr bwMode="auto">
            <a:xfrm>
              <a:off x="10055734" y="4796110"/>
              <a:ext cx="374865" cy="0"/>
            </a:xfrm>
            <a:prstGeom prst="line">
              <a:avLst/>
            </a:prstGeom>
            <a:solidFill>
              <a:srgbClr val="000000"/>
            </a:solidFill>
            <a:ln w="19050" cap="rnd">
              <a:solidFill>
                <a:srgbClr val="000000"/>
              </a:solidFill>
              <a:prstDash val="solid"/>
              <a:round/>
              <a:headEnd type="triangle" w="med" len="sm"/>
              <a:tailEnd type="none" w="med" len="sm"/>
            </a:ln>
          </p:spPr>
          <p:txBody>
            <a:bodyPr vert="horz" wrap="square" lIns="93247" tIns="46623" rIns="93247" bIns="46623" numCol="1" anchor="t" anchorCtr="0" compatLnSpc="1">
              <a:prstTxWarp prst="textNoShape">
                <a:avLst/>
              </a:prstTxWarp>
            </a:bodyPr>
            <a:lstStyle/>
            <a:p>
              <a:pPr marL="0" marR="0" lvl="0" indent="0" algn="l" defTabSz="93241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39" name="Line 83">
              <a:extLst>
                <a:ext uri="{FF2B5EF4-FFF2-40B4-BE49-F238E27FC236}">
                  <a16:creationId xmlns:a16="http://schemas.microsoft.com/office/drawing/2014/main" id="{3AE3D3B2-AB0E-4F9E-BAE6-B0C87A0AEFE1}"/>
                </a:ext>
              </a:extLst>
            </p:cNvPr>
            <p:cNvSpPr>
              <a:spLocks noChangeShapeType="1"/>
            </p:cNvSpPr>
            <p:nvPr/>
          </p:nvSpPr>
          <p:spPr bwMode="auto">
            <a:xfrm flipH="1">
              <a:off x="10055733" y="4556485"/>
              <a:ext cx="374865" cy="0"/>
            </a:xfrm>
            <a:prstGeom prst="line">
              <a:avLst/>
            </a:prstGeom>
            <a:solidFill>
              <a:srgbClr val="000000"/>
            </a:solidFill>
            <a:ln w="19050" cap="rnd">
              <a:solidFill>
                <a:srgbClr val="000000"/>
              </a:solidFill>
              <a:prstDash val="solid"/>
              <a:round/>
              <a:headEnd type="triangle" w="med" len="sm"/>
              <a:tailEnd/>
            </a:ln>
          </p:spPr>
          <p:txBody>
            <a:bodyPr vert="horz" wrap="square" lIns="93247" tIns="46623" rIns="93247" bIns="46623" numCol="1" anchor="t" anchorCtr="0" compatLnSpc="1">
              <a:prstTxWarp prst="textNoShape">
                <a:avLst/>
              </a:prstTxWarp>
            </a:bodyPr>
            <a:lstStyle/>
            <a:p>
              <a:pPr marL="0" marR="0" lvl="0" indent="0" algn="l" defTabSz="93241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40" name="Rectangle 128">
              <a:extLst>
                <a:ext uri="{FF2B5EF4-FFF2-40B4-BE49-F238E27FC236}">
                  <a16:creationId xmlns:a16="http://schemas.microsoft.com/office/drawing/2014/main" id="{6816E0E4-9719-44B7-A7AB-1878127CAF17}"/>
                </a:ext>
              </a:extLst>
            </p:cNvPr>
            <p:cNvSpPr>
              <a:spLocks noChangeArrowheads="1"/>
            </p:cNvSpPr>
            <p:nvPr/>
          </p:nvSpPr>
          <p:spPr bwMode="auto">
            <a:xfrm>
              <a:off x="638163" y="4838520"/>
              <a:ext cx="1042364" cy="223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417" rtl="0" eaLnBrk="0" fontAlgn="base" latinLnBrk="0" hangingPunct="0">
                <a:lnSpc>
                  <a:spcPct val="100000"/>
                </a:lnSpc>
                <a:spcBef>
                  <a:spcPct val="0"/>
                </a:spcBef>
                <a:spcAft>
                  <a:spcPct val="0"/>
                </a:spcAft>
                <a:buClrTx/>
                <a:buSzTx/>
                <a:buFontTx/>
                <a:buNone/>
                <a:tabLst/>
                <a:defRPr/>
              </a:pPr>
              <a:r>
                <a:rPr kumimoji="0" lang="en-US" altLang="en-US" sz="1427"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rPr>
                <a:t>C# simulator</a:t>
              </a:r>
              <a:endParaRPr kumimoji="0" lang="en-US" altLang="en-US" sz="1427" b="0" i="0" u="none" strike="noStrike" kern="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mn-ea"/>
                <a:cs typeface="+mn-cs"/>
              </a:endParaRPr>
            </a:p>
          </p:txBody>
        </p:sp>
        <p:sp>
          <p:nvSpPr>
            <p:cNvPr id="1041" name="Line 251">
              <a:extLst>
                <a:ext uri="{FF2B5EF4-FFF2-40B4-BE49-F238E27FC236}">
                  <a16:creationId xmlns:a16="http://schemas.microsoft.com/office/drawing/2014/main" id="{FB7DFB4F-8C5B-44CD-BDC7-4B0B420F1EA4}"/>
                </a:ext>
              </a:extLst>
            </p:cNvPr>
            <p:cNvSpPr>
              <a:spLocks noChangeShapeType="1"/>
            </p:cNvSpPr>
            <p:nvPr/>
          </p:nvSpPr>
          <p:spPr bwMode="auto">
            <a:xfrm>
              <a:off x="4004284" y="4658138"/>
              <a:ext cx="934045" cy="1"/>
            </a:xfrm>
            <a:prstGeom prst="line">
              <a:avLst/>
            </a:prstGeom>
            <a:noFill/>
            <a:ln w="19050" cap="rnd">
              <a:solidFill>
                <a:srgbClr val="000000"/>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marL="0" marR="0" lvl="0" indent="0" algn="l" defTabSz="93241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42" name="Line 18">
              <a:extLst>
                <a:ext uri="{FF2B5EF4-FFF2-40B4-BE49-F238E27FC236}">
                  <a16:creationId xmlns:a16="http://schemas.microsoft.com/office/drawing/2014/main" id="{DC36AEAF-4854-4EB8-80CB-D83E8C71D012}"/>
                </a:ext>
              </a:extLst>
            </p:cNvPr>
            <p:cNvSpPr>
              <a:spLocks noChangeShapeType="1"/>
            </p:cNvSpPr>
            <p:nvPr/>
          </p:nvSpPr>
          <p:spPr bwMode="auto">
            <a:xfrm>
              <a:off x="7092932" y="3033442"/>
              <a:ext cx="740897" cy="0"/>
            </a:xfrm>
            <a:prstGeom prst="line">
              <a:avLst/>
            </a:prstGeom>
            <a:solidFill>
              <a:srgbClr val="000000"/>
            </a:solidFill>
            <a:ln w="19050" cap="rnd">
              <a:solidFill>
                <a:srgbClr val="000000"/>
              </a:solidFill>
              <a:prstDash val="solid"/>
              <a:round/>
              <a:headEnd type="triangle" w="med" len="sm"/>
              <a:tailEnd type="none" w="med" len="sm"/>
            </a:ln>
          </p:spPr>
          <p:txBody>
            <a:bodyPr vert="horz" wrap="square" lIns="93247" tIns="46623" rIns="93247" bIns="46623" numCol="1" anchor="t" anchorCtr="0" compatLnSpc="1">
              <a:prstTxWarp prst="textNoShape">
                <a:avLst/>
              </a:prstTxWarp>
            </a:bodyPr>
            <a:lstStyle/>
            <a:p>
              <a:pPr marL="0" marR="0" lvl="0" indent="0" algn="l" defTabSz="93241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43" name="Rectangle 212">
              <a:extLst>
                <a:ext uri="{FF2B5EF4-FFF2-40B4-BE49-F238E27FC236}">
                  <a16:creationId xmlns:a16="http://schemas.microsoft.com/office/drawing/2014/main" id="{5454AEE3-F0E9-47B1-8662-34652BB80E1B}"/>
                </a:ext>
              </a:extLst>
            </p:cNvPr>
            <p:cNvSpPr>
              <a:spLocks noChangeArrowheads="1"/>
            </p:cNvSpPr>
            <p:nvPr/>
          </p:nvSpPr>
          <p:spPr bwMode="auto">
            <a:xfrm>
              <a:off x="7939303" y="3377951"/>
              <a:ext cx="62004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32417"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gradFill>
                    <a:gsLst>
                      <a:gs pos="92001">
                        <a:srgbClr val="0D0D0D"/>
                      </a:gs>
                      <a:gs pos="1250">
                        <a:srgbClr val="0D0D0D"/>
                      </a:gs>
                    </a:gsLst>
                    <a:lin ang="5400000" scaled="0"/>
                  </a:gradFill>
                  <a:effectLst/>
                  <a:uLnTx/>
                  <a:uFillTx/>
                  <a:latin typeface="Segoe UI" panose="020B0502040204020203" pitchFamily="34" charset="0"/>
                  <a:ea typeface="+mn-ea"/>
                  <a:cs typeface="Segoe UI" panose="020B0502040204020203" pitchFamily="34" charset="0"/>
                </a:rPr>
                <a:t>Active </a:t>
              </a:r>
            </a:p>
            <a:p>
              <a:pPr marL="0" marR="0" lvl="0" indent="0" algn="ctr" defTabSz="932417"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gradFill>
                    <a:gsLst>
                      <a:gs pos="92001">
                        <a:srgbClr val="0D0D0D"/>
                      </a:gs>
                      <a:gs pos="1250">
                        <a:srgbClr val="0D0D0D"/>
                      </a:gs>
                    </a:gsLst>
                    <a:lin ang="5400000" scaled="0"/>
                  </a:gradFill>
                  <a:effectLst/>
                  <a:uLnTx/>
                  <a:uFillTx/>
                  <a:latin typeface="Segoe UI" panose="020B0502040204020203" pitchFamily="34" charset="0"/>
                  <a:ea typeface="+mn-ea"/>
                  <a:cs typeface="Segoe UI" panose="020B0502040204020203" pitchFamily="34" charset="0"/>
                </a:rPr>
                <a:t>Directory</a:t>
              </a:r>
            </a:p>
          </p:txBody>
        </p:sp>
        <p:cxnSp>
          <p:nvCxnSpPr>
            <p:cNvPr id="1044" name="Straight Arrow Connector 1043">
              <a:extLst>
                <a:ext uri="{FF2B5EF4-FFF2-40B4-BE49-F238E27FC236}">
                  <a16:creationId xmlns:a16="http://schemas.microsoft.com/office/drawing/2014/main" id="{86434B12-102E-4CEB-BA53-4308E29719C4}"/>
                </a:ext>
              </a:extLst>
            </p:cNvPr>
            <p:cNvCxnSpPr/>
            <p:nvPr/>
          </p:nvCxnSpPr>
          <p:spPr>
            <a:xfrm>
              <a:off x="6733081" y="3482600"/>
              <a:ext cx="0" cy="883747"/>
            </a:xfrm>
            <a:prstGeom prst="straightConnector1">
              <a:avLst/>
            </a:prstGeom>
            <a:noFill/>
            <a:ln w="19050" cap="flat" cmpd="sng" algn="ctr">
              <a:solidFill>
                <a:srgbClr val="000000"/>
              </a:solidFill>
              <a:prstDash val="solid"/>
              <a:headEnd type="triangle"/>
              <a:tailEnd type="triangle"/>
            </a:ln>
            <a:effectLst/>
          </p:spPr>
        </p:cxnSp>
        <p:sp>
          <p:nvSpPr>
            <p:cNvPr id="1045" name="Line 18">
              <a:extLst>
                <a:ext uri="{FF2B5EF4-FFF2-40B4-BE49-F238E27FC236}">
                  <a16:creationId xmlns:a16="http://schemas.microsoft.com/office/drawing/2014/main" id="{B4EC17DF-1E92-4E7A-83B1-BE663D467647}"/>
                </a:ext>
              </a:extLst>
            </p:cNvPr>
            <p:cNvSpPr>
              <a:spLocks noChangeShapeType="1"/>
            </p:cNvSpPr>
            <p:nvPr/>
          </p:nvSpPr>
          <p:spPr bwMode="auto">
            <a:xfrm>
              <a:off x="6301154" y="3811072"/>
              <a:ext cx="431928" cy="0"/>
            </a:xfrm>
            <a:prstGeom prst="line">
              <a:avLst/>
            </a:prstGeom>
            <a:solidFill>
              <a:srgbClr val="000000"/>
            </a:solidFill>
            <a:ln w="19050" cap="rnd">
              <a:solidFill>
                <a:srgbClr val="000000"/>
              </a:solidFill>
              <a:prstDash val="solid"/>
              <a:round/>
              <a:headEnd type="triangle" w="med" len="sm"/>
              <a:tailEnd type="none" w="med" len="sm"/>
            </a:ln>
          </p:spPr>
          <p:txBody>
            <a:bodyPr vert="horz" wrap="square" lIns="93247" tIns="46623" rIns="93247" bIns="46623" numCol="1" anchor="t" anchorCtr="0" compatLnSpc="1">
              <a:prstTxWarp prst="textNoShape">
                <a:avLst/>
              </a:prstTxWarp>
            </a:bodyPr>
            <a:lstStyle/>
            <a:p>
              <a:pPr marL="0" marR="0" lvl="0" indent="0" algn="l" defTabSz="93241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46" name="Rectangle: Rounded Corners 1045">
              <a:extLst>
                <a:ext uri="{FF2B5EF4-FFF2-40B4-BE49-F238E27FC236}">
                  <a16:creationId xmlns:a16="http://schemas.microsoft.com/office/drawing/2014/main" id="{65D584DC-3D2E-4204-B2C2-9231C6D417FA}"/>
                </a:ext>
              </a:extLst>
            </p:cNvPr>
            <p:cNvSpPr/>
            <p:nvPr/>
          </p:nvSpPr>
          <p:spPr>
            <a:xfrm>
              <a:off x="3144222" y="6027983"/>
              <a:ext cx="1029137" cy="263523"/>
            </a:xfrm>
            <a:prstGeom prst="roundRect">
              <a:avLst/>
            </a:prstGeom>
            <a:solidFill>
              <a:schemeClr val="accent5"/>
            </a:solidFill>
            <a:ln w="10795" cap="flat" cmpd="sng" algn="ctr">
              <a:noFill/>
              <a:prstDash val="solid"/>
            </a:ln>
            <a:effectLst/>
          </p:spPr>
          <p:txBody>
            <a:bodyPr rot="0" spcFirstLastPara="0" vertOverflow="overflow" horzOverflow="overflow" vert="horz" wrap="square" lIns="95117" tIns="47558" rIns="95117" bIns="47558"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44"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Orchestrator</a:t>
              </a:r>
            </a:p>
          </p:txBody>
        </p:sp>
        <p:sp>
          <p:nvSpPr>
            <p:cNvPr id="1047" name="Line 251">
              <a:extLst>
                <a:ext uri="{FF2B5EF4-FFF2-40B4-BE49-F238E27FC236}">
                  <a16:creationId xmlns:a16="http://schemas.microsoft.com/office/drawing/2014/main" id="{156C2DB7-7379-4B5A-94EF-50D3886EFF4E}"/>
                </a:ext>
              </a:extLst>
            </p:cNvPr>
            <p:cNvSpPr>
              <a:spLocks noChangeShapeType="1"/>
            </p:cNvSpPr>
            <p:nvPr/>
          </p:nvSpPr>
          <p:spPr bwMode="auto">
            <a:xfrm>
              <a:off x="4251076" y="6153216"/>
              <a:ext cx="229158" cy="0"/>
            </a:xfrm>
            <a:prstGeom prst="line">
              <a:avLst/>
            </a:prstGeom>
            <a:noFill/>
            <a:ln w="19050" cap="rnd">
              <a:solidFill>
                <a:srgbClr val="000000"/>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marL="0" marR="0" lvl="0" indent="0" algn="l" defTabSz="93241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pic>
          <p:nvPicPr>
            <p:cNvPr id="1048" name="Graphic 1047">
              <a:extLst>
                <a:ext uri="{FF2B5EF4-FFF2-40B4-BE49-F238E27FC236}">
                  <a16:creationId xmlns:a16="http://schemas.microsoft.com/office/drawing/2014/main" id="{5CDD98CC-443C-44AB-94EE-0A3D1BFA8F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15519" y="4419092"/>
              <a:ext cx="551341" cy="551341"/>
            </a:xfrm>
            <a:prstGeom prst="rect">
              <a:avLst/>
            </a:prstGeom>
          </p:spPr>
        </p:pic>
        <p:pic>
          <p:nvPicPr>
            <p:cNvPr id="1049" name="Picture 1048">
              <a:extLst>
                <a:ext uri="{FF2B5EF4-FFF2-40B4-BE49-F238E27FC236}">
                  <a16:creationId xmlns:a16="http://schemas.microsoft.com/office/drawing/2014/main" id="{28F49B67-F06B-4258-BB44-B03E3C73B578}"/>
                </a:ext>
              </a:extLst>
            </p:cNvPr>
            <p:cNvPicPr>
              <a:picLocks noChangeAspect="1"/>
            </p:cNvPicPr>
            <p:nvPr/>
          </p:nvPicPr>
          <p:blipFill>
            <a:blip r:embed="rId5"/>
            <a:stretch>
              <a:fillRect/>
            </a:stretch>
          </p:blipFill>
          <p:spPr>
            <a:xfrm>
              <a:off x="7957497" y="2724170"/>
              <a:ext cx="618543" cy="618543"/>
            </a:xfrm>
            <a:prstGeom prst="rect">
              <a:avLst/>
            </a:prstGeom>
          </p:spPr>
        </p:pic>
        <p:pic>
          <p:nvPicPr>
            <p:cNvPr id="1050" name="Picture 1049">
              <a:extLst>
                <a:ext uri="{FF2B5EF4-FFF2-40B4-BE49-F238E27FC236}">
                  <a16:creationId xmlns:a16="http://schemas.microsoft.com/office/drawing/2014/main" id="{36797373-2CC4-4CFF-839E-44F9BE587218}"/>
                </a:ext>
              </a:extLst>
            </p:cNvPr>
            <p:cNvPicPr>
              <a:picLocks noChangeAspect="1"/>
            </p:cNvPicPr>
            <p:nvPr/>
          </p:nvPicPr>
          <p:blipFill>
            <a:blip r:embed="rId6"/>
            <a:stretch>
              <a:fillRect/>
            </a:stretch>
          </p:blipFill>
          <p:spPr>
            <a:xfrm>
              <a:off x="5888036" y="3588650"/>
              <a:ext cx="393538" cy="393538"/>
            </a:xfrm>
            <a:prstGeom prst="rect">
              <a:avLst/>
            </a:prstGeom>
          </p:spPr>
        </p:pic>
        <p:grpSp>
          <p:nvGrpSpPr>
            <p:cNvPr id="1051" name="Group 1050">
              <a:extLst>
                <a:ext uri="{FF2B5EF4-FFF2-40B4-BE49-F238E27FC236}">
                  <a16:creationId xmlns:a16="http://schemas.microsoft.com/office/drawing/2014/main" id="{C447EBF3-9241-456B-86D5-ADC1159B0E2F}"/>
                </a:ext>
              </a:extLst>
            </p:cNvPr>
            <p:cNvGrpSpPr/>
            <p:nvPr/>
          </p:nvGrpSpPr>
          <p:grpSpPr>
            <a:xfrm>
              <a:off x="6491462" y="2783412"/>
              <a:ext cx="466765" cy="464395"/>
              <a:chOff x="5934521" y="2473325"/>
              <a:chExt cx="1876425" cy="1866900"/>
            </a:xfrm>
          </p:grpSpPr>
          <p:sp>
            <p:nvSpPr>
              <p:cNvPr id="1289" name="Freeform: Shape 1288">
                <a:extLst>
                  <a:ext uri="{FF2B5EF4-FFF2-40B4-BE49-F238E27FC236}">
                    <a16:creationId xmlns:a16="http://schemas.microsoft.com/office/drawing/2014/main" id="{03DB4BB8-BCE1-4797-BC84-4D303BE9D1C5}"/>
                  </a:ext>
                </a:extLst>
              </p:cNvPr>
              <p:cNvSpPr/>
              <p:nvPr/>
            </p:nvSpPr>
            <p:spPr>
              <a:xfrm>
                <a:off x="5934521" y="2473325"/>
                <a:ext cx="1876425" cy="1866900"/>
              </a:xfrm>
              <a:custGeom>
                <a:avLst/>
                <a:gdLst/>
                <a:ahLst/>
                <a:cxnLst/>
                <a:rect l="0" t="0" r="0" b="0"/>
                <a:pathLst>
                  <a:path w="1876425" h="1866900">
                    <a:moveTo>
                      <a:pt x="1434336" y="1586865"/>
                    </a:moveTo>
                    <a:cubicBezTo>
                      <a:pt x="1285746" y="1701165"/>
                      <a:pt x="1111438" y="1755457"/>
                      <a:pt x="938084" y="1755457"/>
                    </a:cubicBezTo>
                    <a:cubicBezTo>
                      <a:pt x="690434" y="1755457"/>
                      <a:pt x="452309" y="1645920"/>
                      <a:pt x="288478" y="1432560"/>
                    </a:cubicBezTo>
                    <a:cubicBezTo>
                      <a:pt x="16063" y="1075373"/>
                      <a:pt x="84643" y="564832"/>
                      <a:pt x="441831" y="291465"/>
                    </a:cubicBezTo>
                    <a:cubicBezTo>
                      <a:pt x="590421" y="177165"/>
                      <a:pt x="764728" y="122872"/>
                      <a:pt x="938084" y="122872"/>
                    </a:cubicBezTo>
                    <a:cubicBezTo>
                      <a:pt x="1185734" y="122872"/>
                      <a:pt x="1423859" y="232410"/>
                      <a:pt x="1587689" y="445770"/>
                    </a:cubicBezTo>
                    <a:cubicBezTo>
                      <a:pt x="1861056" y="802957"/>
                      <a:pt x="1791523" y="1314450"/>
                      <a:pt x="1434336" y="1586865"/>
                    </a:cubicBezTo>
                    <a:close/>
                    <a:moveTo>
                      <a:pt x="1682939" y="366713"/>
                    </a:moveTo>
                    <a:cubicBezTo>
                      <a:pt x="1499106" y="123825"/>
                      <a:pt x="1216213" y="0"/>
                      <a:pt x="939036" y="0"/>
                    </a:cubicBezTo>
                    <a:cubicBezTo>
                      <a:pt x="740916" y="0"/>
                      <a:pt x="537081" y="64770"/>
                      <a:pt x="368488" y="193358"/>
                    </a:cubicBezTo>
                    <a:cubicBezTo>
                      <a:pt x="-42991" y="510540"/>
                      <a:pt x="-123002" y="1096328"/>
                      <a:pt x="195134" y="1507807"/>
                    </a:cubicBezTo>
                    <a:cubicBezTo>
                      <a:pt x="378966" y="1750695"/>
                      <a:pt x="656144" y="1874520"/>
                      <a:pt x="939036" y="1874520"/>
                    </a:cubicBezTo>
                    <a:cubicBezTo>
                      <a:pt x="1137156" y="1874520"/>
                      <a:pt x="1340991" y="1809750"/>
                      <a:pt x="1509584" y="1681163"/>
                    </a:cubicBezTo>
                    <a:cubicBezTo>
                      <a:pt x="1921064" y="1368743"/>
                      <a:pt x="2000121" y="778193"/>
                      <a:pt x="1682939" y="366713"/>
                    </a:cubicBezTo>
                    <a:close/>
                  </a:path>
                </a:pathLst>
              </a:custGeom>
              <a:solidFill>
                <a:srgbClr val="59B6DA"/>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290" name="Freeform: Shape 1289">
                <a:extLst>
                  <a:ext uri="{FF2B5EF4-FFF2-40B4-BE49-F238E27FC236}">
                    <a16:creationId xmlns:a16="http://schemas.microsoft.com/office/drawing/2014/main" id="{4E5918EC-53FF-4C3E-9C30-78909FF34C66}"/>
                  </a:ext>
                </a:extLst>
              </p:cNvPr>
              <p:cNvSpPr/>
              <p:nvPr/>
            </p:nvSpPr>
            <p:spPr>
              <a:xfrm>
                <a:off x="6199549" y="3432809"/>
                <a:ext cx="247650" cy="619125"/>
              </a:xfrm>
              <a:custGeom>
                <a:avLst/>
                <a:gdLst/>
                <a:ahLst/>
                <a:cxnLst/>
                <a:rect l="0" t="0" r="0" b="0"/>
                <a:pathLst>
                  <a:path w="247650" h="619125">
                    <a:moveTo>
                      <a:pt x="248603" y="153352"/>
                    </a:moveTo>
                    <a:cubicBezTo>
                      <a:pt x="194310" y="99060"/>
                      <a:pt x="149543" y="49530"/>
                      <a:pt x="114300" y="0"/>
                    </a:cubicBezTo>
                    <a:cubicBezTo>
                      <a:pt x="35243" y="159067"/>
                      <a:pt x="10478" y="322897"/>
                      <a:pt x="0" y="456247"/>
                    </a:cubicBezTo>
                    <a:cubicBezTo>
                      <a:pt x="9525" y="465772"/>
                      <a:pt x="9525" y="476250"/>
                      <a:pt x="15240" y="485775"/>
                    </a:cubicBezTo>
                    <a:cubicBezTo>
                      <a:pt x="55245" y="535305"/>
                      <a:pt x="104775" y="584835"/>
                      <a:pt x="149543" y="620077"/>
                    </a:cubicBezTo>
                    <a:cubicBezTo>
                      <a:pt x="149543" y="510540"/>
                      <a:pt x="159068" y="331470"/>
                      <a:pt x="248603" y="153352"/>
                    </a:cubicBezTo>
                    <a:close/>
                  </a:path>
                </a:pathLst>
              </a:custGeom>
              <a:solidFill>
                <a:srgbClr val="59B6DA"/>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291" name="Freeform: Shape 1290">
                <a:extLst>
                  <a:ext uri="{FF2B5EF4-FFF2-40B4-BE49-F238E27FC236}">
                    <a16:creationId xmlns:a16="http://schemas.microsoft.com/office/drawing/2014/main" id="{6D6DDEB0-ABD0-40D8-BFF2-63E29DE62056}"/>
                  </a:ext>
                </a:extLst>
              </p:cNvPr>
              <p:cNvSpPr/>
              <p:nvPr/>
            </p:nvSpPr>
            <p:spPr>
              <a:xfrm>
                <a:off x="6398659" y="2956242"/>
                <a:ext cx="485775" cy="495300"/>
              </a:xfrm>
              <a:custGeom>
                <a:avLst/>
                <a:gdLst/>
                <a:ahLst/>
                <a:cxnLst/>
                <a:rect l="0" t="0" r="0" b="0"/>
                <a:pathLst>
                  <a:path w="485775" h="495300">
                    <a:moveTo>
                      <a:pt x="338138" y="0"/>
                    </a:moveTo>
                    <a:cubicBezTo>
                      <a:pt x="263843" y="49530"/>
                      <a:pt x="189547" y="114300"/>
                      <a:pt x="109538" y="198120"/>
                    </a:cubicBezTo>
                    <a:cubicBezTo>
                      <a:pt x="69533" y="242888"/>
                      <a:pt x="30480" y="287655"/>
                      <a:pt x="0" y="332422"/>
                    </a:cubicBezTo>
                    <a:cubicBezTo>
                      <a:pt x="34290" y="386715"/>
                      <a:pt x="74295" y="441960"/>
                      <a:pt x="128588" y="496253"/>
                    </a:cubicBezTo>
                    <a:cubicBezTo>
                      <a:pt x="168593" y="441960"/>
                      <a:pt x="218122" y="381953"/>
                      <a:pt x="277178" y="327660"/>
                    </a:cubicBezTo>
                    <a:cubicBezTo>
                      <a:pt x="351472" y="258128"/>
                      <a:pt x="421005" y="199072"/>
                      <a:pt x="490538" y="154305"/>
                    </a:cubicBezTo>
                    <a:cubicBezTo>
                      <a:pt x="441960" y="104775"/>
                      <a:pt x="387668" y="49530"/>
                      <a:pt x="338138" y="0"/>
                    </a:cubicBezTo>
                    <a:close/>
                  </a:path>
                </a:pathLst>
              </a:custGeom>
              <a:solidFill>
                <a:srgbClr val="59B6DA"/>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292" name="Freeform: Shape 1291">
                <a:extLst>
                  <a:ext uri="{FF2B5EF4-FFF2-40B4-BE49-F238E27FC236}">
                    <a16:creationId xmlns:a16="http://schemas.microsoft.com/office/drawing/2014/main" id="{0B513BE3-57EE-42C1-BD78-A00480CF674F}"/>
                  </a:ext>
                </a:extLst>
              </p:cNvPr>
              <p:cNvSpPr/>
              <p:nvPr/>
            </p:nvSpPr>
            <p:spPr>
              <a:xfrm>
                <a:off x="6848740" y="2780040"/>
                <a:ext cx="657225" cy="257175"/>
              </a:xfrm>
              <a:custGeom>
                <a:avLst/>
                <a:gdLst/>
                <a:ahLst/>
                <a:cxnLst/>
                <a:rect l="0" t="0" r="0" b="0"/>
                <a:pathLst>
                  <a:path w="657225" h="257175">
                    <a:moveTo>
                      <a:pt x="665798" y="128260"/>
                    </a:moveTo>
                    <a:cubicBezTo>
                      <a:pt x="631507" y="83493"/>
                      <a:pt x="596265" y="44440"/>
                      <a:pt x="551497" y="9198"/>
                    </a:cubicBezTo>
                    <a:cubicBezTo>
                      <a:pt x="427672" y="-10805"/>
                      <a:pt x="222885" y="-6995"/>
                      <a:pt x="0" y="112068"/>
                    </a:cubicBezTo>
                    <a:cubicBezTo>
                      <a:pt x="49530" y="166360"/>
                      <a:pt x="103822" y="221605"/>
                      <a:pt x="153353" y="265421"/>
                    </a:cubicBezTo>
                    <a:cubicBezTo>
                      <a:pt x="450532" y="102543"/>
                      <a:pt x="665798" y="128260"/>
                      <a:pt x="665798" y="128260"/>
                    </a:cubicBezTo>
                    <a:close/>
                  </a:path>
                </a:pathLst>
              </a:custGeom>
              <a:solidFill>
                <a:srgbClr val="59B6DA"/>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293" name="Freeform: Shape 1292">
                <a:extLst>
                  <a:ext uri="{FF2B5EF4-FFF2-40B4-BE49-F238E27FC236}">
                    <a16:creationId xmlns:a16="http://schemas.microsoft.com/office/drawing/2014/main" id="{9FD9633B-3CA7-40D9-9CA1-EAA1998A026A}"/>
                  </a:ext>
                </a:extLst>
              </p:cNvPr>
              <p:cNvSpPr/>
              <p:nvPr/>
            </p:nvSpPr>
            <p:spPr>
              <a:xfrm>
                <a:off x="6185509" y="2835458"/>
                <a:ext cx="209550" cy="590550"/>
              </a:xfrm>
              <a:custGeom>
                <a:avLst/>
                <a:gdLst/>
                <a:ahLst/>
                <a:cxnLst/>
                <a:rect l="0" t="0" r="0" b="0"/>
                <a:pathLst>
                  <a:path w="209550" h="590550">
                    <a:moveTo>
                      <a:pt x="131797" y="590550"/>
                    </a:moveTo>
                    <a:cubicBezTo>
                      <a:pt x="156562" y="545783"/>
                      <a:pt x="181327" y="501015"/>
                      <a:pt x="210855" y="451485"/>
                    </a:cubicBezTo>
                    <a:cubicBezTo>
                      <a:pt x="82267" y="247650"/>
                      <a:pt x="87030" y="79058"/>
                      <a:pt x="101317" y="0"/>
                    </a:cubicBezTo>
                    <a:cubicBezTo>
                      <a:pt x="71790" y="34290"/>
                      <a:pt x="36547" y="69533"/>
                      <a:pt x="11782" y="103823"/>
                    </a:cubicBezTo>
                    <a:cubicBezTo>
                      <a:pt x="-12030" y="219075"/>
                      <a:pt x="-12030" y="387667"/>
                      <a:pt x="131797" y="590550"/>
                    </a:cubicBezTo>
                    <a:close/>
                  </a:path>
                </a:pathLst>
              </a:custGeom>
              <a:solidFill>
                <a:srgbClr val="59B6DA"/>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294" name="Freeform: Shape 1293">
                <a:extLst>
                  <a:ext uri="{FF2B5EF4-FFF2-40B4-BE49-F238E27FC236}">
                    <a16:creationId xmlns:a16="http://schemas.microsoft.com/office/drawing/2014/main" id="{D72C4D90-61D1-4AC2-AEAA-B62FA9DF19BC}"/>
                  </a:ext>
                </a:extLst>
              </p:cNvPr>
              <p:cNvSpPr/>
              <p:nvPr/>
            </p:nvSpPr>
            <p:spPr>
              <a:xfrm>
                <a:off x="6451354" y="3457710"/>
                <a:ext cx="1095375" cy="533400"/>
              </a:xfrm>
              <a:custGeom>
                <a:avLst/>
                <a:gdLst/>
                <a:ahLst/>
                <a:cxnLst/>
                <a:rect l="0" t="0" r="0" b="0"/>
                <a:pathLst>
                  <a:path w="1095375" h="533400">
                    <a:moveTo>
                      <a:pt x="232410" y="139065"/>
                    </a:moveTo>
                    <a:cubicBezTo>
                      <a:pt x="172403" y="89535"/>
                      <a:pt x="122872" y="44767"/>
                      <a:pt x="79057" y="0"/>
                    </a:cubicBezTo>
                    <a:cubicBezTo>
                      <a:pt x="49530" y="44767"/>
                      <a:pt x="24765" y="84772"/>
                      <a:pt x="0" y="128588"/>
                    </a:cubicBezTo>
                    <a:cubicBezTo>
                      <a:pt x="40005" y="168592"/>
                      <a:pt x="89535" y="213360"/>
                      <a:pt x="143828" y="252413"/>
                    </a:cubicBezTo>
                    <a:cubicBezTo>
                      <a:pt x="476250" y="515302"/>
                      <a:pt x="808672" y="540067"/>
                      <a:pt x="997268" y="540067"/>
                    </a:cubicBezTo>
                    <a:cubicBezTo>
                      <a:pt x="1006793" y="540067"/>
                      <a:pt x="1066800" y="461010"/>
                      <a:pt x="1101090" y="411480"/>
                    </a:cubicBezTo>
                    <a:cubicBezTo>
                      <a:pt x="1015365" y="431482"/>
                      <a:pt x="658178" y="476250"/>
                      <a:pt x="232410" y="139065"/>
                    </a:cubicBezTo>
                    <a:close/>
                  </a:path>
                </a:pathLst>
              </a:custGeom>
              <a:solidFill>
                <a:srgbClr val="59B6DA"/>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295" name="Freeform: Shape 1294">
                <a:extLst>
                  <a:ext uri="{FF2B5EF4-FFF2-40B4-BE49-F238E27FC236}">
                    <a16:creationId xmlns:a16="http://schemas.microsoft.com/office/drawing/2014/main" id="{3D4A9631-2ADF-4021-A24C-4B809DAD4BCC}"/>
                  </a:ext>
                </a:extLst>
              </p:cNvPr>
              <p:cNvSpPr/>
              <p:nvPr/>
            </p:nvSpPr>
            <p:spPr>
              <a:xfrm>
                <a:off x="6316178" y="3287986"/>
                <a:ext cx="209550" cy="285750"/>
              </a:xfrm>
              <a:custGeom>
                <a:avLst/>
                <a:gdLst/>
                <a:ahLst/>
                <a:cxnLst/>
                <a:rect l="0" t="0" r="0" b="0"/>
                <a:pathLst>
                  <a:path w="209550" h="285750">
                    <a:moveTo>
                      <a:pt x="0" y="139065"/>
                    </a:moveTo>
                    <a:cubicBezTo>
                      <a:pt x="34290" y="188595"/>
                      <a:pt x="79057" y="242888"/>
                      <a:pt x="134302" y="292418"/>
                    </a:cubicBezTo>
                    <a:cubicBezTo>
                      <a:pt x="154305" y="247650"/>
                      <a:pt x="179070" y="207645"/>
                      <a:pt x="213360" y="163830"/>
                    </a:cubicBezTo>
                    <a:cubicBezTo>
                      <a:pt x="159067" y="109538"/>
                      <a:pt x="119063" y="54293"/>
                      <a:pt x="84772" y="0"/>
                    </a:cubicBezTo>
                    <a:cubicBezTo>
                      <a:pt x="50482" y="49530"/>
                      <a:pt x="24765" y="94297"/>
                      <a:pt x="0" y="139065"/>
                    </a:cubicBezTo>
                    <a:close/>
                  </a:path>
                </a:pathLst>
              </a:custGeom>
              <a:solidFill>
                <a:srgbClr val="59B6DA"/>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296" name="Freeform: Shape 1295">
                <a:extLst>
                  <a:ext uri="{FF2B5EF4-FFF2-40B4-BE49-F238E27FC236}">
                    <a16:creationId xmlns:a16="http://schemas.microsoft.com/office/drawing/2014/main" id="{08570330-89D1-4B3E-8EB1-521A10868380}"/>
                  </a:ext>
                </a:extLst>
              </p:cNvPr>
              <p:cNvSpPr/>
              <p:nvPr/>
            </p:nvSpPr>
            <p:spPr>
              <a:xfrm>
                <a:off x="6888921" y="3041669"/>
                <a:ext cx="771525" cy="647700"/>
              </a:xfrm>
              <a:custGeom>
                <a:avLst/>
                <a:gdLst/>
                <a:ahLst/>
                <a:cxnLst/>
                <a:rect l="0" t="0" r="0" b="0"/>
                <a:pathLst>
                  <a:path w="771525" h="647700">
                    <a:moveTo>
                      <a:pt x="0" y="69532"/>
                    </a:moveTo>
                    <a:cubicBezTo>
                      <a:pt x="307657" y="352425"/>
                      <a:pt x="664845" y="590550"/>
                      <a:pt x="759143" y="655320"/>
                    </a:cubicBezTo>
                    <a:cubicBezTo>
                      <a:pt x="768668" y="630555"/>
                      <a:pt x="774382" y="610553"/>
                      <a:pt x="779145" y="585788"/>
                    </a:cubicBezTo>
                    <a:cubicBezTo>
                      <a:pt x="680085" y="511493"/>
                      <a:pt x="421957" y="313372"/>
                      <a:pt x="109538" y="0"/>
                    </a:cubicBezTo>
                    <a:cubicBezTo>
                      <a:pt x="79057" y="20003"/>
                      <a:pt x="39053" y="33338"/>
                      <a:pt x="0" y="69532"/>
                    </a:cubicBezTo>
                    <a:close/>
                  </a:path>
                </a:pathLst>
              </a:custGeom>
              <a:solidFill>
                <a:srgbClr val="59B6DA"/>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297" name="Freeform: Shape 1296">
                <a:extLst>
                  <a:ext uri="{FF2B5EF4-FFF2-40B4-BE49-F238E27FC236}">
                    <a16:creationId xmlns:a16="http://schemas.microsoft.com/office/drawing/2014/main" id="{BE61B2DC-7F73-4606-9420-666595875641}"/>
                  </a:ext>
                </a:extLst>
              </p:cNvPr>
              <p:cNvSpPr/>
              <p:nvPr/>
            </p:nvSpPr>
            <p:spPr>
              <a:xfrm>
                <a:off x="6510876" y="2632778"/>
                <a:ext cx="342900" cy="323850"/>
              </a:xfrm>
              <a:custGeom>
                <a:avLst/>
                <a:gdLst/>
                <a:ahLst/>
                <a:cxnLst/>
                <a:rect l="0" t="0" r="0" b="0"/>
                <a:pathLst>
                  <a:path w="342900" h="323850">
                    <a:moveTo>
                      <a:pt x="342900" y="257175"/>
                    </a:moveTo>
                    <a:cubicBezTo>
                      <a:pt x="268605" y="178118"/>
                      <a:pt x="189547" y="89535"/>
                      <a:pt x="109538" y="0"/>
                    </a:cubicBezTo>
                    <a:cubicBezTo>
                      <a:pt x="75247" y="9525"/>
                      <a:pt x="35242" y="24765"/>
                      <a:pt x="0" y="44768"/>
                    </a:cubicBezTo>
                    <a:cubicBezTo>
                      <a:pt x="54292" y="139065"/>
                      <a:pt x="139065" y="236220"/>
                      <a:pt x="222885" y="325755"/>
                    </a:cubicBezTo>
                    <a:cubicBezTo>
                      <a:pt x="268605" y="300990"/>
                      <a:pt x="303847" y="277178"/>
                      <a:pt x="342900" y="257175"/>
                    </a:cubicBezTo>
                    <a:close/>
                  </a:path>
                </a:pathLst>
              </a:custGeom>
              <a:solidFill>
                <a:srgbClr val="59B6DA"/>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298" name="Freeform: Shape 1297">
                <a:extLst>
                  <a:ext uri="{FF2B5EF4-FFF2-40B4-BE49-F238E27FC236}">
                    <a16:creationId xmlns:a16="http://schemas.microsoft.com/office/drawing/2014/main" id="{2998CFD9-5A98-4C67-B2AF-A86E8C7ACFE9}"/>
                  </a:ext>
                </a:extLst>
              </p:cNvPr>
              <p:cNvSpPr/>
              <p:nvPr/>
            </p:nvSpPr>
            <p:spPr>
              <a:xfrm>
                <a:off x="6733601" y="2889693"/>
                <a:ext cx="266700" cy="219075"/>
              </a:xfrm>
              <a:custGeom>
                <a:avLst/>
                <a:gdLst/>
                <a:ahLst/>
                <a:cxnLst/>
                <a:rect l="0" t="0" r="0" b="0"/>
                <a:pathLst>
                  <a:path w="266700" h="219075">
                    <a:moveTo>
                      <a:pt x="120015" y="0"/>
                    </a:moveTo>
                    <a:cubicBezTo>
                      <a:pt x="80010" y="20003"/>
                      <a:pt x="34290" y="39053"/>
                      <a:pt x="0" y="68580"/>
                    </a:cubicBezTo>
                    <a:cubicBezTo>
                      <a:pt x="49530" y="118110"/>
                      <a:pt x="100965" y="171450"/>
                      <a:pt x="155257" y="220980"/>
                    </a:cubicBezTo>
                    <a:cubicBezTo>
                      <a:pt x="195263" y="196215"/>
                      <a:pt x="228600" y="176213"/>
                      <a:pt x="268605" y="156210"/>
                    </a:cubicBezTo>
                    <a:cubicBezTo>
                      <a:pt x="219075" y="107632"/>
                      <a:pt x="174307" y="55245"/>
                      <a:pt x="120015" y="0"/>
                    </a:cubicBezTo>
                    <a:close/>
                  </a:path>
                </a:pathLst>
              </a:custGeom>
              <a:solidFill>
                <a:srgbClr val="59B6DA"/>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299" name="Freeform: Shape 1298">
                <a:extLst>
                  <a:ext uri="{FF2B5EF4-FFF2-40B4-BE49-F238E27FC236}">
                    <a16:creationId xmlns:a16="http://schemas.microsoft.com/office/drawing/2014/main" id="{6850B9FF-69A0-49DD-9F9A-25A284B077B7}"/>
                  </a:ext>
                </a:extLst>
              </p:cNvPr>
              <p:cNvSpPr/>
              <p:nvPr/>
            </p:nvSpPr>
            <p:spPr>
              <a:xfrm>
                <a:off x="7183480" y="3273868"/>
                <a:ext cx="342900" cy="342900"/>
              </a:xfrm>
              <a:custGeom>
                <a:avLst/>
                <a:gdLst/>
                <a:ahLst/>
                <a:cxnLst/>
                <a:rect l="0" t="0" r="0" b="0"/>
                <a:pathLst>
                  <a:path w="342900" h="342900">
                    <a:moveTo>
                      <a:pt x="67488" y="36585"/>
                    </a:moveTo>
                    <a:cubicBezTo>
                      <a:pt x="-6807" y="96592"/>
                      <a:pt x="-22047" y="205177"/>
                      <a:pt x="33198" y="279472"/>
                    </a:cubicBezTo>
                    <a:cubicBezTo>
                      <a:pt x="93205" y="358530"/>
                      <a:pt x="201791" y="369007"/>
                      <a:pt x="280848" y="313763"/>
                    </a:cubicBezTo>
                    <a:cubicBezTo>
                      <a:pt x="355143" y="253755"/>
                      <a:pt x="370383" y="145170"/>
                      <a:pt x="315138" y="66112"/>
                    </a:cubicBezTo>
                    <a:cubicBezTo>
                      <a:pt x="256083" y="-8183"/>
                      <a:pt x="147498" y="-22470"/>
                      <a:pt x="67488" y="36585"/>
                    </a:cubicBezTo>
                    <a:close/>
                  </a:path>
                </a:pathLst>
              </a:custGeom>
              <a:solidFill>
                <a:srgbClr val="59B6DA"/>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00" name="Freeform: Shape 1299">
                <a:extLst>
                  <a:ext uri="{FF2B5EF4-FFF2-40B4-BE49-F238E27FC236}">
                    <a16:creationId xmlns:a16="http://schemas.microsoft.com/office/drawing/2014/main" id="{EE84393B-555C-4F5F-AE39-CA099D251D4E}"/>
                  </a:ext>
                </a:extLst>
              </p:cNvPr>
              <p:cNvSpPr/>
              <p:nvPr/>
            </p:nvSpPr>
            <p:spPr>
              <a:xfrm>
                <a:off x="6826014" y="3715532"/>
                <a:ext cx="323850" cy="323850"/>
              </a:xfrm>
              <a:custGeom>
                <a:avLst/>
                <a:gdLst/>
                <a:ahLst/>
                <a:cxnLst/>
                <a:rect l="0" t="0" r="0" b="0"/>
                <a:pathLst>
                  <a:path w="323850" h="323850">
                    <a:moveTo>
                      <a:pt x="63050" y="34569"/>
                    </a:moveTo>
                    <a:cubicBezTo>
                      <a:pt x="-6483" y="88861"/>
                      <a:pt x="-21723" y="193636"/>
                      <a:pt x="33522" y="263169"/>
                    </a:cubicBezTo>
                    <a:cubicBezTo>
                      <a:pt x="87815" y="332701"/>
                      <a:pt x="192590" y="347942"/>
                      <a:pt x="262122" y="292696"/>
                    </a:cubicBezTo>
                    <a:cubicBezTo>
                      <a:pt x="331655" y="238404"/>
                      <a:pt x="346894" y="139344"/>
                      <a:pt x="291650" y="64096"/>
                    </a:cubicBezTo>
                    <a:cubicBezTo>
                      <a:pt x="237357" y="-10199"/>
                      <a:pt x="137344" y="-19724"/>
                      <a:pt x="63050" y="34569"/>
                    </a:cubicBezTo>
                    <a:close/>
                  </a:path>
                </a:pathLst>
              </a:custGeom>
              <a:solidFill>
                <a:srgbClr val="59B6DA"/>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01" name="Freeform: Shape 1300">
                <a:extLst>
                  <a:ext uri="{FF2B5EF4-FFF2-40B4-BE49-F238E27FC236}">
                    <a16:creationId xmlns:a16="http://schemas.microsoft.com/office/drawing/2014/main" id="{287BF18C-8A2A-47C0-8C24-BB24A6D6CF27}"/>
                  </a:ext>
                </a:extLst>
              </p:cNvPr>
              <p:cNvSpPr/>
              <p:nvPr/>
            </p:nvSpPr>
            <p:spPr>
              <a:xfrm>
                <a:off x="6185020" y="3181222"/>
                <a:ext cx="495300" cy="495300"/>
              </a:xfrm>
              <a:custGeom>
                <a:avLst/>
                <a:gdLst/>
                <a:ahLst/>
                <a:cxnLst/>
                <a:rect l="0" t="0" r="0" b="0"/>
                <a:pathLst>
                  <a:path w="495300" h="495300">
                    <a:moveTo>
                      <a:pt x="96861" y="52498"/>
                    </a:moveTo>
                    <a:cubicBezTo>
                      <a:pt x="-12677" y="137270"/>
                      <a:pt x="-31727" y="290623"/>
                      <a:pt x="52093" y="400160"/>
                    </a:cubicBezTo>
                    <a:cubicBezTo>
                      <a:pt x="136865" y="509698"/>
                      <a:pt x="290218" y="528748"/>
                      <a:pt x="399755" y="444928"/>
                    </a:cubicBezTo>
                    <a:cubicBezTo>
                      <a:pt x="509293" y="361108"/>
                      <a:pt x="528343" y="206803"/>
                      <a:pt x="444523" y="97265"/>
                    </a:cubicBezTo>
                    <a:cubicBezTo>
                      <a:pt x="359751" y="-12272"/>
                      <a:pt x="200683" y="-32275"/>
                      <a:pt x="96861" y="52498"/>
                    </a:cubicBezTo>
                    <a:close/>
                  </a:path>
                </a:pathLst>
              </a:custGeom>
              <a:solidFill>
                <a:srgbClr val="59B6DA"/>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pic>
          <p:nvPicPr>
            <p:cNvPr id="1052" name="Picture 1051">
              <a:extLst>
                <a:ext uri="{FF2B5EF4-FFF2-40B4-BE49-F238E27FC236}">
                  <a16:creationId xmlns:a16="http://schemas.microsoft.com/office/drawing/2014/main" id="{E67DDA40-E1D6-4F8B-9614-6C82E9E28B3B}"/>
                </a:ext>
              </a:extLst>
            </p:cNvPr>
            <p:cNvPicPr>
              <a:picLocks noChangeAspect="1"/>
            </p:cNvPicPr>
            <p:nvPr/>
          </p:nvPicPr>
          <p:blipFill>
            <a:blip r:embed="rId7"/>
            <a:stretch>
              <a:fillRect/>
            </a:stretch>
          </p:blipFill>
          <p:spPr>
            <a:xfrm>
              <a:off x="9252768" y="4366347"/>
              <a:ext cx="634135" cy="634135"/>
            </a:xfrm>
            <a:prstGeom prst="rect">
              <a:avLst/>
            </a:prstGeom>
          </p:spPr>
        </p:pic>
        <p:grpSp>
          <p:nvGrpSpPr>
            <p:cNvPr id="1053" name="Group 1052">
              <a:extLst>
                <a:ext uri="{FF2B5EF4-FFF2-40B4-BE49-F238E27FC236}">
                  <a16:creationId xmlns:a16="http://schemas.microsoft.com/office/drawing/2014/main" id="{E0E8D0F8-952F-4A61-87F6-D36AD4518375}"/>
                </a:ext>
              </a:extLst>
            </p:cNvPr>
            <p:cNvGrpSpPr/>
            <p:nvPr/>
          </p:nvGrpSpPr>
          <p:grpSpPr>
            <a:xfrm>
              <a:off x="4766520" y="4405272"/>
              <a:ext cx="2561213" cy="1886234"/>
              <a:chOff x="4536787" y="3938843"/>
              <a:chExt cx="2511221" cy="1849417"/>
            </a:xfrm>
          </p:grpSpPr>
          <p:grpSp>
            <p:nvGrpSpPr>
              <p:cNvPr id="1058" name="Group 1057">
                <a:extLst>
                  <a:ext uri="{FF2B5EF4-FFF2-40B4-BE49-F238E27FC236}">
                    <a16:creationId xmlns:a16="http://schemas.microsoft.com/office/drawing/2014/main" id="{DA4170D6-8625-48C5-BBC4-D3E8881AD81C}"/>
                  </a:ext>
                </a:extLst>
              </p:cNvPr>
              <p:cNvGrpSpPr/>
              <p:nvPr/>
            </p:nvGrpSpPr>
            <p:grpSpPr>
              <a:xfrm>
                <a:off x="5070248" y="3938843"/>
                <a:ext cx="1977760" cy="1551729"/>
                <a:chOff x="4536789" y="4236531"/>
                <a:chExt cx="1977760" cy="1551729"/>
              </a:xfrm>
            </p:grpSpPr>
            <p:grpSp>
              <p:nvGrpSpPr>
                <p:cNvPr id="1213" name="Group 1212">
                  <a:extLst>
                    <a:ext uri="{FF2B5EF4-FFF2-40B4-BE49-F238E27FC236}">
                      <a16:creationId xmlns:a16="http://schemas.microsoft.com/office/drawing/2014/main" id="{9238C253-6B37-4E64-A9D7-0995C18A3AC9}"/>
                    </a:ext>
                  </a:extLst>
                </p:cNvPr>
                <p:cNvGrpSpPr/>
                <p:nvPr/>
              </p:nvGrpSpPr>
              <p:grpSpPr>
                <a:xfrm>
                  <a:off x="4536789" y="4236531"/>
                  <a:ext cx="1977760" cy="1551729"/>
                  <a:chOff x="4958928" y="3881760"/>
                  <a:chExt cx="1939156" cy="1521441"/>
                </a:xfrm>
              </p:grpSpPr>
              <p:grpSp>
                <p:nvGrpSpPr>
                  <p:cNvPr id="1285" name="Group 1284">
                    <a:extLst>
                      <a:ext uri="{FF2B5EF4-FFF2-40B4-BE49-F238E27FC236}">
                        <a16:creationId xmlns:a16="http://schemas.microsoft.com/office/drawing/2014/main" id="{22690CB0-64B4-49CF-A8DF-A5E12553D4CE}"/>
                      </a:ext>
                    </a:extLst>
                  </p:cNvPr>
                  <p:cNvGrpSpPr/>
                  <p:nvPr/>
                </p:nvGrpSpPr>
                <p:grpSpPr>
                  <a:xfrm>
                    <a:off x="4958928" y="3881760"/>
                    <a:ext cx="1939156" cy="1521441"/>
                    <a:chOff x="3993864" y="3802746"/>
                    <a:chExt cx="1939156" cy="1521441"/>
                  </a:xfrm>
                </p:grpSpPr>
                <p:sp>
                  <p:nvSpPr>
                    <p:cNvPr id="1287" name="Rectangle: Rounded Corners 1286">
                      <a:extLst>
                        <a:ext uri="{FF2B5EF4-FFF2-40B4-BE49-F238E27FC236}">
                          <a16:creationId xmlns:a16="http://schemas.microsoft.com/office/drawing/2014/main" id="{6A13F3B7-B81B-4639-BBBA-A370665AF53C}"/>
                        </a:ext>
                      </a:extLst>
                    </p:cNvPr>
                    <p:cNvSpPr/>
                    <p:nvPr/>
                  </p:nvSpPr>
                  <p:spPr>
                    <a:xfrm>
                      <a:off x="3993864" y="3802746"/>
                      <a:ext cx="1939156" cy="1521441"/>
                    </a:xfrm>
                    <a:prstGeom prst="roundRect">
                      <a:avLst>
                        <a:gd name="adj" fmla="val 6571"/>
                      </a:avLst>
                    </a:prstGeom>
                    <a:solidFill>
                      <a:schemeClr val="bg2"/>
                    </a:solidFill>
                    <a:ln w="19050" cap="flat" cmpd="sng" algn="ctr">
                      <a:solidFill>
                        <a:srgbClr val="0078D7"/>
                      </a:solidFill>
                      <a:prstDash val="solid"/>
                    </a:ln>
                    <a:effectLst/>
                  </p:spPr>
                  <p:txBody>
                    <a:bodyPr rot="0" spcFirstLastPara="0" vertOverflow="overflow" horzOverflow="overflow" vert="horz" wrap="square" lIns="95117" tIns="47558" rIns="95117" bIns="47558" numCol="1" spcCol="0" rtlCol="0" fromWordArt="0" anchor="t"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1288" name="TextBox 1287">
                      <a:extLst>
                        <a:ext uri="{FF2B5EF4-FFF2-40B4-BE49-F238E27FC236}">
                          <a16:creationId xmlns:a16="http://schemas.microsoft.com/office/drawing/2014/main" id="{6342A0C7-9F1D-471E-816D-2835BF1DB002}"/>
                        </a:ext>
                      </a:extLst>
                    </p:cNvPr>
                    <p:cNvSpPr txBox="1"/>
                    <p:nvPr/>
                  </p:nvSpPr>
                  <p:spPr>
                    <a:xfrm>
                      <a:off x="4464652" y="3918276"/>
                      <a:ext cx="177590" cy="266291"/>
                    </a:xfrm>
                    <a:prstGeom prst="rect">
                      <a:avLst/>
                    </a:prstGeom>
                    <a:noFill/>
                    <a:ln>
                      <a:noFill/>
                    </a:ln>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lumMod val="60000"/>
                            <a:lumOff val="40000"/>
                          </a:srgbClr>
                        </a:solidFill>
                        <a:effectLst/>
                        <a:uLnTx/>
                        <a:uFillTx/>
                        <a:latin typeface="Segoe UI"/>
                        <a:ea typeface="+mn-ea"/>
                        <a:cs typeface="Segoe UI" panose="020B0502040204020203" pitchFamily="34" charset="0"/>
                      </a:endParaRPr>
                    </a:p>
                  </p:txBody>
                </p:sp>
              </p:grpSp>
              <p:sp>
                <p:nvSpPr>
                  <p:cNvPr id="1286" name="TextBox 1285">
                    <a:extLst>
                      <a:ext uri="{FF2B5EF4-FFF2-40B4-BE49-F238E27FC236}">
                        <a16:creationId xmlns:a16="http://schemas.microsoft.com/office/drawing/2014/main" id="{605064C7-CE6E-451A-9C56-D7800C16918D}"/>
                      </a:ext>
                    </a:extLst>
                  </p:cNvPr>
                  <p:cNvSpPr txBox="1"/>
                  <p:nvPr/>
                </p:nvSpPr>
                <p:spPr>
                  <a:xfrm>
                    <a:off x="6431592" y="5081456"/>
                    <a:ext cx="178826" cy="268144"/>
                  </a:xfrm>
                  <a:prstGeom prst="rect">
                    <a:avLst/>
                  </a:prstGeom>
                  <a:noFill/>
                  <a:ln>
                    <a:noFill/>
                  </a:ln>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Segoe UI"/>
                      <a:ea typeface="+mn-ea"/>
                      <a:cs typeface="Segoe UI" panose="020B0502040204020203" pitchFamily="34" charset="0"/>
                    </a:endParaRPr>
                  </a:p>
                </p:txBody>
              </p:sp>
            </p:grpSp>
            <p:grpSp>
              <p:nvGrpSpPr>
                <p:cNvPr id="1214" name="Group 1213">
                  <a:extLst>
                    <a:ext uri="{FF2B5EF4-FFF2-40B4-BE49-F238E27FC236}">
                      <a16:creationId xmlns:a16="http://schemas.microsoft.com/office/drawing/2014/main" id="{71B512EC-D30B-412D-9D02-9F90646BD6DF}"/>
                    </a:ext>
                  </a:extLst>
                </p:cNvPr>
                <p:cNvGrpSpPr/>
                <p:nvPr/>
              </p:nvGrpSpPr>
              <p:grpSpPr>
                <a:xfrm>
                  <a:off x="4607904" y="5516214"/>
                  <a:ext cx="222858" cy="203798"/>
                  <a:chOff x="3208463" y="2157245"/>
                  <a:chExt cx="361960" cy="331004"/>
                </a:xfrm>
              </p:grpSpPr>
              <p:sp>
                <p:nvSpPr>
                  <p:cNvPr id="1277" name="Freeform: Shape 1276">
                    <a:extLst>
                      <a:ext uri="{FF2B5EF4-FFF2-40B4-BE49-F238E27FC236}">
                        <a16:creationId xmlns:a16="http://schemas.microsoft.com/office/drawing/2014/main" id="{6E590536-C1BA-4A8D-BE3E-366EB0B94DF8}"/>
                      </a:ext>
                    </a:extLst>
                  </p:cNvPr>
                  <p:cNvSpPr/>
                  <p:nvPr/>
                </p:nvSpPr>
                <p:spPr>
                  <a:xfrm>
                    <a:off x="3271138" y="2421497"/>
                    <a:ext cx="228600" cy="66675"/>
                  </a:xfrm>
                  <a:custGeom>
                    <a:avLst/>
                    <a:gdLst/>
                    <a:ahLst/>
                    <a:cxnLst/>
                    <a:rect l="0" t="0" r="0" b="0"/>
                    <a:pathLst>
                      <a:path w="228600" h="66675">
                        <a:moveTo>
                          <a:pt x="172174" y="0"/>
                        </a:moveTo>
                        <a:lnTo>
                          <a:pt x="163544" y="0"/>
                        </a:lnTo>
                        <a:lnTo>
                          <a:pt x="78153" y="0"/>
                        </a:lnTo>
                        <a:lnTo>
                          <a:pt x="73695" y="0"/>
                        </a:lnTo>
                        <a:cubicBezTo>
                          <a:pt x="85525" y="41719"/>
                          <a:pt x="69628" y="47701"/>
                          <a:pt x="0" y="47701"/>
                        </a:cubicBezTo>
                        <a:lnTo>
                          <a:pt x="0" y="69552"/>
                        </a:lnTo>
                        <a:lnTo>
                          <a:pt x="88554" y="69552"/>
                        </a:lnTo>
                        <a:lnTo>
                          <a:pt x="153210" y="69552"/>
                        </a:lnTo>
                        <a:lnTo>
                          <a:pt x="236772" y="69552"/>
                        </a:lnTo>
                        <a:lnTo>
                          <a:pt x="236772" y="47711"/>
                        </a:lnTo>
                        <a:cubicBezTo>
                          <a:pt x="167154" y="47701"/>
                          <a:pt x="160325" y="41748"/>
                          <a:pt x="172174" y="0"/>
                        </a:cubicBezTo>
                      </a:path>
                    </a:pathLst>
                  </a:custGeom>
                  <a:solidFill>
                    <a:srgbClr val="7A7A7A"/>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sp>
                <p:nvSpPr>
                  <p:cNvPr id="1278" name="Freeform: Shape 1277">
                    <a:extLst>
                      <a:ext uri="{FF2B5EF4-FFF2-40B4-BE49-F238E27FC236}">
                        <a16:creationId xmlns:a16="http://schemas.microsoft.com/office/drawing/2014/main" id="{BE6F7DD4-A578-44B1-9DE2-1F235729AECC}"/>
                      </a:ext>
                    </a:extLst>
                  </p:cNvPr>
                  <p:cNvSpPr/>
                  <p:nvPr/>
                </p:nvSpPr>
                <p:spPr>
                  <a:xfrm>
                    <a:off x="3208473" y="2157245"/>
                    <a:ext cx="361950" cy="257175"/>
                  </a:xfrm>
                  <a:custGeom>
                    <a:avLst/>
                    <a:gdLst/>
                    <a:ahLst/>
                    <a:cxnLst/>
                    <a:rect l="0" t="0" r="0" b="0"/>
                    <a:pathLst>
                      <a:path w="361950" h="257175">
                        <a:moveTo>
                          <a:pt x="340252" y="0"/>
                        </a:moveTo>
                        <a:lnTo>
                          <a:pt x="19679" y="0"/>
                        </a:lnTo>
                        <a:cubicBezTo>
                          <a:pt x="8782" y="0"/>
                          <a:pt x="0" y="9725"/>
                          <a:pt x="0" y="20593"/>
                        </a:cubicBezTo>
                        <a:lnTo>
                          <a:pt x="0" y="243850"/>
                        </a:lnTo>
                        <a:cubicBezTo>
                          <a:pt x="0" y="254651"/>
                          <a:pt x="8782" y="264271"/>
                          <a:pt x="19679" y="264271"/>
                        </a:cubicBezTo>
                        <a:lnTo>
                          <a:pt x="340252" y="264271"/>
                        </a:lnTo>
                        <a:cubicBezTo>
                          <a:pt x="351120" y="264271"/>
                          <a:pt x="362131" y="254651"/>
                          <a:pt x="362131" y="243850"/>
                        </a:cubicBezTo>
                        <a:lnTo>
                          <a:pt x="362131" y="20593"/>
                        </a:lnTo>
                        <a:cubicBezTo>
                          <a:pt x="362131" y="9706"/>
                          <a:pt x="351120" y="0"/>
                          <a:pt x="340252" y="0"/>
                        </a:cubicBezTo>
                      </a:path>
                    </a:pathLst>
                  </a:custGeom>
                  <a:solidFill>
                    <a:srgbClr val="A0A1A2"/>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sp>
                <p:nvSpPr>
                  <p:cNvPr id="1279" name="Freeform: Shape 1278">
                    <a:extLst>
                      <a:ext uri="{FF2B5EF4-FFF2-40B4-BE49-F238E27FC236}">
                        <a16:creationId xmlns:a16="http://schemas.microsoft.com/office/drawing/2014/main" id="{00BF9DAB-2BBF-4545-944E-31063869F021}"/>
                      </a:ext>
                    </a:extLst>
                  </p:cNvPr>
                  <p:cNvSpPr/>
                  <p:nvPr/>
                </p:nvSpPr>
                <p:spPr>
                  <a:xfrm>
                    <a:off x="3208463" y="2157255"/>
                    <a:ext cx="333375" cy="257175"/>
                  </a:xfrm>
                  <a:custGeom>
                    <a:avLst/>
                    <a:gdLst/>
                    <a:ahLst/>
                    <a:cxnLst/>
                    <a:rect l="0" t="0" r="0" b="0"/>
                    <a:pathLst>
                      <a:path w="333375" h="257175">
                        <a:moveTo>
                          <a:pt x="340490" y="19"/>
                        </a:moveTo>
                        <a:cubicBezTo>
                          <a:pt x="340414" y="19"/>
                          <a:pt x="340338" y="0"/>
                          <a:pt x="340262" y="0"/>
                        </a:cubicBezTo>
                        <a:lnTo>
                          <a:pt x="19679" y="0"/>
                        </a:lnTo>
                        <a:cubicBezTo>
                          <a:pt x="8782" y="0"/>
                          <a:pt x="0" y="9725"/>
                          <a:pt x="0" y="20593"/>
                        </a:cubicBezTo>
                        <a:lnTo>
                          <a:pt x="0" y="243840"/>
                        </a:lnTo>
                        <a:cubicBezTo>
                          <a:pt x="0" y="254641"/>
                          <a:pt x="8782" y="264262"/>
                          <a:pt x="19679" y="264262"/>
                        </a:cubicBezTo>
                        <a:lnTo>
                          <a:pt x="27308" y="264262"/>
                        </a:lnTo>
                        <a:lnTo>
                          <a:pt x="340490" y="19"/>
                        </a:lnTo>
                        <a:close/>
                      </a:path>
                    </a:pathLst>
                  </a:custGeom>
                  <a:solidFill>
                    <a:srgbClr val="FFFFFF">
                      <a:alpha val="20000"/>
                    </a:srgbClr>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sp>
                <p:nvSpPr>
                  <p:cNvPr id="1280" name="Freeform: Shape 1279">
                    <a:extLst>
                      <a:ext uri="{FF2B5EF4-FFF2-40B4-BE49-F238E27FC236}">
                        <a16:creationId xmlns:a16="http://schemas.microsoft.com/office/drawing/2014/main" id="{DBF2A802-CAF8-4780-829E-4A3DBC8C5E0E}"/>
                      </a:ext>
                    </a:extLst>
                  </p:cNvPr>
                  <p:cNvSpPr/>
                  <p:nvPr/>
                </p:nvSpPr>
                <p:spPr>
                  <a:xfrm>
                    <a:off x="3235915" y="2184630"/>
                    <a:ext cx="304800" cy="200025"/>
                  </a:xfrm>
                  <a:custGeom>
                    <a:avLst/>
                    <a:gdLst/>
                    <a:ahLst/>
                    <a:cxnLst/>
                    <a:rect l="0" t="0" r="0" b="0"/>
                    <a:pathLst>
                      <a:path w="304800" h="200025">
                        <a:moveTo>
                          <a:pt x="307153" y="209064"/>
                        </a:moveTo>
                        <a:lnTo>
                          <a:pt x="0" y="209064"/>
                        </a:lnTo>
                        <a:lnTo>
                          <a:pt x="0" y="457"/>
                        </a:lnTo>
                        <a:lnTo>
                          <a:pt x="307153" y="0"/>
                        </a:lnTo>
                        <a:close/>
                      </a:path>
                    </a:pathLst>
                  </a:custGeom>
                  <a:solidFill>
                    <a:srgbClr val="59B4D9"/>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sp>
                <p:nvSpPr>
                  <p:cNvPr id="1281" name="Freeform: Shape 1280">
                    <a:extLst>
                      <a:ext uri="{FF2B5EF4-FFF2-40B4-BE49-F238E27FC236}">
                        <a16:creationId xmlns:a16="http://schemas.microsoft.com/office/drawing/2014/main" id="{9559A2E9-5D79-4932-B37B-8749C5BA3143}"/>
                      </a:ext>
                    </a:extLst>
                  </p:cNvPr>
                  <p:cNvSpPr/>
                  <p:nvPr/>
                </p:nvSpPr>
                <p:spPr>
                  <a:xfrm>
                    <a:off x="3271148" y="2469199"/>
                    <a:ext cx="228600" cy="19050"/>
                  </a:xfrm>
                  <a:custGeom>
                    <a:avLst/>
                    <a:gdLst/>
                    <a:ahLst/>
                    <a:cxnLst/>
                    <a:rect l="0" t="0" r="0" b="0"/>
                    <a:pathLst>
                      <a:path w="228600" h="19050">
                        <a:moveTo>
                          <a:pt x="0" y="0"/>
                        </a:moveTo>
                        <a:lnTo>
                          <a:pt x="236772" y="0"/>
                        </a:lnTo>
                        <a:lnTo>
                          <a:pt x="236772" y="21850"/>
                        </a:lnTo>
                        <a:lnTo>
                          <a:pt x="0" y="21850"/>
                        </a:lnTo>
                        <a:close/>
                      </a:path>
                    </a:pathLst>
                  </a:custGeom>
                  <a:solidFill>
                    <a:srgbClr val="A0A1A2"/>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sp>
                <p:nvSpPr>
                  <p:cNvPr id="1282" name="Freeform: Shape 1281">
                    <a:extLst>
                      <a:ext uri="{FF2B5EF4-FFF2-40B4-BE49-F238E27FC236}">
                        <a16:creationId xmlns:a16="http://schemas.microsoft.com/office/drawing/2014/main" id="{C9E13EFF-4CBA-4419-B230-D787A6C50A8A}"/>
                      </a:ext>
                    </a:extLst>
                  </p:cNvPr>
                  <p:cNvSpPr/>
                  <p:nvPr/>
                </p:nvSpPr>
                <p:spPr>
                  <a:xfrm>
                    <a:off x="3327793" y="2205925"/>
                    <a:ext cx="123825" cy="76200"/>
                  </a:xfrm>
                  <a:custGeom>
                    <a:avLst/>
                    <a:gdLst/>
                    <a:ahLst/>
                    <a:cxnLst/>
                    <a:rect l="0" t="0" r="0" b="0"/>
                    <a:pathLst>
                      <a:path w="123825" h="76200">
                        <a:moveTo>
                          <a:pt x="65694" y="77136"/>
                        </a:moveTo>
                        <a:cubicBezTo>
                          <a:pt x="65361" y="77136"/>
                          <a:pt x="65037" y="77031"/>
                          <a:pt x="64722" y="76860"/>
                        </a:cubicBezTo>
                        <a:lnTo>
                          <a:pt x="953" y="40103"/>
                        </a:lnTo>
                        <a:cubicBezTo>
                          <a:pt x="371" y="39760"/>
                          <a:pt x="0" y="39112"/>
                          <a:pt x="0" y="38436"/>
                        </a:cubicBezTo>
                        <a:cubicBezTo>
                          <a:pt x="0" y="37750"/>
                          <a:pt x="371" y="37112"/>
                          <a:pt x="953" y="36769"/>
                        </a:cubicBezTo>
                        <a:lnTo>
                          <a:pt x="64332" y="250"/>
                        </a:lnTo>
                        <a:cubicBezTo>
                          <a:pt x="64922" y="-83"/>
                          <a:pt x="65646" y="-83"/>
                          <a:pt x="66237" y="250"/>
                        </a:cubicBezTo>
                        <a:lnTo>
                          <a:pt x="130026" y="37026"/>
                        </a:lnTo>
                        <a:cubicBezTo>
                          <a:pt x="130616" y="37369"/>
                          <a:pt x="130978" y="38007"/>
                          <a:pt x="130978" y="38693"/>
                        </a:cubicBezTo>
                        <a:cubicBezTo>
                          <a:pt x="130978" y="39388"/>
                          <a:pt x="130626" y="40017"/>
                          <a:pt x="130026" y="40360"/>
                        </a:cubicBezTo>
                        <a:lnTo>
                          <a:pt x="66665" y="76869"/>
                        </a:lnTo>
                        <a:cubicBezTo>
                          <a:pt x="66361" y="77031"/>
                          <a:pt x="66046" y="77136"/>
                          <a:pt x="65694" y="77136"/>
                        </a:cubicBezTo>
                      </a:path>
                    </a:pathLst>
                  </a:custGeom>
                  <a:solidFill>
                    <a:srgbClr val="FFFFFF"/>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sp>
                <p:nvSpPr>
                  <p:cNvPr id="1283" name="Freeform: Shape 1282">
                    <a:extLst>
                      <a:ext uri="{FF2B5EF4-FFF2-40B4-BE49-F238E27FC236}">
                        <a16:creationId xmlns:a16="http://schemas.microsoft.com/office/drawing/2014/main" id="{8431C430-7336-4DBC-AC33-2458F30EC2A9}"/>
                      </a:ext>
                    </a:extLst>
                  </p:cNvPr>
                  <p:cNvSpPr/>
                  <p:nvPr/>
                </p:nvSpPr>
                <p:spPr>
                  <a:xfrm>
                    <a:off x="3318782" y="2258375"/>
                    <a:ext cx="66675" cy="104775"/>
                  </a:xfrm>
                  <a:custGeom>
                    <a:avLst/>
                    <a:gdLst/>
                    <a:ahLst/>
                    <a:cxnLst/>
                    <a:rect l="0" t="0" r="0" b="0"/>
                    <a:pathLst>
                      <a:path w="66675" h="104775">
                        <a:moveTo>
                          <a:pt x="65542" y="114031"/>
                        </a:moveTo>
                        <a:cubicBezTo>
                          <a:pt x="65180" y="114031"/>
                          <a:pt x="64856" y="113945"/>
                          <a:pt x="64570" y="113774"/>
                        </a:cubicBezTo>
                        <a:lnTo>
                          <a:pt x="991" y="77131"/>
                        </a:lnTo>
                        <a:cubicBezTo>
                          <a:pt x="371" y="76788"/>
                          <a:pt x="0" y="76169"/>
                          <a:pt x="0" y="75464"/>
                        </a:cubicBezTo>
                        <a:lnTo>
                          <a:pt x="0" y="1931"/>
                        </a:lnTo>
                        <a:cubicBezTo>
                          <a:pt x="0" y="1236"/>
                          <a:pt x="371" y="607"/>
                          <a:pt x="991" y="264"/>
                        </a:cubicBezTo>
                        <a:cubicBezTo>
                          <a:pt x="1581" y="-88"/>
                          <a:pt x="2296" y="-88"/>
                          <a:pt x="2934" y="264"/>
                        </a:cubicBezTo>
                        <a:lnTo>
                          <a:pt x="66504" y="36897"/>
                        </a:lnTo>
                        <a:cubicBezTo>
                          <a:pt x="67066" y="37259"/>
                          <a:pt x="67447" y="37888"/>
                          <a:pt x="67447" y="38583"/>
                        </a:cubicBezTo>
                        <a:lnTo>
                          <a:pt x="67447" y="112116"/>
                        </a:lnTo>
                        <a:cubicBezTo>
                          <a:pt x="67447" y="112821"/>
                          <a:pt x="67075" y="113440"/>
                          <a:pt x="66504" y="113783"/>
                        </a:cubicBezTo>
                        <a:cubicBezTo>
                          <a:pt x="66189" y="113945"/>
                          <a:pt x="65856" y="114031"/>
                          <a:pt x="65542" y="114031"/>
                        </a:cubicBezTo>
                      </a:path>
                    </a:pathLst>
                  </a:custGeom>
                  <a:solidFill>
                    <a:srgbClr val="FFFFFF">
                      <a:alpha val="70000"/>
                    </a:srgbClr>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sp>
                <p:nvSpPr>
                  <p:cNvPr id="1284" name="Freeform: Shape 1283">
                    <a:extLst>
                      <a:ext uri="{FF2B5EF4-FFF2-40B4-BE49-F238E27FC236}">
                        <a16:creationId xmlns:a16="http://schemas.microsoft.com/office/drawing/2014/main" id="{745429CA-C955-4CEE-B003-621AA5B7EF09}"/>
                      </a:ext>
                    </a:extLst>
                  </p:cNvPr>
                  <p:cNvSpPr/>
                  <p:nvPr/>
                </p:nvSpPr>
                <p:spPr>
                  <a:xfrm>
                    <a:off x="3400392" y="2258858"/>
                    <a:ext cx="66675" cy="104775"/>
                  </a:xfrm>
                  <a:custGeom>
                    <a:avLst/>
                    <a:gdLst/>
                    <a:ahLst/>
                    <a:cxnLst/>
                    <a:rect l="0" t="0" r="0" b="0"/>
                    <a:pathLst>
                      <a:path w="66675" h="104775">
                        <a:moveTo>
                          <a:pt x="1934" y="113548"/>
                        </a:moveTo>
                        <a:cubicBezTo>
                          <a:pt x="1581" y="113548"/>
                          <a:pt x="1257" y="113462"/>
                          <a:pt x="933" y="113290"/>
                        </a:cubicBezTo>
                        <a:cubicBezTo>
                          <a:pt x="371" y="112947"/>
                          <a:pt x="0" y="112319"/>
                          <a:pt x="0" y="111623"/>
                        </a:cubicBezTo>
                        <a:lnTo>
                          <a:pt x="0" y="38548"/>
                        </a:lnTo>
                        <a:cubicBezTo>
                          <a:pt x="0" y="37871"/>
                          <a:pt x="371" y="37233"/>
                          <a:pt x="933" y="36881"/>
                        </a:cubicBezTo>
                        <a:lnTo>
                          <a:pt x="64503" y="257"/>
                        </a:lnTo>
                        <a:cubicBezTo>
                          <a:pt x="65113" y="-86"/>
                          <a:pt x="65818" y="-86"/>
                          <a:pt x="66418" y="257"/>
                        </a:cubicBezTo>
                        <a:cubicBezTo>
                          <a:pt x="67027" y="600"/>
                          <a:pt x="67389" y="1229"/>
                          <a:pt x="67389" y="1924"/>
                        </a:cubicBezTo>
                        <a:lnTo>
                          <a:pt x="67389" y="74990"/>
                        </a:lnTo>
                        <a:cubicBezTo>
                          <a:pt x="67389" y="75695"/>
                          <a:pt x="67018" y="76324"/>
                          <a:pt x="66418" y="76657"/>
                        </a:cubicBezTo>
                        <a:lnTo>
                          <a:pt x="2867" y="113300"/>
                        </a:lnTo>
                        <a:cubicBezTo>
                          <a:pt x="2600" y="113462"/>
                          <a:pt x="2257" y="113548"/>
                          <a:pt x="1934" y="113548"/>
                        </a:cubicBezTo>
                      </a:path>
                    </a:pathLst>
                  </a:custGeom>
                  <a:solidFill>
                    <a:srgbClr val="FFFFFF">
                      <a:alpha val="40000"/>
                    </a:srgbClr>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grpSp>
            <p:grpSp>
              <p:nvGrpSpPr>
                <p:cNvPr id="1215" name="Group 1214">
                  <a:extLst>
                    <a:ext uri="{FF2B5EF4-FFF2-40B4-BE49-F238E27FC236}">
                      <a16:creationId xmlns:a16="http://schemas.microsoft.com/office/drawing/2014/main" id="{8D1D5F95-238C-43B5-8876-7D075C256E05}"/>
                    </a:ext>
                  </a:extLst>
                </p:cNvPr>
                <p:cNvGrpSpPr>
                  <a:grpSpLocks noChangeAspect="1"/>
                </p:cNvGrpSpPr>
                <p:nvPr/>
              </p:nvGrpSpPr>
              <p:grpSpPr>
                <a:xfrm>
                  <a:off x="4974444" y="4765325"/>
                  <a:ext cx="914400" cy="696854"/>
                  <a:chOff x="4817192" y="4571599"/>
                  <a:chExt cx="1228038" cy="935873"/>
                </a:xfrm>
              </p:grpSpPr>
              <p:grpSp>
                <p:nvGrpSpPr>
                  <p:cNvPr id="1216" name="Group 1215">
                    <a:extLst>
                      <a:ext uri="{FF2B5EF4-FFF2-40B4-BE49-F238E27FC236}">
                        <a16:creationId xmlns:a16="http://schemas.microsoft.com/office/drawing/2014/main" id="{724DF999-8C1B-49A6-85B8-37E44D33C3C3}"/>
                      </a:ext>
                    </a:extLst>
                  </p:cNvPr>
                  <p:cNvGrpSpPr/>
                  <p:nvPr/>
                </p:nvGrpSpPr>
                <p:grpSpPr>
                  <a:xfrm>
                    <a:off x="5309908" y="4571599"/>
                    <a:ext cx="735322" cy="630823"/>
                    <a:chOff x="5387968" y="4679219"/>
                    <a:chExt cx="596136" cy="511417"/>
                  </a:xfrm>
                </p:grpSpPr>
                <p:grpSp>
                  <p:nvGrpSpPr>
                    <p:cNvPr id="1256" name="Group 1255">
                      <a:extLst>
                        <a:ext uri="{FF2B5EF4-FFF2-40B4-BE49-F238E27FC236}">
                          <a16:creationId xmlns:a16="http://schemas.microsoft.com/office/drawing/2014/main" id="{B852A322-B02C-4321-B5DE-959501239AA3}"/>
                        </a:ext>
                      </a:extLst>
                    </p:cNvPr>
                    <p:cNvGrpSpPr/>
                    <p:nvPr/>
                  </p:nvGrpSpPr>
                  <p:grpSpPr>
                    <a:xfrm>
                      <a:off x="5387968" y="4679219"/>
                      <a:ext cx="596136" cy="511417"/>
                      <a:chOff x="-2759706" y="1099471"/>
                      <a:chExt cx="7926138" cy="6799720"/>
                    </a:xfrm>
                  </p:grpSpPr>
                  <p:sp>
                    <p:nvSpPr>
                      <p:cNvPr id="1273" name="Rectangle 317">
                        <a:extLst>
                          <a:ext uri="{FF2B5EF4-FFF2-40B4-BE49-F238E27FC236}">
                            <a16:creationId xmlns:a16="http://schemas.microsoft.com/office/drawing/2014/main" id="{D9CB0E26-B173-4ABB-9C5A-17A143B0EA0C}"/>
                          </a:ext>
                        </a:extLst>
                      </p:cNvPr>
                      <p:cNvSpPr/>
                      <p:nvPr/>
                    </p:nvSpPr>
                    <p:spPr bwMode="auto">
                      <a:xfrm>
                        <a:off x="-1103535" y="6493181"/>
                        <a:ext cx="4613796" cy="1133080"/>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0372A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274" name="Rounded Rectangle 460">
                        <a:extLst>
                          <a:ext uri="{FF2B5EF4-FFF2-40B4-BE49-F238E27FC236}">
                            <a16:creationId xmlns:a16="http://schemas.microsoft.com/office/drawing/2014/main" id="{99B35B8F-4C80-4EEF-BD94-1F8347F3C2BF}"/>
                          </a:ext>
                        </a:extLst>
                      </p:cNvPr>
                      <p:cNvSpPr/>
                      <p:nvPr/>
                    </p:nvSpPr>
                    <p:spPr bwMode="auto">
                      <a:xfrm>
                        <a:off x="-2759706" y="1099471"/>
                        <a:ext cx="7926138" cy="5508724"/>
                      </a:xfrm>
                      <a:prstGeom prst="roundRect">
                        <a:avLst>
                          <a:gd name="adj" fmla="val 8482"/>
                        </a:avLst>
                      </a:prstGeom>
                      <a:solidFill>
                        <a:srgbClr val="0372A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275" name="Rectangle 1274">
                        <a:extLst>
                          <a:ext uri="{FF2B5EF4-FFF2-40B4-BE49-F238E27FC236}">
                            <a16:creationId xmlns:a16="http://schemas.microsoft.com/office/drawing/2014/main" id="{620F8951-C493-44AB-977D-19CD8E369E11}"/>
                          </a:ext>
                        </a:extLst>
                      </p:cNvPr>
                      <p:cNvSpPr/>
                      <p:nvPr/>
                    </p:nvSpPr>
                    <p:spPr bwMode="auto">
                      <a:xfrm>
                        <a:off x="-2133709" y="1626404"/>
                        <a:ext cx="6674143" cy="4361520"/>
                      </a:xfrm>
                      <a:prstGeom prst="rect">
                        <a:avLst/>
                      </a:prstGeom>
                      <a:gradFill flip="none" rotWithShape="1">
                        <a:gsLst>
                          <a:gs pos="45000">
                            <a:srgbClr val="AFE5FD"/>
                          </a:gs>
                          <a:gs pos="45000">
                            <a:srgbClr val="C3ECFE"/>
                          </a:gs>
                        </a:gsLst>
                        <a:lin ang="24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276" name="Rectangle 1275">
                        <a:extLst>
                          <a:ext uri="{FF2B5EF4-FFF2-40B4-BE49-F238E27FC236}">
                            <a16:creationId xmlns:a16="http://schemas.microsoft.com/office/drawing/2014/main" id="{3ABBF10D-FBDC-4909-9B28-5A2D5E1BFC05}"/>
                          </a:ext>
                        </a:extLst>
                      </p:cNvPr>
                      <p:cNvSpPr/>
                      <p:nvPr/>
                    </p:nvSpPr>
                    <p:spPr bwMode="auto">
                      <a:xfrm>
                        <a:off x="-1332157" y="7460658"/>
                        <a:ext cx="5071038" cy="438533"/>
                      </a:xfrm>
                      <a:prstGeom prst="rect">
                        <a:avLst/>
                      </a:prstGeom>
                      <a:solidFill>
                        <a:srgbClr val="0372A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grpSp>
                <p:grpSp>
                  <p:nvGrpSpPr>
                    <p:cNvPr id="1257" name="Group 1256">
                      <a:extLst>
                        <a:ext uri="{FF2B5EF4-FFF2-40B4-BE49-F238E27FC236}">
                          <a16:creationId xmlns:a16="http://schemas.microsoft.com/office/drawing/2014/main" id="{5C492516-11B1-42D3-A7A4-E5F9DADA840F}"/>
                        </a:ext>
                      </a:extLst>
                    </p:cNvPr>
                    <p:cNvGrpSpPr/>
                    <p:nvPr/>
                  </p:nvGrpSpPr>
                  <p:grpSpPr>
                    <a:xfrm>
                      <a:off x="5724146" y="4755542"/>
                      <a:ext cx="100379" cy="121637"/>
                      <a:chOff x="8079057" y="3685619"/>
                      <a:chExt cx="1044575" cy="1265794"/>
                    </a:xfrm>
                  </p:grpSpPr>
                  <p:sp>
                    <p:nvSpPr>
                      <p:cNvPr id="1270" name="Freeform 456">
                        <a:extLst>
                          <a:ext uri="{FF2B5EF4-FFF2-40B4-BE49-F238E27FC236}">
                            <a16:creationId xmlns:a16="http://schemas.microsoft.com/office/drawing/2014/main" id="{A4DFA2B7-24BA-4D80-A328-15A5F97BC7DF}"/>
                          </a:ext>
                        </a:extLst>
                      </p:cNvPr>
                      <p:cNvSpPr/>
                      <p:nvPr/>
                    </p:nvSpPr>
                    <p:spPr>
                      <a:xfrm>
                        <a:off x="8079057" y="3685619"/>
                        <a:ext cx="1044575"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271" name="Freeform 457">
                        <a:extLst>
                          <a:ext uri="{FF2B5EF4-FFF2-40B4-BE49-F238E27FC236}">
                            <a16:creationId xmlns:a16="http://schemas.microsoft.com/office/drawing/2014/main" id="{020C122D-CC63-42B4-87E7-1A7D2CAA5D24}"/>
                          </a:ext>
                        </a:extLst>
                      </p:cNvPr>
                      <p:cNvSpPr/>
                      <p:nvPr/>
                    </p:nvSpPr>
                    <p:spPr>
                      <a:xfrm>
                        <a:off x="8083817" y="3970337"/>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272" name="Freeform 458">
                        <a:extLst>
                          <a:ext uri="{FF2B5EF4-FFF2-40B4-BE49-F238E27FC236}">
                            <a16:creationId xmlns:a16="http://schemas.microsoft.com/office/drawing/2014/main" id="{C2A6172C-33D0-48B7-8DD1-4A50693C9D37}"/>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1258" name="Group 1257">
                      <a:extLst>
                        <a:ext uri="{FF2B5EF4-FFF2-40B4-BE49-F238E27FC236}">
                          <a16:creationId xmlns:a16="http://schemas.microsoft.com/office/drawing/2014/main" id="{FCA0D87B-A39C-4928-A1CA-C2250A9D35A7}"/>
                        </a:ext>
                      </a:extLst>
                    </p:cNvPr>
                    <p:cNvGrpSpPr/>
                    <p:nvPr/>
                  </p:nvGrpSpPr>
                  <p:grpSpPr>
                    <a:xfrm>
                      <a:off x="5724146" y="4899243"/>
                      <a:ext cx="100379" cy="121637"/>
                      <a:chOff x="8079063" y="3685618"/>
                      <a:chExt cx="1044576" cy="1265795"/>
                    </a:xfrm>
                  </p:grpSpPr>
                  <p:sp>
                    <p:nvSpPr>
                      <p:cNvPr id="1267" name="Freeform 453">
                        <a:extLst>
                          <a:ext uri="{FF2B5EF4-FFF2-40B4-BE49-F238E27FC236}">
                            <a16:creationId xmlns:a16="http://schemas.microsoft.com/office/drawing/2014/main" id="{10BDB6B4-4850-407A-A054-A51CA036C37F}"/>
                          </a:ext>
                        </a:extLst>
                      </p:cNvPr>
                      <p:cNvSpPr/>
                      <p:nvPr/>
                    </p:nvSpPr>
                    <p:spPr>
                      <a:xfrm>
                        <a:off x="8079063" y="3685618"/>
                        <a:ext cx="1044576"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268" name="Freeform 454">
                        <a:extLst>
                          <a:ext uri="{FF2B5EF4-FFF2-40B4-BE49-F238E27FC236}">
                            <a16:creationId xmlns:a16="http://schemas.microsoft.com/office/drawing/2014/main" id="{85BED425-911B-454E-99A7-32AB2F97EBD1}"/>
                          </a:ext>
                        </a:extLst>
                      </p:cNvPr>
                      <p:cNvSpPr/>
                      <p:nvPr/>
                    </p:nvSpPr>
                    <p:spPr>
                      <a:xfrm>
                        <a:off x="8083823" y="3970336"/>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269" name="Freeform 455">
                        <a:extLst>
                          <a:ext uri="{FF2B5EF4-FFF2-40B4-BE49-F238E27FC236}">
                            <a16:creationId xmlns:a16="http://schemas.microsoft.com/office/drawing/2014/main" id="{E9C62339-52C4-4714-84D4-3431E22E0747}"/>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1259" name="Group 1258">
                      <a:extLst>
                        <a:ext uri="{FF2B5EF4-FFF2-40B4-BE49-F238E27FC236}">
                          <a16:creationId xmlns:a16="http://schemas.microsoft.com/office/drawing/2014/main" id="{06B57953-CA3E-4D91-A013-A1706EE0A696}"/>
                        </a:ext>
                      </a:extLst>
                    </p:cNvPr>
                    <p:cNvGrpSpPr/>
                    <p:nvPr/>
                  </p:nvGrpSpPr>
                  <p:grpSpPr>
                    <a:xfrm>
                      <a:off x="5539678" y="4755542"/>
                      <a:ext cx="100379" cy="121637"/>
                      <a:chOff x="8079057" y="3685619"/>
                      <a:chExt cx="1044575" cy="1265794"/>
                    </a:xfrm>
                  </p:grpSpPr>
                  <p:sp>
                    <p:nvSpPr>
                      <p:cNvPr id="1264" name="Freeform 446">
                        <a:extLst>
                          <a:ext uri="{FF2B5EF4-FFF2-40B4-BE49-F238E27FC236}">
                            <a16:creationId xmlns:a16="http://schemas.microsoft.com/office/drawing/2014/main" id="{8611E42E-A134-4F3B-844F-DCE355112F44}"/>
                          </a:ext>
                        </a:extLst>
                      </p:cNvPr>
                      <p:cNvSpPr/>
                      <p:nvPr/>
                    </p:nvSpPr>
                    <p:spPr>
                      <a:xfrm>
                        <a:off x="8079057" y="3685619"/>
                        <a:ext cx="1044575"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265" name="Freeform 447">
                        <a:extLst>
                          <a:ext uri="{FF2B5EF4-FFF2-40B4-BE49-F238E27FC236}">
                            <a16:creationId xmlns:a16="http://schemas.microsoft.com/office/drawing/2014/main" id="{45CC30A1-07F7-437F-B729-053C8F37E7B1}"/>
                          </a:ext>
                        </a:extLst>
                      </p:cNvPr>
                      <p:cNvSpPr/>
                      <p:nvPr/>
                    </p:nvSpPr>
                    <p:spPr>
                      <a:xfrm>
                        <a:off x="8083817" y="3970337"/>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266" name="Freeform 448">
                        <a:extLst>
                          <a:ext uri="{FF2B5EF4-FFF2-40B4-BE49-F238E27FC236}">
                            <a16:creationId xmlns:a16="http://schemas.microsoft.com/office/drawing/2014/main" id="{325149AE-15FA-48D2-A30F-23E27E44EEE2}"/>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1260" name="Group 1259">
                      <a:extLst>
                        <a:ext uri="{FF2B5EF4-FFF2-40B4-BE49-F238E27FC236}">
                          <a16:creationId xmlns:a16="http://schemas.microsoft.com/office/drawing/2014/main" id="{8D35EDD2-4126-474D-A2A1-210379A15821}"/>
                        </a:ext>
                      </a:extLst>
                    </p:cNvPr>
                    <p:cNvGrpSpPr/>
                    <p:nvPr/>
                  </p:nvGrpSpPr>
                  <p:grpSpPr>
                    <a:xfrm>
                      <a:off x="5539677" y="4899243"/>
                      <a:ext cx="100379" cy="121637"/>
                      <a:chOff x="8079063" y="3685618"/>
                      <a:chExt cx="1044576" cy="1265795"/>
                    </a:xfrm>
                  </p:grpSpPr>
                  <p:sp>
                    <p:nvSpPr>
                      <p:cNvPr id="1261" name="Freeform 443">
                        <a:extLst>
                          <a:ext uri="{FF2B5EF4-FFF2-40B4-BE49-F238E27FC236}">
                            <a16:creationId xmlns:a16="http://schemas.microsoft.com/office/drawing/2014/main" id="{41ECC025-8B8E-44D4-9949-7A9D10830036}"/>
                          </a:ext>
                        </a:extLst>
                      </p:cNvPr>
                      <p:cNvSpPr/>
                      <p:nvPr/>
                    </p:nvSpPr>
                    <p:spPr>
                      <a:xfrm>
                        <a:off x="8079063" y="3685618"/>
                        <a:ext cx="1044576"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262" name="Freeform 444">
                        <a:extLst>
                          <a:ext uri="{FF2B5EF4-FFF2-40B4-BE49-F238E27FC236}">
                            <a16:creationId xmlns:a16="http://schemas.microsoft.com/office/drawing/2014/main" id="{E0FCFD53-B1A7-43C0-A3CF-E17E0047A4A4}"/>
                          </a:ext>
                        </a:extLst>
                      </p:cNvPr>
                      <p:cNvSpPr/>
                      <p:nvPr/>
                    </p:nvSpPr>
                    <p:spPr>
                      <a:xfrm>
                        <a:off x="8083823" y="3970336"/>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263" name="Freeform 445">
                        <a:extLst>
                          <a:ext uri="{FF2B5EF4-FFF2-40B4-BE49-F238E27FC236}">
                            <a16:creationId xmlns:a16="http://schemas.microsoft.com/office/drawing/2014/main" id="{D6D38C1B-0C2B-4652-8AEA-2A6F1079CB64}"/>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grpSp>
                <p:nvGrpSpPr>
                  <p:cNvPr id="1217" name="Group 1216">
                    <a:extLst>
                      <a:ext uri="{FF2B5EF4-FFF2-40B4-BE49-F238E27FC236}">
                        <a16:creationId xmlns:a16="http://schemas.microsoft.com/office/drawing/2014/main" id="{CE01585B-9276-4566-8EA5-F8C2153D8219}"/>
                      </a:ext>
                    </a:extLst>
                  </p:cNvPr>
                  <p:cNvGrpSpPr/>
                  <p:nvPr/>
                </p:nvGrpSpPr>
                <p:grpSpPr>
                  <a:xfrm>
                    <a:off x="4888179" y="5002454"/>
                    <a:ext cx="237146" cy="203443"/>
                    <a:chOff x="4888179" y="5002454"/>
                    <a:chExt cx="237146" cy="203443"/>
                  </a:xfrm>
                </p:grpSpPr>
                <p:grpSp>
                  <p:nvGrpSpPr>
                    <p:cNvPr id="1247" name="Group 1246">
                      <a:extLst>
                        <a:ext uri="{FF2B5EF4-FFF2-40B4-BE49-F238E27FC236}">
                          <a16:creationId xmlns:a16="http://schemas.microsoft.com/office/drawing/2014/main" id="{F47EE8C7-09E9-4A03-A805-E970D0A35782}"/>
                        </a:ext>
                      </a:extLst>
                    </p:cNvPr>
                    <p:cNvGrpSpPr/>
                    <p:nvPr/>
                  </p:nvGrpSpPr>
                  <p:grpSpPr>
                    <a:xfrm>
                      <a:off x="4888179" y="5002454"/>
                      <a:ext cx="237146" cy="203443"/>
                      <a:chOff x="-2759707" y="1099472"/>
                      <a:chExt cx="7926138" cy="6799719"/>
                    </a:xfrm>
                  </p:grpSpPr>
                  <p:sp>
                    <p:nvSpPr>
                      <p:cNvPr id="1252" name="Rectangle 317">
                        <a:extLst>
                          <a:ext uri="{FF2B5EF4-FFF2-40B4-BE49-F238E27FC236}">
                            <a16:creationId xmlns:a16="http://schemas.microsoft.com/office/drawing/2014/main" id="{53BBB8DE-0957-4106-8C49-030EEEF4DE41}"/>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253" name="Rounded Rectangle 450">
                        <a:extLst>
                          <a:ext uri="{FF2B5EF4-FFF2-40B4-BE49-F238E27FC236}">
                            <a16:creationId xmlns:a16="http://schemas.microsoft.com/office/drawing/2014/main" id="{4AAA54AD-3098-4B95-80E1-8487637CBDC8}"/>
                          </a:ext>
                        </a:extLst>
                      </p:cNvPr>
                      <p:cNvSpPr/>
                      <p:nvPr/>
                    </p:nvSpPr>
                    <p:spPr bwMode="auto">
                      <a:xfrm>
                        <a:off x="-2759707" y="1099472"/>
                        <a:ext cx="7926138" cy="5508726"/>
                      </a:xfrm>
                      <a:prstGeom prst="roundRect">
                        <a:avLst>
                          <a:gd name="adj" fmla="val 8482"/>
                        </a:avLst>
                      </a:prstGeom>
                      <a:solidFill>
                        <a:srgbClr val="494949"/>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254" name="Rectangle 1253">
                        <a:extLst>
                          <a:ext uri="{FF2B5EF4-FFF2-40B4-BE49-F238E27FC236}">
                            <a16:creationId xmlns:a16="http://schemas.microsoft.com/office/drawing/2014/main" id="{E645198A-0DE2-45B1-9D91-627F6DEAB38E}"/>
                          </a:ext>
                        </a:extLst>
                      </p:cNvPr>
                      <p:cNvSpPr/>
                      <p:nvPr/>
                    </p:nvSpPr>
                    <p:spPr bwMode="auto">
                      <a:xfrm>
                        <a:off x="-2133709" y="1626405"/>
                        <a:ext cx="6674142" cy="4361521"/>
                      </a:xfrm>
                      <a:prstGeom prst="rect">
                        <a:avLst/>
                      </a:prstGeom>
                      <a:gradFill flip="none" rotWithShape="1">
                        <a:gsLst>
                          <a:gs pos="45000">
                            <a:srgbClr val="AFE5FD"/>
                          </a:gs>
                          <a:gs pos="45000">
                            <a:srgbClr val="C3ECFE"/>
                          </a:gs>
                        </a:gsLst>
                        <a:lin ang="24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255" name="Rectangle 1254">
                        <a:extLst>
                          <a:ext uri="{FF2B5EF4-FFF2-40B4-BE49-F238E27FC236}">
                            <a16:creationId xmlns:a16="http://schemas.microsoft.com/office/drawing/2014/main" id="{2AAB0C9E-B60D-4FAE-9CCD-F4D69BF5E10F}"/>
                          </a:ext>
                        </a:extLst>
                      </p:cNvPr>
                      <p:cNvSpPr/>
                      <p:nvPr/>
                    </p:nvSpPr>
                    <p:spPr bwMode="auto">
                      <a:xfrm>
                        <a:off x="-1332157" y="7460659"/>
                        <a:ext cx="5071038" cy="438532"/>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grpSp>
                <p:grpSp>
                  <p:nvGrpSpPr>
                    <p:cNvPr id="1248" name="Group 1247">
                      <a:extLst>
                        <a:ext uri="{FF2B5EF4-FFF2-40B4-BE49-F238E27FC236}">
                          <a16:creationId xmlns:a16="http://schemas.microsoft.com/office/drawing/2014/main" id="{DBCC0D59-EF5E-4A48-8121-2E000629CF8C}"/>
                        </a:ext>
                      </a:extLst>
                    </p:cNvPr>
                    <p:cNvGrpSpPr/>
                    <p:nvPr/>
                  </p:nvGrpSpPr>
                  <p:grpSpPr>
                    <a:xfrm>
                      <a:off x="4967500" y="5035695"/>
                      <a:ext cx="78504" cy="95130"/>
                      <a:chOff x="8079067" y="3685620"/>
                      <a:chExt cx="1044576" cy="1265793"/>
                    </a:xfrm>
                  </p:grpSpPr>
                  <p:sp>
                    <p:nvSpPr>
                      <p:cNvPr id="1249" name="Freeform 440">
                        <a:extLst>
                          <a:ext uri="{FF2B5EF4-FFF2-40B4-BE49-F238E27FC236}">
                            <a16:creationId xmlns:a16="http://schemas.microsoft.com/office/drawing/2014/main" id="{B1A05173-854B-466D-8D7D-BB6F24EBA44A}"/>
                          </a:ext>
                        </a:extLst>
                      </p:cNvPr>
                      <p:cNvSpPr/>
                      <p:nvPr/>
                    </p:nvSpPr>
                    <p:spPr>
                      <a:xfrm>
                        <a:off x="8079067" y="3685620"/>
                        <a:ext cx="1044576" cy="560388"/>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250" name="Freeform 441">
                        <a:extLst>
                          <a:ext uri="{FF2B5EF4-FFF2-40B4-BE49-F238E27FC236}">
                            <a16:creationId xmlns:a16="http://schemas.microsoft.com/office/drawing/2014/main" id="{8214055F-88C4-4BBB-934C-81B646863BCD}"/>
                          </a:ext>
                        </a:extLst>
                      </p:cNvPr>
                      <p:cNvSpPr/>
                      <p:nvPr/>
                    </p:nvSpPr>
                    <p:spPr>
                      <a:xfrm>
                        <a:off x="8083830"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251" name="Freeform 442">
                        <a:extLst>
                          <a:ext uri="{FF2B5EF4-FFF2-40B4-BE49-F238E27FC236}">
                            <a16:creationId xmlns:a16="http://schemas.microsoft.com/office/drawing/2014/main" id="{12850A3A-A38C-428A-BDAD-7E4117E15280}"/>
                          </a:ext>
                        </a:extLst>
                      </p:cNvPr>
                      <p:cNvSpPr/>
                      <p:nvPr/>
                    </p:nvSpPr>
                    <p:spPr>
                      <a:xfrm flipH="1">
                        <a:off x="8601355"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sp>
                <p:nvSpPr>
                  <p:cNvPr id="1218" name="Freeform: Shape 1217">
                    <a:extLst>
                      <a:ext uri="{FF2B5EF4-FFF2-40B4-BE49-F238E27FC236}">
                        <a16:creationId xmlns:a16="http://schemas.microsoft.com/office/drawing/2014/main" id="{B96BA9FA-82AD-44A5-A7AA-CDAC38274807}"/>
                      </a:ext>
                    </a:extLst>
                  </p:cNvPr>
                  <p:cNvSpPr/>
                  <p:nvPr/>
                </p:nvSpPr>
                <p:spPr bwMode="auto">
                  <a:xfrm rot="18900000">
                    <a:off x="4817192" y="4775170"/>
                    <a:ext cx="585046" cy="69372"/>
                  </a:xfrm>
                  <a:custGeom>
                    <a:avLst/>
                    <a:gdLst>
                      <a:gd name="connsiteX0" fmla="*/ 39422 w 585046"/>
                      <a:gd name="connsiteY0" fmla="*/ 31543 h 69372"/>
                      <a:gd name="connsiteX1" fmla="*/ 39422 w 585046"/>
                      <a:gd name="connsiteY1" fmla="*/ 40687 h 69372"/>
                      <a:gd name="connsiteX2" fmla="*/ 0 w 585046"/>
                      <a:gd name="connsiteY2" fmla="*/ 40687 h 69372"/>
                      <a:gd name="connsiteX3" fmla="*/ 0 w 585046"/>
                      <a:gd name="connsiteY3" fmla="*/ 31543 h 69372"/>
                      <a:gd name="connsiteX4" fmla="*/ 85636 w 585046"/>
                      <a:gd name="connsiteY4" fmla="*/ 31543 h 69372"/>
                      <a:gd name="connsiteX5" fmla="*/ 85636 w 585046"/>
                      <a:gd name="connsiteY5" fmla="*/ 40687 h 69372"/>
                      <a:gd name="connsiteX6" fmla="*/ 46214 w 585046"/>
                      <a:gd name="connsiteY6" fmla="*/ 40687 h 69372"/>
                      <a:gd name="connsiteX7" fmla="*/ 46214 w 585046"/>
                      <a:gd name="connsiteY7" fmla="*/ 31543 h 69372"/>
                      <a:gd name="connsiteX8" fmla="*/ 131850 w 585046"/>
                      <a:gd name="connsiteY8" fmla="*/ 31543 h 69372"/>
                      <a:gd name="connsiteX9" fmla="*/ 131850 w 585046"/>
                      <a:gd name="connsiteY9" fmla="*/ 40687 h 69372"/>
                      <a:gd name="connsiteX10" fmla="*/ 92429 w 585046"/>
                      <a:gd name="connsiteY10" fmla="*/ 40687 h 69372"/>
                      <a:gd name="connsiteX11" fmla="*/ 92429 w 585046"/>
                      <a:gd name="connsiteY11" fmla="*/ 31543 h 69372"/>
                      <a:gd name="connsiteX12" fmla="*/ 178065 w 585046"/>
                      <a:gd name="connsiteY12" fmla="*/ 31543 h 69372"/>
                      <a:gd name="connsiteX13" fmla="*/ 178065 w 585046"/>
                      <a:gd name="connsiteY13" fmla="*/ 40687 h 69372"/>
                      <a:gd name="connsiteX14" fmla="*/ 138643 w 585046"/>
                      <a:gd name="connsiteY14" fmla="*/ 40687 h 69372"/>
                      <a:gd name="connsiteX15" fmla="*/ 138643 w 585046"/>
                      <a:gd name="connsiteY15" fmla="*/ 31543 h 69372"/>
                      <a:gd name="connsiteX16" fmla="*/ 224279 w 585046"/>
                      <a:gd name="connsiteY16" fmla="*/ 31543 h 69372"/>
                      <a:gd name="connsiteX17" fmla="*/ 224279 w 585046"/>
                      <a:gd name="connsiteY17" fmla="*/ 40687 h 69372"/>
                      <a:gd name="connsiteX18" fmla="*/ 184857 w 585046"/>
                      <a:gd name="connsiteY18" fmla="*/ 40687 h 69372"/>
                      <a:gd name="connsiteX19" fmla="*/ 184857 w 585046"/>
                      <a:gd name="connsiteY19" fmla="*/ 31543 h 69372"/>
                      <a:gd name="connsiteX20" fmla="*/ 270493 w 585046"/>
                      <a:gd name="connsiteY20" fmla="*/ 31543 h 69372"/>
                      <a:gd name="connsiteX21" fmla="*/ 270493 w 585046"/>
                      <a:gd name="connsiteY21" fmla="*/ 40687 h 69372"/>
                      <a:gd name="connsiteX22" fmla="*/ 231071 w 585046"/>
                      <a:gd name="connsiteY22" fmla="*/ 40687 h 69372"/>
                      <a:gd name="connsiteX23" fmla="*/ 231071 w 585046"/>
                      <a:gd name="connsiteY23" fmla="*/ 31543 h 69372"/>
                      <a:gd name="connsiteX24" fmla="*/ 317569 w 585046"/>
                      <a:gd name="connsiteY24" fmla="*/ 31543 h 69372"/>
                      <a:gd name="connsiteX25" fmla="*/ 317569 w 585046"/>
                      <a:gd name="connsiteY25" fmla="*/ 40687 h 69372"/>
                      <a:gd name="connsiteX26" fmla="*/ 278147 w 585046"/>
                      <a:gd name="connsiteY26" fmla="*/ 40687 h 69372"/>
                      <a:gd name="connsiteX27" fmla="*/ 278147 w 585046"/>
                      <a:gd name="connsiteY27" fmla="*/ 31543 h 69372"/>
                      <a:gd name="connsiteX28" fmla="*/ 363783 w 585046"/>
                      <a:gd name="connsiteY28" fmla="*/ 31543 h 69372"/>
                      <a:gd name="connsiteX29" fmla="*/ 363783 w 585046"/>
                      <a:gd name="connsiteY29" fmla="*/ 40687 h 69372"/>
                      <a:gd name="connsiteX30" fmla="*/ 324361 w 585046"/>
                      <a:gd name="connsiteY30" fmla="*/ 40687 h 69372"/>
                      <a:gd name="connsiteX31" fmla="*/ 324361 w 585046"/>
                      <a:gd name="connsiteY31" fmla="*/ 31543 h 69372"/>
                      <a:gd name="connsiteX32" fmla="*/ 409998 w 585046"/>
                      <a:gd name="connsiteY32" fmla="*/ 31543 h 69372"/>
                      <a:gd name="connsiteX33" fmla="*/ 409998 w 585046"/>
                      <a:gd name="connsiteY33" fmla="*/ 40687 h 69372"/>
                      <a:gd name="connsiteX34" fmla="*/ 370576 w 585046"/>
                      <a:gd name="connsiteY34" fmla="*/ 40687 h 69372"/>
                      <a:gd name="connsiteX35" fmla="*/ 370576 w 585046"/>
                      <a:gd name="connsiteY35" fmla="*/ 31543 h 69372"/>
                      <a:gd name="connsiteX36" fmla="*/ 456212 w 585046"/>
                      <a:gd name="connsiteY36" fmla="*/ 31543 h 69372"/>
                      <a:gd name="connsiteX37" fmla="*/ 456212 w 585046"/>
                      <a:gd name="connsiteY37" fmla="*/ 40687 h 69372"/>
                      <a:gd name="connsiteX38" fmla="*/ 416790 w 585046"/>
                      <a:gd name="connsiteY38" fmla="*/ 40687 h 69372"/>
                      <a:gd name="connsiteX39" fmla="*/ 416790 w 585046"/>
                      <a:gd name="connsiteY39" fmla="*/ 31543 h 69372"/>
                      <a:gd name="connsiteX40" fmla="*/ 502426 w 585046"/>
                      <a:gd name="connsiteY40" fmla="*/ 31543 h 69372"/>
                      <a:gd name="connsiteX41" fmla="*/ 502426 w 585046"/>
                      <a:gd name="connsiteY41" fmla="*/ 40687 h 69372"/>
                      <a:gd name="connsiteX42" fmla="*/ 463004 w 585046"/>
                      <a:gd name="connsiteY42" fmla="*/ 40687 h 69372"/>
                      <a:gd name="connsiteX43" fmla="*/ 463004 w 585046"/>
                      <a:gd name="connsiteY43" fmla="*/ 31543 h 69372"/>
                      <a:gd name="connsiteX44" fmla="*/ 585046 w 585046"/>
                      <a:gd name="connsiteY44" fmla="*/ 36367 h 69372"/>
                      <a:gd name="connsiteX45" fmla="*/ 531245 w 585046"/>
                      <a:gd name="connsiteY45" fmla="*/ 69372 h 69372"/>
                      <a:gd name="connsiteX46" fmla="*/ 532160 w 585046"/>
                      <a:gd name="connsiteY46" fmla="*/ 40687 h 69372"/>
                      <a:gd name="connsiteX47" fmla="*/ 509218 w 585046"/>
                      <a:gd name="connsiteY47" fmla="*/ 40687 h 69372"/>
                      <a:gd name="connsiteX48" fmla="*/ 509218 w 585046"/>
                      <a:gd name="connsiteY48" fmla="*/ 31543 h 69372"/>
                      <a:gd name="connsiteX49" fmla="*/ 532451 w 585046"/>
                      <a:gd name="connsiteY49" fmla="*/ 31543 h 69372"/>
                      <a:gd name="connsiteX50" fmla="*/ 533458 w 585046"/>
                      <a:gd name="connsiteY50" fmla="*/ 0 h 6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85046" h="69372">
                        <a:moveTo>
                          <a:pt x="39422" y="31543"/>
                        </a:moveTo>
                        <a:lnTo>
                          <a:pt x="39422" y="40687"/>
                        </a:lnTo>
                        <a:lnTo>
                          <a:pt x="0" y="40687"/>
                        </a:lnTo>
                        <a:lnTo>
                          <a:pt x="0" y="31543"/>
                        </a:lnTo>
                        <a:close/>
                        <a:moveTo>
                          <a:pt x="85636" y="31543"/>
                        </a:moveTo>
                        <a:lnTo>
                          <a:pt x="85636" y="40687"/>
                        </a:lnTo>
                        <a:lnTo>
                          <a:pt x="46214" y="40687"/>
                        </a:lnTo>
                        <a:lnTo>
                          <a:pt x="46214" y="31543"/>
                        </a:lnTo>
                        <a:close/>
                        <a:moveTo>
                          <a:pt x="131850" y="31543"/>
                        </a:moveTo>
                        <a:lnTo>
                          <a:pt x="131850" y="40687"/>
                        </a:lnTo>
                        <a:lnTo>
                          <a:pt x="92429" y="40687"/>
                        </a:lnTo>
                        <a:lnTo>
                          <a:pt x="92429" y="31543"/>
                        </a:lnTo>
                        <a:close/>
                        <a:moveTo>
                          <a:pt x="178065" y="31543"/>
                        </a:moveTo>
                        <a:lnTo>
                          <a:pt x="178065" y="40687"/>
                        </a:lnTo>
                        <a:lnTo>
                          <a:pt x="138643" y="40687"/>
                        </a:lnTo>
                        <a:lnTo>
                          <a:pt x="138643" y="31543"/>
                        </a:lnTo>
                        <a:close/>
                        <a:moveTo>
                          <a:pt x="224279" y="31543"/>
                        </a:moveTo>
                        <a:lnTo>
                          <a:pt x="224279" y="40687"/>
                        </a:lnTo>
                        <a:lnTo>
                          <a:pt x="184857" y="40687"/>
                        </a:lnTo>
                        <a:lnTo>
                          <a:pt x="184857" y="31543"/>
                        </a:lnTo>
                        <a:close/>
                        <a:moveTo>
                          <a:pt x="270493" y="31543"/>
                        </a:moveTo>
                        <a:lnTo>
                          <a:pt x="270493" y="40687"/>
                        </a:lnTo>
                        <a:lnTo>
                          <a:pt x="231071" y="40687"/>
                        </a:lnTo>
                        <a:lnTo>
                          <a:pt x="231071" y="31543"/>
                        </a:lnTo>
                        <a:close/>
                        <a:moveTo>
                          <a:pt x="317569" y="31543"/>
                        </a:moveTo>
                        <a:lnTo>
                          <a:pt x="317569" y="40687"/>
                        </a:lnTo>
                        <a:lnTo>
                          <a:pt x="278147" y="40687"/>
                        </a:lnTo>
                        <a:lnTo>
                          <a:pt x="278147" y="31543"/>
                        </a:lnTo>
                        <a:close/>
                        <a:moveTo>
                          <a:pt x="363783" y="31543"/>
                        </a:moveTo>
                        <a:lnTo>
                          <a:pt x="363783" y="40687"/>
                        </a:lnTo>
                        <a:lnTo>
                          <a:pt x="324361" y="40687"/>
                        </a:lnTo>
                        <a:lnTo>
                          <a:pt x="324361" y="31543"/>
                        </a:lnTo>
                        <a:close/>
                        <a:moveTo>
                          <a:pt x="409998" y="31543"/>
                        </a:moveTo>
                        <a:lnTo>
                          <a:pt x="409998" y="40687"/>
                        </a:lnTo>
                        <a:lnTo>
                          <a:pt x="370576" y="40687"/>
                        </a:lnTo>
                        <a:lnTo>
                          <a:pt x="370576" y="31543"/>
                        </a:lnTo>
                        <a:close/>
                        <a:moveTo>
                          <a:pt x="456212" y="31543"/>
                        </a:moveTo>
                        <a:lnTo>
                          <a:pt x="456212" y="40687"/>
                        </a:lnTo>
                        <a:lnTo>
                          <a:pt x="416790" y="40687"/>
                        </a:lnTo>
                        <a:lnTo>
                          <a:pt x="416790" y="31543"/>
                        </a:lnTo>
                        <a:close/>
                        <a:moveTo>
                          <a:pt x="502426" y="31543"/>
                        </a:moveTo>
                        <a:lnTo>
                          <a:pt x="502426" y="40687"/>
                        </a:lnTo>
                        <a:lnTo>
                          <a:pt x="463004" y="40687"/>
                        </a:lnTo>
                        <a:lnTo>
                          <a:pt x="463004" y="31543"/>
                        </a:lnTo>
                        <a:close/>
                        <a:moveTo>
                          <a:pt x="585046" y="36367"/>
                        </a:moveTo>
                        <a:lnTo>
                          <a:pt x="531245" y="69372"/>
                        </a:lnTo>
                        <a:lnTo>
                          <a:pt x="532160" y="40687"/>
                        </a:lnTo>
                        <a:lnTo>
                          <a:pt x="509218" y="40687"/>
                        </a:lnTo>
                        <a:lnTo>
                          <a:pt x="509218" y="31543"/>
                        </a:lnTo>
                        <a:lnTo>
                          <a:pt x="532451" y="31543"/>
                        </a:lnTo>
                        <a:lnTo>
                          <a:pt x="533458" y="0"/>
                        </a:lnTo>
                        <a:close/>
                      </a:path>
                    </a:pathLst>
                  </a:cu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219" name="Freeform: Shape 1218">
                    <a:extLst>
                      <a:ext uri="{FF2B5EF4-FFF2-40B4-BE49-F238E27FC236}">
                        <a16:creationId xmlns:a16="http://schemas.microsoft.com/office/drawing/2014/main" id="{F3371C4A-1AA6-40D1-9A17-A9AD9E937EE5}"/>
                      </a:ext>
                    </a:extLst>
                  </p:cNvPr>
                  <p:cNvSpPr/>
                  <p:nvPr/>
                </p:nvSpPr>
                <p:spPr bwMode="auto">
                  <a:xfrm rot="5062782">
                    <a:off x="5537811" y="4680200"/>
                    <a:ext cx="69407" cy="917597"/>
                  </a:xfrm>
                  <a:custGeom>
                    <a:avLst/>
                    <a:gdLst>
                      <a:gd name="connsiteX0" fmla="*/ 8596 w 69407"/>
                      <a:gd name="connsiteY0" fmla="*/ 854979 h 917597"/>
                      <a:gd name="connsiteX1" fmla="*/ 17737 w 69407"/>
                      <a:gd name="connsiteY1" fmla="*/ 855196 h 917597"/>
                      <a:gd name="connsiteX2" fmla="*/ 16254 w 69407"/>
                      <a:gd name="connsiteY2" fmla="*/ 917597 h 917597"/>
                      <a:gd name="connsiteX3" fmla="*/ 7113 w 69407"/>
                      <a:gd name="connsiteY3" fmla="*/ 917379 h 917597"/>
                      <a:gd name="connsiteX4" fmla="*/ 10334 w 69407"/>
                      <a:gd name="connsiteY4" fmla="*/ 781827 h 917597"/>
                      <a:gd name="connsiteX5" fmla="*/ 19476 w 69407"/>
                      <a:gd name="connsiteY5" fmla="*/ 782044 h 917597"/>
                      <a:gd name="connsiteX6" fmla="*/ 17993 w 69407"/>
                      <a:gd name="connsiteY6" fmla="*/ 844445 h 917597"/>
                      <a:gd name="connsiteX7" fmla="*/ 8851 w 69407"/>
                      <a:gd name="connsiteY7" fmla="*/ 844227 h 917597"/>
                      <a:gd name="connsiteX8" fmla="*/ 12072 w 69407"/>
                      <a:gd name="connsiteY8" fmla="*/ 708675 h 917597"/>
                      <a:gd name="connsiteX9" fmla="*/ 21214 w 69407"/>
                      <a:gd name="connsiteY9" fmla="*/ 708892 h 917597"/>
                      <a:gd name="connsiteX10" fmla="*/ 19731 w 69407"/>
                      <a:gd name="connsiteY10" fmla="*/ 771293 h 917597"/>
                      <a:gd name="connsiteX11" fmla="*/ 10590 w 69407"/>
                      <a:gd name="connsiteY11" fmla="*/ 771075 h 917597"/>
                      <a:gd name="connsiteX12" fmla="*/ 13811 w 69407"/>
                      <a:gd name="connsiteY12" fmla="*/ 635523 h 917597"/>
                      <a:gd name="connsiteX13" fmla="*/ 22952 w 69407"/>
                      <a:gd name="connsiteY13" fmla="*/ 635741 h 917597"/>
                      <a:gd name="connsiteX14" fmla="*/ 21469 w 69407"/>
                      <a:gd name="connsiteY14" fmla="*/ 698140 h 917597"/>
                      <a:gd name="connsiteX15" fmla="*/ 12328 w 69407"/>
                      <a:gd name="connsiteY15" fmla="*/ 697924 h 917597"/>
                      <a:gd name="connsiteX16" fmla="*/ 15549 w 69407"/>
                      <a:gd name="connsiteY16" fmla="*/ 562371 h 917597"/>
                      <a:gd name="connsiteX17" fmla="*/ 24691 w 69407"/>
                      <a:gd name="connsiteY17" fmla="*/ 562589 h 917597"/>
                      <a:gd name="connsiteX18" fmla="*/ 23208 w 69407"/>
                      <a:gd name="connsiteY18" fmla="*/ 624988 h 917597"/>
                      <a:gd name="connsiteX19" fmla="*/ 14066 w 69407"/>
                      <a:gd name="connsiteY19" fmla="*/ 624771 h 917597"/>
                      <a:gd name="connsiteX20" fmla="*/ 17287 w 69407"/>
                      <a:gd name="connsiteY20" fmla="*/ 489220 h 917597"/>
                      <a:gd name="connsiteX21" fmla="*/ 26429 w 69407"/>
                      <a:gd name="connsiteY21" fmla="*/ 489437 h 917597"/>
                      <a:gd name="connsiteX22" fmla="*/ 24946 w 69407"/>
                      <a:gd name="connsiteY22" fmla="*/ 551837 h 917597"/>
                      <a:gd name="connsiteX23" fmla="*/ 15805 w 69407"/>
                      <a:gd name="connsiteY23" fmla="*/ 551620 h 917597"/>
                      <a:gd name="connsiteX24" fmla="*/ 19058 w 69407"/>
                      <a:gd name="connsiteY24" fmla="*/ 414704 h 917597"/>
                      <a:gd name="connsiteX25" fmla="*/ 28200 w 69407"/>
                      <a:gd name="connsiteY25" fmla="*/ 414921 h 917597"/>
                      <a:gd name="connsiteX26" fmla="*/ 26717 w 69407"/>
                      <a:gd name="connsiteY26" fmla="*/ 477321 h 917597"/>
                      <a:gd name="connsiteX27" fmla="*/ 17575 w 69407"/>
                      <a:gd name="connsiteY27" fmla="*/ 477104 h 917597"/>
                      <a:gd name="connsiteX28" fmla="*/ 20797 w 69407"/>
                      <a:gd name="connsiteY28" fmla="*/ 341552 h 917597"/>
                      <a:gd name="connsiteX29" fmla="*/ 29938 w 69407"/>
                      <a:gd name="connsiteY29" fmla="*/ 341769 h 917597"/>
                      <a:gd name="connsiteX30" fmla="*/ 28455 w 69407"/>
                      <a:gd name="connsiteY30" fmla="*/ 404169 h 917597"/>
                      <a:gd name="connsiteX31" fmla="*/ 19314 w 69407"/>
                      <a:gd name="connsiteY31" fmla="*/ 403952 h 917597"/>
                      <a:gd name="connsiteX32" fmla="*/ 22535 w 69407"/>
                      <a:gd name="connsiteY32" fmla="*/ 268400 h 917597"/>
                      <a:gd name="connsiteX33" fmla="*/ 31676 w 69407"/>
                      <a:gd name="connsiteY33" fmla="*/ 268617 h 917597"/>
                      <a:gd name="connsiteX34" fmla="*/ 30194 w 69407"/>
                      <a:gd name="connsiteY34" fmla="*/ 331017 h 917597"/>
                      <a:gd name="connsiteX35" fmla="*/ 21052 w 69407"/>
                      <a:gd name="connsiteY35" fmla="*/ 330800 h 917597"/>
                      <a:gd name="connsiteX36" fmla="*/ 24273 w 69407"/>
                      <a:gd name="connsiteY36" fmla="*/ 195248 h 917597"/>
                      <a:gd name="connsiteX37" fmla="*/ 33415 w 69407"/>
                      <a:gd name="connsiteY37" fmla="*/ 195465 h 917597"/>
                      <a:gd name="connsiteX38" fmla="*/ 31932 w 69407"/>
                      <a:gd name="connsiteY38" fmla="*/ 257865 h 917597"/>
                      <a:gd name="connsiteX39" fmla="*/ 22790 w 69407"/>
                      <a:gd name="connsiteY39" fmla="*/ 257648 h 917597"/>
                      <a:gd name="connsiteX40" fmla="*/ 26012 w 69407"/>
                      <a:gd name="connsiteY40" fmla="*/ 122096 h 917597"/>
                      <a:gd name="connsiteX41" fmla="*/ 35153 w 69407"/>
                      <a:gd name="connsiteY41" fmla="*/ 122313 h 917597"/>
                      <a:gd name="connsiteX42" fmla="*/ 33670 w 69407"/>
                      <a:gd name="connsiteY42" fmla="*/ 184713 h 917597"/>
                      <a:gd name="connsiteX43" fmla="*/ 24529 w 69407"/>
                      <a:gd name="connsiteY43" fmla="*/ 184496 h 917597"/>
                      <a:gd name="connsiteX44" fmla="*/ 0 w 69407"/>
                      <a:gd name="connsiteY44" fmla="*/ 52721 h 917597"/>
                      <a:gd name="connsiteX45" fmla="*/ 34704 w 69407"/>
                      <a:gd name="connsiteY45" fmla="*/ 0 h 917597"/>
                      <a:gd name="connsiteX46" fmla="*/ 69407 w 69407"/>
                      <a:gd name="connsiteY46" fmla="*/ 52721 h 917597"/>
                      <a:gd name="connsiteX47" fmla="*/ 36807 w 69407"/>
                      <a:gd name="connsiteY47" fmla="*/ 52721 h 917597"/>
                      <a:gd name="connsiteX48" fmla="*/ 35409 w 69407"/>
                      <a:gd name="connsiteY48" fmla="*/ 111562 h 917597"/>
                      <a:gd name="connsiteX49" fmla="*/ 26267 w 69407"/>
                      <a:gd name="connsiteY49" fmla="*/ 111345 h 917597"/>
                      <a:gd name="connsiteX50" fmla="*/ 27661 w 69407"/>
                      <a:gd name="connsiteY50" fmla="*/ 52721 h 9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9407" h="917597">
                        <a:moveTo>
                          <a:pt x="8596" y="854979"/>
                        </a:moveTo>
                        <a:lnTo>
                          <a:pt x="17737" y="855196"/>
                        </a:lnTo>
                        <a:lnTo>
                          <a:pt x="16254" y="917597"/>
                        </a:lnTo>
                        <a:lnTo>
                          <a:pt x="7113" y="917379"/>
                        </a:lnTo>
                        <a:close/>
                        <a:moveTo>
                          <a:pt x="10334" y="781827"/>
                        </a:moveTo>
                        <a:lnTo>
                          <a:pt x="19476" y="782044"/>
                        </a:lnTo>
                        <a:lnTo>
                          <a:pt x="17993" y="844445"/>
                        </a:lnTo>
                        <a:lnTo>
                          <a:pt x="8851" y="844227"/>
                        </a:lnTo>
                        <a:close/>
                        <a:moveTo>
                          <a:pt x="12072" y="708675"/>
                        </a:moveTo>
                        <a:lnTo>
                          <a:pt x="21214" y="708892"/>
                        </a:lnTo>
                        <a:lnTo>
                          <a:pt x="19731" y="771293"/>
                        </a:lnTo>
                        <a:lnTo>
                          <a:pt x="10590" y="771075"/>
                        </a:lnTo>
                        <a:close/>
                        <a:moveTo>
                          <a:pt x="13811" y="635523"/>
                        </a:moveTo>
                        <a:lnTo>
                          <a:pt x="22952" y="635741"/>
                        </a:lnTo>
                        <a:lnTo>
                          <a:pt x="21469" y="698140"/>
                        </a:lnTo>
                        <a:lnTo>
                          <a:pt x="12328" y="697924"/>
                        </a:lnTo>
                        <a:close/>
                        <a:moveTo>
                          <a:pt x="15549" y="562371"/>
                        </a:moveTo>
                        <a:lnTo>
                          <a:pt x="24691" y="562589"/>
                        </a:lnTo>
                        <a:lnTo>
                          <a:pt x="23208" y="624988"/>
                        </a:lnTo>
                        <a:lnTo>
                          <a:pt x="14066" y="624771"/>
                        </a:lnTo>
                        <a:close/>
                        <a:moveTo>
                          <a:pt x="17287" y="489220"/>
                        </a:moveTo>
                        <a:lnTo>
                          <a:pt x="26429" y="489437"/>
                        </a:lnTo>
                        <a:lnTo>
                          <a:pt x="24946" y="551837"/>
                        </a:lnTo>
                        <a:lnTo>
                          <a:pt x="15805" y="551620"/>
                        </a:lnTo>
                        <a:close/>
                        <a:moveTo>
                          <a:pt x="19058" y="414704"/>
                        </a:moveTo>
                        <a:lnTo>
                          <a:pt x="28200" y="414921"/>
                        </a:lnTo>
                        <a:lnTo>
                          <a:pt x="26717" y="477321"/>
                        </a:lnTo>
                        <a:lnTo>
                          <a:pt x="17575" y="477104"/>
                        </a:lnTo>
                        <a:close/>
                        <a:moveTo>
                          <a:pt x="20797" y="341552"/>
                        </a:moveTo>
                        <a:lnTo>
                          <a:pt x="29938" y="341769"/>
                        </a:lnTo>
                        <a:lnTo>
                          <a:pt x="28455" y="404169"/>
                        </a:lnTo>
                        <a:lnTo>
                          <a:pt x="19314" y="403952"/>
                        </a:lnTo>
                        <a:close/>
                        <a:moveTo>
                          <a:pt x="22535" y="268400"/>
                        </a:moveTo>
                        <a:lnTo>
                          <a:pt x="31676" y="268617"/>
                        </a:lnTo>
                        <a:lnTo>
                          <a:pt x="30194" y="331017"/>
                        </a:lnTo>
                        <a:lnTo>
                          <a:pt x="21052" y="330800"/>
                        </a:lnTo>
                        <a:close/>
                        <a:moveTo>
                          <a:pt x="24273" y="195248"/>
                        </a:moveTo>
                        <a:lnTo>
                          <a:pt x="33415" y="195465"/>
                        </a:lnTo>
                        <a:lnTo>
                          <a:pt x="31932" y="257865"/>
                        </a:lnTo>
                        <a:lnTo>
                          <a:pt x="22790" y="257648"/>
                        </a:lnTo>
                        <a:close/>
                        <a:moveTo>
                          <a:pt x="26012" y="122096"/>
                        </a:moveTo>
                        <a:lnTo>
                          <a:pt x="35153" y="122313"/>
                        </a:lnTo>
                        <a:lnTo>
                          <a:pt x="33670" y="184713"/>
                        </a:lnTo>
                        <a:lnTo>
                          <a:pt x="24529" y="184496"/>
                        </a:lnTo>
                        <a:close/>
                        <a:moveTo>
                          <a:pt x="0" y="52721"/>
                        </a:moveTo>
                        <a:lnTo>
                          <a:pt x="34704" y="0"/>
                        </a:lnTo>
                        <a:lnTo>
                          <a:pt x="69407" y="52721"/>
                        </a:lnTo>
                        <a:lnTo>
                          <a:pt x="36807" y="52721"/>
                        </a:lnTo>
                        <a:lnTo>
                          <a:pt x="35409" y="111562"/>
                        </a:lnTo>
                        <a:lnTo>
                          <a:pt x="26267" y="111345"/>
                        </a:lnTo>
                        <a:lnTo>
                          <a:pt x="27661" y="52721"/>
                        </a:lnTo>
                        <a:close/>
                      </a:path>
                    </a:pathLst>
                  </a:custGeom>
                  <a:solidFill>
                    <a:srgbClr val="58B3D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220" name="Freeform: Shape 1219">
                    <a:extLst>
                      <a:ext uri="{FF2B5EF4-FFF2-40B4-BE49-F238E27FC236}">
                        <a16:creationId xmlns:a16="http://schemas.microsoft.com/office/drawing/2014/main" id="{B94B5F56-7934-4DF0-A3DC-073BFA10C38C}"/>
                      </a:ext>
                    </a:extLst>
                  </p:cNvPr>
                  <p:cNvSpPr>
                    <a:spLocks noChangeAspect="1"/>
                  </p:cNvSpPr>
                  <p:nvPr/>
                </p:nvSpPr>
                <p:spPr bwMode="auto">
                  <a:xfrm>
                    <a:off x="4875628" y="5243272"/>
                    <a:ext cx="1163902" cy="69407"/>
                  </a:xfrm>
                  <a:custGeom>
                    <a:avLst/>
                    <a:gdLst>
                      <a:gd name="connsiteX0" fmla="*/ 1083694 w 1163902"/>
                      <a:gd name="connsiteY0" fmla="*/ 26002 h 69407"/>
                      <a:gd name="connsiteX1" fmla="*/ 1102579 w 1163902"/>
                      <a:gd name="connsiteY1" fmla="*/ 26002 h 69407"/>
                      <a:gd name="connsiteX2" fmla="*/ 1102579 w 1163902"/>
                      <a:gd name="connsiteY2" fmla="*/ 44886 h 69407"/>
                      <a:gd name="connsiteX3" fmla="*/ 1083694 w 1163902"/>
                      <a:gd name="connsiteY3" fmla="*/ 44886 h 69407"/>
                      <a:gd name="connsiteX4" fmla="*/ 1057300 w 1163902"/>
                      <a:gd name="connsiteY4" fmla="*/ 26002 h 69407"/>
                      <a:gd name="connsiteX5" fmla="*/ 1076185 w 1163902"/>
                      <a:gd name="connsiteY5" fmla="*/ 26002 h 69407"/>
                      <a:gd name="connsiteX6" fmla="*/ 1076185 w 1163902"/>
                      <a:gd name="connsiteY6" fmla="*/ 44886 h 69407"/>
                      <a:gd name="connsiteX7" fmla="*/ 1057300 w 1163902"/>
                      <a:gd name="connsiteY7" fmla="*/ 44886 h 69407"/>
                      <a:gd name="connsiteX8" fmla="*/ 1030907 w 1163902"/>
                      <a:gd name="connsiteY8" fmla="*/ 26002 h 69407"/>
                      <a:gd name="connsiteX9" fmla="*/ 1049791 w 1163902"/>
                      <a:gd name="connsiteY9" fmla="*/ 26002 h 69407"/>
                      <a:gd name="connsiteX10" fmla="*/ 1049791 w 1163902"/>
                      <a:gd name="connsiteY10" fmla="*/ 44886 h 69407"/>
                      <a:gd name="connsiteX11" fmla="*/ 1030907 w 1163902"/>
                      <a:gd name="connsiteY11" fmla="*/ 44886 h 69407"/>
                      <a:gd name="connsiteX12" fmla="*/ 1004513 w 1163902"/>
                      <a:gd name="connsiteY12" fmla="*/ 26002 h 69407"/>
                      <a:gd name="connsiteX13" fmla="*/ 1023398 w 1163902"/>
                      <a:gd name="connsiteY13" fmla="*/ 26002 h 69407"/>
                      <a:gd name="connsiteX14" fmla="*/ 1023398 w 1163902"/>
                      <a:gd name="connsiteY14" fmla="*/ 44886 h 69407"/>
                      <a:gd name="connsiteX15" fmla="*/ 1004513 w 1163902"/>
                      <a:gd name="connsiteY15" fmla="*/ 44886 h 69407"/>
                      <a:gd name="connsiteX16" fmla="*/ 978119 w 1163902"/>
                      <a:gd name="connsiteY16" fmla="*/ 26002 h 69407"/>
                      <a:gd name="connsiteX17" fmla="*/ 997004 w 1163902"/>
                      <a:gd name="connsiteY17" fmla="*/ 26002 h 69407"/>
                      <a:gd name="connsiteX18" fmla="*/ 997004 w 1163902"/>
                      <a:gd name="connsiteY18" fmla="*/ 44886 h 69407"/>
                      <a:gd name="connsiteX19" fmla="*/ 978119 w 1163902"/>
                      <a:gd name="connsiteY19" fmla="*/ 44886 h 69407"/>
                      <a:gd name="connsiteX20" fmla="*/ 951725 w 1163902"/>
                      <a:gd name="connsiteY20" fmla="*/ 26002 h 69407"/>
                      <a:gd name="connsiteX21" fmla="*/ 970610 w 1163902"/>
                      <a:gd name="connsiteY21" fmla="*/ 26002 h 69407"/>
                      <a:gd name="connsiteX22" fmla="*/ 970610 w 1163902"/>
                      <a:gd name="connsiteY22" fmla="*/ 44886 h 69407"/>
                      <a:gd name="connsiteX23" fmla="*/ 951725 w 1163902"/>
                      <a:gd name="connsiteY23" fmla="*/ 44886 h 69407"/>
                      <a:gd name="connsiteX24" fmla="*/ 925331 w 1163902"/>
                      <a:gd name="connsiteY24" fmla="*/ 26002 h 69407"/>
                      <a:gd name="connsiteX25" fmla="*/ 944216 w 1163902"/>
                      <a:gd name="connsiteY25" fmla="*/ 26002 h 69407"/>
                      <a:gd name="connsiteX26" fmla="*/ 944216 w 1163902"/>
                      <a:gd name="connsiteY26" fmla="*/ 44886 h 69407"/>
                      <a:gd name="connsiteX27" fmla="*/ 925331 w 1163902"/>
                      <a:gd name="connsiteY27" fmla="*/ 44886 h 69407"/>
                      <a:gd name="connsiteX28" fmla="*/ 898937 w 1163902"/>
                      <a:gd name="connsiteY28" fmla="*/ 26002 h 69407"/>
                      <a:gd name="connsiteX29" fmla="*/ 917822 w 1163902"/>
                      <a:gd name="connsiteY29" fmla="*/ 26002 h 69407"/>
                      <a:gd name="connsiteX30" fmla="*/ 917822 w 1163902"/>
                      <a:gd name="connsiteY30" fmla="*/ 44886 h 69407"/>
                      <a:gd name="connsiteX31" fmla="*/ 898937 w 1163902"/>
                      <a:gd name="connsiteY31" fmla="*/ 44886 h 69407"/>
                      <a:gd name="connsiteX32" fmla="*/ 872543 w 1163902"/>
                      <a:gd name="connsiteY32" fmla="*/ 26002 h 69407"/>
                      <a:gd name="connsiteX33" fmla="*/ 891428 w 1163902"/>
                      <a:gd name="connsiteY33" fmla="*/ 26002 h 69407"/>
                      <a:gd name="connsiteX34" fmla="*/ 891428 w 1163902"/>
                      <a:gd name="connsiteY34" fmla="*/ 44886 h 69407"/>
                      <a:gd name="connsiteX35" fmla="*/ 872543 w 1163902"/>
                      <a:gd name="connsiteY35" fmla="*/ 44886 h 69407"/>
                      <a:gd name="connsiteX36" fmla="*/ 846150 w 1163902"/>
                      <a:gd name="connsiteY36" fmla="*/ 26002 h 69407"/>
                      <a:gd name="connsiteX37" fmla="*/ 865034 w 1163902"/>
                      <a:gd name="connsiteY37" fmla="*/ 26002 h 69407"/>
                      <a:gd name="connsiteX38" fmla="*/ 865034 w 1163902"/>
                      <a:gd name="connsiteY38" fmla="*/ 44886 h 69407"/>
                      <a:gd name="connsiteX39" fmla="*/ 846150 w 1163902"/>
                      <a:gd name="connsiteY39" fmla="*/ 44886 h 69407"/>
                      <a:gd name="connsiteX40" fmla="*/ 819756 w 1163902"/>
                      <a:gd name="connsiteY40" fmla="*/ 26002 h 69407"/>
                      <a:gd name="connsiteX41" fmla="*/ 838641 w 1163902"/>
                      <a:gd name="connsiteY41" fmla="*/ 26002 h 69407"/>
                      <a:gd name="connsiteX42" fmla="*/ 838641 w 1163902"/>
                      <a:gd name="connsiteY42" fmla="*/ 44886 h 69407"/>
                      <a:gd name="connsiteX43" fmla="*/ 819756 w 1163902"/>
                      <a:gd name="connsiteY43" fmla="*/ 44886 h 69407"/>
                      <a:gd name="connsiteX44" fmla="*/ 793362 w 1163902"/>
                      <a:gd name="connsiteY44" fmla="*/ 26002 h 69407"/>
                      <a:gd name="connsiteX45" fmla="*/ 812247 w 1163902"/>
                      <a:gd name="connsiteY45" fmla="*/ 26002 h 69407"/>
                      <a:gd name="connsiteX46" fmla="*/ 812247 w 1163902"/>
                      <a:gd name="connsiteY46" fmla="*/ 44886 h 69407"/>
                      <a:gd name="connsiteX47" fmla="*/ 793362 w 1163902"/>
                      <a:gd name="connsiteY47" fmla="*/ 44886 h 69407"/>
                      <a:gd name="connsiteX48" fmla="*/ 766968 w 1163902"/>
                      <a:gd name="connsiteY48" fmla="*/ 26002 h 69407"/>
                      <a:gd name="connsiteX49" fmla="*/ 785853 w 1163902"/>
                      <a:gd name="connsiteY49" fmla="*/ 26002 h 69407"/>
                      <a:gd name="connsiteX50" fmla="*/ 785853 w 1163902"/>
                      <a:gd name="connsiteY50" fmla="*/ 44886 h 69407"/>
                      <a:gd name="connsiteX51" fmla="*/ 766968 w 1163902"/>
                      <a:gd name="connsiteY51" fmla="*/ 44886 h 69407"/>
                      <a:gd name="connsiteX52" fmla="*/ 740574 w 1163902"/>
                      <a:gd name="connsiteY52" fmla="*/ 26002 h 69407"/>
                      <a:gd name="connsiteX53" fmla="*/ 759459 w 1163902"/>
                      <a:gd name="connsiteY53" fmla="*/ 26002 h 69407"/>
                      <a:gd name="connsiteX54" fmla="*/ 759459 w 1163902"/>
                      <a:gd name="connsiteY54" fmla="*/ 44886 h 69407"/>
                      <a:gd name="connsiteX55" fmla="*/ 740574 w 1163902"/>
                      <a:gd name="connsiteY55" fmla="*/ 44886 h 69407"/>
                      <a:gd name="connsiteX56" fmla="*/ 712635 w 1163902"/>
                      <a:gd name="connsiteY56" fmla="*/ 26002 h 69407"/>
                      <a:gd name="connsiteX57" fmla="*/ 731520 w 1163902"/>
                      <a:gd name="connsiteY57" fmla="*/ 26002 h 69407"/>
                      <a:gd name="connsiteX58" fmla="*/ 731520 w 1163902"/>
                      <a:gd name="connsiteY58" fmla="*/ 44886 h 69407"/>
                      <a:gd name="connsiteX59" fmla="*/ 712635 w 1163902"/>
                      <a:gd name="connsiteY59" fmla="*/ 44886 h 69407"/>
                      <a:gd name="connsiteX60" fmla="*/ 686240 w 1163902"/>
                      <a:gd name="connsiteY60" fmla="*/ 26002 h 69407"/>
                      <a:gd name="connsiteX61" fmla="*/ 705125 w 1163902"/>
                      <a:gd name="connsiteY61" fmla="*/ 26002 h 69407"/>
                      <a:gd name="connsiteX62" fmla="*/ 705125 w 1163902"/>
                      <a:gd name="connsiteY62" fmla="*/ 44886 h 69407"/>
                      <a:gd name="connsiteX63" fmla="*/ 686240 w 1163902"/>
                      <a:gd name="connsiteY63" fmla="*/ 44886 h 69407"/>
                      <a:gd name="connsiteX64" fmla="*/ 659846 w 1163902"/>
                      <a:gd name="connsiteY64" fmla="*/ 26002 h 69407"/>
                      <a:gd name="connsiteX65" fmla="*/ 678731 w 1163902"/>
                      <a:gd name="connsiteY65" fmla="*/ 26002 h 69407"/>
                      <a:gd name="connsiteX66" fmla="*/ 678731 w 1163902"/>
                      <a:gd name="connsiteY66" fmla="*/ 44886 h 69407"/>
                      <a:gd name="connsiteX67" fmla="*/ 659846 w 1163902"/>
                      <a:gd name="connsiteY67" fmla="*/ 44886 h 69407"/>
                      <a:gd name="connsiteX68" fmla="*/ 633452 w 1163902"/>
                      <a:gd name="connsiteY68" fmla="*/ 26002 h 69407"/>
                      <a:gd name="connsiteX69" fmla="*/ 652337 w 1163902"/>
                      <a:gd name="connsiteY69" fmla="*/ 26002 h 69407"/>
                      <a:gd name="connsiteX70" fmla="*/ 652337 w 1163902"/>
                      <a:gd name="connsiteY70" fmla="*/ 44886 h 69407"/>
                      <a:gd name="connsiteX71" fmla="*/ 633452 w 1163902"/>
                      <a:gd name="connsiteY71" fmla="*/ 44886 h 69407"/>
                      <a:gd name="connsiteX72" fmla="*/ 607058 w 1163902"/>
                      <a:gd name="connsiteY72" fmla="*/ 26002 h 69407"/>
                      <a:gd name="connsiteX73" fmla="*/ 625943 w 1163902"/>
                      <a:gd name="connsiteY73" fmla="*/ 26002 h 69407"/>
                      <a:gd name="connsiteX74" fmla="*/ 625943 w 1163902"/>
                      <a:gd name="connsiteY74" fmla="*/ 44886 h 69407"/>
                      <a:gd name="connsiteX75" fmla="*/ 607058 w 1163902"/>
                      <a:gd name="connsiteY75" fmla="*/ 44886 h 69407"/>
                      <a:gd name="connsiteX76" fmla="*/ 580664 w 1163902"/>
                      <a:gd name="connsiteY76" fmla="*/ 26002 h 69407"/>
                      <a:gd name="connsiteX77" fmla="*/ 599549 w 1163902"/>
                      <a:gd name="connsiteY77" fmla="*/ 26002 h 69407"/>
                      <a:gd name="connsiteX78" fmla="*/ 599549 w 1163902"/>
                      <a:gd name="connsiteY78" fmla="*/ 44886 h 69407"/>
                      <a:gd name="connsiteX79" fmla="*/ 580664 w 1163902"/>
                      <a:gd name="connsiteY79" fmla="*/ 44886 h 69407"/>
                      <a:gd name="connsiteX80" fmla="*/ 554271 w 1163902"/>
                      <a:gd name="connsiteY80" fmla="*/ 26002 h 69407"/>
                      <a:gd name="connsiteX81" fmla="*/ 573155 w 1163902"/>
                      <a:gd name="connsiteY81" fmla="*/ 26002 h 69407"/>
                      <a:gd name="connsiteX82" fmla="*/ 573155 w 1163902"/>
                      <a:gd name="connsiteY82" fmla="*/ 44886 h 69407"/>
                      <a:gd name="connsiteX83" fmla="*/ 554271 w 1163902"/>
                      <a:gd name="connsiteY83" fmla="*/ 44886 h 69407"/>
                      <a:gd name="connsiteX84" fmla="*/ 527877 w 1163902"/>
                      <a:gd name="connsiteY84" fmla="*/ 26002 h 69407"/>
                      <a:gd name="connsiteX85" fmla="*/ 546762 w 1163902"/>
                      <a:gd name="connsiteY85" fmla="*/ 26002 h 69407"/>
                      <a:gd name="connsiteX86" fmla="*/ 546762 w 1163902"/>
                      <a:gd name="connsiteY86" fmla="*/ 44886 h 69407"/>
                      <a:gd name="connsiteX87" fmla="*/ 527877 w 1163902"/>
                      <a:gd name="connsiteY87" fmla="*/ 44886 h 69407"/>
                      <a:gd name="connsiteX88" fmla="*/ 501483 w 1163902"/>
                      <a:gd name="connsiteY88" fmla="*/ 26002 h 69407"/>
                      <a:gd name="connsiteX89" fmla="*/ 520368 w 1163902"/>
                      <a:gd name="connsiteY89" fmla="*/ 26002 h 69407"/>
                      <a:gd name="connsiteX90" fmla="*/ 520368 w 1163902"/>
                      <a:gd name="connsiteY90" fmla="*/ 44886 h 69407"/>
                      <a:gd name="connsiteX91" fmla="*/ 501483 w 1163902"/>
                      <a:gd name="connsiteY91" fmla="*/ 44886 h 69407"/>
                      <a:gd name="connsiteX92" fmla="*/ 475089 w 1163902"/>
                      <a:gd name="connsiteY92" fmla="*/ 26002 h 69407"/>
                      <a:gd name="connsiteX93" fmla="*/ 493974 w 1163902"/>
                      <a:gd name="connsiteY93" fmla="*/ 26002 h 69407"/>
                      <a:gd name="connsiteX94" fmla="*/ 493974 w 1163902"/>
                      <a:gd name="connsiteY94" fmla="*/ 44886 h 69407"/>
                      <a:gd name="connsiteX95" fmla="*/ 475089 w 1163902"/>
                      <a:gd name="connsiteY95" fmla="*/ 44886 h 69407"/>
                      <a:gd name="connsiteX96" fmla="*/ 448695 w 1163902"/>
                      <a:gd name="connsiteY96" fmla="*/ 26002 h 69407"/>
                      <a:gd name="connsiteX97" fmla="*/ 467580 w 1163902"/>
                      <a:gd name="connsiteY97" fmla="*/ 26002 h 69407"/>
                      <a:gd name="connsiteX98" fmla="*/ 467580 w 1163902"/>
                      <a:gd name="connsiteY98" fmla="*/ 44886 h 69407"/>
                      <a:gd name="connsiteX99" fmla="*/ 448695 w 1163902"/>
                      <a:gd name="connsiteY99" fmla="*/ 44886 h 69407"/>
                      <a:gd name="connsiteX100" fmla="*/ 422301 w 1163902"/>
                      <a:gd name="connsiteY100" fmla="*/ 26002 h 69407"/>
                      <a:gd name="connsiteX101" fmla="*/ 441186 w 1163902"/>
                      <a:gd name="connsiteY101" fmla="*/ 26002 h 69407"/>
                      <a:gd name="connsiteX102" fmla="*/ 441186 w 1163902"/>
                      <a:gd name="connsiteY102" fmla="*/ 44886 h 69407"/>
                      <a:gd name="connsiteX103" fmla="*/ 422301 w 1163902"/>
                      <a:gd name="connsiteY103" fmla="*/ 44886 h 69407"/>
                      <a:gd name="connsiteX104" fmla="*/ 395908 w 1163902"/>
                      <a:gd name="connsiteY104" fmla="*/ 26002 h 69407"/>
                      <a:gd name="connsiteX105" fmla="*/ 414792 w 1163902"/>
                      <a:gd name="connsiteY105" fmla="*/ 26002 h 69407"/>
                      <a:gd name="connsiteX106" fmla="*/ 414792 w 1163902"/>
                      <a:gd name="connsiteY106" fmla="*/ 44886 h 69407"/>
                      <a:gd name="connsiteX107" fmla="*/ 395908 w 1163902"/>
                      <a:gd name="connsiteY107" fmla="*/ 44886 h 69407"/>
                      <a:gd name="connsiteX108" fmla="*/ 369514 w 1163902"/>
                      <a:gd name="connsiteY108" fmla="*/ 26002 h 69407"/>
                      <a:gd name="connsiteX109" fmla="*/ 388398 w 1163902"/>
                      <a:gd name="connsiteY109" fmla="*/ 26002 h 69407"/>
                      <a:gd name="connsiteX110" fmla="*/ 388398 w 1163902"/>
                      <a:gd name="connsiteY110" fmla="*/ 44886 h 69407"/>
                      <a:gd name="connsiteX111" fmla="*/ 369514 w 1163902"/>
                      <a:gd name="connsiteY111" fmla="*/ 44886 h 69407"/>
                      <a:gd name="connsiteX112" fmla="*/ 343120 w 1163902"/>
                      <a:gd name="connsiteY112" fmla="*/ 26002 h 69407"/>
                      <a:gd name="connsiteX113" fmla="*/ 362005 w 1163902"/>
                      <a:gd name="connsiteY113" fmla="*/ 26002 h 69407"/>
                      <a:gd name="connsiteX114" fmla="*/ 362005 w 1163902"/>
                      <a:gd name="connsiteY114" fmla="*/ 44886 h 69407"/>
                      <a:gd name="connsiteX115" fmla="*/ 343120 w 1163902"/>
                      <a:gd name="connsiteY115" fmla="*/ 44886 h 69407"/>
                      <a:gd name="connsiteX116" fmla="*/ 316726 w 1163902"/>
                      <a:gd name="connsiteY116" fmla="*/ 26002 h 69407"/>
                      <a:gd name="connsiteX117" fmla="*/ 335611 w 1163902"/>
                      <a:gd name="connsiteY117" fmla="*/ 26002 h 69407"/>
                      <a:gd name="connsiteX118" fmla="*/ 335611 w 1163902"/>
                      <a:gd name="connsiteY118" fmla="*/ 44886 h 69407"/>
                      <a:gd name="connsiteX119" fmla="*/ 316726 w 1163902"/>
                      <a:gd name="connsiteY119" fmla="*/ 44886 h 69407"/>
                      <a:gd name="connsiteX120" fmla="*/ 290332 w 1163902"/>
                      <a:gd name="connsiteY120" fmla="*/ 26002 h 69407"/>
                      <a:gd name="connsiteX121" fmla="*/ 309217 w 1163902"/>
                      <a:gd name="connsiteY121" fmla="*/ 26002 h 69407"/>
                      <a:gd name="connsiteX122" fmla="*/ 309217 w 1163902"/>
                      <a:gd name="connsiteY122" fmla="*/ 44886 h 69407"/>
                      <a:gd name="connsiteX123" fmla="*/ 290332 w 1163902"/>
                      <a:gd name="connsiteY123" fmla="*/ 44886 h 69407"/>
                      <a:gd name="connsiteX124" fmla="*/ 263938 w 1163902"/>
                      <a:gd name="connsiteY124" fmla="*/ 26002 h 69407"/>
                      <a:gd name="connsiteX125" fmla="*/ 282823 w 1163902"/>
                      <a:gd name="connsiteY125" fmla="*/ 26002 h 69407"/>
                      <a:gd name="connsiteX126" fmla="*/ 282823 w 1163902"/>
                      <a:gd name="connsiteY126" fmla="*/ 44886 h 69407"/>
                      <a:gd name="connsiteX127" fmla="*/ 263938 w 1163902"/>
                      <a:gd name="connsiteY127" fmla="*/ 44886 h 69407"/>
                      <a:gd name="connsiteX128" fmla="*/ 237544 w 1163902"/>
                      <a:gd name="connsiteY128" fmla="*/ 26002 h 69407"/>
                      <a:gd name="connsiteX129" fmla="*/ 256429 w 1163902"/>
                      <a:gd name="connsiteY129" fmla="*/ 26002 h 69407"/>
                      <a:gd name="connsiteX130" fmla="*/ 256429 w 1163902"/>
                      <a:gd name="connsiteY130" fmla="*/ 44886 h 69407"/>
                      <a:gd name="connsiteX131" fmla="*/ 237544 w 1163902"/>
                      <a:gd name="connsiteY131" fmla="*/ 44886 h 69407"/>
                      <a:gd name="connsiteX132" fmla="*/ 211151 w 1163902"/>
                      <a:gd name="connsiteY132" fmla="*/ 26002 h 69407"/>
                      <a:gd name="connsiteX133" fmla="*/ 230035 w 1163902"/>
                      <a:gd name="connsiteY133" fmla="*/ 26002 h 69407"/>
                      <a:gd name="connsiteX134" fmla="*/ 230035 w 1163902"/>
                      <a:gd name="connsiteY134" fmla="*/ 44886 h 69407"/>
                      <a:gd name="connsiteX135" fmla="*/ 211151 w 1163902"/>
                      <a:gd name="connsiteY135" fmla="*/ 44886 h 69407"/>
                      <a:gd name="connsiteX136" fmla="*/ 184757 w 1163902"/>
                      <a:gd name="connsiteY136" fmla="*/ 26002 h 69407"/>
                      <a:gd name="connsiteX137" fmla="*/ 203642 w 1163902"/>
                      <a:gd name="connsiteY137" fmla="*/ 26002 h 69407"/>
                      <a:gd name="connsiteX138" fmla="*/ 203642 w 1163902"/>
                      <a:gd name="connsiteY138" fmla="*/ 44886 h 69407"/>
                      <a:gd name="connsiteX139" fmla="*/ 184757 w 1163902"/>
                      <a:gd name="connsiteY139" fmla="*/ 44886 h 69407"/>
                      <a:gd name="connsiteX140" fmla="*/ 158363 w 1163902"/>
                      <a:gd name="connsiteY140" fmla="*/ 26002 h 69407"/>
                      <a:gd name="connsiteX141" fmla="*/ 177248 w 1163902"/>
                      <a:gd name="connsiteY141" fmla="*/ 26002 h 69407"/>
                      <a:gd name="connsiteX142" fmla="*/ 177248 w 1163902"/>
                      <a:gd name="connsiteY142" fmla="*/ 44886 h 69407"/>
                      <a:gd name="connsiteX143" fmla="*/ 158363 w 1163902"/>
                      <a:gd name="connsiteY143" fmla="*/ 44886 h 69407"/>
                      <a:gd name="connsiteX144" fmla="*/ 131969 w 1163902"/>
                      <a:gd name="connsiteY144" fmla="*/ 26002 h 69407"/>
                      <a:gd name="connsiteX145" fmla="*/ 150854 w 1163902"/>
                      <a:gd name="connsiteY145" fmla="*/ 26002 h 69407"/>
                      <a:gd name="connsiteX146" fmla="*/ 150854 w 1163902"/>
                      <a:gd name="connsiteY146" fmla="*/ 44886 h 69407"/>
                      <a:gd name="connsiteX147" fmla="*/ 131969 w 1163902"/>
                      <a:gd name="connsiteY147" fmla="*/ 44886 h 69407"/>
                      <a:gd name="connsiteX148" fmla="*/ 105575 w 1163902"/>
                      <a:gd name="connsiteY148" fmla="*/ 26002 h 69407"/>
                      <a:gd name="connsiteX149" fmla="*/ 124460 w 1163902"/>
                      <a:gd name="connsiteY149" fmla="*/ 26002 h 69407"/>
                      <a:gd name="connsiteX150" fmla="*/ 124460 w 1163902"/>
                      <a:gd name="connsiteY150" fmla="*/ 44886 h 69407"/>
                      <a:gd name="connsiteX151" fmla="*/ 105575 w 1163902"/>
                      <a:gd name="connsiteY151" fmla="*/ 44886 h 69407"/>
                      <a:gd name="connsiteX152" fmla="*/ 79181 w 1163902"/>
                      <a:gd name="connsiteY152" fmla="*/ 26002 h 69407"/>
                      <a:gd name="connsiteX153" fmla="*/ 98066 w 1163902"/>
                      <a:gd name="connsiteY153" fmla="*/ 26002 h 69407"/>
                      <a:gd name="connsiteX154" fmla="*/ 98066 w 1163902"/>
                      <a:gd name="connsiteY154" fmla="*/ 44886 h 69407"/>
                      <a:gd name="connsiteX155" fmla="*/ 79181 w 1163902"/>
                      <a:gd name="connsiteY155" fmla="*/ 44886 h 69407"/>
                      <a:gd name="connsiteX156" fmla="*/ 52787 w 1163902"/>
                      <a:gd name="connsiteY156" fmla="*/ 26002 h 69407"/>
                      <a:gd name="connsiteX157" fmla="*/ 71672 w 1163902"/>
                      <a:gd name="connsiteY157" fmla="*/ 26002 h 69407"/>
                      <a:gd name="connsiteX158" fmla="*/ 71672 w 1163902"/>
                      <a:gd name="connsiteY158" fmla="*/ 44886 h 69407"/>
                      <a:gd name="connsiteX159" fmla="*/ 52787 w 1163902"/>
                      <a:gd name="connsiteY159" fmla="*/ 44886 h 69407"/>
                      <a:gd name="connsiteX160" fmla="*/ 26394 w 1163902"/>
                      <a:gd name="connsiteY160" fmla="*/ 26002 h 69407"/>
                      <a:gd name="connsiteX161" fmla="*/ 45278 w 1163902"/>
                      <a:gd name="connsiteY161" fmla="*/ 26002 h 69407"/>
                      <a:gd name="connsiteX162" fmla="*/ 45278 w 1163902"/>
                      <a:gd name="connsiteY162" fmla="*/ 44886 h 69407"/>
                      <a:gd name="connsiteX163" fmla="*/ 26394 w 1163902"/>
                      <a:gd name="connsiteY163" fmla="*/ 44886 h 69407"/>
                      <a:gd name="connsiteX164" fmla="*/ 0 w 1163902"/>
                      <a:gd name="connsiteY164" fmla="*/ 26002 h 69407"/>
                      <a:gd name="connsiteX165" fmla="*/ 18885 w 1163902"/>
                      <a:gd name="connsiteY165" fmla="*/ 26002 h 69407"/>
                      <a:gd name="connsiteX166" fmla="*/ 18885 w 1163902"/>
                      <a:gd name="connsiteY166" fmla="*/ 44886 h 69407"/>
                      <a:gd name="connsiteX167" fmla="*/ 0 w 1163902"/>
                      <a:gd name="connsiteY167" fmla="*/ 44886 h 69407"/>
                      <a:gd name="connsiteX168" fmla="*/ 1111181 w 1163902"/>
                      <a:gd name="connsiteY168" fmla="*/ 0 h 69407"/>
                      <a:gd name="connsiteX169" fmla="*/ 1163902 w 1163902"/>
                      <a:gd name="connsiteY169" fmla="*/ 34704 h 69407"/>
                      <a:gd name="connsiteX170" fmla="*/ 1111181 w 1163902"/>
                      <a:gd name="connsiteY170" fmla="*/ 69407 h 69407"/>
                      <a:gd name="connsiteX171" fmla="*/ 1111181 w 1163902"/>
                      <a:gd name="connsiteY171" fmla="*/ 44886 h 69407"/>
                      <a:gd name="connsiteX172" fmla="*/ 1110088 w 1163902"/>
                      <a:gd name="connsiteY172" fmla="*/ 44886 h 69407"/>
                      <a:gd name="connsiteX173" fmla="*/ 1110088 w 1163902"/>
                      <a:gd name="connsiteY173" fmla="*/ 26002 h 69407"/>
                      <a:gd name="connsiteX174" fmla="*/ 1111181 w 1163902"/>
                      <a:gd name="connsiteY174" fmla="*/ 26002 h 69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163902" h="69407">
                        <a:moveTo>
                          <a:pt x="1083694" y="26002"/>
                        </a:moveTo>
                        <a:lnTo>
                          <a:pt x="1102579" y="26002"/>
                        </a:lnTo>
                        <a:lnTo>
                          <a:pt x="1102579" y="44886"/>
                        </a:lnTo>
                        <a:lnTo>
                          <a:pt x="1083694" y="44886"/>
                        </a:lnTo>
                        <a:close/>
                        <a:moveTo>
                          <a:pt x="1057300" y="26002"/>
                        </a:moveTo>
                        <a:lnTo>
                          <a:pt x="1076185" y="26002"/>
                        </a:lnTo>
                        <a:lnTo>
                          <a:pt x="1076185" y="44886"/>
                        </a:lnTo>
                        <a:lnTo>
                          <a:pt x="1057300" y="44886"/>
                        </a:lnTo>
                        <a:close/>
                        <a:moveTo>
                          <a:pt x="1030907" y="26002"/>
                        </a:moveTo>
                        <a:lnTo>
                          <a:pt x="1049791" y="26002"/>
                        </a:lnTo>
                        <a:lnTo>
                          <a:pt x="1049791" y="44886"/>
                        </a:lnTo>
                        <a:lnTo>
                          <a:pt x="1030907" y="44886"/>
                        </a:lnTo>
                        <a:close/>
                        <a:moveTo>
                          <a:pt x="1004513" y="26002"/>
                        </a:moveTo>
                        <a:lnTo>
                          <a:pt x="1023398" y="26002"/>
                        </a:lnTo>
                        <a:lnTo>
                          <a:pt x="1023398" y="44886"/>
                        </a:lnTo>
                        <a:lnTo>
                          <a:pt x="1004513" y="44886"/>
                        </a:lnTo>
                        <a:close/>
                        <a:moveTo>
                          <a:pt x="978119" y="26002"/>
                        </a:moveTo>
                        <a:lnTo>
                          <a:pt x="997004" y="26002"/>
                        </a:lnTo>
                        <a:lnTo>
                          <a:pt x="997004" y="44886"/>
                        </a:lnTo>
                        <a:lnTo>
                          <a:pt x="978119" y="44886"/>
                        </a:lnTo>
                        <a:close/>
                        <a:moveTo>
                          <a:pt x="951725" y="26002"/>
                        </a:moveTo>
                        <a:lnTo>
                          <a:pt x="970610" y="26002"/>
                        </a:lnTo>
                        <a:lnTo>
                          <a:pt x="970610" y="44886"/>
                        </a:lnTo>
                        <a:lnTo>
                          <a:pt x="951725" y="44886"/>
                        </a:lnTo>
                        <a:close/>
                        <a:moveTo>
                          <a:pt x="925331" y="26002"/>
                        </a:moveTo>
                        <a:lnTo>
                          <a:pt x="944216" y="26002"/>
                        </a:lnTo>
                        <a:lnTo>
                          <a:pt x="944216" y="44886"/>
                        </a:lnTo>
                        <a:lnTo>
                          <a:pt x="925331" y="44886"/>
                        </a:lnTo>
                        <a:close/>
                        <a:moveTo>
                          <a:pt x="898937" y="26002"/>
                        </a:moveTo>
                        <a:lnTo>
                          <a:pt x="917822" y="26002"/>
                        </a:lnTo>
                        <a:lnTo>
                          <a:pt x="917822" y="44886"/>
                        </a:lnTo>
                        <a:lnTo>
                          <a:pt x="898937" y="44886"/>
                        </a:lnTo>
                        <a:close/>
                        <a:moveTo>
                          <a:pt x="872543" y="26002"/>
                        </a:moveTo>
                        <a:lnTo>
                          <a:pt x="891428" y="26002"/>
                        </a:lnTo>
                        <a:lnTo>
                          <a:pt x="891428" y="44886"/>
                        </a:lnTo>
                        <a:lnTo>
                          <a:pt x="872543" y="44886"/>
                        </a:lnTo>
                        <a:close/>
                        <a:moveTo>
                          <a:pt x="846150" y="26002"/>
                        </a:moveTo>
                        <a:lnTo>
                          <a:pt x="865034" y="26002"/>
                        </a:lnTo>
                        <a:lnTo>
                          <a:pt x="865034" y="44886"/>
                        </a:lnTo>
                        <a:lnTo>
                          <a:pt x="846150" y="44886"/>
                        </a:lnTo>
                        <a:close/>
                        <a:moveTo>
                          <a:pt x="819756" y="26002"/>
                        </a:moveTo>
                        <a:lnTo>
                          <a:pt x="838641" y="26002"/>
                        </a:lnTo>
                        <a:lnTo>
                          <a:pt x="838641" y="44886"/>
                        </a:lnTo>
                        <a:lnTo>
                          <a:pt x="819756" y="44886"/>
                        </a:lnTo>
                        <a:close/>
                        <a:moveTo>
                          <a:pt x="793362" y="26002"/>
                        </a:moveTo>
                        <a:lnTo>
                          <a:pt x="812247" y="26002"/>
                        </a:lnTo>
                        <a:lnTo>
                          <a:pt x="812247" y="44886"/>
                        </a:lnTo>
                        <a:lnTo>
                          <a:pt x="793362" y="44886"/>
                        </a:lnTo>
                        <a:close/>
                        <a:moveTo>
                          <a:pt x="766968" y="26002"/>
                        </a:moveTo>
                        <a:lnTo>
                          <a:pt x="785853" y="26002"/>
                        </a:lnTo>
                        <a:lnTo>
                          <a:pt x="785853" y="44886"/>
                        </a:lnTo>
                        <a:lnTo>
                          <a:pt x="766968" y="44886"/>
                        </a:lnTo>
                        <a:close/>
                        <a:moveTo>
                          <a:pt x="740574" y="26002"/>
                        </a:moveTo>
                        <a:lnTo>
                          <a:pt x="759459" y="26002"/>
                        </a:lnTo>
                        <a:lnTo>
                          <a:pt x="759459" y="44886"/>
                        </a:lnTo>
                        <a:lnTo>
                          <a:pt x="740574" y="44886"/>
                        </a:lnTo>
                        <a:close/>
                        <a:moveTo>
                          <a:pt x="712635" y="26002"/>
                        </a:moveTo>
                        <a:lnTo>
                          <a:pt x="731520" y="26002"/>
                        </a:lnTo>
                        <a:lnTo>
                          <a:pt x="731520" y="44886"/>
                        </a:lnTo>
                        <a:lnTo>
                          <a:pt x="712635" y="44886"/>
                        </a:lnTo>
                        <a:close/>
                        <a:moveTo>
                          <a:pt x="686240" y="26002"/>
                        </a:moveTo>
                        <a:lnTo>
                          <a:pt x="705125" y="26002"/>
                        </a:lnTo>
                        <a:lnTo>
                          <a:pt x="705125" y="44886"/>
                        </a:lnTo>
                        <a:lnTo>
                          <a:pt x="686240" y="44886"/>
                        </a:lnTo>
                        <a:close/>
                        <a:moveTo>
                          <a:pt x="659846" y="26002"/>
                        </a:moveTo>
                        <a:lnTo>
                          <a:pt x="678731" y="26002"/>
                        </a:lnTo>
                        <a:lnTo>
                          <a:pt x="678731" y="44886"/>
                        </a:lnTo>
                        <a:lnTo>
                          <a:pt x="659846" y="44886"/>
                        </a:lnTo>
                        <a:close/>
                        <a:moveTo>
                          <a:pt x="633452" y="26002"/>
                        </a:moveTo>
                        <a:lnTo>
                          <a:pt x="652337" y="26002"/>
                        </a:lnTo>
                        <a:lnTo>
                          <a:pt x="652337" y="44886"/>
                        </a:lnTo>
                        <a:lnTo>
                          <a:pt x="633452" y="44886"/>
                        </a:lnTo>
                        <a:close/>
                        <a:moveTo>
                          <a:pt x="607058" y="26002"/>
                        </a:moveTo>
                        <a:lnTo>
                          <a:pt x="625943" y="26002"/>
                        </a:lnTo>
                        <a:lnTo>
                          <a:pt x="625943" y="44886"/>
                        </a:lnTo>
                        <a:lnTo>
                          <a:pt x="607058" y="44886"/>
                        </a:lnTo>
                        <a:close/>
                        <a:moveTo>
                          <a:pt x="580664" y="26002"/>
                        </a:moveTo>
                        <a:lnTo>
                          <a:pt x="599549" y="26002"/>
                        </a:lnTo>
                        <a:lnTo>
                          <a:pt x="599549" y="44886"/>
                        </a:lnTo>
                        <a:lnTo>
                          <a:pt x="580664" y="44886"/>
                        </a:lnTo>
                        <a:close/>
                        <a:moveTo>
                          <a:pt x="554271" y="26002"/>
                        </a:moveTo>
                        <a:lnTo>
                          <a:pt x="573155" y="26002"/>
                        </a:lnTo>
                        <a:lnTo>
                          <a:pt x="573155" y="44886"/>
                        </a:lnTo>
                        <a:lnTo>
                          <a:pt x="554271" y="44886"/>
                        </a:lnTo>
                        <a:close/>
                        <a:moveTo>
                          <a:pt x="527877" y="26002"/>
                        </a:moveTo>
                        <a:lnTo>
                          <a:pt x="546762" y="26002"/>
                        </a:lnTo>
                        <a:lnTo>
                          <a:pt x="546762" y="44886"/>
                        </a:lnTo>
                        <a:lnTo>
                          <a:pt x="527877" y="44886"/>
                        </a:lnTo>
                        <a:close/>
                        <a:moveTo>
                          <a:pt x="501483" y="26002"/>
                        </a:moveTo>
                        <a:lnTo>
                          <a:pt x="520368" y="26002"/>
                        </a:lnTo>
                        <a:lnTo>
                          <a:pt x="520368" y="44886"/>
                        </a:lnTo>
                        <a:lnTo>
                          <a:pt x="501483" y="44886"/>
                        </a:lnTo>
                        <a:close/>
                        <a:moveTo>
                          <a:pt x="475089" y="26002"/>
                        </a:moveTo>
                        <a:lnTo>
                          <a:pt x="493974" y="26002"/>
                        </a:lnTo>
                        <a:lnTo>
                          <a:pt x="493974" y="44886"/>
                        </a:lnTo>
                        <a:lnTo>
                          <a:pt x="475089" y="44886"/>
                        </a:lnTo>
                        <a:close/>
                        <a:moveTo>
                          <a:pt x="448695" y="26002"/>
                        </a:moveTo>
                        <a:lnTo>
                          <a:pt x="467580" y="26002"/>
                        </a:lnTo>
                        <a:lnTo>
                          <a:pt x="467580" y="44886"/>
                        </a:lnTo>
                        <a:lnTo>
                          <a:pt x="448695" y="44886"/>
                        </a:lnTo>
                        <a:close/>
                        <a:moveTo>
                          <a:pt x="422301" y="26002"/>
                        </a:moveTo>
                        <a:lnTo>
                          <a:pt x="441186" y="26002"/>
                        </a:lnTo>
                        <a:lnTo>
                          <a:pt x="441186" y="44886"/>
                        </a:lnTo>
                        <a:lnTo>
                          <a:pt x="422301" y="44886"/>
                        </a:lnTo>
                        <a:close/>
                        <a:moveTo>
                          <a:pt x="395908" y="26002"/>
                        </a:moveTo>
                        <a:lnTo>
                          <a:pt x="414792" y="26002"/>
                        </a:lnTo>
                        <a:lnTo>
                          <a:pt x="414792" y="44886"/>
                        </a:lnTo>
                        <a:lnTo>
                          <a:pt x="395908" y="44886"/>
                        </a:lnTo>
                        <a:close/>
                        <a:moveTo>
                          <a:pt x="369514" y="26002"/>
                        </a:moveTo>
                        <a:lnTo>
                          <a:pt x="388398" y="26002"/>
                        </a:lnTo>
                        <a:lnTo>
                          <a:pt x="388398" y="44886"/>
                        </a:lnTo>
                        <a:lnTo>
                          <a:pt x="369514" y="44886"/>
                        </a:lnTo>
                        <a:close/>
                        <a:moveTo>
                          <a:pt x="343120" y="26002"/>
                        </a:moveTo>
                        <a:lnTo>
                          <a:pt x="362005" y="26002"/>
                        </a:lnTo>
                        <a:lnTo>
                          <a:pt x="362005" y="44886"/>
                        </a:lnTo>
                        <a:lnTo>
                          <a:pt x="343120" y="44886"/>
                        </a:lnTo>
                        <a:close/>
                        <a:moveTo>
                          <a:pt x="316726" y="26002"/>
                        </a:moveTo>
                        <a:lnTo>
                          <a:pt x="335611" y="26002"/>
                        </a:lnTo>
                        <a:lnTo>
                          <a:pt x="335611" y="44886"/>
                        </a:lnTo>
                        <a:lnTo>
                          <a:pt x="316726" y="44886"/>
                        </a:lnTo>
                        <a:close/>
                        <a:moveTo>
                          <a:pt x="290332" y="26002"/>
                        </a:moveTo>
                        <a:lnTo>
                          <a:pt x="309217" y="26002"/>
                        </a:lnTo>
                        <a:lnTo>
                          <a:pt x="309217" y="44886"/>
                        </a:lnTo>
                        <a:lnTo>
                          <a:pt x="290332" y="44886"/>
                        </a:lnTo>
                        <a:close/>
                        <a:moveTo>
                          <a:pt x="263938" y="26002"/>
                        </a:moveTo>
                        <a:lnTo>
                          <a:pt x="282823" y="26002"/>
                        </a:lnTo>
                        <a:lnTo>
                          <a:pt x="282823" y="44886"/>
                        </a:lnTo>
                        <a:lnTo>
                          <a:pt x="263938" y="44886"/>
                        </a:lnTo>
                        <a:close/>
                        <a:moveTo>
                          <a:pt x="237544" y="26002"/>
                        </a:moveTo>
                        <a:lnTo>
                          <a:pt x="256429" y="26002"/>
                        </a:lnTo>
                        <a:lnTo>
                          <a:pt x="256429" y="44886"/>
                        </a:lnTo>
                        <a:lnTo>
                          <a:pt x="237544" y="44886"/>
                        </a:lnTo>
                        <a:close/>
                        <a:moveTo>
                          <a:pt x="211151" y="26002"/>
                        </a:moveTo>
                        <a:lnTo>
                          <a:pt x="230035" y="26002"/>
                        </a:lnTo>
                        <a:lnTo>
                          <a:pt x="230035" y="44886"/>
                        </a:lnTo>
                        <a:lnTo>
                          <a:pt x="211151" y="44886"/>
                        </a:lnTo>
                        <a:close/>
                        <a:moveTo>
                          <a:pt x="184757" y="26002"/>
                        </a:moveTo>
                        <a:lnTo>
                          <a:pt x="203642" y="26002"/>
                        </a:lnTo>
                        <a:lnTo>
                          <a:pt x="203642" y="44886"/>
                        </a:lnTo>
                        <a:lnTo>
                          <a:pt x="184757" y="44886"/>
                        </a:lnTo>
                        <a:close/>
                        <a:moveTo>
                          <a:pt x="158363" y="26002"/>
                        </a:moveTo>
                        <a:lnTo>
                          <a:pt x="177248" y="26002"/>
                        </a:lnTo>
                        <a:lnTo>
                          <a:pt x="177248" y="44886"/>
                        </a:lnTo>
                        <a:lnTo>
                          <a:pt x="158363" y="44886"/>
                        </a:lnTo>
                        <a:close/>
                        <a:moveTo>
                          <a:pt x="131969" y="26002"/>
                        </a:moveTo>
                        <a:lnTo>
                          <a:pt x="150854" y="26002"/>
                        </a:lnTo>
                        <a:lnTo>
                          <a:pt x="150854" y="44886"/>
                        </a:lnTo>
                        <a:lnTo>
                          <a:pt x="131969" y="44886"/>
                        </a:lnTo>
                        <a:close/>
                        <a:moveTo>
                          <a:pt x="105575" y="26002"/>
                        </a:moveTo>
                        <a:lnTo>
                          <a:pt x="124460" y="26002"/>
                        </a:lnTo>
                        <a:lnTo>
                          <a:pt x="124460" y="44886"/>
                        </a:lnTo>
                        <a:lnTo>
                          <a:pt x="105575" y="44886"/>
                        </a:lnTo>
                        <a:close/>
                        <a:moveTo>
                          <a:pt x="79181" y="26002"/>
                        </a:moveTo>
                        <a:lnTo>
                          <a:pt x="98066" y="26002"/>
                        </a:lnTo>
                        <a:lnTo>
                          <a:pt x="98066" y="44886"/>
                        </a:lnTo>
                        <a:lnTo>
                          <a:pt x="79181" y="44886"/>
                        </a:lnTo>
                        <a:close/>
                        <a:moveTo>
                          <a:pt x="52787" y="26002"/>
                        </a:moveTo>
                        <a:lnTo>
                          <a:pt x="71672" y="26002"/>
                        </a:lnTo>
                        <a:lnTo>
                          <a:pt x="71672" y="44886"/>
                        </a:lnTo>
                        <a:lnTo>
                          <a:pt x="52787" y="44886"/>
                        </a:lnTo>
                        <a:close/>
                        <a:moveTo>
                          <a:pt x="26394" y="26002"/>
                        </a:moveTo>
                        <a:lnTo>
                          <a:pt x="45278" y="26002"/>
                        </a:lnTo>
                        <a:lnTo>
                          <a:pt x="45278" y="44886"/>
                        </a:lnTo>
                        <a:lnTo>
                          <a:pt x="26394" y="44886"/>
                        </a:lnTo>
                        <a:close/>
                        <a:moveTo>
                          <a:pt x="0" y="26002"/>
                        </a:moveTo>
                        <a:lnTo>
                          <a:pt x="18885" y="26002"/>
                        </a:lnTo>
                        <a:lnTo>
                          <a:pt x="18885" y="44886"/>
                        </a:lnTo>
                        <a:lnTo>
                          <a:pt x="0" y="44886"/>
                        </a:lnTo>
                        <a:close/>
                        <a:moveTo>
                          <a:pt x="1111181" y="0"/>
                        </a:moveTo>
                        <a:lnTo>
                          <a:pt x="1163902" y="34704"/>
                        </a:lnTo>
                        <a:lnTo>
                          <a:pt x="1111181" y="69407"/>
                        </a:lnTo>
                        <a:lnTo>
                          <a:pt x="1111181" y="44886"/>
                        </a:lnTo>
                        <a:lnTo>
                          <a:pt x="1110088" y="44886"/>
                        </a:lnTo>
                        <a:lnTo>
                          <a:pt x="1110088" y="26002"/>
                        </a:lnTo>
                        <a:lnTo>
                          <a:pt x="1111181" y="26002"/>
                        </a:lnTo>
                        <a:close/>
                      </a:path>
                    </a:pathLst>
                  </a:custGeom>
                  <a:solidFill>
                    <a:srgbClr val="58B3D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grpSp>
                <p:nvGrpSpPr>
                  <p:cNvPr id="1221" name="Group 1220">
                    <a:extLst>
                      <a:ext uri="{FF2B5EF4-FFF2-40B4-BE49-F238E27FC236}">
                        <a16:creationId xmlns:a16="http://schemas.microsoft.com/office/drawing/2014/main" id="{1B0B532A-76A2-43FA-96F1-8992E2F1F268}"/>
                      </a:ext>
                    </a:extLst>
                  </p:cNvPr>
                  <p:cNvGrpSpPr/>
                  <p:nvPr/>
                </p:nvGrpSpPr>
                <p:grpSpPr>
                  <a:xfrm>
                    <a:off x="4877410" y="5321735"/>
                    <a:ext cx="1140385" cy="185737"/>
                    <a:chOff x="4877410" y="5321735"/>
                    <a:chExt cx="1140385" cy="185737"/>
                  </a:xfrm>
                </p:grpSpPr>
                <p:grpSp>
                  <p:nvGrpSpPr>
                    <p:cNvPr id="1222" name="Group 1221">
                      <a:extLst>
                        <a:ext uri="{FF2B5EF4-FFF2-40B4-BE49-F238E27FC236}">
                          <a16:creationId xmlns:a16="http://schemas.microsoft.com/office/drawing/2014/main" id="{4EC8542E-2A07-4D93-8AC2-FFE238C2A9B4}"/>
                        </a:ext>
                      </a:extLst>
                    </p:cNvPr>
                    <p:cNvGrpSpPr/>
                    <p:nvPr/>
                  </p:nvGrpSpPr>
                  <p:grpSpPr>
                    <a:xfrm>
                      <a:off x="5544448" y="5321735"/>
                      <a:ext cx="190838" cy="185737"/>
                      <a:chOff x="5652683" y="1636246"/>
                      <a:chExt cx="3791758" cy="3791758"/>
                    </a:xfrm>
                  </p:grpSpPr>
                  <p:sp>
                    <p:nvSpPr>
                      <p:cNvPr id="1242" name="Oval 1241">
                        <a:extLst>
                          <a:ext uri="{FF2B5EF4-FFF2-40B4-BE49-F238E27FC236}">
                            <a16:creationId xmlns:a16="http://schemas.microsoft.com/office/drawing/2014/main" id="{1F9CBDFC-5EA1-477E-A1CC-B9D0043E651A}"/>
                          </a:ext>
                        </a:extLst>
                      </p:cNvPr>
                      <p:cNvSpPr/>
                      <p:nvPr/>
                    </p:nvSpPr>
                    <p:spPr>
                      <a:xfrm>
                        <a:off x="5652683" y="1636246"/>
                        <a:ext cx="3791758" cy="3791758"/>
                      </a:xfrm>
                      <a:prstGeom prst="ellipse">
                        <a:avLst/>
                      </a:prstGeom>
                      <a:solidFill>
                        <a:srgbClr val="BAD80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243" name="Oval 1242">
                        <a:extLst>
                          <a:ext uri="{FF2B5EF4-FFF2-40B4-BE49-F238E27FC236}">
                            <a16:creationId xmlns:a16="http://schemas.microsoft.com/office/drawing/2014/main" id="{B482689A-C6EE-44EC-934F-1697996241BC}"/>
                          </a:ext>
                        </a:extLst>
                      </p:cNvPr>
                      <p:cNvSpPr/>
                      <p:nvPr/>
                    </p:nvSpPr>
                    <p:spPr>
                      <a:xfrm>
                        <a:off x="5974946" y="1932012"/>
                        <a:ext cx="3147232" cy="3147232"/>
                      </a:xfrm>
                      <a:prstGeom prst="ellipse">
                        <a:avLst/>
                      </a:prstGeom>
                      <a:solidFill>
                        <a:srgbClr val="FFFFFF"/>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244" name="Freeform 91">
                        <a:extLst>
                          <a:ext uri="{FF2B5EF4-FFF2-40B4-BE49-F238E27FC236}">
                            <a16:creationId xmlns:a16="http://schemas.microsoft.com/office/drawing/2014/main" id="{151C3357-4F50-4214-B56E-AC701191EFD5}"/>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245" name="Rounded Rectangle 92">
                        <a:extLst>
                          <a:ext uri="{FF2B5EF4-FFF2-40B4-BE49-F238E27FC236}">
                            <a16:creationId xmlns:a16="http://schemas.microsoft.com/office/drawing/2014/main" id="{C1320068-83FA-4A11-B0D9-E5E0FFF93715}"/>
                          </a:ext>
                        </a:extLst>
                      </p:cNvPr>
                      <p:cNvSpPr/>
                      <p:nvPr/>
                    </p:nvSpPr>
                    <p:spPr>
                      <a:xfrm>
                        <a:off x="7498946" y="3360193"/>
                        <a:ext cx="1447800" cy="290870"/>
                      </a:xfrm>
                      <a:prstGeom prst="roundRect">
                        <a:avLst>
                          <a:gd name="adj" fmla="val 50000"/>
                        </a:avLst>
                      </a:prstGeom>
                      <a:solidFill>
                        <a:srgbClr val="E6E6E6"/>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246" name="Oval 1245">
                        <a:extLst>
                          <a:ext uri="{FF2B5EF4-FFF2-40B4-BE49-F238E27FC236}">
                            <a16:creationId xmlns:a16="http://schemas.microsoft.com/office/drawing/2014/main" id="{A4A95FE4-B6AF-48FB-8F27-4555D6BBF120}"/>
                          </a:ext>
                        </a:extLst>
                      </p:cNvPr>
                      <p:cNvSpPr/>
                      <p:nvPr/>
                    </p:nvSpPr>
                    <p:spPr>
                      <a:xfrm>
                        <a:off x="7294564" y="3236912"/>
                        <a:ext cx="546099" cy="546099"/>
                      </a:xfrm>
                      <a:prstGeom prst="ellipse">
                        <a:avLst/>
                      </a:prstGeom>
                      <a:solidFill>
                        <a:srgbClr val="E6E6E6"/>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1223" name="Group 1222">
                      <a:extLst>
                        <a:ext uri="{FF2B5EF4-FFF2-40B4-BE49-F238E27FC236}">
                          <a16:creationId xmlns:a16="http://schemas.microsoft.com/office/drawing/2014/main" id="{DF81C1DA-7B05-494D-BEB5-AAF88B025465}"/>
                        </a:ext>
                      </a:extLst>
                    </p:cNvPr>
                    <p:cNvGrpSpPr/>
                    <p:nvPr/>
                  </p:nvGrpSpPr>
                  <p:grpSpPr>
                    <a:xfrm>
                      <a:off x="5229625" y="5330499"/>
                      <a:ext cx="160179" cy="153308"/>
                      <a:chOff x="4870626" y="2658174"/>
                      <a:chExt cx="903709" cy="807852"/>
                    </a:xfrm>
                  </p:grpSpPr>
                  <p:grpSp>
                    <p:nvGrpSpPr>
                      <p:cNvPr id="1234" name="Group 1233">
                        <a:extLst>
                          <a:ext uri="{FF2B5EF4-FFF2-40B4-BE49-F238E27FC236}">
                            <a16:creationId xmlns:a16="http://schemas.microsoft.com/office/drawing/2014/main" id="{93B029C2-6882-4037-AFA3-B7EB432CDFCD}"/>
                          </a:ext>
                        </a:extLst>
                      </p:cNvPr>
                      <p:cNvGrpSpPr/>
                      <p:nvPr/>
                    </p:nvGrpSpPr>
                    <p:grpSpPr>
                      <a:xfrm>
                        <a:off x="4870626" y="2658174"/>
                        <a:ext cx="663633" cy="595577"/>
                        <a:chOff x="3393735" y="1575630"/>
                        <a:chExt cx="335303" cy="300917"/>
                      </a:xfrm>
                    </p:grpSpPr>
                    <p:sp>
                      <p:nvSpPr>
                        <p:cNvPr id="1239" name="Rounded Rectangle 348">
                          <a:extLst>
                            <a:ext uri="{FF2B5EF4-FFF2-40B4-BE49-F238E27FC236}">
                              <a16:creationId xmlns:a16="http://schemas.microsoft.com/office/drawing/2014/main" id="{D412EA31-1A51-4499-BC83-BF23452C4AF4}"/>
                            </a:ext>
                          </a:extLst>
                        </p:cNvPr>
                        <p:cNvSpPr/>
                        <p:nvPr/>
                      </p:nvSpPr>
                      <p:spPr>
                        <a:xfrm>
                          <a:off x="3393735" y="1577644"/>
                          <a:ext cx="335303" cy="298903"/>
                        </a:xfrm>
                        <a:prstGeom prst="roundRect">
                          <a:avLst>
                            <a:gd name="adj" fmla="val 7107"/>
                          </a:avLst>
                        </a:prstGeom>
                        <a:solidFill>
                          <a:srgbClr val="4DA3CC"/>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240" name="Round Same Side Corner Rectangle 349">
                          <a:extLst>
                            <a:ext uri="{FF2B5EF4-FFF2-40B4-BE49-F238E27FC236}">
                              <a16:creationId xmlns:a16="http://schemas.microsoft.com/office/drawing/2014/main" id="{FF6CE5CC-6520-4B3B-B278-A0C28D905EB3}"/>
                            </a:ext>
                          </a:extLst>
                        </p:cNvPr>
                        <p:cNvSpPr/>
                        <p:nvPr/>
                      </p:nvSpPr>
                      <p:spPr>
                        <a:xfrm>
                          <a:off x="3393735" y="1577644"/>
                          <a:ext cx="335303" cy="50709"/>
                        </a:xfrm>
                        <a:prstGeom prst="round2SameRect">
                          <a:avLst>
                            <a:gd name="adj1" fmla="val 26060"/>
                            <a:gd name="adj2" fmla="val 0"/>
                          </a:avLst>
                        </a:prstGeom>
                        <a:solidFill>
                          <a:srgbClr val="B9B9B9"/>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241" name="Freeform 350">
                          <a:extLst>
                            <a:ext uri="{FF2B5EF4-FFF2-40B4-BE49-F238E27FC236}">
                              <a16:creationId xmlns:a16="http://schemas.microsoft.com/office/drawing/2014/main" id="{37826BA2-7293-4049-91AC-2B73BB7976CE}"/>
                            </a:ext>
                          </a:extLst>
                        </p:cNvPr>
                        <p:cNvSpPr/>
                        <p:nvPr/>
                      </p:nvSpPr>
                      <p:spPr>
                        <a:xfrm>
                          <a:off x="3519380" y="1575630"/>
                          <a:ext cx="209658" cy="298903"/>
                        </a:xfrm>
                        <a:custGeom>
                          <a:avLst/>
                          <a:gdLst>
                            <a:gd name="connsiteX0" fmla="*/ 146969 w 209658"/>
                            <a:gd name="connsiteY0" fmla="*/ 0 h 298903"/>
                            <a:gd name="connsiteX1" fmla="*/ 188415 w 209658"/>
                            <a:gd name="connsiteY1" fmla="*/ 0 h 298903"/>
                            <a:gd name="connsiteX2" fmla="*/ 209658 w 209658"/>
                            <a:gd name="connsiteY2" fmla="*/ 21243 h 298903"/>
                            <a:gd name="connsiteX3" fmla="*/ 209658 w 209658"/>
                            <a:gd name="connsiteY3" fmla="*/ 277660 h 298903"/>
                            <a:gd name="connsiteX4" fmla="*/ 188415 w 209658"/>
                            <a:gd name="connsiteY4" fmla="*/ 298903 h 298903"/>
                            <a:gd name="connsiteX5" fmla="*/ 0 w 209658"/>
                            <a:gd name="connsiteY5" fmla="*/ 298903 h 2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58" h="298903">
                              <a:moveTo>
                                <a:pt x="146969" y="0"/>
                              </a:moveTo>
                              <a:lnTo>
                                <a:pt x="188415" y="0"/>
                              </a:lnTo>
                              <a:cubicBezTo>
                                <a:pt x="200147" y="0"/>
                                <a:pt x="209658" y="9511"/>
                                <a:pt x="209658" y="21243"/>
                              </a:cubicBezTo>
                              <a:lnTo>
                                <a:pt x="209658" y="277660"/>
                              </a:lnTo>
                              <a:cubicBezTo>
                                <a:pt x="209658" y="289392"/>
                                <a:pt x="200147" y="298903"/>
                                <a:pt x="188415" y="298903"/>
                              </a:cubicBezTo>
                              <a:lnTo>
                                <a:pt x="0" y="298903"/>
                              </a:lnTo>
                              <a:close/>
                            </a:path>
                          </a:pathLst>
                        </a:custGeom>
                        <a:solidFill>
                          <a:srgbClr val="000000">
                            <a:alpha val="16863"/>
                          </a:srgbClr>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1235" name="Group 1234">
                        <a:extLst>
                          <a:ext uri="{FF2B5EF4-FFF2-40B4-BE49-F238E27FC236}">
                            <a16:creationId xmlns:a16="http://schemas.microsoft.com/office/drawing/2014/main" id="{DD0AADBA-AFFB-4762-ACDE-777DFAF64E2F}"/>
                          </a:ext>
                        </a:extLst>
                      </p:cNvPr>
                      <p:cNvGrpSpPr/>
                      <p:nvPr/>
                    </p:nvGrpSpPr>
                    <p:grpSpPr>
                      <a:xfrm>
                        <a:off x="5110702" y="2870449"/>
                        <a:ext cx="663633" cy="595577"/>
                        <a:chOff x="3393735" y="1575630"/>
                        <a:chExt cx="335303" cy="300917"/>
                      </a:xfrm>
                    </p:grpSpPr>
                    <p:sp>
                      <p:nvSpPr>
                        <p:cNvPr id="1236" name="Rounded Rectangle 345">
                          <a:extLst>
                            <a:ext uri="{FF2B5EF4-FFF2-40B4-BE49-F238E27FC236}">
                              <a16:creationId xmlns:a16="http://schemas.microsoft.com/office/drawing/2014/main" id="{7739DD68-A8F2-45F9-8472-12E568286D9A}"/>
                            </a:ext>
                          </a:extLst>
                        </p:cNvPr>
                        <p:cNvSpPr/>
                        <p:nvPr/>
                      </p:nvSpPr>
                      <p:spPr>
                        <a:xfrm>
                          <a:off x="3393735" y="1577644"/>
                          <a:ext cx="335303" cy="298903"/>
                        </a:xfrm>
                        <a:prstGeom prst="roundRect">
                          <a:avLst>
                            <a:gd name="adj" fmla="val 7107"/>
                          </a:avLst>
                        </a:prstGeom>
                        <a:solidFill>
                          <a:srgbClr val="338ED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237" name="Round Same Side Corner Rectangle 346">
                          <a:extLst>
                            <a:ext uri="{FF2B5EF4-FFF2-40B4-BE49-F238E27FC236}">
                              <a16:creationId xmlns:a16="http://schemas.microsoft.com/office/drawing/2014/main" id="{0974D325-B9DD-455E-B763-0D6E10A3EB9D}"/>
                            </a:ext>
                          </a:extLst>
                        </p:cNvPr>
                        <p:cNvSpPr/>
                        <p:nvPr/>
                      </p:nvSpPr>
                      <p:spPr>
                        <a:xfrm>
                          <a:off x="3393735" y="1577644"/>
                          <a:ext cx="335303" cy="50709"/>
                        </a:xfrm>
                        <a:prstGeom prst="round2SameRect">
                          <a:avLst>
                            <a:gd name="adj1" fmla="val 26060"/>
                            <a:gd name="adj2" fmla="val 0"/>
                          </a:avLst>
                        </a:prstGeom>
                        <a:solidFill>
                          <a:srgbClr val="65656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238" name="Freeform 347">
                          <a:extLst>
                            <a:ext uri="{FF2B5EF4-FFF2-40B4-BE49-F238E27FC236}">
                              <a16:creationId xmlns:a16="http://schemas.microsoft.com/office/drawing/2014/main" id="{7CFA0728-FAB2-4A4D-ADD9-24B3A3F6A077}"/>
                            </a:ext>
                          </a:extLst>
                        </p:cNvPr>
                        <p:cNvSpPr/>
                        <p:nvPr/>
                      </p:nvSpPr>
                      <p:spPr>
                        <a:xfrm>
                          <a:off x="3519380" y="1575630"/>
                          <a:ext cx="209658" cy="298903"/>
                        </a:xfrm>
                        <a:custGeom>
                          <a:avLst/>
                          <a:gdLst>
                            <a:gd name="connsiteX0" fmla="*/ 146969 w 209658"/>
                            <a:gd name="connsiteY0" fmla="*/ 0 h 298903"/>
                            <a:gd name="connsiteX1" fmla="*/ 188415 w 209658"/>
                            <a:gd name="connsiteY1" fmla="*/ 0 h 298903"/>
                            <a:gd name="connsiteX2" fmla="*/ 209658 w 209658"/>
                            <a:gd name="connsiteY2" fmla="*/ 21243 h 298903"/>
                            <a:gd name="connsiteX3" fmla="*/ 209658 w 209658"/>
                            <a:gd name="connsiteY3" fmla="*/ 277660 h 298903"/>
                            <a:gd name="connsiteX4" fmla="*/ 188415 w 209658"/>
                            <a:gd name="connsiteY4" fmla="*/ 298903 h 298903"/>
                            <a:gd name="connsiteX5" fmla="*/ 0 w 209658"/>
                            <a:gd name="connsiteY5" fmla="*/ 298903 h 2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58" h="298903">
                              <a:moveTo>
                                <a:pt x="146969" y="0"/>
                              </a:moveTo>
                              <a:lnTo>
                                <a:pt x="188415" y="0"/>
                              </a:lnTo>
                              <a:cubicBezTo>
                                <a:pt x="200147" y="0"/>
                                <a:pt x="209658" y="9511"/>
                                <a:pt x="209658" y="21243"/>
                              </a:cubicBezTo>
                              <a:lnTo>
                                <a:pt x="209658" y="277660"/>
                              </a:lnTo>
                              <a:cubicBezTo>
                                <a:pt x="209658" y="289392"/>
                                <a:pt x="200147" y="298903"/>
                                <a:pt x="188415" y="298903"/>
                              </a:cubicBezTo>
                              <a:lnTo>
                                <a:pt x="0" y="298903"/>
                              </a:lnTo>
                              <a:close/>
                            </a:path>
                          </a:pathLst>
                        </a:custGeom>
                        <a:solidFill>
                          <a:srgbClr val="000000">
                            <a:alpha val="16863"/>
                          </a:srgbClr>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grpSp>
                  <p:nvGrpSpPr>
                    <p:cNvPr id="1224" name="Group 1223">
                      <a:extLst>
                        <a:ext uri="{FF2B5EF4-FFF2-40B4-BE49-F238E27FC236}">
                          <a16:creationId xmlns:a16="http://schemas.microsoft.com/office/drawing/2014/main" id="{F7E18BFB-8FCE-41FD-B31A-72C04828B5ED}"/>
                        </a:ext>
                      </a:extLst>
                    </p:cNvPr>
                    <p:cNvGrpSpPr/>
                    <p:nvPr/>
                  </p:nvGrpSpPr>
                  <p:grpSpPr>
                    <a:xfrm>
                      <a:off x="5859812" y="5327089"/>
                      <a:ext cx="157983" cy="145053"/>
                      <a:chOff x="-594587" y="2618847"/>
                      <a:chExt cx="651178" cy="597883"/>
                    </a:xfrm>
                  </p:grpSpPr>
                  <p:grpSp>
                    <p:nvGrpSpPr>
                      <p:cNvPr id="1228" name="Group 1227">
                        <a:extLst>
                          <a:ext uri="{FF2B5EF4-FFF2-40B4-BE49-F238E27FC236}">
                            <a16:creationId xmlns:a16="http://schemas.microsoft.com/office/drawing/2014/main" id="{DE87E233-CF79-4E88-95DD-EF7850302068}"/>
                          </a:ext>
                        </a:extLst>
                      </p:cNvPr>
                      <p:cNvGrpSpPr/>
                      <p:nvPr/>
                    </p:nvGrpSpPr>
                    <p:grpSpPr>
                      <a:xfrm>
                        <a:off x="-594587" y="2806085"/>
                        <a:ext cx="608911" cy="410645"/>
                        <a:chOff x="-594587" y="2806085"/>
                        <a:chExt cx="608911" cy="410645"/>
                      </a:xfrm>
                    </p:grpSpPr>
                    <p:sp>
                      <p:nvSpPr>
                        <p:cNvPr id="1230" name="Rectangle 1229">
                          <a:extLst>
                            <a:ext uri="{FF2B5EF4-FFF2-40B4-BE49-F238E27FC236}">
                              <a16:creationId xmlns:a16="http://schemas.microsoft.com/office/drawing/2014/main" id="{9FB93661-AB27-4DC3-BCBF-48A35023E3B8}"/>
                            </a:ext>
                          </a:extLst>
                        </p:cNvPr>
                        <p:cNvSpPr/>
                        <p:nvPr/>
                      </p:nvSpPr>
                      <p:spPr bwMode="auto">
                        <a:xfrm>
                          <a:off x="-594587" y="2885997"/>
                          <a:ext cx="113086" cy="330733"/>
                        </a:xfrm>
                        <a:prstGeom prst="rect">
                          <a:avLst/>
                        </a:prstGeom>
                        <a:solidFill>
                          <a:srgbClr val="0071C5"/>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231" name="Rectangle 1230">
                          <a:extLst>
                            <a:ext uri="{FF2B5EF4-FFF2-40B4-BE49-F238E27FC236}">
                              <a16:creationId xmlns:a16="http://schemas.microsoft.com/office/drawing/2014/main" id="{D486F607-0C01-42A8-B36E-779505570A46}"/>
                            </a:ext>
                          </a:extLst>
                        </p:cNvPr>
                        <p:cNvSpPr/>
                        <p:nvPr/>
                      </p:nvSpPr>
                      <p:spPr bwMode="auto">
                        <a:xfrm>
                          <a:off x="-429312" y="2806085"/>
                          <a:ext cx="113086" cy="410645"/>
                        </a:xfrm>
                        <a:prstGeom prst="rect">
                          <a:avLst/>
                        </a:prstGeom>
                        <a:solidFill>
                          <a:srgbClr val="5EB5D9"/>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232" name="Rectangle 1231">
                          <a:extLst>
                            <a:ext uri="{FF2B5EF4-FFF2-40B4-BE49-F238E27FC236}">
                              <a16:creationId xmlns:a16="http://schemas.microsoft.com/office/drawing/2014/main" id="{E8EF246E-71C6-4716-99BC-07184266BF82}"/>
                            </a:ext>
                          </a:extLst>
                        </p:cNvPr>
                        <p:cNvSpPr/>
                        <p:nvPr/>
                      </p:nvSpPr>
                      <p:spPr bwMode="auto">
                        <a:xfrm>
                          <a:off x="-98762" y="2837090"/>
                          <a:ext cx="113086" cy="379640"/>
                        </a:xfrm>
                        <a:prstGeom prst="rect">
                          <a:avLst/>
                        </a:prstGeom>
                        <a:solidFill>
                          <a:srgbClr val="0071C5"/>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233" name="Rectangle 1232">
                          <a:extLst>
                            <a:ext uri="{FF2B5EF4-FFF2-40B4-BE49-F238E27FC236}">
                              <a16:creationId xmlns:a16="http://schemas.microsoft.com/office/drawing/2014/main" id="{02593D47-1E29-4DB3-BC99-1EEEFDF13979}"/>
                            </a:ext>
                          </a:extLst>
                        </p:cNvPr>
                        <p:cNvSpPr/>
                        <p:nvPr/>
                      </p:nvSpPr>
                      <p:spPr bwMode="auto">
                        <a:xfrm>
                          <a:off x="-264037" y="2943226"/>
                          <a:ext cx="113086" cy="273504"/>
                        </a:xfrm>
                        <a:prstGeom prst="rect">
                          <a:avLst/>
                        </a:prstGeom>
                        <a:solidFill>
                          <a:srgbClr val="3998C5"/>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grpSp>
                  <p:sp>
                    <p:nvSpPr>
                      <p:cNvPr id="1229" name="Freeform: Shape 1228">
                        <a:extLst>
                          <a:ext uri="{FF2B5EF4-FFF2-40B4-BE49-F238E27FC236}">
                            <a16:creationId xmlns:a16="http://schemas.microsoft.com/office/drawing/2014/main" id="{556C2E15-41CC-447F-9000-A6B470181D0A}"/>
                          </a:ext>
                        </a:extLst>
                      </p:cNvPr>
                      <p:cNvSpPr/>
                      <p:nvPr/>
                    </p:nvSpPr>
                    <p:spPr bwMode="auto">
                      <a:xfrm>
                        <a:off x="-594587" y="2618847"/>
                        <a:ext cx="651178" cy="269876"/>
                      </a:xfrm>
                      <a:custGeom>
                        <a:avLst/>
                        <a:gdLst>
                          <a:gd name="connsiteX0" fmla="*/ 599546 w 651178"/>
                          <a:gd name="connsiteY0" fmla="*/ 0 h 269876"/>
                          <a:gd name="connsiteX1" fmla="*/ 651178 w 651178"/>
                          <a:gd name="connsiteY1" fmla="*/ 51633 h 269876"/>
                          <a:gd name="connsiteX2" fmla="*/ 599546 w 651178"/>
                          <a:gd name="connsiteY2" fmla="*/ 103264 h 269876"/>
                          <a:gd name="connsiteX3" fmla="*/ 586355 w 651178"/>
                          <a:gd name="connsiteY3" fmla="*/ 100601 h 269876"/>
                          <a:gd name="connsiteX4" fmla="*/ 447696 w 651178"/>
                          <a:gd name="connsiteY4" fmla="*/ 207457 h 269876"/>
                          <a:gd name="connsiteX5" fmla="*/ 452164 w 651178"/>
                          <a:gd name="connsiteY5" fmla="*/ 218244 h 269876"/>
                          <a:gd name="connsiteX6" fmla="*/ 400532 w 651178"/>
                          <a:gd name="connsiteY6" fmla="*/ 269876 h 269876"/>
                          <a:gd name="connsiteX7" fmla="*/ 348900 w 651178"/>
                          <a:gd name="connsiteY7" fmla="*/ 218244 h 269876"/>
                          <a:gd name="connsiteX8" fmla="*/ 349905 w 651178"/>
                          <a:gd name="connsiteY8" fmla="*/ 215818 h 269876"/>
                          <a:gd name="connsiteX9" fmla="*/ 283152 w 651178"/>
                          <a:gd name="connsiteY9" fmla="*/ 100199 h 269876"/>
                          <a:gd name="connsiteX10" fmla="*/ 267969 w 651178"/>
                          <a:gd name="connsiteY10" fmla="*/ 103265 h 269876"/>
                          <a:gd name="connsiteX11" fmla="*/ 247871 w 651178"/>
                          <a:gd name="connsiteY11" fmla="*/ 99207 h 269876"/>
                          <a:gd name="connsiteX12" fmla="*/ 247047 w 651178"/>
                          <a:gd name="connsiteY12" fmla="*/ 98651 h 269876"/>
                          <a:gd name="connsiteX13" fmla="*/ 94480 w 651178"/>
                          <a:gd name="connsiteY13" fmla="*/ 216225 h 269876"/>
                          <a:gd name="connsiteX14" fmla="*/ 88142 w 651178"/>
                          <a:gd name="connsiteY14" fmla="*/ 231527 h 269876"/>
                          <a:gd name="connsiteX15" fmla="*/ 51633 w 651178"/>
                          <a:gd name="connsiteY15" fmla="*/ 246650 h 269876"/>
                          <a:gd name="connsiteX16" fmla="*/ 0 w 651178"/>
                          <a:gd name="connsiteY16" fmla="*/ 195018 h 269876"/>
                          <a:gd name="connsiteX17" fmla="*/ 51633 w 651178"/>
                          <a:gd name="connsiteY17" fmla="*/ 143386 h 269876"/>
                          <a:gd name="connsiteX18" fmla="*/ 88142 w 651178"/>
                          <a:gd name="connsiteY18" fmla="*/ 158508 h 269876"/>
                          <a:gd name="connsiteX19" fmla="*/ 93300 w 651178"/>
                          <a:gd name="connsiteY19" fmla="*/ 170959 h 269876"/>
                          <a:gd name="connsiteX20" fmla="*/ 224032 w 651178"/>
                          <a:gd name="connsiteY20" fmla="*/ 70210 h 269876"/>
                          <a:gd name="connsiteX21" fmla="*/ 216336 w 651178"/>
                          <a:gd name="connsiteY21" fmla="*/ 51632 h 269876"/>
                          <a:gd name="connsiteX22" fmla="*/ 267969 w 651178"/>
                          <a:gd name="connsiteY22" fmla="*/ 1 h 269876"/>
                          <a:gd name="connsiteX23" fmla="*/ 319601 w 651178"/>
                          <a:gd name="connsiteY23" fmla="*/ 51632 h 269876"/>
                          <a:gd name="connsiteX24" fmla="*/ 310305 w 651178"/>
                          <a:gd name="connsiteY24" fmla="*/ 74076 h 269876"/>
                          <a:gd name="connsiteX25" fmla="*/ 370097 w 651178"/>
                          <a:gd name="connsiteY25" fmla="*/ 177639 h 269876"/>
                          <a:gd name="connsiteX26" fmla="*/ 380434 w 651178"/>
                          <a:gd name="connsiteY26" fmla="*/ 170670 h 269876"/>
                          <a:gd name="connsiteX27" fmla="*/ 400532 w 651178"/>
                          <a:gd name="connsiteY27" fmla="*/ 166612 h 269876"/>
                          <a:gd name="connsiteX28" fmla="*/ 420630 w 651178"/>
                          <a:gd name="connsiteY28" fmla="*/ 170670 h 269876"/>
                          <a:gd name="connsiteX29" fmla="*/ 428568 w 651178"/>
                          <a:gd name="connsiteY29" fmla="*/ 176022 h 269876"/>
                          <a:gd name="connsiteX30" fmla="*/ 558092 w 651178"/>
                          <a:gd name="connsiteY30" fmla="*/ 76205 h 269876"/>
                          <a:gd name="connsiteX31" fmla="*/ 547914 w 651178"/>
                          <a:gd name="connsiteY31" fmla="*/ 51633 h 269876"/>
                          <a:gd name="connsiteX32" fmla="*/ 599546 w 651178"/>
                          <a:gd name="connsiteY32" fmla="*/ 0 h 269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51178" h="269876">
                            <a:moveTo>
                              <a:pt x="599546" y="0"/>
                            </a:moveTo>
                            <a:cubicBezTo>
                              <a:pt x="628062" y="0"/>
                              <a:pt x="651178" y="23116"/>
                              <a:pt x="651178" y="51633"/>
                            </a:cubicBezTo>
                            <a:cubicBezTo>
                              <a:pt x="651178" y="80148"/>
                              <a:pt x="628062" y="103264"/>
                              <a:pt x="599546" y="103264"/>
                            </a:cubicBezTo>
                            <a:lnTo>
                              <a:pt x="586355" y="100601"/>
                            </a:lnTo>
                            <a:lnTo>
                              <a:pt x="447696" y="207457"/>
                            </a:lnTo>
                            <a:lnTo>
                              <a:pt x="452164" y="218244"/>
                            </a:lnTo>
                            <a:cubicBezTo>
                              <a:pt x="452164" y="246760"/>
                              <a:pt x="429048" y="269876"/>
                              <a:pt x="400532" y="269876"/>
                            </a:cubicBezTo>
                            <a:cubicBezTo>
                              <a:pt x="372016" y="269876"/>
                              <a:pt x="348900" y="246760"/>
                              <a:pt x="348900" y="218244"/>
                            </a:cubicBezTo>
                            <a:lnTo>
                              <a:pt x="349905" y="215818"/>
                            </a:lnTo>
                            <a:lnTo>
                              <a:pt x="283152" y="100199"/>
                            </a:lnTo>
                            <a:lnTo>
                              <a:pt x="267969" y="103265"/>
                            </a:lnTo>
                            <a:cubicBezTo>
                              <a:pt x="260840" y="103264"/>
                              <a:pt x="254048" y="101819"/>
                              <a:pt x="247871" y="99207"/>
                            </a:cubicBezTo>
                            <a:lnTo>
                              <a:pt x="247047" y="98651"/>
                            </a:lnTo>
                            <a:lnTo>
                              <a:pt x="94480" y="216225"/>
                            </a:lnTo>
                            <a:lnTo>
                              <a:pt x="88142" y="231527"/>
                            </a:lnTo>
                            <a:cubicBezTo>
                              <a:pt x="78799" y="240871"/>
                              <a:pt x="65891" y="246650"/>
                              <a:pt x="51633" y="246650"/>
                            </a:cubicBezTo>
                            <a:cubicBezTo>
                              <a:pt x="23116" y="246650"/>
                              <a:pt x="0" y="223534"/>
                              <a:pt x="0" y="195018"/>
                            </a:cubicBezTo>
                            <a:cubicBezTo>
                              <a:pt x="1" y="166502"/>
                              <a:pt x="23117" y="143386"/>
                              <a:pt x="51633" y="143386"/>
                            </a:cubicBezTo>
                            <a:cubicBezTo>
                              <a:pt x="65891" y="143386"/>
                              <a:pt x="78799" y="149164"/>
                              <a:pt x="88142" y="158508"/>
                            </a:cubicBezTo>
                            <a:lnTo>
                              <a:pt x="93300" y="170959"/>
                            </a:lnTo>
                            <a:lnTo>
                              <a:pt x="224032" y="70210"/>
                            </a:lnTo>
                            <a:lnTo>
                              <a:pt x="216336" y="51632"/>
                            </a:lnTo>
                            <a:cubicBezTo>
                              <a:pt x="216337" y="23117"/>
                              <a:pt x="239453" y="1"/>
                              <a:pt x="267969" y="1"/>
                            </a:cubicBezTo>
                            <a:cubicBezTo>
                              <a:pt x="296485" y="1"/>
                              <a:pt x="319601" y="23117"/>
                              <a:pt x="319601" y="51632"/>
                            </a:cubicBezTo>
                            <a:lnTo>
                              <a:pt x="310305" y="74076"/>
                            </a:lnTo>
                            <a:lnTo>
                              <a:pt x="370097" y="177639"/>
                            </a:lnTo>
                            <a:lnTo>
                              <a:pt x="380434" y="170670"/>
                            </a:lnTo>
                            <a:cubicBezTo>
                              <a:pt x="386612" y="168057"/>
                              <a:pt x="393403" y="166612"/>
                              <a:pt x="400532" y="166612"/>
                            </a:cubicBezTo>
                            <a:cubicBezTo>
                              <a:pt x="407661" y="166612"/>
                              <a:pt x="414453" y="168057"/>
                              <a:pt x="420630" y="170670"/>
                            </a:cubicBezTo>
                            <a:lnTo>
                              <a:pt x="428568" y="176022"/>
                            </a:lnTo>
                            <a:lnTo>
                              <a:pt x="558092" y="76205"/>
                            </a:lnTo>
                            <a:lnTo>
                              <a:pt x="547914" y="51633"/>
                            </a:lnTo>
                            <a:cubicBezTo>
                              <a:pt x="547913" y="23117"/>
                              <a:pt x="571030" y="0"/>
                              <a:pt x="599546" y="0"/>
                            </a:cubicBezTo>
                            <a:close/>
                          </a:path>
                        </a:pathLst>
                      </a:custGeom>
                      <a:solidFill>
                        <a:srgbClr val="804896"/>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grpSp>
                <p:grpSp>
                  <p:nvGrpSpPr>
                    <p:cNvPr id="1225" name="Group 1224">
                      <a:extLst>
                        <a:ext uri="{FF2B5EF4-FFF2-40B4-BE49-F238E27FC236}">
                          <a16:creationId xmlns:a16="http://schemas.microsoft.com/office/drawing/2014/main" id="{B0AAC2CF-7C37-4D23-9D40-81EF34E1A484}"/>
                        </a:ext>
                      </a:extLst>
                    </p:cNvPr>
                    <p:cNvGrpSpPr>
                      <a:grpSpLocks noChangeAspect="1"/>
                    </p:cNvGrpSpPr>
                    <p:nvPr/>
                  </p:nvGrpSpPr>
                  <p:grpSpPr>
                    <a:xfrm>
                      <a:off x="4877410" y="5333954"/>
                      <a:ext cx="186971" cy="155137"/>
                      <a:chOff x="6017424" y="5359615"/>
                      <a:chExt cx="186971" cy="155137"/>
                    </a:xfrm>
                  </p:grpSpPr>
                  <p:sp>
                    <p:nvSpPr>
                      <p:cNvPr id="1226" name="Heart 1225">
                        <a:extLst>
                          <a:ext uri="{FF2B5EF4-FFF2-40B4-BE49-F238E27FC236}">
                            <a16:creationId xmlns:a16="http://schemas.microsoft.com/office/drawing/2014/main" id="{9A0195B7-B4FB-4F5C-87D5-5A69573B4976}"/>
                          </a:ext>
                        </a:extLst>
                      </p:cNvPr>
                      <p:cNvSpPr/>
                      <p:nvPr/>
                    </p:nvSpPr>
                    <p:spPr bwMode="auto">
                      <a:xfrm>
                        <a:off x="6017424" y="5359615"/>
                        <a:ext cx="186971" cy="155137"/>
                      </a:xfrm>
                      <a:prstGeom prst="heart">
                        <a:avLst/>
                      </a:prstGeom>
                      <a:solidFill>
                        <a:srgbClr val="C7434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227" name="Freeform: Shape 1226">
                        <a:extLst>
                          <a:ext uri="{FF2B5EF4-FFF2-40B4-BE49-F238E27FC236}">
                            <a16:creationId xmlns:a16="http://schemas.microsoft.com/office/drawing/2014/main" id="{3492778B-DEC0-4F25-B429-73CB32D02425}"/>
                          </a:ext>
                        </a:extLst>
                      </p:cNvPr>
                      <p:cNvSpPr/>
                      <p:nvPr/>
                    </p:nvSpPr>
                    <p:spPr bwMode="auto">
                      <a:xfrm>
                        <a:off x="6082263" y="5368123"/>
                        <a:ext cx="122132" cy="146629"/>
                      </a:xfrm>
                      <a:custGeom>
                        <a:avLst/>
                        <a:gdLst>
                          <a:gd name="connsiteX0" fmla="*/ 99825 w 122132"/>
                          <a:gd name="connsiteY0" fmla="*/ 0 h 146629"/>
                          <a:gd name="connsiteX1" fmla="*/ 114147 w 122132"/>
                          <a:gd name="connsiteY1" fmla="*/ 10884 h 146629"/>
                          <a:gd name="connsiteX2" fmla="*/ 27965 w 122132"/>
                          <a:gd name="connsiteY2" fmla="*/ 146629 h 146629"/>
                          <a:gd name="connsiteX3" fmla="*/ 0 w 122132"/>
                          <a:gd name="connsiteY3" fmla="*/ 127792 h 146629"/>
                        </a:gdLst>
                        <a:ahLst/>
                        <a:cxnLst>
                          <a:cxn ang="0">
                            <a:pos x="connsiteX0" y="connsiteY0"/>
                          </a:cxn>
                          <a:cxn ang="0">
                            <a:pos x="connsiteX1" y="connsiteY1"/>
                          </a:cxn>
                          <a:cxn ang="0">
                            <a:pos x="connsiteX2" y="connsiteY2"/>
                          </a:cxn>
                          <a:cxn ang="0">
                            <a:pos x="connsiteX3" y="connsiteY3"/>
                          </a:cxn>
                        </a:cxnLst>
                        <a:rect l="l" t="t" r="r" b="b"/>
                        <a:pathLst>
                          <a:path w="122132" h="146629">
                            <a:moveTo>
                              <a:pt x="99825" y="0"/>
                            </a:moveTo>
                            <a:lnTo>
                              <a:pt x="114147" y="10884"/>
                            </a:lnTo>
                            <a:cubicBezTo>
                              <a:pt x="133136" y="36741"/>
                              <a:pt x="123398" y="88453"/>
                              <a:pt x="27965" y="146629"/>
                            </a:cubicBezTo>
                            <a:lnTo>
                              <a:pt x="0" y="127792"/>
                            </a:lnTo>
                            <a:close/>
                          </a:path>
                        </a:pathLst>
                      </a:custGeom>
                      <a:solidFill>
                        <a:srgbClr val="B9141A"/>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grpSp>
              </p:grpSp>
            </p:grpSp>
          </p:grpSp>
          <p:grpSp>
            <p:nvGrpSpPr>
              <p:cNvPr id="1059" name="Group 1058">
                <a:extLst>
                  <a:ext uri="{FF2B5EF4-FFF2-40B4-BE49-F238E27FC236}">
                    <a16:creationId xmlns:a16="http://schemas.microsoft.com/office/drawing/2014/main" id="{A7ACD204-1553-4576-9BAA-034BBD0361E8}"/>
                  </a:ext>
                </a:extLst>
              </p:cNvPr>
              <p:cNvGrpSpPr/>
              <p:nvPr/>
            </p:nvGrpSpPr>
            <p:grpSpPr>
              <a:xfrm>
                <a:off x="4803517" y="4098281"/>
                <a:ext cx="1977760" cy="1551729"/>
                <a:chOff x="4553064" y="4243552"/>
                <a:chExt cx="1977760" cy="1551729"/>
              </a:xfrm>
            </p:grpSpPr>
            <p:grpSp>
              <p:nvGrpSpPr>
                <p:cNvPr id="1137" name="Group 1136">
                  <a:extLst>
                    <a:ext uri="{FF2B5EF4-FFF2-40B4-BE49-F238E27FC236}">
                      <a16:creationId xmlns:a16="http://schemas.microsoft.com/office/drawing/2014/main" id="{594F9B0F-5678-4E39-80FD-E311DD2DFE83}"/>
                    </a:ext>
                  </a:extLst>
                </p:cNvPr>
                <p:cNvGrpSpPr/>
                <p:nvPr/>
              </p:nvGrpSpPr>
              <p:grpSpPr>
                <a:xfrm>
                  <a:off x="4553064" y="4243552"/>
                  <a:ext cx="1977760" cy="1551729"/>
                  <a:chOff x="4974885" y="3888644"/>
                  <a:chExt cx="1939156" cy="1521441"/>
                </a:xfrm>
              </p:grpSpPr>
              <p:grpSp>
                <p:nvGrpSpPr>
                  <p:cNvPr id="1209" name="Group 1208">
                    <a:extLst>
                      <a:ext uri="{FF2B5EF4-FFF2-40B4-BE49-F238E27FC236}">
                        <a16:creationId xmlns:a16="http://schemas.microsoft.com/office/drawing/2014/main" id="{45C36204-ED61-47D0-B3A0-ED6A3F20BEB1}"/>
                      </a:ext>
                    </a:extLst>
                  </p:cNvPr>
                  <p:cNvGrpSpPr/>
                  <p:nvPr/>
                </p:nvGrpSpPr>
                <p:grpSpPr>
                  <a:xfrm>
                    <a:off x="4974885" y="3888644"/>
                    <a:ext cx="1939156" cy="1521441"/>
                    <a:chOff x="4009821" y="3809630"/>
                    <a:chExt cx="1939156" cy="1521441"/>
                  </a:xfrm>
                </p:grpSpPr>
                <p:sp>
                  <p:nvSpPr>
                    <p:cNvPr id="1211" name="Rectangle: Rounded Corners 1210">
                      <a:extLst>
                        <a:ext uri="{FF2B5EF4-FFF2-40B4-BE49-F238E27FC236}">
                          <a16:creationId xmlns:a16="http://schemas.microsoft.com/office/drawing/2014/main" id="{63D59F21-905D-40E6-AD7A-D3B53848F04D}"/>
                        </a:ext>
                      </a:extLst>
                    </p:cNvPr>
                    <p:cNvSpPr/>
                    <p:nvPr/>
                  </p:nvSpPr>
                  <p:spPr>
                    <a:xfrm>
                      <a:off x="4009821" y="3809630"/>
                      <a:ext cx="1939156" cy="1521441"/>
                    </a:xfrm>
                    <a:prstGeom prst="roundRect">
                      <a:avLst>
                        <a:gd name="adj" fmla="val 6571"/>
                      </a:avLst>
                    </a:prstGeom>
                    <a:solidFill>
                      <a:schemeClr val="bg2"/>
                    </a:solidFill>
                    <a:ln w="19050" cap="flat" cmpd="sng" algn="ctr">
                      <a:solidFill>
                        <a:srgbClr val="0078D7"/>
                      </a:solidFill>
                      <a:prstDash val="solid"/>
                    </a:ln>
                    <a:effectLst/>
                  </p:spPr>
                  <p:txBody>
                    <a:bodyPr rot="0" spcFirstLastPara="0" vertOverflow="overflow" horzOverflow="overflow" vert="horz" wrap="square" lIns="95117" tIns="47558" rIns="95117" bIns="47558" numCol="1" spcCol="0" rtlCol="0" fromWordArt="0" anchor="t"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1212" name="TextBox 1211">
                      <a:extLst>
                        <a:ext uri="{FF2B5EF4-FFF2-40B4-BE49-F238E27FC236}">
                          <a16:creationId xmlns:a16="http://schemas.microsoft.com/office/drawing/2014/main" id="{925F5966-B972-434A-93C6-555A0103A748}"/>
                        </a:ext>
                      </a:extLst>
                    </p:cNvPr>
                    <p:cNvSpPr txBox="1"/>
                    <p:nvPr/>
                  </p:nvSpPr>
                  <p:spPr>
                    <a:xfrm>
                      <a:off x="4464652" y="3918276"/>
                      <a:ext cx="177590" cy="266291"/>
                    </a:xfrm>
                    <a:prstGeom prst="rect">
                      <a:avLst/>
                    </a:prstGeom>
                    <a:noFill/>
                    <a:ln>
                      <a:noFill/>
                    </a:ln>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lumMod val="60000"/>
                            <a:lumOff val="40000"/>
                          </a:srgbClr>
                        </a:solidFill>
                        <a:effectLst/>
                        <a:uLnTx/>
                        <a:uFillTx/>
                        <a:latin typeface="Segoe UI"/>
                        <a:ea typeface="+mn-ea"/>
                        <a:cs typeface="Segoe UI" panose="020B0502040204020203" pitchFamily="34" charset="0"/>
                      </a:endParaRPr>
                    </a:p>
                  </p:txBody>
                </p:sp>
              </p:grpSp>
              <p:sp>
                <p:nvSpPr>
                  <p:cNvPr id="1210" name="TextBox 1209">
                    <a:extLst>
                      <a:ext uri="{FF2B5EF4-FFF2-40B4-BE49-F238E27FC236}">
                        <a16:creationId xmlns:a16="http://schemas.microsoft.com/office/drawing/2014/main" id="{ABA499AF-43F3-4B77-8F39-979A1FF5537A}"/>
                      </a:ext>
                    </a:extLst>
                  </p:cNvPr>
                  <p:cNvSpPr txBox="1"/>
                  <p:nvPr/>
                </p:nvSpPr>
                <p:spPr>
                  <a:xfrm>
                    <a:off x="6431592" y="5081456"/>
                    <a:ext cx="178826" cy="268144"/>
                  </a:xfrm>
                  <a:prstGeom prst="rect">
                    <a:avLst/>
                  </a:prstGeom>
                  <a:noFill/>
                  <a:ln>
                    <a:noFill/>
                  </a:ln>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Segoe UI"/>
                      <a:ea typeface="+mn-ea"/>
                      <a:cs typeface="Segoe UI" panose="020B0502040204020203" pitchFamily="34" charset="0"/>
                    </a:endParaRPr>
                  </a:p>
                </p:txBody>
              </p:sp>
            </p:grpSp>
            <p:grpSp>
              <p:nvGrpSpPr>
                <p:cNvPr id="1138" name="Group 1137">
                  <a:extLst>
                    <a:ext uri="{FF2B5EF4-FFF2-40B4-BE49-F238E27FC236}">
                      <a16:creationId xmlns:a16="http://schemas.microsoft.com/office/drawing/2014/main" id="{5DDDF8D8-EECA-40BC-B04B-EA95CC5D9717}"/>
                    </a:ext>
                  </a:extLst>
                </p:cNvPr>
                <p:cNvGrpSpPr/>
                <p:nvPr/>
              </p:nvGrpSpPr>
              <p:grpSpPr>
                <a:xfrm>
                  <a:off x="4607904" y="5516214"/>
                  <a:ext cx="222858" cy="203798"/>
                  <a:chOff x="3208463" y="2157245"/>
                  <a:chExt cx="361960" cy="331004"/>
                </a:xfrm>
              </p:grpSpPr>
              <p:sp>
                <p:nvSpPr>
                  <p:cNvPr id="1201" name="Freeform: Shape 1200">
                    <a:extLst>
                      <a:ext uri="{FF2B5EF4-FFF2-40B4-BE49-F238E27FC236}">
                        <a16:creationId xmlns:a16="http://schemas.microsoft.com/office/drawing/2014/main" id="{86990A72-B0C2-4E01-9A96-CE86467C7385}"/>
                      </a:ext>
                    </a:extLst>
                  </p:cNvPr>
                  <p:cNvSpPr/>
                  <p:nvPr/>
                </p:nvSpPr>
                <p:spPr>
                  <a:xfrm>
                    <a:off x="3271138" y="2421497"/>
                    <a:ext cx="228600" cy="66675"/>
                  </a:xfrm>
                  <a:custGeom>
                    <a:avLst/>
                    <a:gdLst/>
                    <a:ahLst/>
                    <a:cxnLst/>
                    <a:rect l="0" t="0" r="0" b="0"/>
                    <a:pathLst>
                      <a:path w="228600" h="66675">
                        <a:moveTo>
                          <a:pt x="172174" y="0"/>
                        </a:moveTo>
                        <a:lnTo>
                          <a:pt x="163544" y="0"/>
                        </a:lnTo>
                        <a:lnTo>
                          <a:pt x="78153" y="0"/>
                        </a:lnTo>
                        <a:lnTo>
                          <a:pt x="73695" y="0"/>
                        </a:lnTo>
                        <a:cubicBezTo>
                          <a:pt x="85525" y="41719"/>
                          <a:pt x="69628" y="47701"/>
                          <a:pt x="0" y="47701"/>
                        </a:cubicBezTo>
                        <a:lnTo>
                          <a:pt x="0" y="69552"/>
                        </a:lnTo>
                        <a:lnTo>
                          <a:pt x="88554" y="69552"/>
                        </a:lnTo>
                        <a:lnTo>
                          <a:pt x="153210" y="69552"/>
                        </a:lnTo>
                        <a:lnTo>
                          <a:pt x="236772" y="69552"/>
                        </a:lnTo>
                        <a:lnTo>
                          <a:pt x="236772" y="47711"/>
                        </a:lnTo>
                        <a:cubicBezTo>
                          <a:pt x="167154" y="47701"/>
                          <a:pt x="160325" y="41748"/>
                          <a:pt x="172174" y="0"/>
                        </a:cubicBezTo>
                      </a:path>
                    </a:pathLst>
                  </a:custGeom>
                  <a:solidFill>
                    <a:srgbClr val="7A7A7A"/>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sp>
                <p:nvSpPr>
                  <p:cNvPr id="1202" name="Freeform: Shape 1201">
                    <a:extLst>
                      <a:ext uri="{FF2B5EF4-FFF2-40B4-BE49-F238E27FC236}">
                        <a16:creationId xmlns:a16="http://schemas.microsoft.com/office/drawing/2014/main" id="{2E8044BF-8E35-49D4-A475-6C4791192C7F}"/>
                      </a:ext>
                    </a:extLst>
                  </p:cNvPr>
                  <p:cNvSpPr/>
                  <p:nvPr/>
                </p:nvSpPr>
                <p:spPr>
                  <a:xfrm>
                    <a:off x="3208473" y="2157245"/>
                    <a:ext cx="361950" cy="257175"/>
                  </a:xfrm>
                  <a:custGeom>
                    <a:avLst/>
                    <a:gdLst/>
                    <a:ahLst/>
                    <a:cxnLst/>
                    <a:rect l="0" t="0" r="0" b="0"/>
                    <a:pathLst>
                      <a:path w="361950" h="257175">
                        <a:moveTo>
                          <a:pt x="340252" y="0"/>
                        </a:moveTo>
                        <a:lnTo>
                          <a:pt x="19679" y="0"/>
                        </a:lnTo>
                        <a:cubicBezTo>
                          <a:pt x="8782" y="0"/>
                          <a:pt x="0" y="9725"/>
                          <a:pt x="0" y="20593"/>
                        </a:cubicBezTo>
                        <a:lnTo>
                          <a:pt x="0" y="243850"/>
                        </a:lnTo>
                        <a:cubicBezTo>
                          <a:pt x="0" y="254651"/>
                          <a:pt x="8782" y="264271"/>
                          <a:pt x="19679" y="264271"/>
                        </a:cubicBezTo>
                        <a:lnTo>
                          <a:pt x="340252" y="264271"/>
                        </a:lnTo>
                        <a:cubicBezTo>
                          <a:pt x="351120" y="264271"/>
                          <a:pt x="362131" y="254651"/>
                          <a:pt x="362131" y="243850"/>
                        </a:cubicBezTo>
                        <a:lnTo>
                          <a:pt x="362131" y="20593"/>
                        </a:lnTo>
                        <a:cubicBezTo>
                          <a:pt x="362131" y="9706"/>
                          <a:pt x="351120" y="0"/>
                          <a:pt x="340252" y="0"/>
                        </a:cubicBezTo>
                      </a:path>
                    </a:pathLst>
                  </a:custGeom>
                  <a:solidFill>
                    <a:srgbClr val="A0A1A2"/>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sp>
                <p:nvSpPr>
                  <p:cNvPr id="1203" name="Freeform: Shape 1202">
                    <a:extLst>
                      <a:ext uri="{FF2B5EF4-FFF2-40B4-BE49-F238E27FC236}">
                        <a16:creationId xmlns:a16="http://schemas.microsoft.com/office/drawing/2014/main" id="{F4C2F619-6B68-40D0-8DA8-49097F391CA8}"/>
                      </a:ext>
                    </a:extLst>
                  </p:cNvPr>
                  <p:cNvSpPr/>
                  <p:nvPr/>
                </p:nvSpPr>
                <p:spPr>
                  <a:xfrm>
                    <a:off x="3208463" y="2157255"/>
                    <a:ext cx="333375" cy="257175"/>
                  </a:xfrm>
                  <a:custGeom>
                    <a:avLst/>
                    <a:gdLst/>
                    <a:ahLst/>
                    <a:cxnLst/>
                    <a:rect l="0" t="0" r="0" b="0"/>
                    <a:pathLst>
                      <a:path w="333375" h="257175">
                        <a:moveTo>
                          <a:pt x="340490" y="19"/>
                        </a:moveTo>
                        <a:cubicBezTo>
                          <a:pt x="340414" y="19"/>
                          <a:pt x="340338" y="0"/>
                          <a:pt x="340262" y="0"/>
                        </a:cubicBezTo>
                        <a:lnTo>
                          <a:pt x="19679" y="0"/>
                        </a:lnTo>
                        <a:cubicBezTo>
                          <a:pt x="8782" y="0"/>
                          <a:pt x="0" y="9725"/>
                          <a:pt x="0" y="20593"/>
                        </a:cubicBezTo>
                        <a:lnTo>
                          <a:pt x="0" y="243840"/>
                        </a:lnTo>
                        <a:cubicBezTo>
                          <a:pt x="0" y="254641"/>
                          <a:pt x="8782" y="264262"/>
                          <a:pt x="19679" y="264262"/>
                        </a:cubicBezTo>
                        <a:lnTo>
                          <a:pt x="27308" y="264262"/>
                        </a:lnTo>
                        <a:lnTo>
                          <a:pt x="340490" y="19"/>
                        </a:lnTo>
                        <a:close/>
                      </a:path>
                    </a:pathLst>
                  </a:custGeom>
                  <a:solidFill>
                    <a:srgbClr val="FFFFFF">
                      <a:alpha val="20000"/>
                    </a:srgbClr>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sp>
                <p:nvSpPr>
                  <p:cNvPr id="1204" name="Freeform: Shape 1203">
                    <a:extLst>
                      <a:ext uri="{FF2B5EF4-FFF2-40B4-BE49-F238E27FC236}">
                        <a16:creationId xmlns:a16="http://schemas.microsoft.com/office/drawing/2014/main" id="{961A7B7B-1F1F-4894-83C6-68CCD7AFE1DE}"/>
                      </a:ext>
                    </a:extLst>
                  </p:cNvPr>
                  <p:cNvSpPr/>
                  <p:nvPr/>
                </p:nvSpPr>
                <p:spPr>
                  <a:xfrm>
                    <a:off x="3235915" y="2184630"/>
                    <a:ext cx="304800" cy="200025"/>
                  </a:xfrm>
                  <a:custGeom>
                    <a:avLst/>
                    <a:gdLst/>
                    <a:ahLst/>
                    <a:cxnLst/>
                    <a:rect l="0" t="0" r="0" b="0"/>
                    <a:pathLst>
                      <a:path w="304800" h="200025">
                        <a:moveTo>
                          <a:pt x="307153" y="209064"/>
                        </a:moveTo>
                        <a:lnTo>
                          <a:pt x="0" y="209064"/>
                        </a:lnTo>
                        <a:lnTo>
                          <a:pt x="0" y="457"/>
                        </a:lnTo>
                        <a:lnTo>
                          <a:pt x="307153" y="0"/>
                        </a:lnTo>
                        <a:close/>
                      </a:path>
                    </a:pathLst>
                  </a:custGeom>
                  <a:solidFill>
                    <a:srgbClr val="59B4D9"/>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sp>
                <p:nvSpPr>
                  <p:cNvPr id="1205" name="Freeform: Shape 1204">
                    <a:extLst>
                      <a:ext uri="{FF2B5EF4-FFF2-40B4-BE49-F238E27FC236}">
                        <a16:creationId xmlns:a16="http://schemas.microsoft.com/office/drawing/2014/main" id="{F2E66832-D9EA-495D-90F5-A69A11DB61DC}"/>
                      </a:ext>
                    </a:extLst>
                  </p:cNvPr>
                  <p:cNvSpPr/>
                  <p:nvPr/>
                </p:nvSpPr>
                <p:spPr>
                  <a:xfrm>
                    <a:off x="3271148" y="2469199"/>
                    <a:ext cx="228600" cy="19050"/>
                  </a:xfrm>
                  <a:custGeom>
                    <a:avLst/>
                    <a:gdLst/>
                    <a:ahLst/>
                    <a:cxnLst/>
                    <a:rect l="0" t="0" r="0" b="0"/>
                    <a:pathLst>
                      <a:path w="228600" h="19050">
                        <a:moveTo>
                          <a:pt x="0" y="0"/>
                        </a:moveTo>
                        <a:lnTo>
                          <a:pt x="236772" y="0"/>
                        </a:lnTo>
                        <a:lnTo>
                          <a:pt x="236772" y="21850"/>
                        </a:lnTo>
                        <a:lnTo>
                          <a:pt x="0" y="21850"/>
                        </a:lnTo>
                        <a:close/>
                      </a:path>
                    </a:pathLst>
                  </a:custGeom>
                  <a:solidFill>
                    <a:srgbClr val="A0A1A2"/>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sp>
                <p:nvSpPr>
                  <p:cNvPr id="1206" name="Freeform: Shape 1205">
                    <a:extLst>
                      <a:ext uri="{FF2B5EF4-FFF2-40B4-BE49-F238E27FC236}">
                        <a16:creationId xmlns:a16="http://schemas.microsoft.com/office/drawing/2014/main" id="{441BCDC0-8AB7-429E-80AD-50A6472759B3}"/>
                      </a:ext>
                    </a:extLst>
                  </p:cNvPr>
                  <p:cNvSpPr/>
                  <p:nvPr/>
                </p:nvSpPr>
                <p:spPr>
                  <a:xfrm>
                    <a:off x="3327793" y="2205925"/>
                    <a:ext cx="123825" cy="76200"/>
                  </a:xfrm>
                  <a:custGeom>
                    <a:avLst/>
                    <a:gdLst/>
                    <a:ahLst/>
                    <a:cxnLst/>
                    <a:rect l="0" t="0" r="0" b="0"/>
                    <a:pathLst>
                      <a:path w="123825" h="76200">
                        <a:moveTo>
                          <a:pt x="65694" y="77136"/>
                        </a:moveTo>
                        <a:cubicBezTo>
                          <a:pt x="65361" y="77136"/>
                          <a:pt x="65037" y="77031"/>
                          <a:pt x="64722" y="76860"/>
                        </a:cubicBezTo>
                        <a:lnTo>
                          <a:pt x="953" y="40103"/>
                        </a:lnTo>
                        <a:cubicBezTo>
                          <a:pt x="371" y="39760"/>
                          <a:pt x="0" y="39112"/>
                          <a:pt x="0" y="38436"/>
                        </a:cubicBezTo>
                        <a:cubicBezTo>
                          <a:pt x="0" y="37750"/>
                          <a:pt x="371" y="37112"/>
                          <a:pt x="953" y="36769"/>
                        </a:cubicBezTo>
                        <a:lnTo>
                          <a:pt x="64332" y="250"/>
                        </a:lnTo>
                        <a:cubicBezTo>
                          <a:pt x="64922" y="-83"/>
                          <a:pt x="65646" y="-83"/>
                          <a:pt x="66237" y="250"/>
                        </a:cubicBezTo>
                        <a:lnTo>
                          <a:pt x="130026" y="37026"/>
                        </a:lnTo>
                        <a:cubicBezTo>
                          <a:pt x="130616" y="37369"/>
                          <a:pt x="130978" y="38007"/>
                          <a:pt x="130978" y="38693"/>
                        </a:cubicBezTo>
                        <a:cubicBezTo>
                          <a:pt x="130978" y="39388"/>
                          <a:pt x="130626" y="40017"/>
                          <a:pt x="130026" y="40360"/>
                        </a:cubicBezTo>
                        <a:lnTo>
                          <a:pt x="66665" y="76869"/>
                        </a:lnTo>
                        <a:cubicBezTo>
                          <a:pt x="66361" y="77031"/>
                          <a:pt x="66046" y="77136"/>
                          <a:pt x="65694" y="77136"/>
                        </a:cubicBezTo>
                      </a:path>
                    </a:pathLst>
                  </a:custGeom>
                  <a:solidFill>
                    <a:srgbClr val="FFFFFF"/>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sp>
                <p:nvSpPr>
                  <p:cNvPr id="1207" name="Freeform: Shape 1206">
                    <a:extLst>
                      <a:ext uri="{FF2B5EF4-FFF2-40B4-BE49-F238E27FC236}">
                        <a16:creationId xmlns:a16="http://schemas.microsoft.com/office/drawing/2014/main" id="{3B96578E-F807-4A2A-9CC5-9E4AAC3C6AAB}"/>
                      </a:ext>
                    </a:extLst>
                  </p:cNvPr>
                  <p:cNvSpPr/>
                  <p:nvPr/>
                </p:nvSpPr>
                <p:spPr>
                  <a:xfrm>
                    <a:off x="3318782" y="2258375"/>
                    <a:ext cx="66675" cy="104775"/>
                  </a:xfrm>
                  <a:custGeom>
                    <a:avLst/>
                    <a:gdLst/>
                    <a:ahLst/>
                    <a:cxnLst/>
                    <a:rect l="0" t="0" r="0" b="0"/>
                    <a:pathLst>
                      <a:path w="66675" h="104775">
                        <a:moveTo>
                          <a:pt x="65542" y="114031"/>
                        </a:moveTo>
                        <a:cubicBezTo>
                          <a:pt x="65180" y="114031"/>
                          <a:pt x="64856" y="113945"/>
                          <a:pt x="64570" y="113774"/>
                        </a:cubicBezTo>
                        <a:lnTo>
                          <a:pt x="991" y="77131"/>
                        </a:lnTo>
                        <a:cubicBezTo>
                          <a:pt x="371" y="76788"/>
                          <a:pt x="0" y="76169"/>
                          <a:pt x="0" y="75464"/>
                        </a:cubicBezTo>
                        <a:lnTo>
                          <a:pt x="0" y="1931"/>
                        </a:lnTo>
                        <a:cubicBezTo>
                          <a:pt x="0" y="1236"/>
                          <a:pt x="371" y="607"/>
                          <a:pt x="991" y="264"/>
                        </a:cubicBezTo>
                        <a:cubicBezTo>
                          <a:pt x="1581" y="-88"/>
                          <a:pt x="2296" y="-88"/>
                          <a:pt x="2934" y="264"/>
                        </a:cubicBezTo>
                        <a:lnTo>
                          <a:pt x="66504" y="36897"/>
                        </a:lnTo>
                        <a:cubicBezTo>
                          <a:pt x="67066" y="37259"/>
                          <a:pt x="67447" y="37888"/>
                          <a:pt x="67447" y="38583"/>
                        </a:cubicBezTo>
                        <a:lnTo>
                          <a:pt x="67447" y="112116"/>
                        </a:lnTo>
                        <a:cubicBezTo>
                          <a:pt x="67447" y="112821"/>
                          <a:pt x="67075" y="113440"/>
                          <a:pt x="66504" y="113783"/>
                        </a:cubicBezTo>
                        <a:cubicBezTo>
                          <a:pt x="66189" y="113945"/>
                          <a:pt x="65856" y="114031"/>
                          <a:pt x="65542" y="114031"/>
                        </a:cubicBezTo>
                      </a:path>
                    </a:pathLst>
                  </a:custGeom>
                  <a:solidFill>
                    <a:srgbClr val="FFFFFF">
                      <a:alpha val="70000"/>
                    </a:srgbClr>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sp>
                <p:nvSpPr>
                  <p:cNvPr id="1208" name="Freeform: Shape 1207">
                    <a:extLst>
                      <a:ext uri="{FF2B5EF4-FFF2-40B4-BE49-F238E27FC236}">
                        <a16:creationId xmlns:a16="http://schemas.microsoft.com/office/drawing/2014/main" id="{86A87977-7505-4BBB-97CA-79CA198442AC}"/>
                      </a:ext>
                    </a:extLst>
                  </p:cNvPr>
                  <p:cNvSpPr/>
                  <p:nvPr/>
                </p:nvSpPr>
                <p:spPr>
                  <a:xfrm>
                    <a:off x="3400392" y="2258858"/>
                    <a:ext cx="66675" cy="104775"/>
                  </a:xfrm>
                  <a:custGeom>
                    <a:avLst/>
                    <a:gdLst/>
                    <a:ahLst/>
                    <a:cxnLst/>
                    <a:rect l="0" t="0" r="0" b="0"/>
                    <a:pathLst>
                      <a:path w="66675" h="104775">
                        <a:moveTo>
                          <a:pt x="1934" y="113548"/>
                        </a:moveTo>
                        <a:cubicBezTo>
                          <a:pt x="1581" y="113548"/>
                          <a:pt x="1257" y="113462"/>
                          <a:pt x="933" y="113290"/>
                        </a:cubicBezTo>
                        <a:cubicBezTo>
                          <a:pt x="371" y="112947"/>
                          <a:pt x="0" y="112319"/>
                          <a:pt x="0" y="111623"/>
                        </a:cubicBezTo>
                        <a:lnTo>
                          <a:pt x="0" y="38548"/>
                        </a:lnTo>
                        <a:cubicBezTo>
                          <a:pt x="0" y="37871"/>
                          <a:pt x="371" y="37233"/>
                          <a:pt x="933" y="36881"/>
                        </a:cubicBezTo>
                        <a:lnTo>
                          <a:pt x="64503" y="257"/>
                        </a:lnTo>
                        <a:cubicBezTo>
                          <a:pt x="65113" y="-86"/>
                          <a:pt x="65818" y="-86"/>
                          <a:pt x="66418" y="257"/>
                        </a:cubicBezTo>
                        <a:cubicBezTo>
                          <a:pt x="67027" y="600"/>
                          <a:pt x="67389" y="1229"/>
                          <a:pt x="67389" y="1924"/>
                        </a:cubicBezTo>
                        <a:lnTo>
                          <a:pt x="67389" y="74990"/>
                        </a:lnTo>
                        <a:cubicBezTo>
                          <a:pt x="67389" y="75695"/>
                          <a:pt x="67018" y="76324"/>
                          <a:pt x="66418" y="76657"/>
                        </a:cubicBezTo>
                        <a:lnTo>
                          <a:pt x="2867" y="113300"/>
                        </a:lnTo>
                        <a:cubicBezTo>
                          <a:pt x="2600" y="113462"/>
                          <a:pt x="2257" y="113548"/>
                          <a:pt x="1934" y="113548"/>
                        </a:cubicBezTo>
                      </a:path>
                    </a:pathLst>
                  </a:custGeom>
                  <a:solidFill>
                    <a:srgbClr val="FFFFFF">
                      <a:alpha val="40000"/>
                    </a:srgbClr>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grpSp>
            <p:grpSp>
              <p:nvGrpSpPr>
                <p:cNvPr id="1139" name="Group 1138">
                  <a:extLst>
                    <a:ext uri="{FF2B5EF4-FFF2-40B4-BE49-F238E27FC236}">
                      <a16:creationId xmlns:a16="http://schemas.microsoft.com/office/drawing/2014/main" id="{EBE3753B-0C05-416B-9F60-D2B0716C7F18}"/>
                    </a:ext>
                  </a:extLst>
                </p:cNvPr>
                <p:cNvGrpSpPr>
                  <a:grpSpLocks noChangeAspect="1"/>
                </p:cNvGrpSpPr>
                <p:nvPr/>
              </p:nvGrpSpPr>
              <p:grpSpPr>
                <a:xfrm>
                  <a:off x="4974444" y="4765325"/>
                  <a:ext cx="914400" cy="696854"/>
                  <a:chOff x="4817192" y="4571599"/>
                  <a:chExt cx="1228038" cy="935873"/>
                </a:xfrm>
              </p:grpSpPr>
              <p:grpSp>
                <p:nvGrpSpPr>
                  <p:cNvPr id="1140" name="Group 1139">
                    <a:extLst>
                      <a:ext uri="{FF2B5EF4-FFF2-40B4-BE49-F238E27FC236}">
                        <a16:creationId xmlns:a16="http://schemas.microsoft.com/office/drawing/2014/main" id="{BB8BA8BD-4414-4644-A2F1-781AA12D95E8}"/>
                      </a:ext>
                    </a:extLst>
                  </p:cNvPr>
                  <p:cNvGrpSpPr/>
                  <p:nvPr/>
                </p:nvGrpSpPr>
                <p:grpSpPr>
                  <a:xfrm>
                    <a:off x="5309908" y="4571599"/>
                    <a:ext cx="735322" cy="630823"/>
                    <a:chOff x="5387968" y="4679219"/>
                    <a:chExt cx="596136" cy="511417"/>
                  </a:xfrm>
                </p:grpSpPr>
                <p:grpSp>
                  <p:nvGrpSpPr>
                    <p:cNvPr id="1180" name="Group 1179">
                      <a:extLst>
                        <a:ext uri="{FF2B5EF4-FFF2-40B4-BE49-F238E27FC236}">
                          <a16:creationId xmlns:a16="http://schemas.microsoft.com/office/drawing/2014/main" id="{07CC07FA-0EEE-48DA-9BE8-100DF5998E6F}"/>
                        </a:ext>
                      </a:extLst>
                    </p:cNvPr>
                    <p:cNvGrpSpPr/>
                    <p:nvPr/>
                  </p:nvGrpSpPr>
                  <p:grpSpPr>
                    <a:xfrm>
                      <a:off x="5387968" y="4679219"/>
                      <a:ext cx="596136" cy="511417"/>
                      <a:chOff x="-2759706" y="1099471"/>
                      <a:chExt cx="7926138" cy="6799720"/>
                    </a:xfrm>
                  </p:grpSpPr>
                  <p:sp>
                    <p:nvSpPr>
                      <p:cNvPr id="1197" name="Rectangle 317">
                        <a:extLst>
                          <a:ext uri="{FF2B5EF4-FFF2-40B4-BE49-F238E27FC236}">
                            <a16:creationId xmlns:a16="http://schemas.microsoft.com/office/drawing/2014/main" id="{135635D1-1ED0-47B3-A445-424768C08A6F}"/>
                          </a:ext>
                        </a:extLst>
                      </p:cNvPr>
                      <p:cNvSpPr/>
                      <p:nvPr/>
                    </p:nvSpPr>
                    <p:spPr bwMode="auto">
                      <a:xfrm>
                        <a:off x="-1103535" y="6493181"/>
                        <a:ext cx="4613796" cy="1133080"/>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0372A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198" name="Rounded Rectangle 460">
                        <a:extLst>
                          <a:ext uri="{FF2B5EF4-FFF2-40B4-BE49-F238E27FC236}">
                            <a16:creationId xmlns:a16="http://schemas.microsoft.com/office/drawing/2014/main" id="{1999C015-CD39-4875-BC2D-4FD5B4A7B347}"/>
                          </a:ext>
                        </a:extLst>
                      </p:cNvPr>
                      <p:cNvSpPr/>
                      <p:nvPr/>
                    </p:nvSpPr>
                    <p:spPr bwMode="auto">
                      <a:xfrm>
                        <a:off x="-2759706" y="1099471"/>
                        <a:ext cx="7926138" cy="5508724"/>
                      </a:xfrm>
                      <a:prstGeom prst="roundRect">
                        <a:avLst>
                          <a:gd name="adj" fmla="val 8482"/>
                        </a:avLst>
                      </a:prstGeom>
                      <a:solidFill>
                        <a:srgbClr val="0372A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199" name="Rectangle 1198">
                        <a:extLst>
                          <a:ext uri="{FF2B5EF4-FFF2-40B4-BE49-F238E27FC236}">
                            <a16:creationId xmlns:a16="http://schemas.microsoft.com/office/drawing/2014/main" id="{30801E83-EABF-4211-9CC3-A680709842C5}"/>
                          </a:ext>
                        </a:extLst>
                      </p:cNvPr>
                      <p:cNvSpPr/>
                      <p:nvPr/>
                    </p:nvSpPr>
                    <p:spPr bwMode="auto">
                      <a:xfrm>
                        <a:off x="-2133709" y="1626404"/>
                        <a:ext cx="6674143" cy="4361520"/>
                      </a:xfrm>
                      <a:prstGeom prst="rect">
                        <a:avLst/>
                      </a:prstGeom>
                      <a:gradFill flip="none" rotWithShape="1">
                        <a:gsLst>
                          <a:gs pos="45000">
                            <a:srgbClr val="AFE5FD"/>
                          </a:gs>
                          <a:gs pos="45000">
                            <a:srgbClr val="C3ECFE"/>
                          </a:gs>
                        </a:gsLst>
                        <a:lin ang="24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200" name="Rectangle 1199">
                        <a:extLst>
                          <a:ext uri="{FF2B5EF4-FFF2-40B4-BE49-F238E27FC236}">
                            <a16:creationId xmlns:a16="http://schemas.microsoft.com/office/drawing/2014/main" id="{67A20E82-3749-404B-B533-F9A3F1887941}"/>
                          </a:ext>
                        </a:extLst>
                      </p:cNvPr>
                      <p:cNvSpPr/>
                      <p:nvPr/>
                    </p:nvSpPr>
                    <p:spPr bwMode="auto">
                      <a:xfrm>
                        <a:off x="-1332157" y="7460658"/>
                        <a:ext cx="5071038" cy="438533"/>
                      </a:xfrm>
                      <a:prstGeom prst="rect">
                        <a:avLst/>
                      </a:prstGeom>
                      <a:solidFill>
                        <a:srgbClr val="0372A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grpSp>
                <p:grpSp>
                  <p:nvGrpSpPr>
                    <p:cNvPr id="1181" name="Group 1180">
                      <a:extLst>
                        <a:ext uri="{FF2B5EF4-FFF2-40B4-BE49-F238E27FC236}">
                          <a16:creationId xmlns:a16="http://schemas.microsoft.com/office/drawing/2014/main" id="{A69DE09E-204D-4AA2-A1F3-309017A45BF8}"/>
                        </a:ext>
                      </a:extLst>
                    </p:cNvPr>
                    <p:cNvGrpSpPr/>
                    <p:nvPr/>
                  </p:nvGrpSpPr>
                  <p:grpSpPr>
                    <a:xfrm>
                      <a:off x="5724146" y="4755542"/>
                      <a:ext cx="100379" cy="121637"/>
                      <a:chOff x="8079057" y="3685619"/>
                      <a:chExt cx="1044575" cy="1265794"/>
                    </a:xfrm>
                  </p:grpSpPr>
                  <p:sp>
                    <p:nvSpPr>
                      <p:cNvPr id="1194" name="Freeform 456">
                        <a:extLst>
                          <a:ext uri="{FF2B5EF4-FFF2-40B4-BE49-F238E27FC236}">
                            <a16:creationId xmlns:a16="http://schemas.microsoft.com/office/drawing/2014/main" id="{50FF736E-78D1-43DE-B307-7938B9A086BD}"/>
                          </a:ext>
                        </a:extLst>
                      </p:cNvPr>
                      <p:cNvSpPr/>
                      <p:nvPr/>
                    </p:nvSpPr>
                    <p:spPr>
                      <a:xfrm>
                        <a:off x="8079057" y="3685619"/>
                        <a:ext cx="1044575"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95" name="Freeform 457">
                        <a:extLst>
                          <a:ext uri="{FF2B5EF4-FFF2-40B4-BE49-F238E27FC236}">
                            <a16:creationId xmlns:a16="http://schemas.microsoft.com/office/drawing/2014/main" id="{55A2930E-7928-4E61-81F3-A3DE72D857B1}"/>
                          </a:ext>
                        </a:extLst>
                      </p:cNvPr>
                      <p:cNvSpPr/>
                      <p:nvPr/>
                    </p:nvSpPr>
                    <p:spPr>
                      <a:xfrm>
                        <a:off x="8083817" y="3970337"/>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96" name="Freeform 458">
                        <a:extLst>
                          <a:ext uri="{FF2B5EF4-FFF2-40B4-BE49-F238E27FC236}">
                            <a16:creationId xmlns:a16="http://schemas.microsoft.com/office/drawing/2014/main" id="{BB5DAFFD-4554-4ABA-8FA9-749A92B3ED0A}"/>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1182" name="Group 1181">
                      <a:extLst>
                        <a:ext uri="{FF2B5EF4-FFF2-40B4-BE49-F238E27FC236}">
                          <a16:creationId xmlns:a16="http://schemas.microsoft.com/office/drawing/2014/main" id="{42EC481A-D77C-4AD5-9864-ED9AEE68857B}"/>
                        </a:ext>
                      </a:extLst>
                    </p:cNvPr>
                    <p:cNvGrpSpPr/>
                    <p:nvPr/>
                  </p:nvGrpSpPr>
                  <p:grpSpPr>
                    <a:xfrm>
                      <a:off x="5724146" y="4899243"/>
                      <a:ext cx="100379" cy="121637"/>
                      <a:chOff x="8079063" y="3685618"/>
                      <a:chExt cx="1044576" cy="1265795"/>
                    </a:xfrm>
                  </p:grpSpPr>
                  <p:sp>
                    <p:nvSpPr>
                      <p:cNvPr id="1191" name="Freeform 453">
                        <a:extLst>
                          <a:ext uri="{FF2B5EF4-FFF2-40B4-BE49-F238E27FC236}">
                            <a16:creationId xmlns:a16="http://schemas.microsoft.com/office/drawing/2014/main" id="{539018FB-C14E-441B-9FB9-5FC92A121762}"/>
                          </a:ext>
                        </a:extLst>
                      </p:cNvPr>
                      <p:cNvSpPr/>
                      <p:nvPr/>
                    </p:nvSpPr>
                    <p:spPr>
                      <a:xfrm>
                        <a:off x="8079063" y="3685618"/>
                        <a:ext cx="1044576"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92" name="Freeform 454">
                        <a:extLst>
                          <a:ext uri="{FF2B5EF4-FFF2-40B4-BE49-F238E27FC236}">
                            <a16:creationId xmlns:a16="http://schemas.microsoft.com/office/drawing/2014/main" id="{2856220F-1E17-4FA0-A053-56FCE62D2CD5}"/>
                          </a:ext>
                        </a:extLst>
                      </p:cNvPr>
                      <p:cNvSpPr/>
                      <p:nvPr/>
                    </p:nvSpPr>
                    <p:spPr>
                      <a:xfrm>
                        <a:off x="8083823" y="3970336"/>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93" name="Freeform 455">
                        <a:extLst>
                          <a:ext uri="{FF2B5EF4-FFF2-40B4-BE49-F238E27FC236}">
                            <a16:creationId xmlns:a16="http://schemas.microsoft.com/office/drawing/2014/main" id="{7BD84CB2-5944-47A4-97EB-1D03CB6B4416}"/>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1183" name="Group 1182">
                      <a:extLst>
                        <a:ext uri="{FF2B5EF4-FFF2-40B4-BE49-F238E27FC236}">
                          <a16:creationId xmlns:a16="http://schemas.microsoft.com/office/drawing/2014/main" id="{B2DD5498-7A31-493D-A7AF-9D07E8C8D3C3}"/>
                        </a:ext>
                      </a:extLst>
                    </p:cNvPr>
                    <p:cNvGrpSpPr/>
                    <p:nvPr/>
                  </p:nvGrpSpPr>
                  <p:grpSpPr>
                    <a:xfrm>
                      <a:off x="5539678" y="4755542"/>
                      <a:ext cx="100379" cy="121637"/>
                      <a:chOff x="8079057" y="3685619"/>
                      <a:chExt cx="1044575" cy="1265794"/>
                    </a:xfrm>
                  </p:grpSpPr>
                  <p:sp>
                    <p:nvSpPr>
                      <p:cNvPr id="1188" name="Freeform 446">
                        <a:extLst>
                          <a:ext uri="{FF2B5EF4-FFF2-40B4-BE49-F238E27FC236}">
                            <a16:creationId xmlns:a16="http://schemas.microsoft.com/office/drawing/2014/main" id="{2ACC73CE-6D41-42CE-8B75-9BF26459A50E}"/>
                          </a:ext>
                        </a:extLst>
                      </p:cNvPr>
                      <p:cNvSpPr/>
                      <p:nvPr/>
                    </p:nvSpPr>
                    <p:spPr>
                      <a:xfrm>
                        <a:off x="8079057" y="3685619"/>
                        <a:ext cx="1044575"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89" name="Freeform 447">
                        <a:extLst>
                          <a:ext uri="{FF2B5EF4-FFF2-40B4-BE49-F238E27FC236}">
                            <a16:creationId xmlns:a16="http://schemas.microsoft.com/office/drawing/2014/main" id="{13D1E184-EDB1-4400-85D3-31550F984000}"/>
                          </a:ext>
                        </a:extLst>
                      </p:cNvPr>
                      <p:cNvSpPr/>
                      <p:nvPr/>
                    </p:nvSpPr>
                    <p:spPr>
                      <a:xfrm>
                        <a:off x="8083817" y="3970337"/>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90" name="Freeform 448">
                        <a:extLst>
                          <a:ext uri="{FF2B5EF4-FFF2-40B4-BE49-F238E27FC236}">
                            <a16:creationId xmlns:a16="http://schemas.microsoft.com/office/drawing/2014/main" id="{6398D3C6-05EF-482C-BA74-B1C750795A8F}"/>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1184" name="Group 1183">
                      <a:extLst>
                        <a:ext uri="{FF2B5EF4-FFF2-40B4-BE49-F238E27FC236}">
                          <a16:creationId xmlns:a16="http://schemas.microsoft.com/office/drawing/2014/main" id="{140E9DCA-E6D9-4ECA-99C2-A315E5EC3903}"/>
                        </a:ext>
                      </a:extLst>
                    </p:cNvPr>
                    <p:cNvGrpSpPr/>
                    <p:nvPr/>
                  </p:nvGrpSpPr>
                  <p:grpSpPr>
                    <a:xfrm>
                      <a:off x="5539677" y="4899243"/>
                      <a:ext cx="100379" cy="121637"/>
                      <a:chOff x="8079063" y="3685618"/>
                      <a:chExt cx="1044576" cy="1265795"/>
                    </a:xfrm>
                  </p:grpSpPr>
                  <p:sp>
                    <p:nvSpPr>
                      <p:cNvPr id="1185" name="Freeform 443">
                        <a:extLst>
                          <a:ext uri="{FF2B5EF4-FFF2-40B4-BE49-F238E27FC236}">
                            <a16:creationId xmlns:a16="http://schemas.microsoft.com/office/drawing/2014/main" id="{2E79EBA6-E6BC-4F63-840F-46DF52268E1E}"/>
                          </a:ext>
                        </a:extLst>
                      </p:cNvPr>
                      <p:cNvSpPr/>
                      <p:nvPr/>
                    </p:nvSpPr>
                    <p:spPr>
                      <a:xfrm>
                        <a:off x="8079063" y="3685618"/>
                        <a:ext cx="1044576"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86" name="Freeform 444">
                        <a:extLst>
                          <a:ext uri="{FF2B5EF4-FFF2-40B4-BE49-F238E27FC236}">
                            <a16:creationId xmlns:a16="http://schemas.microsoft.com/office/drawing/2014/main" id="{870C70AC-CB20-4052-B0C2-B5C5C64EC38B}"/>
                          </a:ext>
                        </a:extLst>
                      </p:cNvPr>
                      <p:cNvSpPr/>
                      <p:nvPr/>
                    </p:nvSpPr>
                    <p:spPr>
                      <a:xfrm>
                        <a:off x="8083823" y="3970336"/>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87" name="Freeform 445">
                        <a:extLst>
                          <a:ext uri="{FF2B5EF4-FFF2-40B4-BE49-F238E27FC236}">
                            <a16:creationId xmlns:a16="http://schemas.microsoft.com/office/drawing/2014/main" id="{E425273D-2E46-4BEA-800A-DD8CBD39EDA3}"/>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grpSp>
                <p:nvGrpSpPr>
                  <p:cNvPr id="1141" name="Group 1140">
                    <a:extLst>
                      <a:ext uri="{FF2B5EF4-FFF2-40B4-BE49-F238E27FC236}">
                        <a16:creationId xmlns:a16="http://schemas.microsoft.com/office/drawing/2014/main" id="{788E28B5-ECAE-4749-AAF6-5EC81D9C4658}"/>
                      </a:ext>
                    </a:extLst>
                  </p:cNvPr>
                  <p:cNvGrpSpPr/>
                  <p:nvPr/>
                </p:nvGrpSpPr>
                <p:grpSpPr>
                  <a:xfrm>
                    <a:off x="4888179" y="5002454"/>
                    <a:ext cx="237146" cy="203443"/>
                    <a:chOff x="4888179" y="5002454"/>
                    <a:chExt cx="237146" cy="203443"/>
                  </a:xfrm>
                </p:grpSpPr>
                <p:grpSp>
                  <p:nvGrpSpPr>
                    <p:cNvPr id="1171" name="Group 1170">
                      <a:extLst>
                        <a:ext uri="{FF2B5EF4-FFF2-40B4-BE49-F238E27FC236}">
                          <a16:creationId xmlns:a16="http://schemas.microsoft.com/office/drawing/2014/main" id="{C7BF649B-B3AA-4E01-BEA0-F16524B71816}"/>
                        </a:ext>
                      </a:extLst>
                    </p:cNvPr>
                    <p:cNvGrpSpPr/>
                    <p:nvPr/>
                  </p:nvGrpSpPr>
                  <p:grpSpPr>
                    <a:xfrm>
                      <a:off x="4888179" y="5002454"/>
                      <a:ext cx="237146" cy="203443"/>
                      <a:chOff x="-2759707" y="1099472"/>
                      <a:chExt cx="7926138" cy="6799719"/>
                    </a:xfrm>
                  </p:grpSpPr>
                  <p:sp>
                    <p:nvSpPr>
                      <p:cNvPr id="1176" name="Rectangle 317">
                        <a:extLst>
                          <a:ext uri="{FF2B5EF4-FFF2-40B4-BE49-F238E27FC236}">
                            <a16:creationId xmlns:a16="http://schemas.microsoft.com/office/drawing/2014/main" id="{B3D64F59-29F5-4E7D-B908-2C8FE0E615BF}"/>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177" name="Rounded Rectangle 450">
                        <a:extLst>
                          <a:ext uri="{FF2B5EF4-FFF2-40B4-BE49-F238E27FC236}">
                            <a16:creationId xmlns:a16="http://schemas.microsoft.com/office/drawing/2014/main" id="{5963B311-60AF-4105-B604-873AC708025A}"/>
                          </a:ext>
                        </a:extLst>
                      </p:cNvPr>
                      <p:cNvSpPr/>
                      <p:nvPr/>
                    </p:nvSpPr>
                    <p:spPr bwMode="auto">
                      <a:xfrm>
                        <a:off x="-2759707" y="1099472"/>
                        <a:ext cx="7926138" cy="5508726"/>
                      </a:xfrm>
                      <a:prstGeom prst="roundRect">
                        <a:avLst>
                          <a:gd name="adj" fmla="val 8482"/>
                        </a:avLst>
                      </a:prstGeom>
                      <a:solidFill>
                        <a:srgbClr val="494949"/>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178" name="Rectangle 1177">
                        <a:extLst>
                          <a:ext uri="{FF2B5EF4-FFF2-40B4-BE49-F238E27FC236}">
                            <a16:creationId xmlns:a16="http://schemas.microsoft.com/office/drawing/2014/main" id="{F1D2AE97-DFE0-43D8-B3F6-70670A05032F}"/>
                          </a:ext>
                        </a:extLst>
                      </p:cNvPr>
                      <p:cNvSpPr/>
                      <p:nvPr/>
                    </p:nvSpPr>
                    <p:spPr bwMode="auto">
                      <a:xfrm>
                        <a:off x="-2133709" y="1626405"/>
                        <a:ext cx="6674142" cy="4361521"/>
                      </a:xfrm>
                      <a:prstGeom prst="rect">
                        <a:avLst/>
                      </a:prstGeom>
                      <a:gradFill flip="none" rotWithShape="1">
                        <a:gsLst>
                          <a:gs pos="45000">
                            <a:srgbClr val="AFE5FD"/>
                          </a:gs>
                          <a:gs pos="45000">
                            <a:srgbClr val="C3ECFE"/>
                          </a:gs>
                        </a:gsLst>
                        <a:lin ang="24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179" name="Rectangle 1178">
                        <a:extLst>
                          <a:ext uri="{FF2B5EF4-FFF2-40B4-BE49-F238E27FC236}">
                            <a16:creationId xmlns:a16="http://schemas.microsoft.com/office/drawing/2014/main" id="{7C57C9B3-6E01-4326-BA85-72A512BDB7B2}"/>
                          </a:ext>
                        </a:extLst>
                      </p:cNvPr>
                      <p:cNvSpPr/>
                      <p:nvPr/>
                    </p:nvSpPr>
                    <p:spPr bwMode="auto">
                      <a:xfrm>
                        <a:off x="-1332157" y="7460659"/>
                        <a:ext cx="5071038" cy="438532"/>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grpSp>
                <p:grpSp>
                  <p:nvGrpSpPr>
                    <p:cNvPr id="1172" name="Group 1171">
                      <a:extLst>
                        <a:ext uri="{FF2B5EF4-FFF2-40B4-BE49-F238E27FC236}">
                          <a16:creationId xmlns:a16="http://schemas.microsoft.com/office/drawing/2014/main" id="{63F60A5E-A81A-48DB-A20E-05ECC2C1F03D}"/>
                        </a:ext>
                      </a:extLst>
                    </p:cNvPr>
                    <p:cNvGrpSpPr/>
                    <p:nvPr/>
                  </p:nvGrpSpPr>
                  <p:grpSpPr>
                    <a:xfrm>
                      <a:off x="4967500" y="5035695"/>
                      <a:ext cx="78504" cy="95130"/>
                      <a:chOff x="8079067" y="3685620"/>
                      <a:chExt cx="1044576" cy="1265793"/>
                    </a:xfrm>
                  </p:grpSpPr>
                  <p:sp>
                    <p:nvSpPr>
                      <p:cNvPr id="1173" name="Freeform 440">
                        <a:extLst>
                          <a:ext uri="{FF2B5EF4-FFF2-40B4-BE49-F238E27FC236}">
                            <a16:creationId xmlns:a16="http://schemas.microsoft.com/office/drawing/2014/main" id="{FD0AFFDE-1365-413E-A04B-4C386BE64F93}"/>
                          </a:ext>
                        </a:extLst>
                      </p:cNvPr>
                      <p:cNvSpPr/>
                      <p:nvPr/>
                    </p:nvSpPr>
                    <p:spPr>
                      <a:xfrm>
                        <a:off x="8079067" y="3685620"/>
                        <a:ext cx="1044576" cy="560388"/>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74" name="Freeform 441">
                        <a:extLst>
                          <a:ext uri="{FF2B5EF4-FFF2-40B4-BE49-F238E27FC236}">
                            <a16:creationId xmlns:a16="http://schemas.microsoft.com/office/drawing/2014/main" id="{A2F2317D-3840-4FA6-BF1E-0394B0332859}"/>
                          </a:ext>
                        </a:extLst>
                      </p:cNvPr>
                      <p:cNvSpPr/>
                      <p:nvPr/>
                    </p:nvSpPr>
                    <p:spPr>
                      <a:xfrm>
                        <a:off x="8083830"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75" name="Freeform 442">
                        <a:extLst>
                          <a:ext uri="{FF2B5EF4-FFF2-40B4-BE49-F238E27FC236}">
                            <a16:creationId xmlns:a16="http://schemas.microsoft.com/office/drawing/2014/main" id="{267E857E-7C51-450C-93EF-2E02E8E5BDF0}"/>
                          </a:ext>
                        </a:extLst>
                      </p:cNvPr>
                      <p:cNvSpPr/>
                      <p:nvPr/>
                    </p:nvSpPr>
                    <p:spPr>
                      <a:xfrm flipH="1">
                        <a:off x="8601355"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sp>
                <p:nvSpPr>
                  <p:cNvPr id="1142" name="Freeform: Shape 1141">
                    <a:extLst>
                      <a:ext uri="{FF2B5EF4-FFF2-40B4-BE49-F238E27FC236}">
                        <a16:creationId xmlns:a16="http://schemas.microsoft.com/office/drawing/2014/main" id="{93CB63C1-7681-4AE3-A905-A312F5B3B91E}"/>
                      </a:ext>
                    </a:extLst>
                  </p:cNvPr>
                  <p:cNvSpPr/>
                  <p:nvPr/>
                </p:nvSpPr>
                <p:spPr bwMode="auto">
                  <a:xfrm rot="18900000">
                    <a:off x="4817192" y="4775170"/>
                    <a:ext cx="585046" cy="69372"/>
                  </a:xfrm>
                  <a:custGeom>
                    <a:avLst/>
                    <a:gdLst>
                      <a:gd name="connsiteX0" fmla="*/ 39422 w 585046"/>
                      <a:gd name="connsiteY0" fmla="*/ 31543 h 69372"/>
                      <a:gd name="connsiteX1" fmla="*/ 39422 w 585046"/>
                      <a:gd name="connsiteY1" fmla="*/ 40687 h 69372"/>
                      <a:gd name="connsiteX2" fmla="*/ 0 w 585046"/>
                      <a:gd name="connsiteY2" fmla="*/ 40687 h 69372"/>
                      <a:gd name="connsiteX3" fmla="*/ 0 w 585046"/>
                      <a:gd name="connsiteY3" fmla="*/ 31543 h 69372"/>
                      <a:gd name="connsiteX4" fmla="*/ 85636 w 585046"/>
                      <a:gd name="connsiteY4" fmla="*/ 31543 h 69372"/>
                      <a:gd name="connsiteX5" fmla="*/ 85636 w 585046"/>
                      <a:gd name="connsiteY5" fmla="*/ 40687 h 69372"/>
                      <a:gd name="connsiteX6" fmla="*/ 46214 w 585046"/>
                      <a:gd name="connsiteY6" fmla="*/ 40687 h 69372"/>
                      <a:gd name="connsiteX7" fmla="*/ 46214 w 585046"/>
                      <a:gd name="connsiteY7" fmla="*/ 31543 h 69372"/>
                      <a:gd name="connsiteX8" fmla="*/ 131850 w 585046"/>
                      <a:gd name="connsiteY8" fmla="*/ 31543 h 69372"/>
                      <a:gd name="connsiteX9" fmla="*/ 131850 w 585046"/>
                      <a:gd name="connsiteY9" fmla="*/ 40687 h 69372"/>
                      <a:gd name="connsiteX10" fmla="*/ 92429 w 585046"/>
                      <a:gd name="connsiteY10" fmla="*/ 40687 h 69372"/>
                      <a:gd name="connsiteX11" fmla="*/ 92429 w 585046"/>
                      <a:gd name="connsiteY11" fmla="*/ 31543 h 69372"/>
                      <a:gd name="connsiteX12" fmla="*/ 178065 w 585046"/>
                      <a:gd name="connsiteY12" fmla="*/ 31543 h 69372"/>
                      <a:gd name="connsiteX13" fmla="*/ 178065 w 585046"/>
                      <a:gd name="connsiteY13" fmla="*/ 40687 h 69372"/>
                      <a:gd name="connsiteX14" fmla="*/ 138643 w 585046"/>
                      <a:gd name="connsiteY14" fmla="*/ 40687 h 69372"/>
                      <a:gd name="connsiteX15" fmla="*/ 138643 w 585046"/>
                      <a:gd name="connsiteY15" fmla="*/ 31543 h 69372"/>
                      <a:gd name="connsiteX16" fmla="*/ 224279 w 585046"/>
                      <a:gd name="connsiteY16" fmla="*/ 31543 h 69372"/>
                      <a:gd name="connsiteX17" fmla="*/ 224279 w 585046"/>
                      <a:gd name="connsiteY17" fmla="*/ 40687 h 69372"/>
                      <a:gd name="connsiteX18" fmla="*/ 184857 w 585046"/>
                      <a:gd name="connsiteY18" fmla="*/ 40687 h 69372"/>
                      <a:gd name="connsiteX19" fmla="*/ 184857 w 585046"/>
                      <a:gd name="connsiteY19" fmla="*/ 31543 h 69372"/>
                      <a:gd name="connsiteX20" fmla="*/ 270493 w 585046"/>
                      <a:gd name="connsiteY20" fmla="*/ 31543 h 69372"/>
                      <a:gd name="connsiteX21" fmla="*/ 270493 w 585046"/>
                      <a:gd name="connsiteY21" fmla="*/ 40687 h 69372"/>
                      <a:gd name="connsiteX22" fmla="*/ 231071 w 585046"/>
                      <a:gd name="connsiteY22" fmla="*/ 40687 h 69372"/>
                      <a:gd name="connsiteX23" fmla="*/ 231071 w 585046"/>
                      <a:gd name="connsiteY23" fmla="*/ 31543 h 69372"/>
                      <a:gd name="connsiteX24" fmla="*/ 317569 w 585046"/>
                      <a:gd name="connsiteY24" fmla="*/ 31543 h 69372"/>
                      <a:gd name="connsiteX25" fmla="*/ 317569 w 585046"/>
                      <a:gd name="connsiteY25" fmla="*/ 40687 h 69372"/>
                      <a:gd name="connsiteX26" fmla="*/ 278147 w 585046"/>
                      <a:gd name="connsiteY26" fmla="*/ 40687 h 69372"/>
                      <a:gd name="connsiteX27" fmla="*/ 278147 w 585046"/>
                      <a:gd name="connsiteY27" fmla="*/ 31543 h 69372"/>
                      <a:gd name="connsiteX28" fmla="*/ 363783 w 585046"/>
                      <a:gd name="connsiteY28" fmla="*/ 31543 h 69372"/>
                      <a:gd name="connsiteX29" fmla="*/ 363783 w 585046"/>
                      <a:gd name="connsiteY29" fmla="*/ 40687 h 69372"/>
                      <a:gd name="connsiteX30" fmla="*/ 324361 w 585046"/>
                      <a:gd name="connsiteY30" fmla="*/ 40687 h 69372"/>
                      <a:gd name="connsiteX31" fmla="*/ 324361 w 585046"/>
                      <a:gd name="connsiteY31" fmla="*/ 31543 h 69372"/>
                      <a:gd name="connsiteX32" fmla="*/ 409998 w 585046"/>
                      <a:gd name="connsiteY32" fmla="*/ 31543 h 69372"/>
                      <a:gd name="connsiteX33" fmla="*/ 409998 w 585046"/>
                      <a:gd name="connsiteY33" fmla="*/ 40687 h 69372"/>
                      <a:gd name="connsiteX34" fmla="*/ 370576 w 585046"/>
                      <a:gd name="connsiteY34" fmla="*/ 40687 h 69372"/>
                      <a:gd name="connsiteX35" fmla="*/ 370576 w 585046"/>
                      <a:gd name="connsiteY35" fmla="*/ 31543 h 69372"/>
                      <a:gd name="connsiteX36" fmla="*/ 456212 w 585046"/>
                      <a:gd name="connsiteY36" fmla="*/ 31543 h 69372"/>
                      <a:gd name="connsiteX37" fmla="*/ 456212 w 585046"/>
                      <a:gd name="connsiteY37" fmla="*/ 40687 h 69372"/>
                      <a:gd name="connsiteX38" fmla="*/ 416790 w 585046"/>
                      <a:gd name="connsiteY38" fmla="*/ 40687 h 69372"/>
                      <a:gd name="connsiteX39" fmla="*/ 416790 w 585046"/>
                      <a:gd name="connsiteY39" fmla="*/ 31543 h 69372"/>
                      <a:gd name="connsiteX40" fmla="*/ 502426 w 585046"/>
                      <a:gd name="connsiteY40" fmla="*/ 31543 h 69372"/>
                      <a:gd name="connsiteX41" fmla="*/ 502426 w 585046"/>
                      <a:gd name="connsiteY41" fmla="*/ 40687 h 69372"/>
                      <a:gd name="connsiteX42" fmla="*/ 463004 w 585046"/>
                      <a:gd name="connsiteY42" fmla="*/ 40687 h 69372"/>
                      <a:gd name="connsiteX43" fmla="*/ 463004 w 585046"/>
                      <a:gd name="connsiteY43" fmla="*/ 31543 h 69372"/>
                      <a:gd name="connsiteX44" fmla="*/ 585046 w 585046"/>
                      <a:gd name="connsiteY44" fmla="*/ 36367 h 69372"/>
                      <a:gd name="connsiteX45" fmla="*/ 531245 w 585046"/>
                      <a:gd name="connsiteY45" fmla="*/ 69372 h 69372"/>
                      <a:gd name="connsiteX46" fmla="*/ 532160 w 585046"/>
                      <a:gd name="connsiteY46" fmla="*/ 40687 h 69372"/>
                      <a:gd name="connsiteX47" fmla="*/ 509218 w 585046"/>
                      <a:gd name="connsiteY47" fmla="*/ 40687 h 69372"/>
                      <a:gd name="connsiteX48" fmla="*/ 509218 w 585046"/>
                      <a:gd name="connsiteY48" fmla="*/ 31543 h 69372"/>
                      <a:gd name="connsiteX49" fmla="*/ 532451 w 585046"/>
                      <a:gd name="connsiteY49" fmla="*/ 31543 h 69372"/>
                      <a:gd name="connsiteX50" fmla="*/ 533458 w 585046"/>
                      <a:gd name="connsiteY50" fmla="*/ 0 h 6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85046" h="69372">
                        <a:moveTo>
                          <a:pt x="39422" y="31543"/>
                        </a:moveTo>
                        <a:lnTo>
                          <a:pt x="39422" y="40687"/>
                        </a:lnTo>
                        <a:lnTo>
                          <a:pt x="0" y="40687"/>
                        </a:lnTo>
                        <a:lnTo>
                          <a:pt x="0" y="31543"/>
                        </a:lnTo>
                        <a:close/>
                        <a:moveTo>
                          <a:pt x="85636" y="31543"/>
                        </a:moveTo>
                        <a:lnTo>
                          <a:pt x="85636" y="40687"/>
                        </a:lnTo>
                        <a:lnTo>
                          <a:pt x="46214" y="40687"/>
                        </a:lnTo>
                        <a:lnTo>
                          <a:pt x="46214" y="31543"/>
                        </a:lnTo>
                        <a:close/>
                        <a:moveTo>
                          <a:pt x="131850" y="31543"/>
                        </a:moveTo>
                        <a:lnTo>
                          <a:pt x="131850" y="40687"/>
                        </a:lnTo>
                        <a:lnTo>
                          <a:pt x="92429" y="40687"/>
                        </a:lnTo>
                        <a:lnTo>
                          <a:pt x="92429" y="31543"/>
                        </a:lnTo>
                        <a:close/>
                        <a:moveTo>
                          <a:pt x="178065" y="31543"/>
                        </a:moveTo>
                        <a:lnTo>
                          <a:pt x="178065" y="40687"/>
                        </a:lnTo>
                        <a:lnTo>
                          <a:pt x="138643" y="40687"/>
                        </a:lnTo>
                        <a:lnTo>
                          <a:pt x="138643" y="31543"/>
                        </a:lnTo>
                        <a:close/>
                        <a:moveTo>
                          <a:pt x="224279" y="31543"/>
                        </a:moveTo>
                        <a:lnTo>
                          <a:pt x="224279" y="40687"/>
                        </a:lnTo>
                        <a:lnTo>
                          <a:pt x="184857" y="40687"/>
                        </a:lnTo>
                        <a:lnTo>
                          <a:pt x="184857" y="31543"/>
                        </a:lnTo>
                        <a:close/>
                        <a:moveTo>
                          <a:pt x="270493" y="31543"/>
                        </a:moveTo>
                        <a:lnTo>
                          <a:pt x="270493" y="40687"/>
                        </a:lnTo>
                        <a:lnTo>
                          <a:pt x="231071" y="40687"/>
                        </a:lnTo>
                        <a:lnTo>
                          <a:pt x="231071" y="31543"/>
                        </a:lnTo>
                        <a:close/>
                        <a:moveTo>
                          <a:pt x="317569" y="31543"/>
                        </a:moveTo>
                        <a:lnTo>
                          <a:pt x="317569" y="40687"/>
                        </a:lnTo>
                        <a:lnTo>
                          <a:pt x="278147" y="40687"/>
                        </a:lnTo>
                        <a:lnTo>
                          <a:pt x="278147" y="31543"/>
                        </a:lnTo>
                        <a:close/>
                        <a:moveTo>
                          <a:pt x="363783" y="31543"/>
                        </a:moveTo>
                        <a:lnTo>
                          <a:pt x="363783" y="40687"/>
                        </a:lnTo>
                        <a:lnTo>
                          <a:pt x="324361" y="40687"/>
                        </a:lnTo>
                        <a:lnTo>
                          <a:pt x="324361" y="31543"/>
                        </a:lnTo>
                        <a:close/>
                        <a:moveTo>
                          <a:pt x="409998" y="31543"/>
                        </a:moveTo>
                        <a:lnTo>
                          <a:pt x="409998" y="40687"/>
                        </a:lnTo>
                        <a:lnTo>
                          <a:pt x="370576" y="40687"/>
                        </a:lnTo>
                        <a:lnTo>
                          <a:pt x="370576" y="31543"/>
                        </a:lnTo>
                        <a:close/>
                        <a:moveTo>
                          <a:pt x="456212" y="31543"/>
                        </a:moveTo>
                        <a:lnTo>
                          <a:pt x="456212" y="40687"/>
                        </a:lnTo>
                        <a:lnTo>
                          <a:pt x="416790" y="40687"/>
                        </a:lnTo>
                        <a:lnTo>
                          <a:pt x="416790" y="31543"/>
                        </a:lnTo>
                        <a:close/>
                        <a:moveTo>
                          <a:pt x="502426" y="31543"/>
                        </a:moveTo>
                        <a:lnTo>
                          <a:pt x="502426" y="40687"/>
                        </a:lnTo>
                        <a:lnTo>
                          <a:pt x="463004" y="40687"/>
                        </a:lnTo>
                        <a:lnTo>
                          <a:pt x="463004" y="31543"/>
                        </a:lnTo>
                        <a:close/>
                        <a:moveTo>
                          <a:pt x="585046" y="36367"/>
                        </a:moveTo>
                        <a:lnTo>
                          <a:pt x="531245" y="69372"/>
                        </a:lnTo>
                        <a:lnTo>
                          <a:pt x="532160" y="40687"/>
                        </a:lnTo>
                        <a:lnTo>
                          <a:pt x="509218" y="40687"/>
                        </a:lnTo>
                        <a:lnTo>
                          <a:pt x="509218" y="31543"/>
                        </a:lnTo>
                        <a:lnTo>
                          <a:pt x="532451" y="31543"/>
                        </a:lnTo>
                        <a:lnTo>
                          <a:pt x="533458" y="0"/>
                        </a:lnTo>
                        <a:close/>
                      </a:path>
                    </a:pathLst>
                  </a:cu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143" name="Freeform: Shape 1142">
                    <a:extLst>
                      <a:ext uri="{FF2B5EF4-FFF2-40B4-BE49-F238E27FC236}">
                        <a16:creationId xmlns:a16="http://schemas.microsoft.com/office/drawing/2014/main" id="{6B40C9E4-69A5-45BC-A912-F80C3D90119F}"/>
                      </a:ext>
                    </a:extLst>
                  </p:cNvPr>
                  <p:cNvSpPr/>
                  <p:nvPr/>
                </p:nvSpPr>
                <p:spPr bwMode="auto">
                  <a:xfrm rot="5062782">
                    <a:off x="5537811" y="4680200"/>
                    <a:ext cx="69407" cy="917597"/>
                  </a:xfrm>
                  <a:custGeom>
                    <a:avLst/>
                    <a:gdLst>
                      <a:gd name="connsiteX0" fmla="*/ 8596 w 69407"/>
                      <a:gd name="connsiteY0" fmla="*/ 854979 h 917597"/>
                      <a:gd name="connsiteX1" fmla="*/ 17737 w 69407"/>
                      <a:gd name="connsiteY1" fmla="*/ 855196 h 917597"/>
                      <a:gd name="connsiteX2" fmla="*/ 16254 w 69407"/>
                      <a:gd name="connsiteY2" fmla="*/ 917597 h 917597"/>
                      <a:gd name="connsiteX3" fmla="*/ 7113 w 69407"/>
                      <a:gd name="connsiteY3" fmla="*/ 917379 h 917597"/>
                      <a:gd name="connsiteX4" fmla="*/ 10334 w 69407"/>
                      <a:gd name="connsiteY4" fmla="*/ 781827 h 917597"/>
                      <a:gd name="connsiteX5" fmla="*/ 19476 w 69407"/>
                      <a:gd name="connsiteY5" fmla="*/ 782044 h 917597"/>
                      <a:gd name="connsiteX6" fmla="*/ 17993 w 69407"/>
                      <a:gd name="connsiteY6" fmla="*/ 844445 h 917597"/>
                      <a:gd name="connsiteX7" fmla="*/ 8851 w 69407"/>
                      <a:gd name="connsiteY7" fmla="*/ 844227 h 917597"/>
                      <a:gd name="connsiteX8" fmla="*/ 12072 w 69407"/>
                      <a:gd name="connsiteY8" fmla="*/ 708675 h 917597"/>
                      <a:gd name="connsiteX9" fmla="*/ 21214 w 69407"/>
                      <a:gd name="connsiteY9" fmla="*/ 708892 h 917597"/>
                      <a:gd name="connsiteX10" fmla="*/ 19731 w 69407"/>
                      <a:gd name="connsiteY10" fmla="*/ 771293 h 917597"/>
                      <a:gd name="connsiteX11" fmla="*/ 10590 w 69407"/>
                      <a:gd name="connsiteY11" fmla="*/ 771075 h 917597"/>
                      <a:gd name="connsiteX12" fmla="*/ 13811 w 69407"/>
                      <a:gd name="connsiteY12" fmla="*/ 635523 h 917597"/>
                      <a:gd name="connsiteX13" fmla="*/ 22952 w 69407"/>
                      <a:gd name="connsiteY13" fmla="*/ 635741 h 917597"/>
                      <a:gd name="connsiteX14" fmla="*/ 21469 w 69407"/>
                      <a:gd name="connsiteY14" fmla="*/ 698140 h 917597"/>
                      <a:gd name="connsiteX15" fmla="*/ 12328 w 69407"/>
                      <a:gd name="connsiteY15" fmla="*/ 697924 h 917597"/>
                      <a:gd name="connsiteX16" fmla="*/ 15549 w 69407"/>
                      <a:gd name="connsiteY16" fmla="*/ 562371 h 917597"/>
                      <a:gd name="connsiteX17" fmla="*/ 24691 w 69407"/>
                      <a:gd name="connsiteY17" fmla="*/ 562589 h 917597"/>
                      <a:gd name="connsiteX18" fmla="*/ 23208 w 69407"/>
                      <a:gd name="connsiteY18" fmla="*/ 624988 h 917597"/>
                      <a:gd name="connsiteX19" fmla="*/ 14066 w 69407"/>
                      <a:gd name="connsiteY19" fmla="*/ 624771 h 917597"/>
                      <a:gd name="connsiteX20" fmla="*/ 17287 w 69407"/>
                      <a:gd name="connsiteY20" fmla="*/ 489220 h 917597"/>
                      <a:gd name="connsiteX21" fmla="*/ 26429 w 69407"/>
                      <a:gd name="connsiteY21" fmla="*/ 489437 h 917597"/>
                      <a:gd name="connsiteX22" fmla="*/ 24946 w 69407"/>
                      <a:gd name="connsiteY22" fmla="*/ 551837 h 917597"/>
                      <a:gd name="connsiteX23" fmla="*/ 15805 w 69407"/>
                      <a:gd name="connsiteY23" fmla="*/ 551620 h 917597"/>
                      <a:gd name="connsiteX24" fmla="*/ 19058 w 69407"/>
                      <a:gd name="connsiteY24" fmla="*/ 414704 h 917597"/>
                      <a:gd name="connsiteX25" fmla="*/ 28200 w 69407"/>
                      <a:gd name="connsiteY25" fmla="*/ 414921 h 917597"/>
                      <a:gd name="connsiteX26" fmla="*/ 26717 w 69407"/>
                      <a:gd name="connsiteY26" fmla="*/ 477321 h 917597"/>
                      <a:gd name="connsiteX27" fmla="*/ 17575 w 69407"/>
                      <a:gd name="connsiteY27" fmla="*/ 477104 h 917597"/>
                      <a:gd name="connsiteX28" fmla="*/ 20797 w 69407"/>
                      <a:gd name="connsiteY28" fmla="*/ 341552 h 917597"/>
                      <a:gd name="connsiteX29" fmla="*/ 29938 w 69407"/>
                      <a:gd name="connsiteY29" fmla="*/ 341769 h 917597"/>
                      <a:gd name="connsiteX30" fmla="*/ 28455 w 69407"/>
                      <a:gd name="connsiteY30" fmla="*/ 404169 h 917597"/>
                      <a:gd name="connsiteX31" fmla="*/ 19314 w 69407"/>
                      <a:gd name="connsiteY31" fmla="*/ 403952 h 917597"/>
                      <a:gd name="connsiteX32" fmla="*/ 22535 w 69407"/>
                      <a:gd name="connsiteY32" fmla="*/ 268400 h 917597"/>
                      <a:gd name="connsiteX33" fmla="*/ 31676 w 69407"/>
                      <a:gd name="connsiteY33" fmla="*/ 268617 h 917597"/>
                      <a:gd name="connsiteX34" fmla="*/ 30194 w 69407"/>
                      <a:gd name="connsiteY34" fmla="*/ 331017 h 917597"/>
                      <a:gd name="connsiteX35" fmla="*/ 21052 w 69407"/>
                      <a:gd name="connsiteY35" fmla="*/ 330800 h 917597"/>
                      <a:gd name="connsiteX36" fmla="*/ 24273 w 69407"/>
                      <a:gd name="connsiteY36" fmla="*/ 195248 h 917597"/>
                      <a:gd name="connsiteX37" fmla="*/ 33415 w 69407"/>
                      <a:gd name="connsiteY37" fmla="*/ 195465 h 917597"/>
                      <a:gd name="connsiteX38" fmla="*/ 31932 w 69407"/>
                      <a:gd name="connsiteY38" fmla="*/ 257865 h 917597"/>
                      <a:gd name="connsiteX39" fmla="*/ 22790 w 69407"/>
                      <a:gd name="connsiteY39" fmla="*/ 257648 h 917597"/>
                      <a:gd name="connsiteX40" fmla="*/ 26012 w 69407"/>
                      <a:gd name="connsiteY40" fmla="*/ 122096 h 917597"/>
                      <a:gd name="connsiteX41" fmla="*/ 35153 w 69407"/>
                      <a:gd name="connsiteY41" fmla="*/ 122313 h 917597"/>
                      <a:gd name="connsiteX42" fmla="*/ 33670 w 69407"/>
                      <a:gd name="connsiteY42" fmla="*/ 184713 h 917597"/>
                      <a:gd name="connsiteX43" fmla="*/ 24529 w 69407"/>
                      <a:gd name="connsiteY43" fmla="*/ 184496 h 917597"/>
                      <a:gd name="connsiteX44" fmla="*/ 0 w 69407"/>
                      <a:gd name="connsiteY44" fmla="*/ 52721 h 917597"/>
                      <a:gd name="connsiteX45" fmla="*/ 34704 w 69407"/>
                      <a:gd name="connsiteY45" fmla="*/ 0 h 917597"/>
                      <a:gd name="connsiteX46" fmla="*/ 69407 w 69407"/>
                      <a:gd name="connsiteY46" fmla="*/ 52721 h 917597"/>
                      <a:gd name="connsiteX47" fmla="*/ 36807 w 69407"/>
                      <a:gd name="connsiteY47" fmla="*/ 52721 h 917597"/>
                      <a:gd name="connsiteX48" fmla="*/ 35409 w 69407"/>
                      <a:gd name="connsiteY48" fmla="*/ 111562 h 917597"/>
                      <a:gd name="connsiteX49" fmla="*/ 26267 w 69407"/>
                      <a:gd name="connsiteY49" fmla="*/ 111345 h 917597"/>
                      <a:gd name="connsiteX50" fmla="*/ 27661 w 69407"/>
                      <a:gd name="connsiteY50" fmla="*/ 52721 h 9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9407" h="917597">
                        <a:moveTo>
                          <a:pt x="8596" y="854979"/>
                        </a:moveTo>
                        <a:lnTo>
                          <a:pt x="17737" y="855196"/>
                        </a:lnTo>
                        <a:lnTo>
                          <a:pt x="16254" y="917597"/>
                        </a:lnTo>
                        <a:lnTo>
                          <a:pt x="7113" y="917379"/>
                        </a:lnTo>
                        <a:close/>
                        <a:moveTo>
                          <a:pt x="10334" y="781827"/>
                        </a:moveTo>
                        <a:lnTo>
                          <a:pt x="19476" y="782044"/>
                        </a:lnTo>
                        <a:lnTo>
                          <a:pt x="17993" y="844445"/>
                        </a:lnTo>
                        <a:lnTo>
                          <a:pt x="8851" y="844227"/>
                        </a:lnTo>
                        <a:close/>
                        <a:moveTo>
                          <a:pt x="12072" y="708675"/>
                        </a:moveTo>
                        <a:lnTo>
                          <a:pt x="21214" y="708892"/>
                        </a:lnTo>
                        <a:lnTo>
                          <a:pt x="19731" y="771293"/>
                        </a:lnTo>
                        <a:lnTo>
                          <a:pt x="10590" y="771075"/>
                        </a:lnTo>
                        <a:close/>
                        <a:moveTo>
                          <a:pt x="13811" y="635523"/>
                        </a:moveTo>
                        <a:lnTo>
                          <a:pt x="22952" y="635741"/>
                        </a:lnTo>
                        <a:lnTo>
                          <a:pt x="21469" y="698140"/>
                        </a:lnTo>
                        <a:lnTo>
                          <a:pt x="12328" y="697924"/>
                        </a:lnTo>
                        <a:close/>
                        <a:moveTo>
                          <a:pt x="15549" y="562371"/>
                        </a:moveTo>
                        <a:lnTo>
                          <a:pt x="24691" y="562589"/>
                        </a:lnTo>
                        <a:lnTo>
                          <a:pt x="23208" y="624988"/>
                        </a:lnTo>
                        <a:lnTo>
                          <a:pt x="14066" y="624771"/>
                        </a:lnTo>
                        <a:close/>
                        <a:moveTo>
                          <a:pt x="17287" y="489220"/>
                        </a:moveTo>
                        <a:lnTo>
                          <a:pt x="26429" y="489437"/>
                        </a:lnTo>
                        <a:lnTo>
                          <a:pt x="24946" y="551837"/>
                        </a:lnTo>
                        <a:lnTo>
                          <a:pt x="15805" y="551620"/>
                        </a:lnTo>
                        <a:close/>
                        <a:moveTo>
                          <a:pt x="19058" y="414704"/>
                        </a:moveTo>
                        <a:lnTo>
                          <a:pt x="28200" y="414921"/>
                        </a:lnTo>
                        <a:lnTo>
                          <a:pt x="26717" y="477321"/>
                        </a:lnTo>
                        <a:lnTo>
                          <a:pt x="17575" y="477104"/>
                        </a:lnTo>
                        <a:close/>
                        <a:moveTo>
                          <a:pt x="20797" y="341552"/>
                        </a:moveTo>
                        <a:lnTo>
                          <a:pt x="29938" y="341769"/>
                        </a:lnTo>
                        <a:lnTo>
                          <a:pt x="28455" y="404169"/>
                        </a:lnTo>
                        <a:lnTo>
                          <a:pt x="19314" y="403952"/>
                        </a:lnTo>
                        <a:close/>
                        <a:moveTo>
                          <a:pt x="22535" y="268400"/>
                        </a:moveTo>
                        <a:lnTo>
                          <a:pt x="31676" y="268617"/>
                        </a:lnTo>
                        <a:lnTo>
                          <a:pt x="30194" y="331017"/>
                        </a:lnTo>
                        <a:lnTo>
                          <a:pt x="21052" y="330800"/>
                        </a:lnTo>
                        <a:close/>
                        <a:moveTo>
                          <a:pt x="24273" y="195248"/>
                        </a:moveTo>
                        <a:lnTo>
                          <a:pt x="33415" y="195465"/>
                        </a:lnTo>
                        <a:lnTo>
                          <a:pt x="31932" y="257865"/>
                        </a:lnTo>
                        <a:lnTo>
                          <a:pt x="22790" y="257648"/>
                        </a:lnTo>
                        <a:close/>
                        <a:moveTo>
                          <a:pt x="26012" y="122096"/>
                        </a:moveTo>
                        <a:lnTo>
                          <a:pt x="35153" y="122313"/>
                        </a:lnTo>
                        <a:lnTo>
                          <a:pt x="33670" y="184713"/>
                        </a:lnTo>
                        <a:lnTo>
                          <a:pt x="24529" y="184496"/>
                        </a:lnTo>
                        <a:close/>
                        <a:moveTo>
                          <a:pt x="0" y="52721"/>
                        </a:moveTo>
                        <a:lnTo>
                          <a:pt x="34704" y="0"/>
                        </a:lnTo>
                        <a:lnTo>
                          <a:pt x="69407" y="52721"/>
                        </a:lnTo>
                        <a:lnTo>
                          <a:pt x="36807" y="52721"/>
                        </a:lnTo>
                        <a:lnTo>
                          <a:pt x="35409" y="111562"/>
                        </a:lnTo>
                        <a:lnTo>
                          <a:pt x="26267" y="111345"/>
                        </a:lnTo>
                        <a:lnTo>
                          <a:pt x="27661" y="52721"/>
                        </a:lnTo>
                        <a:close/>
                      </a:path>
                    </a:pathLst>
                  </a:custGeom>
                  <a:solidFill>
                    <a:srgbClr val="58B3D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144" name="Freeform: Shape 1143">
                    <a:extLst>
                      <a:ext uri="{FF2B5EF4-FFF2-40B4-BE49-F238E27FC236}">
                        <a16:creationId xmlns:a16="http://schemas.microsoft.com/office/drawing/2014/main" id="{299C9D65-692E-47B1-8CDD-66CD290F6ABF}"/>
                      </a:ext>
                    </a:extLst>
                  </p:cNvPr>
                  <p:cNvSpPr>
                    <a:spLocks noChangeAspect="1"/>
                  </p:cNvSpPr>
                  <p:nvPr/>
                </p:nvSpPr>
                <p:spPr bwMode="auto">
                  <a:xfrm>
                    <a:off x="4875628" y="5243272"/>
                    <a:ext cx="1163902" cy="69407"/>
                  </a:xfrm>
                  <a:custGeom>
                    <a:avLst/>
                    <a:gdLst>
                      <a:gd name="connsiteX0" fmla="*/ 1083694 w 1163902"/>
                      <a:gd name="connsiteY0" fmla="*/ 26002 h 69407"/>
                      <a:gd name="connsiteX1" fmla="*/ 1102579 w 1163902"/>
                      <a:gd name="connsiteY1" fmla="*/ 26002 h 69407"/>
                      <a:gd name="connsiteX2" fmla="*/ 1102579 w 1163902"/>
                      <a:gd name="connsiteY2" fmla="*/ 44886 h 69407"/>
                      <a:gd name="connsiteX3" fmla="*/ 1083694 w 1163902"/>
                      <a:gd name="connsiteY3" fmla="*/ 44886 h 69407"/>
                      <a:gd name="connsiteX4" fmla="*/ 1057300 w 1163902"/>
                      <a:gd name="connsiteY4" fmla="*/ 26002 h 69407"/>
                      <a:gd name="connsiteX5" fmla="*/ 1076185 w 1163902"/>
                      <a:gd name="connsiteY5" fmla="*/ 26002 h 69407"/>
                      <a:gd name="connsiteX6" fmla="*/ 1076185 w 1163902"/>
                      <a:gd name="connsiteY6" fmla="*/ 44886 h 69407"/>
                      <a:gd name="connsiteX7" fmla="*/ 1057300 w 1163902"/>
                      <a:gd name="connsiteY7" fmla="*/ 44886 h 69407"/>
                      <a:gd name="connsiteX8" fmla="*/ 1030907 w 1163902"/>
                      <a:gd name="connsiteY8" fmla="*/ 26002 h 69407"/>
                      <a:gd name="connsiteX9" fmla="*/ 1049791 w 1163902"/>
                      <a:gd name="connsiteY9" fmla="*/ 26002 h 69407"/>
                      <a:gd name="connsiteX10" fmla="*/ 1049791 w 1163902"/>
                      <a:gd name="connsiteY10" fmla="*/ 44886 h 69407"/>
                      <a:gd name="connsiteX11" fmla="*/ 1030907 w 1163902"/>
                      <a:gd name="connsiteY11" fmla="*/ 44886 h 69407"/>
                      <a:gd name="connsiteX12" fmla="*/ 1004513 w 1163902"/>
                      <a:gd name="connsiteY12" fmla="*/ 26002 h 69407"/>
                      <a:gd name="connsiteX13" fmla="*/ 1023398 w 1163902"/>
                      <a:gd name="connsiteY13" fmla="*/ 26002 h 69407"/>
                      <a:gd name="connsiteX14" fmla="*/ 1023398 w 1163902"/>
                      <a:gd name="connsiteY14" fmla="*/ 44886 h 69407"/>
                      <a:gd name="connsiteX15" fmla="*/ 1004513 w 1163902"/>
                      <a:gd name="connsiteY15" fmla="*/ 44886 h 69407"/>
                      <a:gd name="connsiteX16" fmla="*/ 978119 w 1163902"/>
                      <a:gd name="connsiteY16" fmla="*/ 26002 h 69407"/>
                      <a:gd name="connsiteX17" fmla="*/ 997004 w 1163902"/>
                      <a:gd name="connsiteY17" fmla="*/ 26002 h 69407"/>
                      <a:gd name="connsiteX18" fmla="*/ 997004 w 1163902"/>
                      <a:gd name="connsiteY18" fmla="*/ 44886 h 69407"/>
                      <a:gd name="connsiteX19" fmla="*/ 978119 w 1163902"/>
                      <a:gd name="connsiteY19" fmla="*/ 44886 h 69407"/>
                      <a:gd name="connsiteX20" fmla="*/ 951725 w 1163902"/>
                      <a:gd name="connsiteY20" fmla="*/ 26002 h 69407"/>
                      <a:gd name="connsiteX21" fmla="*/ 970610 w 1163902"/>
                      <a:gd name="connsiteY21" fmla="*/ 26002 h 69407"/>
                      <a:gd name="connsiteX22" fmla="*/ 970610 w 1163902"/>
                      <a:gd name="connsiteY22" fmla="*/ 44886 h 69407"/>
                      <a:gd name="connsiteX23" fmla="*/ 951725 w 1163902"/>
                      <a:gd name="connsiteY23" fmla="*/ 44886 h 69407"/>
                      <a:gd name="connsiteX24" fmla="*/ 925331 w 1163902"/>
                      <a:gd name="connsiteY24" fmla="*/ 26002 h 69407"/>
                      <a:gd name="connsiteX25" fmla="*/ 944216 w 1163902"/>
                      <a:gd name="connsiteY25" fmla="*/ 26002 h 69407"/>
                      <a:gd name="connsiteX26" fmla="*/ 944216 w 1163902"/>
                      <a:gd name="connsiteY26" fmla="*/ 44886 h 69407"/>
                      <a:gd name="connsiteX27" fmla="*/ 925331 w 1163902"/>
                      <a:gd name="connsiteY27" fmla="*/ 44886 h 69407"/>
                      <a:gd name="connsiteX28" fmla="*/ 898937 w 1163902"/>
                      <a:gd name="connsiteY28" fmla="*/ 26002 h 69407"/>
                      <a:gd name="connsiteX29" fmla="*/ 917822 w 1163902"/>
                      <a:gd name="connsiteY29" fmla="*/ 26002 h 69407"/>
                      <a:gd name="connsiteX30" fmla="*/ 917822 w 1163902"/>
                      <a:gd name="connsiteY30" fmla="*/ 44886 h 69407"/>
                      <a:gd name="connsiteX31" fmla="*/ 898937 w 1163902"/>
                      <a:gd name="connsiteY31" fmla="*/ 44886 h 69407"/>
                      <a:gd name="connsiteX32" fmla="*/ 872543 w 1163902"/>
                      <a:gd name="connsiteY32" fmla="*/ 26002 h 69407"/>
                      <a:gd name="connsiteX33" fmla="*/ 891428 w 1163902"/>
                      <a:gd name="connsiteY33" fmla="*/ 26002 h 69407"/>
                      <a:gd name="connsiteX34" fmla="*/ 891428 w 1163902"/>
                      <a:gd name="connsiteY34" fmla="*/ 44886 h 69407"/>
                      <a:gd name="connsiteX35" fmla="*/ 872543 w 1163902"/>
                      <a:gd name="connsiteY35" fmla="*/ 44886 h 69407"/>
                      <a:gd name="connsiteX36" fmla="*/ 846150 w 1163902"/>
                      <a:gd name="connsiteY36" fmla="*/ 26002 h 69407"/>
                      <a:gd name="connsiteX37" fmla="*/ 865034 w 1163902"/>
                      <a:gd name="connsiteY37" fmla="*/ 26002 h 69407"/>
                      <a:gd name="connsiteX38" fmla="*/ 865034 w 1163902"/>
                      <a:gd name="connsiteY38" fmla="*/ 44886 h 69407"/>
                      <a:gd name="connsiteX39" fmla="*/ 846150 w 1163902"/>
                      <a:gd name="connsiteY39" fmla="*/ 44886 h 69407"/>
                      <a:gd name="connsiteX40" fmla="*/ 819756 w 1163902"/>
                      <a:gd name="connsiteY40" fmla="*/ 26002 h 69407"/>
                      <a:gd name="connsiteX41" fmla="*/ 838641 w 1163902"/>
                      <a:gd name="connsiteY41" fmla="*/ 26002 h 69407"/>
                      <a:gd name="connsiteX42" fmla="*/ 838641 w 1163902"/>
                      <a:gd name="connsiteY42" fmla="*/ 44886 h 69407"/>
                      <a:gd name="connsiteX43" fmla="*/ 819756 w 1163902"/>
                      <a:gd name="connsiteY43" fmla="*/ 44886 h 69407"/>
                      <a:gd name="connsiteX44" fmla="*/ 793362 w 1163902"/>
                      <a:gd name="connsiteY44" fmla="*/ 26002 h 69407"/>
                      <a:gd name="connsiteX45" fmla="*/ 812247 w 1163902"/>
                      <a:gd name="connsiteY45" fmla="*/ 26002 h 69407"/>
                      <a:gd name="connsiteX46" fmla="*/ 812247 w 1163902"/>
                      <a:gd name="connsiteY46" fmla="*/ 44886 h 69407"/>
                      <a:gd name="connsiteX47" fmla="*/ 793362 w 1163902"/>
                      <a:gd name="connsiteY47" fmla="*/ 44886 h 69407"/>
                      <a:gd name="connsiteX48" fmla="*/ 766968 w 1163902"/>
                      <a:gd name="connsiteY48" fmla="*/ 26002 h 69407"/>
                      <a:gd name="connsiteX49" fmla="*/ 785853 w 1163902"/>
                      <a:gd name="connsiteY49" fmla="*/ 26002 h 69407"/>
                      <a:gd name="connsiteX50" fmla="*/ 785853 w 1163902"/>
                      <a:gd name="connsiteY50" fmla="*/ 44886 h 69407"/>
                      <a:gd name="connsiteX51" fmla="*/ 766968 w 1163902"/>
                      <a:gd name="connsiteY51" fmla="*/ 44886 h 69407"/>
                      <a:gd name="connsiteX52" fmla="*/ 740574 w 1163902"/>
                      <a:gd name="connsiteY52" fmla="*/ 26002 h 69407"/>
                      <a:gd name="connsiteX53" fmla="*/ 759459 w 1163902"/>
                      <a:gd name="connsiteY53" fmla="*/ 26002 h 69407"/>
                      <a:gd name="connsiteX54" fmla="*/ 759459 w 1163902"/>
                      <a:gd name="connsiteY54" fmla="*/ 44886 h 69407"/>
                      <a:gd name="connsiteX55" fmla="*/ 740574 w 1163902"/>
                      <a:gd name="connsiteY55" fmla="*/ 44886 h 69407"/>
                      <a:gd name="connsiteX56" fmla="*/ 712635 w 1163902"/>
                      <a:gd name="connsiteY56" fmla="*/ 26002 h 69407"/>
                      <a:gd name="connsiteX57" fmla="*/ 731520 w 1163902"/>
                      <a:gd name="connsiteY57" fmla="*/ 26002 h 69407"/>
                      <a:gd name="connsiteX58" fmla="*/ 731520 w 1163902"/>
                      <a:gd name="connsiteY58" fmla="*/ 44886 h 69407"/>
                      <a:gd name="connsiteX59" fmla="*/ 712635 w 1163902"/>
                      <a:gd name="connsiteY59" fmla="*/ 44886 h 69407"/>
                      <a:gd name="connsiteX60" fmla="*/ 686240 w 1163902"/>
                      <a:gd name="connsiteY60" fmla="*/ 26002 h 69407"/>
                      <a:gd name="connsiteX61" fmla="*/ 705125 w 1163902"/>
                      <a:gd name="connsiteY61" fmla="*/ 26002 h 69407"/>
                      <a:gd name="connsiteX62" fmla="*/ 705125 w 1163902"/>
                      <a:gd name="connsiteY62" fmla="*/ 44886 h 69407"/>
                      <a:gd name="connsiteX63" fmla="*/ 686240 w 1163902"/>
                      <a:gd name="connsiteY63" fmla="*/ 44886 h 69407"/>
                      <a:gd name="connsiteX64" fmla="*/ 659846 w 1163902"/>
                      <a:gd name="connsiteY64" fmla="*/ 26002 h 69407"/>
                      <a:gd name="connsiteX65" fmla="*/ 678731 w 1163902"/>
                      <a:gd name="connsiteY65" fmla="*/ 26002 h 69407"/>
                      <a:gd name="connsiteX66" fmla="*/ 678731 w 1163902"/>
                      <a:gd name="connsiteY66" fmla="*/ 44886 h 69407"/>
                      <a:gd name="connsiteX67" fmla="*/ 659846 w 1163902"/>
                      <a:gd name="connsiteY67" fmla="*/ 44886 h 69407"/>
                      <a:gd name="connsiteX68" fmla="*/ 633452 w 1163902"/>
                      <a:gd name="connsiteY68" fmla="*/ 26002 h 69407"/>
                      <a:gd name="connsiteX69" fmla="*/ 652337 w 1163902"/>
                      <a:gd name="connsiteY69" fmla="*/ 26002 h 69407"/>
                      <a:gd name="connsiteX70" fmla="*/ 652337 w 1163902"/>
                      <a:gd name="connsiteY70" fmla="*/ 44886 h 69407"/>
                      <a:gd name="connsiteX71" fmla="*/ 633452 w 1163902"/>
                      <a:gd name="connsiteY71" fmla="*/ 44886 h 69407"/>
                      <a:gd name="connsiteX72" fmla="*/ 607058 w 1163902"/>
                      <a:gd name="connsiteY72" fmla="*/ 26002 h 69407"/>
                      <a:gd name="connsiteX73" fmla="*/ 625943 w 1163902"/>
                      <a:gd name="connsiteY73" fmla="*/ 26002 h 69407"/>
                      <a:gd name="connsiteX74" fmla="*/ 625943 w 1163902"/>
                      <a:gd name="connsiteY74" fmla="*/ 44886 h 69407"/>
                      <a:gd name="connsiteX75" fmla="*/ 607058 w 1163902"/>
                      <a:gd name="connsiteY75" fmla="*/ 44886 h 69407"/>
                      <a:gd name="connsiteX76" fmla="*/ 580664 w 1163902"/>
                      <a:gd name="connsiteY76" fmla="*/ 26002 h 69407"/>
                      <a:gd name="connsiteX77" fmla="*/ 599549 w 1163902"/>
                      <a:gd name="connsiteY77" fmla="*/ 26002 h 69407"/>
                      <a:gd name="connsiteX78" fmla="*/ 599549 w 1163902"/>
                      <a:gd name="connsiteY78" fmla="*/ 44886 h 69407"/>
                      <a:gd name="connsiteX79" fmla="*/ 580664 w 1163902"/>
                      <a:gd name="connsiteY79" fmla="*/ 44886 h 69407"/>
                      <a:gd name="connsiteX80" fmla="*/ 554271 w 1163902"/>
                      <a:gd name="connsiteY80" fmla="*/ 26002 h 69407"/>
                      <a:gd name="connsiteX81" fmla="*/ 573155 w 1163902"/>
                      <a:gd name="connsiteY81" fmla="*/ 26002 h 69407"/>
                      <a:gd name="connsiteX82" fmla="*/ 573155 w 1163902"/>
                      <a:gd name="connsiteY82" fmla="*/ 44886 h 69407"/>
                      <a:gd name="connsiteX83" fmla="*/ 554271 w 1163902"/>
                      <a:gd name="connsiteY83" fmla="*/ 44886 h 69407"/>
                      <a:gd name="connsiteX84" fmla="*/ 527877 w 1163902"/>
                      <a:gd name="connsiteY84" fmla="*/ 26002 h 69407"/>
                      <a:gd name="connsiteX85" fmla="*/ 546762 w 1163902"/>
                      <a:gd name="connsiteY85" fmla="*/ 26002 h 69407"/>
                      <a:gd name="connsiteX86" fmla="*/ 546762 w 1163902"/>
                      <a:gd name="connsiteY86" fmla="*/ 44886 h 69407"/>
                      <a:gd name="connsiteX87" fmla="*/ 527877 w 1163902"/>
                      <a:gd name="connsiteY87" fmla="*/ 44886 h 69407"/>
                      <a:gd name="connsiteX88" fmla="*/ 501483 w 1163902"/>
                      <a:gd name="connsiteY88" fmla="*/ 26002 h 69407"/>
                      <a:gd name="connsiteX89" fmla="*/ 520368 w 1163902"/>
                      <a:gd name="connsiteY89" fmla="*/ 26002 h 69407"/>
                      <a:gd name="connsiteX90" fmla="*/ 520368 w 1163902"/>
                      <a:gd name="connsiteY90" fmla="*/ 44886 h 69407"/>
                      <a:gd name="connsiteX91" fmla="*/ 501483 w 1163902"/>
                      <a:gd name="connsiteY91" fmla="*/ 44886 h 69407"/>
                      <a:gd name="connsiteX92" fmla="*/ 475089 w 1163902"/>
                      <a:gd name="connsiteY92" fmla="*/ 26002 h 69407"/>
                      <a:gd name="connsiteX93" fmla="*/ 493974 w 1163902"/>
                      <a:gd name="connsiteY93" fmla="*/ 26002 h 69407"/>
                      <a:gd name="connsiteX94" fmla="*/ 493974 w 1163902"/>
                      <a:gd name="connsiteY94" fmla="*/ 44886 h 69407"/>
                      <a:gd name="connsiteX95" fmla="*/ 475089 w 1163902"/>
                      <a:gd name="connsiteY95" fmla="*/ 44886 h 69407"/>
                      <a:gd name="connsiteX96" fmla="*/ 448695 w 1163902"/>
                      <a:gd name="connsiteY96" fmla="*/ 26002 h 69407"/>
                      <a:gd name="connsiteX97" fmla="*/ 467580 w 1163902"/>
                      <a:gd name="connsiteY97" fmla="*/ 26002 h 69407"/>
                      <a:gd name="connsiteX98" fmla="*/ 467580 w 1163902"/>
                      <a:gd name="connsiteY98" fmla="*/ 44886 h 69407"/>
                      <a:gd name="connsiteX99" fmla="*/ 448695 w 1163902"/>
                      <a:gd name="connsiteY99" fmla="*/ 44886 h 69407"/>
                      <a:gd name="connsiteX100" fmla="*/ 422301 w 1163902"/>
                      <a:gd name="connsiteY100" fmla="*/ 26002 h 69407"/>
                      <a:gd name="connsiteX101" fmla="*/ 441186 w 1163902"/>
                      <a:gd name="connsiteY101" fmla="*/ 26002 h 69407"/>
                      <a:gd name="connsiteX102" fmla="*/ 441186 w 1163902"/>
                      <a:gd name="connsiteY102" fmla="*/ 44886 h 69407"/>
                      <a:gd name="connsiteX103" fmla="*/ 422301 w 1163902"/>
                      <a:gd name="connsiteY103" fmla="*/ 44886 h 69407"/>
                      <a:gd name="connsiteX104" fmla="*/ 395908 w 1163902"/>
                      <a:gd name="connsiteY104" fmla="*/ 26002 h 69407"/>
                      <a:gd name="connsiteX105" fmla="*/ 414792 w 1163902"/>
                      <a:gd name="connsiteY105" fmla="*/ 26002 h 69407"/>
                      <a:gd name="connsiteX106" fmla="*/ 414792 w 1163902"/>
                      <a:gd name="connsiteY106" fmla="*/ 44886 h 69407"/>
                      <a:gd name="connsiteX107" fmla="*/ 395908 w 1163902"/>
                      <a:gd name="connsiteY107" fmla="*/ 44886 h 69407"/>
                      <a:gd name="connsiteX108" fmla="*/ 369514 w 1163902"/>
                      <a:gd name="connsiteY108" fmla="*/ 26002 h 69407"/>
                      <a:gd name="connsiteX109" fmla="*/ 388398 w 1163902"/>
                      <a:gd name="connsiteY109" fmla="*/ 26002 h 69407"/>
                      <a:gd name="connsiteX110" fmla="*/ 388398 w 1163902"/>
                      <a:gd name="connsiteY110" fmla="*/ 44886 h 69407"/>
                      <a:gd name="connsiteX111" fmla="*/ 369514 w 1163902"/>
                      <a:gd name="connsiteY111" fmla="*/ 44886 h 69407"/>
                      <a:gd name="connsiteX112" fmla="*/ 343120 w 1163902"/>
                      <a:gd name="connsiteY112" fmla="*/ 26002 h 69407"/>
                      <a:gd name="connsiteX113" fmla="*/ 362005 w 1163902"/>
                      <a:gd name="connsiteY113" fmla="*/ 26002 h 69407"/>
                      <a:gd name="connsiteX114" fmla="*/ 362005 w 1163902"/>
                      <a:gd name="connsiteY114" fmla="*/ 44886 h 69407"/>
                      <a:gd name="connsiteX115" fmla="*/ 343120 w 1163902"/>
                      <a:gd name="connsiteY115" fmla="*/ 44886 h 69407"/>
                      <a:gd name="connsiteX116" fmla="*/ 316726 w 1163902"/>
                      <a:gd name="connsiteY116" fmla="*/ 26002 h 69407"/>
                      <a:gd name="connsiteX117" fmla="*/ 335611 w 1163902"/>
                      <a:gd name="connsiteY117" fmla="*/ 26002 h 69407"/>
                      <a:gd name="connsiteX118" fmla="*/ 335611 w 1163902"/>
                      <a:gd name="connsiteY118" fmla="*/ 44886 h 69407"/>
                      <a:gd name="connsiteX119" fmla="*/ 316726 w 1163902"/>
                      <a:gd name="connsiteY119" fmla="*/ 44886 h 69407"/>
                      <a:gd name="connsiteX120" fmla="*/ 290332 w 1163902"/>
                      <a:gd name="connsiteY120" fmla="*/ 26002 h 69407"/>
                      <a:gd name="connsiteX121" fmla="*/ 309217 w 1163902"/>
                      <a:gd name="connsiteY121" fmla="*/ 26002 h 69407"/>
                      <a:gd name="connsiteX122" fmla="*/ 309217 w 1163902"/>
                      <a:gd name="connsiteY122" fmla="*/ 44886 h 69407"/>
                      <a:gd name="connsiteX123" fmla="*/ 290332 w 1163902"/>
                      <a:gd name="connsiteY123" fmla="*/ 44886 h 69407"/>
                      <a:gd name="connsiteX124" fmla="*/ 263938 w 1163902"/>
                      <a:gd name="connsiteY124" fmla="*/ 26002 h 69407"/>
                      <a:gd name="connsiteX125" fmla="*/ 282823 w 1163902"/>
                      <a:gd name="connsiteY125" fmla="*/ 26002 h 69407"/>
                      <a:gd name="connsiteX126" fmla="*/ 282823 w 1163902"/>
                      <a:gd name="connsiteY126" fmla="*/ 44886 h 69407"/>
                      <a:gd name="connsiteX127" fmla="*/ 263938 w 1163902"/>
                      <a:gd name="connsiteY127" fmla="*/ 44886 h 69407"/>
                      <a:gd name="connsiteX128" fmla="*/ 237544 w 1163902"/>
                      <a:gd name="connsiteY128" fmla="*/ 26002 h 69407"/>
                      <a:gd name="connsiteX129" fmla="*/ 256429 w 1163902"/>
                      <a:gd name="connsiteY129" fmla="*/ 26002 h 69407"/>
                      <a:gd name="connsiteX130" fmla="*/ 256429 w 1163902"/>
                      <a:gd name="connsiteY130" fmla="*/ 44886 h 69407"/>
                      <a:gd name="connsiteX131" fmla="*/ 237544 w 1163902"/>
                      <a:gd name="connsiteY131" fmla="*/ 44886 h 69407"/>
                      <a:gd name="connsiteX132" fmla="*/ 211151 w 1163902"/>
                      <a:gd name="connsiteY132" fmla="*/ 26002 h 69407"/>
                      <a:gd name="connsiteX133" fmla="*/ 230035 w 1163902"/>
                      <a:gd name="connsiteY133" fmla="*/ 26002 h 69407"/>
                      <a:gd name="connsiteX134" fmla="*/ 230035 w 1163902"/>
                      <a:gd name="connsiteY134" fmla="*/ 44886 h 69407"/>
                      <a:gd name="connsiteX135" fmla="*/ 211151 w 1163902"/>
                      <a:gd name="connsiteY135" fmla="*/ 44886 h 69407"/>
                      <a:gd name="connsiteX136" fmla="*/ 184757 w 1163902"/>
                      <a:gd name="connsiteY136" fmla="*/ 26002 h 69407"/>
                      <a:gd name="connsiteX137" fmla="*/ 203642 w 1163902"/>
                      <a:gd name="connsiteY137" fmla="*/ 26002 h 69407"/>
                      <a:gd name="connsiteX138" fmla="*/ 203642 w 1163902"/>
                      <a:gd name="connsiteY138" fmla="*/ 44886 h 69407"/>
                      <a:gd name="connsiteX139" fmla="*/ 184757 w 1163902"/>
                      <a:gd name="connsiteY139" fmla="*/ 44886 h 69407"/>
                      <a:gd name="connsiteX140" fmla="*/ 158363 w 1163902"/>
                      <a:gd name="connsiteY140" fmla="*/ 26002 h 69407"/>
                      <a:gd name="connsiteX141" fmla="*/ 177248 w 1163902"/>
                      <a:gd name="connsiteY141" fmla="*/ 26002 h 69407"/>
                      <a:gd name="connsiteX142" fmla="*/ 177248 w 1163902"/>
                      <a:gd name="connsiteY142" fmla="*/ 44886 h 69407"/>
                      <a:gd name="connsiteX143" fmla="*/ 158363 w 1163902"/>
                      <a:gd name="connsiteY143" fmla="*/ 44886 h 69407"/>
                      <a:gd name="connsiteX144" fmla="*/ 131969 w 1163902"/>
                      <a:gd name="connsiteY144" fmla="*/ 26002 h 69407"/>
                      <a:gd name="connsiteX145" fmla="*/ 150854 w 1163902"/>
                      <a:gd name="connsiteY145" fmla="*/ 26002 h 69407"/>
                      <a:gd name="connsiteX146" fmla="*/ 150854 w 1163902"/>
                      <a:gd name="connsiteY146" fmla="*/ 44886 h 69407"/>
                      <a:gd name="connsiteX147" fmla="*/ 131969 w 1163902"/>
                      <a:gd name="connsiteY147" fmla="*/ 44886 h 69407"/>
                      <a:gd name="connsiteX148" fmla="*/ 105575 w 1163902"/>
                      <a:gd name="connsiteY148" fmla="*/ 26002 h 69407"/>
                      <a:gd name="connsiteX149" fmla="*/ 124460 w 1163902"/>
                      <a:gd name="connsiteY149" fmla="*/ 26002 h 69407"/>
                      <a:gd name="connsiteX150" fmla="*/ 124460 w 1163902"/>
                      <a:gd name="connsiteY150" fmla="*/ 44886 h 69407"/>
                      <a:gd name="connsiteX151" fmla="*/ 105575 w 1163902"/>
                      <a:gd name="connsiteY151" fmla="*/ 44886 h 69407"/>
                      <a:gd name="connsiteX152" fmla="*/ 79181 w 1163902"/>
                      <a:gd name="connsiteY152" fmla="*/ 26002 h 69407"/>
                      <a:gd name="connsiteX153" fmla="*/ 98066 w 1163902"/>
                      <a:gd name="connsiteY153" fmla="*/ 26002 h 69407"/>
                      <a:gd name="connsiteX154" fmla="*/ 98066 w 1163902"/>
                      <a:gd name="connsiteY154" fmla="*/ 44886 h 69407"/>
                      <a:gd name="connsiteX155" fmla="*/ 79181 w 1163902"/>
                      <a:gd name="connsiteY155" fmla="*/ 44886 h 69407"/>
                      <a:gd name="connsiteX156" fmla="*/ 52787 w 1163902"/>
                      <a:gd name="connsiteY156" fmla="*/ 26002 h 69407"/>
                      <a:gd name="connsiteX157" fmla="*/ 71672 w 1163902"/>
                      <a:gd name="connsiteY157" fmla="*/ 26002 h 69407"/>
                      <a:gd name="connsiteX158" fmla="*/ 71672 w 1163902"/>
                      <a:gd name="connsiteY158" fmla="*/ 44886 h 69407"/>
                      <a:gd name="connsiteX159" fmla="*/ 52787 w 1163902"/>
                      <a:gd name="connsiteY159" fmla="*/ 44886 h 69407"/>
                      <a:gd name="connsiteX160" fmla="*/ 26394 w 1163902"/>
                      <a:gd name="connsiteY160" fmla="*/ 26002 h 69407"/>
                      <a:gd name="connsiteX161" fmla="*/ 45278 w 1163902"/>
                      <a:gd name="connsiteY161" fmla="*/ 26002 h 69407"/>
                      <a:gd name="connsiteX162" fmla="*/ 45278 w 1163902"/>
                      <a:gd name="connsiteY162" fmla="*/ 44886 h 69407"/>
                      <a:gd name="connsiteX163" fmla="*/ 26394 w 1163902"/>
                      <a:gd name="connsiteY163" fmla="*/ 44886 h 69407"/>
                      <a:gd name="connsiteX164" fmla="*/ 0 w 1163902"/>
                      <a:gd name="connsiteY164" fmla="*/ 26002 h 69407"/>
                      <a:gd name="connsiteX165" fmla="*/ 18885 w 1163902"/>
                      <a:gd name="connsiteY165" fmla="*/ 26002 h 69407"/>
                      <a:gd name="connsiteX166" fmla="*/ 18885 w 1163902"/>
                      <a:gd name="connsiteY166" fmla="*/ 44886 h 69407"/>
                      <a:gd name="connsiteX167" fmla="*/ 0 w 1163902"/>
                      <a:gd name="connsiteY167" fmla="*/ 44886 h 69407"/>
                      <a:gd name="connsiteX168" fmla="*/ 1111181 w 1163902"/>
                      <a:gd name="connsiteY168" fmla="*/ 0 h 69407"/>
                      <a:gd name="connsiteX169" fmla="*/ 1163902 w 1163902"/>
                      <a:gd name="connsiteY169" fmla="*/ 34704 h 69407"/>
                      <a:gd name="connsiteX170" fmla="*/ 1111181 w 1163902"/>
                      <a:gd name="connsiteY170" fmla="*/ 69407 h 69407"/>
                      <a:gd name="connsiteX171" fmla="*/ 1111181 w 1163902"/>
                      <a:gd name="connsiteY171" fmla="*/ 44886 h 69407"/>
                      <a:gd name="connsiteX172" fmla="*/ 1110088 w 1163902"/>
                      <a:gd name="connsiteY172" fmla="*/ 44886 h 69407"/>
                      <a:gd name="connsiteX173" fmla="*/ 1110088 w 1163902"/>
                      <a:gd name="connsiteY173" fmla="*/ 26002 h 69407"/>
                      <a:gd name="connsiteX174" fmla="*/ 1111181 w 1163902"/>
                      <a:gd name="connsiteY174" fmla="*/ 26002 h 69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163902" h="69407">
                        <a:moveTo>
                          <a:pt x="1083694" y="26002"/>
                        </a:moveTo>
                        <a:lnTo>
                          <a:pt x="1102579" y="26002"/>
                        </a:lnTo>
                        <a:lnTo>
                          <a:pt x="1102579" y="44886"/>
                        </a:lnTo>
                        <a:lnTo>
                          <a:pt x="1083694" y="44886"/>
                        </a:lnTo>
                        <a:close/>
                        <a:moveTo>
                          <a:pt x="1057300" y="26002"/>
                        </a:moveTo>
                        <a:lnTo>
                          <a:pt x="1076185" y="26002"/>
                        </a:lnTo>
                        <a:lnTo>
                          <a:pt x="1076185" y="44886"/>
                        </a:lnTo>
                        <a:lnTo>
                          <a:pt x="1057300" y="44886"/>
                        </a:lnTo>
                        <a:close/>
                        <a:moveTo>
                          <a:pt x="1030907" y="26002"/>
                        </a:moveTo>
                        <a:lnTo>
                          <a:pt x="1049791" y="26002"/>
                        </a:lnTo>
                        <a:lnTo>
                          <a:pt x="1049791" y="44886"/>
                        </a:lnTo>
                        <a:lnTo>
                          <a:pt x="1030907" y="44886"/>
                        </a:lnTo>
                        <a:close/>
                        <a:moveTo>
                          <a:pt x="1004513" y="26002"/>
                        </a:moveTo>
                        <a:lnTo>
                          <a:pt x="1023398" y="26002"/>
                        </a:lnTo>
                        <a:lnTo>
                          <a:pt x="1023398" y="44886"/>
                        </a:lnTo>
                        <a:lnTo>
                          <a:pt x="1004513" y="44886"/>
                        </a:lnTo>
                        <a:close/>
                        <a:moveTo>
                          <a:pt x="978119" y="26002"/>
                        </a:moveTo>
                        <a:lnTo>
                          <a:pt x="997004" y="26002"/>
                        </a:lnTo>
                        <a:lnTo>
                          <a:pt x="997004" y="44886"/>
                        </a:lnTo>
                        <a:lnTo>
                          <a:pt x="978119" y="44886"/>
                        </a:lnTo>
                        <a:close/>
                        <a:moveTo>
                          <a:pt x="951725" y="26002"/>
                        </a:moveTo>
                        <a:lnTo>
                          <a:pt x="970610" y="26002"/>
                        </a:lnTo>
                        <a:lnTo>
                          <a:pt x="970610" y="44886"/>
                        </a:lnTo>
                        <a:lnTo>
                          <a:pt x="951725" y="44886"/>
                        </a:lnTo>
                        <a:close/>
                        <a:moveTo>
                          <a:pt x="925331" y="26002"/>
                        </a:moveTo>
                        <a:lnTo>
                          <a:pt x="944216" y="26002"/>
                        </a:lnTo>
                        <a:lnTo>
                          <a:pt x="944216" y="44886"/>
                        </a:lnTo>
                        <a:lnTo>
                          <a:pt x="925331" y="44886"/>
                        </a:lnTo>
                        <a:close/>
                        <a:moveTo>
                          <a:pt x="898937" y="26002"/>
                        </a:moveTo>
                        <a:lnTo>
                          <a:pt x="917822" y="26002"/>
                        </a:lnTo>
                        <a:lnTo>
                          <a:pt x="917822" y="44886"/>
                        </a:lnTo>
                        <a:lnTo>
                          <a:pt x="898937" y="44886"/>
                        </a:lnTo>
                        <a:close/>
                        <a:moveTo>
                          <a:pt x="872543" y="26002"/>
                        </a:moveTo>
                        <a:lnTo>
                          <a:pt x="891428" y="26002"/>
                        </a:lnTo>
                        <a:lnTo>
                          <a:pt x="891428" y="44886"/>
                        </a:lnTo>
                        <a:lnTo>
                          <a:pt x="872543" y="44886"/>
                        </a:lnTo>
                        <a:close/>
                        <a:moveTo>
                          <a:pt x="846150" y="26002"/>
                        </a:moveTo>
                        <a:lnTo>
                          <a:pt x="865034" y="26002"/>
                        </a:lnTo>
                        <a:lnTo>
                          <a:pt x="865034" y="44886"/>
                        </a:lnTo>
                        <a:lnTo>
                          <a:pt x="846150" y="44886"/>
                        </a:lnTo>
                        <a:close/>
                        <a:moveTo>
                          <a:pt x="819756" y="26002"/>
                        </a:moveTo>
                        <a:lnTo>
                          <a:pt x="838641" y="26002"/>
                        </a:lnTo>
                        <a:lnTo>
                          <a:pt x="838641" y="44886"/>
                        </a:lnTo>
                        <a:lnTo>
                          <a:pt x="819756" y="44886"/>
                        </a:lnTo>
                        <a:close/>
                        <a:moveTo>
                          <a:pt x="793362" y="26002"/>
                        </a:moveTo>
                        <a:lnTo>
                          <a:pt x="812247" y="26002"/>
                        </a:lnTo>
                        <a:lnTo>
                          <a:pt x="812247" y="44886"/>
                        </a:lnTo>
                        <a:lnTo>
                          <a:pt x="793362" y="44886"/>
                        </a:lnTo>
                        <a:close/>
                        <a:moveTo>
                          <a:pt x="766968" y="26002"/>
                        </a:moveTo>
                        <a:lnTo>
                          <a:pt x="785853" y="26002"/>
                        </a:lnTo>
                        <a:lnTo>
                          <a:pt x="785853" y="44886"/>
                        </a:lnTo>
                        <a:lnTo>
                          <a:pt x="766968" y="44886"/>
                        </a:lnTo>
                        <a:close/>
                        <a:moveTo>
                          <a:pt x="740574" y="26002"/>
                        </a:moveTo>
                        <a:lnTo>
                          <a:pt x="759459" y="26002"/>
                        </a:lnTo>
                        <a:lnTo>
                          <a:pt x="759459" y="44886"/>
                        </a:lnTo>
                        <a:lnTo>
                          <a:pt x="740574" y="44886"/>
                        </a:lnTo>
                        <a:close/>
                        <a:moveTo>
                          <a:pt x="712635" y="26002"/>
                        </a:moveTo>
                        <a:lnTo>
                          <a:pt x="731520" y="26002"/>
                        </a:lnTo>
                        <a:lnTo>
                          <a:pt x="731520" y="44886"/>
                        </a:lnTo>
                        <a:lnTo>
                          <a:pt x="712635" y="44886"/>
                        </a:lnTo>
                        <a:close/>
                        <a:moveTo>
                          <a:pt x="686240" y="26002"/>
                        </a:moveTo>
                        <a:lnTo>
                          <a:pt x="705125" y="26002"/>
                        </a:lnTo>
                        <a:lnTo>
                          <a:pt x="705125" y="44886"/>
                        </a:lnTo>
                        <a:lnTo>
                          <a:pt x="686240" y="44886"/>
                        </a:lnTo>
                        <a:close/>
                        <a:moveTo>
                          <a:pt x="659846" y="26002"/>
                        </a:moveTo>
                        <a:lnTo>
                          <a:pt x="678731" y="26002"/>
                        </a:lnTo>
                        <a:lnTo>
                          <a:pt x="678731" y="44886"/>
                        </a:lnTo>
                        <a:lnTo>
                          <a:pt x="659846" y="44886"/>
                        </a:lnTo>
                        <a:close/>
                        <a:moveTo>
                          <a:pt x="633452" y="26002"/>
                        </a:moveTo>
                        <a:lnTo>
                          <a:pt x="652337" y="26002"/>
                        </a:lnTo>
                        <a:lnTo>
                          <a:pt x="652337" y="44886"/>
                        </a:lnTo>
                        <a:lnTo>
                          <a:pt x="633452" y="44886"/>
                        </a:lnTo>
                        <a:close/>
                        <a:moveTo>
                          <a:pt x="607058" y="26002"/>
                        </a:moveTo>
                        <a:lnTo>
                          <a:pt x="625943" y="26002"/>
                        </a:lnTo>
                        <a:lnTo>
                          <a:pt x="625943" y="44886"/>
                        </a:lnTo>
                        <a:lnTo>
                          <a:pt x="607058" y="44886"/>
                        </a:lnTo>
                        <a:close/>
                        <a:moveTo>
                          <a:pt x="580664" y="26002"/>
                        </a:moveTo>
                        <a:lnTo>
                          <a:pt x="599549" y="26002"/>
                        </a:lnTo>
                        <a:lnTo>
                          <a:pt x="599549" y="44886"/>
                        </a:lnTo>
                        <a:lnTo>
                          <a:pt x="580664" y="44886"/>
                        </a:lnTo>
                        <a:close/>
                        <a:moveTo>
                          <a:pt x="554271" y="26002"/>
                        </a:moveTo>
                        <a:lnTo>
                          <a:pt x="573155" y="26002"/>
                        </a:lnTo>
                        <a:lnTo>
                          <a:pt x="573155" y="44886"/>
                        </a:lnTo>
                        <a:lnTo>
                          <a:pt x="554271" y="44886"/>
                        </a:lnTo>
                        <a:close/>
                        <a:moveTo>
                          <a:pt x="527877" y="26002"/>
                        </a:moveTo>
                        <a:lnTo>
                          <a:pt x="546762" y="26002"/>
                        </a:lnTo>
                        <a:lnTo>
                          <a:pt x="546762" y="44886"/>
                        </a:lnTo>
                        <a:lnTo>
                          <a:pt x="527877" y="44886"/>
                        </a:lnTo>
                        <a:close/>
                        <a:moveTo>
                          <a:pt x="501483" y="26002"/>
                        </a:moveTo>
                        <a:lnTo>
                          <a:pt x="520368" y="26002"/>
                        </a:lnTo>
                        <a:lnTo>
                          <a:pt x="520368" y="44886"/>
                        </a:lnTo>
                        <a:lnTo>
                          <a:pt x="501483" y="44886"/>
                        </a:lnTo>
                        <a:close/>
                        <a:moveTo>
                          <a:pt x="475089" y="26002"/>
                        </a:moveTo>
                        <a:lnTo>
                          <a:pt x="493974" y="26002"/>
                        </a:lnTo>
                        <a:lnTo>
                          <a:pt x="493974" y="44886"/>
                        </a:lnTo>
                        <a:lnTo>
                          <a:pt x="475089" y="44886"/>
                        </a:lnTo>
                        <a:close/>
                        <a:moveTo>
                          <a:pt x="448695" y="26002"/>
                        </a:moveTo>
                        <a:lnTo>
                          <a:pt x="467580" y="26002"/>
                        </a:lnTo>
                        <a:lnTo>
                          <a:pt x="467580" y="44886"/>
                        </a:lnTo>
                        <a:lnTo>
                          <a:pt x="448695" y="44886"/>
                        </a:lnTo>
                        <a:close/>
                        <a:moveTo>
                          <a:pt x="422301" y="26002"/>
                        </a:moveTo>
                        <a:lnTo>
                          <a:pt x="441186" y="26002"/>
                        </a:lnTo>
                        <a:lnTo>
                          <a:pt x="441186" y="44886"/>
                        </a:lnTo>
                        <a:lnTo>
                          <a:pt x="422301" y="44886"/>
                        </a:lnTo>
                        <a:close/>
                        <a:moveTo>
                          <a:pt x="395908" y="26002"/>
                        </a:moveTo>
                        <a:lnTo>
                          <a:pt x="414792" y="26002"/>
                        </a:lnTo>
                        <a:lnTo>
                          <a:pt x="414792" y="44886"/>
                        </a:lnTo>
                        <a:lnTo>
                          <a:pt x="395908" y="44886"/>
                        </a:lnTo>
                        <a:close/>
                        <a:moveTo>
                          <a:pt x="369514" y="26002"/>
                        </a:moveTo>
                        <a:lnTo>
                          <a:pt x="388398" y="26002"/>
                        </a:lnTo>
                        <a:lnTo>
                          <a:pt x="388398" y="44886"/>
                        </a:lnTo>
                        <a:lnTo>
                          <a:pt x="369514" y="44886"/>
                        </a:lnTo>
                        <a:close/>
                        <a:moveTo>
                          <a:pt x="343120" y="26002"/>
                        </a:moveTo>
                        <a:lnTo>
                          <a:pt x="362005" y="26002"/>
                        </a:lnTo>
                        <a:lnTo>
                          <a:pt x="362005" y="44886"/>
                        </a:lnTo>
                        <a:lnTo>
                          <a:pt x="343120" y="44886"/>
                        </a:lnTo>
                        <a:close/>
                        <a:moveTo>
                          <a:pt x="316726" y="26002"/>
                        </a:moveTo>
                        <a:lnTo>
                          <a:pt x="335611" y="26002"/>
                        </a:lnTo>
                        <a:lnTo>
                          <a:pt x="335611" y="44886"/>
                        </a:lnTo>
                        <a:lnTo>
                          <a:pt x="316726" y="44886"/>
                        </a:lnTo>
                        <a:close/>
                        <a:moveTo>
                          <a:pt x="290332" y="26002"/>
                        </a:moveTo>
                        <a:lnTo>
                          <a:pt x="309217" y="26002"/>
                        </a:lnTo>
                        <a:lnTo>
                          <a:pt x="309217" y="44886"/>
                        </a:lnTo>
                        <a:lnTo>
                          <a:pt x="290332" y="44886"/>
                        </a:lnTo>
                        <a:close/>
                        <a:moveTo>
                          <a:pt x="263938" y="26002"/>
                        </a:moveTo>
                        <a:lnTo>
                          <a:pt x="282823" y="26002"/>
                        </a:lnTo>
                        <a:lnTo>
                          <a:pt x="282823" y="44886"/>
                        </a:lnTo>
                        <a:lnTo>
                          <a:pt x="263938" y="44886"/>
                        </a:lnTo>
                        <a:close/>
                        <a:moveTo>
                          <a:pt x="237544" y="26002"/>
                        </a:moveTo>
                        <a:lnTo>
                          <a:pt x="256429" y="26002"/>
                        </a:lnTo>
                        <a:lnTo>
                          <a:pt x="256429" y="44886"/>
                        </a:lnTo>
                        <a:lnTo>
                          <a:pt x="237544" y="44886"/>
                        </a:lnTo>
                        <a:close/>
                        <a:moveTo>
                          <a:pt x="211151" y="26002"/>
                        </a:moveTo>
                        <a:lnTo>
                          <a:pt x="230035" y="26002"/>
                        </a:lnTo>
                        <a:lnTo>
                          <a:pt x="230035" y="44886"/>
                        </a:lnTo>
                        <a:lnTo>
                          <a:pt x="211151" y="44886"/>
                        </a:lnTo>
                        <a:close/>
                        <a:moveTo>
                          <a:pt x="184757" y="26002"/>
                        </a:moveTo>
                        <a:lnTo>
                          <a:pt x="203642" y="26002"/>
                        </a:lnTo>
                        <a:lnTo>
                          <a:pt x="203642" y="44886"/>
                        </a:lnTo>
                        <a:lnTo>
                          <a:pt x="184757" y="44886"/>
                        </a:lnTo>
                        <a:close/>
                        <a:moveTo>
                          <a:pt x="158363" y="26002"/>
                        </a:moveTo>
                        <a:lnTo>
                          <a:pt x="177248" y="26002"/>
                        </a:lnTo>
                        <a:lnTo>
                          <a:pt x="177248" y="44886"/>
                        </a:lnTo>
                        <a:lnTo>
                          <a:pt x="158363" y="44886"/>
                        </a:lnTo>
                        <a:close/>
                        <a:moveTo>
                          <a:pt x="131969" y="26002"/>
                        </a:moveTo>
                        <a:lnTo>
                          <a:pt x="150854" y="26002"/>
                        </a:lnTo>
                        <a:lnTo>
                          <a:pt x="150854" y="44886"/>
                        </a:lnTo>
                        <a:lnTo>
                          <a:pt x="131969" y="44886"/>
                        </a:lnTo>
                        <a:close/>
                        <a:moveTo>
                          <a:pt x="105575" y="26002"/>
                        </a:moveTo>
                        <a:lnTo>
                          <a:pt x="124460" y="26002"/>
                        </a:lnTo>
                        <a:lnTo>
                          <a:pt x="124460" y="44886"/>
                        </a:lnTo>
                        <a:lnTo>
                          <a:pt x="105575" y="44886"/>
                        </a:lnTo>
                        <a:close/>
                        <a:moveTo>
                          <a:pt x="79181" y="26002"/>
                        </a:moveTo>
                        <a:lnTo>
                          <a:pt x="98066" y="26002"/>
                        </a:lnTo>
                        <a:lnTo>
                          <a:pt x="98066" y="44886"/>
                        </a:lnTo>
                        <a:lnTo>
                          <a:pt x="79181" y="44886"/>
                        </a:lnTo>
                        <a:close/>
                        <a:moveTo>
                          <a:pt x="52787" y="26002"/>
                        </a:moveTo>
                        <a:lnTo>
                          <a:pt x="71672" y="26002"/>
                        </a:lnTo>
                        <a:lnTo>
                          <a:pt x="71672" y="44886"/>
                        </a:lnTo>
                        <a:lnTo>
                          <a:pt x="52787" y="44886"/>
                        </a:lnTo>
                        <a:close/>
                        <a:moveTo>
                          <a:pt x="26394" y="26002"/>
                        </a:moveTo>
                        <a:lnTo>
                          <a:pt x="45278" y="26002"/>
                        </a:lnTo>
                        <a:lnTo>
                          <a:pt x="45278" y="44886"/>
                        </a:lnTo>
                        <a:lnTo>
                          <a:pt x="26394" y="44886"/>
                        </a:lnTo>
                        <a:close/>
                        <a:moveTo>
                          <a:pt x="0" y="26002"/>
                        </a:moveTo>
                        <a:lnTo>
                          <a:pt x="18885" y="26002"/>
                        </a:lnTo>
                        <a:lnTo>
                          <a:pt x="18885" y="44886"/>
                        </a:lnTo>
                        <a:lnTo>
                          <a:pt x="0" y="44886"/>
                        </a:lnTo>
                        <a:close/>
                        <a:moveTo>
                          <a:pt x="1111181" y="0"/>
                        </a:moveTo>
                        <a:lnTo>
                          <a:pt x="1163902" y="34704"/>
                        </a:lnTo>
                        <a:lnTo>
                          <a:pt x="1111181" y="69407"/>
                        </a:lnTo>
                        <a:lnTo>
                          <a:pt x="1111181" y="44886"/>
                        </a:lnTo>
                        <a:lnTo>
                          <a:pt x="1110088" y="44886"/>
                        </a:lnTo>
                        <a:lnTo>
                          <a:pt x="1110088" y="26002"/>
                        </a:lnTo>
                        <a:lnTo>
                          <a:pt x="1111181" y="26002"/>
                        </a:lnTo>
                        <a:close/>
                      </a:path>
                    </a:pathLst>
                  </a:custGeom>
                  <a:solidFill>
                    <a:srgbClr val="58B3D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grpSp>
                <p:nvGrpSpPr>
                  <p:cNvPr id="1145" name="Group 1144">
                    <a:extLst>
                      <a:ext uri="{FF2B5EF4-FFF2-40B4-BE49-F238E27FC236}">
                        <a16:creationId xmlns:a16="http://schemas.microsoft.com/office/drawing/2014/main" id="{1B944465-18A8-4442-AD52-FD98DCEC2E8E}"/>
                      </a:ext>
                    </a:extLst>
                  </p:cNvPr>
                  <p:cNvGrpSpPr/>
                  <p:nvPr/>
                </p:nvGrpSpPr>
                <p:grpSpPr>
                  <a:xfrm>
                    <a:off x="4877410" y="5321735"/>
                    <a:ext cx="1140385" cy="185737"/>
                    <a:chOff x="4877410" y="5321735"/>
                    <a:chExt cx="1140385" cy="185737"/>
                  </a:xfrm>
                </p:grpSpPr>
                <p:grpSp>
                  <p:nvGrpSpPr>
                    <p:cNvPr id="1146" name="Group 1145">
                      <a:extLst>
                        <a:ext uri="{FF2B5EF4-FFF2-40B4-BE49-F238E27FC236}">
                          <a16:creationId xmlns:a16="http://schemas.microsoft.com/office/drawing/2014/main" id="{9D1E1B9B-4EA7-488C-A851-D178042AAA02}"/>
                        </a:ext>
                      </a:extLst>
                    </p:cNvPr>
                    <p:cNvGrpSpPr/>
                    <p:nvPr/>
                  </p:nvGrpSpPr>
                  <p:grpSpPr>
                    <a:xfrm>
                      <a:off x="5544448" y="5321735"/>
                      <a:ext cx="190838" cy="185737"/>
                      <a:chOff x="5652683" y="1636246"/>
                      <a:chExt cx="3791758" cy="3791758"/>
                    </a:xfrm>
                  </p:grpSpPr>
                  <p:sp>
                    <p:nvSpPr>
                      <p:cNvPr id="1166" name="Oval 1165">
                        <a:extLst>
                          <a:ext uri="{FF2B5EF4-FFF2-40B4-BE49-F238E27FC236}">
                            <a16:creationId xmlns:a16="http://schemas.microsoft.com/office/drawing/2014/main" id="{9BCDEEE8-B439-4EC6-B8A5-36D0EF56EE54}"/>
                          </a:ext>
                        </a:extLst>
                      </p:cNvPr>
                      <p:cNvSpPr/>
                      <p:nvPr/>
                    </p:nvSpPr>
                    <p:spPr>
                      <a:xfrm>
                        <a:off x="5652683" y="1636246"/>
                        <a:ext cx="3791758" cy="3791758"/>
                      </a:xfrm>
                      <a:prstGeom prst="ellipse">
                        <a:avLst/>
                      </a:prstGeom>
                      <a:solidFill>
                        <a:srgbClr val="BAD80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67" name="Oval 1166">
                        <a:extLst>
                          <a:ext uri="{FF2B5EF4-FFF2-40B4-BE49-F238E27FC236}">
                            <a16:creationId xmlns:a16="http://schemas.microsoft.com/office/drawing/2014/main" id="{58BC52A7-8CD7-424D-999B-5B041BB690D8}"/>
                          </a:ext>
                        </a:extLst>
                      </p:cNvPr>
                      <p:cNvSpPr/>
                      <p:nvPr/>
                    </p:nvSpPr>
                    <p:spPr>
                      <a:xfrm>
                        <a:off x="5974946" y="1932012"/>
                        <a:ext cx="3147232" cy="3147232"/>
                      </a:xfrm>
                      <a:prstGeom prst="ellipse">
                        <a:avLst/>
                      </a:prstGeom>
                      <a:solidFill>
                        <a:srgbClr val="FFFFFF"/>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68" name="Freeform 91">
                        <a:extLst>
                          <a:ext uri="{FF2B5EF4-FFF2-40B4-BE49-F238E27FC236}">
                            <a16:creationId xmlns:a16="http://schemas.microsoft.com/office/drawing/2014/main" id="{1FFC3FC6-8064-4ADD-9D94-B6CC074AAE67}"/>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69" name="Rounded Rectangle 92">
                        <a:extLst>
                          <a:ext uri="{FF2B5EF4-FFF2-40B4-BE49-F238E27FC236}">
                            <a16:creationId xmlns:a16="http://schemas.microsoft.com/office/drawing/2014/main" id="{1C27DA28-128B-4FEE-9432-9AAE5094440E}"/>
                          </a:ext>
                        </a:extLst>
                      </p:cNvPr>
                      <p:cNvSpPr/>
                      <p:nvPr/>
                    </p:nvSpPr>
                    <p:spPr>
                      <a:xfrm>
                        <a:off x="7498946" y="3360193"/>
                        <a:ext cx="1447800" cy="290870"/>
                      </a:xfrm>
                      <a:prstGeom prst="roundRect">
                        <a:avLst>
                          <a:gd name="adj" fmla="val 50000"/>
                        </a:avLst>
                      </a:prstGeom>
                      <a:solidFill>
                        <a:srgbClr val="E6E6E6"/>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70" name="Oval 1169">
                        <a:extLst>
                          <a:ext uri="{FF2B5EF4-FFF2-40B4-BE49-F238E27FC236}">
                            <a16:creationId xmlns:a16="http://schemas.microsoft.com/office/drawing/2014/main" id="{90892650-1B91-47A3-8B07-90BEE71DCC55}"/>
                          </a:ext>
                        </a:extLst>
                      </p:cNvPr>
                      <p:cNvSpPr/>
                      <p:nvPr/>
                    </p:nvSpPr>
                    <p:spPr>
                      <a:xfrm>
                        <a:off x="7294564" y="3236912"/>
                        <a:ext cx="546099" cy="546099"/>
                      </a:xfrm>
                      <a:prstGeom prst="ellipse">
                        <a:avLst/>
                      </a:prstGeom>
                      <a:solidFill>
                        <a:srgbClr val="E6E6E6"/>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1147" name="Group 1146">
                      <a:extLst>
                        <a:ext uri="{FF2B5EF4-FFF2-40B4-BE49-F238E27FC236}">
                          <a16:creationId xmlns:a16="http://schemas.microsoft.com/office/drawing/2014/main" id="{0EF56B87-9D88-4300-AB46-E1BC79A101F3}"/>
                        </a:ext>
                      </a:extLst>
                    </p:cNvPr>
                    <p:cNvGrpSpPr/>
                    <p:nvPr/>
                  </p:nvGrpSpPr>
                  <p:grpSpPr>
                    <a:xfrm>
                      <a:off x="5229625" y="5330499"/>
                      <a:ext cx="160179" cy="153308"/>
                      <a:chOff x="4870626" y="2658174"/>
                      <a:chExt cx="903709" cy="807852"/>
                    </a:xfrm>
                  </p:grpSpPr>
                  <p:grpSp>
                    <p:nvGrpSpPr>
                      <p:cNvPr id="1158" name="Group 1157">
                        <a:extLst>
                          <a:ext uri="{FF2B5EF4-FFF2-40B4-BE49-F238E27FC236}">
                            <a16:creationId xmlns:a16="http://schemas.microsoft.com/office/drawing/2014/main" id="{0099093F-D589-4BDC-9260-22146D72EFB2}"/>
                          </a:ext>
                        </a:extLst>
                      </p:cNvPr>
                      <p:cNvGrpSpPr/>
                      <p:nvPr/>
                    </p:nvGrpSpPr>
                    <p:grpSpPr>
                      <a:xfrm>
                        <a:off x="4870626" y="2658174"/>
                        <a:ext cx="663633" cy="595577"/>
                        <a:chOff x="3393735" y="1575630"/>
                        <a:chExt cx="335303" cy="300917"/>
                      </a:xfrm>
                    </p:grpSpPr>
                    <p:sp>
                      <p:nvSpPr>
                        <p:cNvPr id="1163" name="Rounded Rectangle 348">
                          <a:extLst>
                            <a:ext uri="{FF2B5EF4-FFF2-40B4-BE49-F238E27FC236}">
                              <a16:creationId xmlns:a16="http://schemas.microsoft.com/office/drawing/2014/main" id="{B83EB4C8-4839-4863-AAE2-E750FD906F94}"/>
                            </a:ext>
                          </a:extLst>
                        </p:cNvPr>
                        <p:cNvSpPr/>
                        <p:nvPr/>
                      </p:nvSpPr>
                      <p:spPr>
                        <a:xfrm>
                          <a:off x="3393735" y="1577644"/>
                          <a:ext cx="335303" cy="298903"/>
                        </a:xfrm>
                        <a:prstGeom prst="roundRect">
                          <a:avLst>
                            <a:gd name="adj" fmla="val 7107"/>
                          </a:avLst>
                        </a:prstGeom>
                        <a:solidFill>
                          <a:srgbClr val="4DA3CC"/>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64" name="Round Same Side Corner Rectangle 349">
                          <a:extLst>
                            <a:ext uri="{FF2B5EF4-FFF2-40B4-BE49-F238E27FC236}">
                              <a16:creationId xmlns:a16="http://schemas.microsoft.com/office/drawing/2014/main" id="{08A1CCA9-BA2C-4940-84FC-25327F8F34C7}"/>
                            </a:ext>
                          </a:extLst>
                        </p:cNvPr>
                        <p:cNvSpPr/>
                        <p:nvPr/>
                      </p:nvSpPr>
                      <p:spPr>
                        <a:xfrm>
                          <a:off x="3393735" y="1577644"/>
                          <a:ext cx="335303" cy="50709"/>
                        </a:xfrm>
                        <a:prstGeom prst="round2SameRect">
                          <a:avLst>
                            <a:gd name="adj1" fmla="val 26060"/>
                            <a:gd name="adj2" fmla="val 0"/>
                          </a:avLst>
                        </a:prstGeom>
                        <a:solidFill>
                          <a:srgbClr val="B9B9B9"/>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65" name="Freeform 350">
                          <a:extLst>
                            <a:ext uri="{FF2B5EF4-FFF2-40B4-BE49-F238E27FC236}">
                              <a16:creationId xmlns:a16="http://schemas.microsoft.com/office/drawing/2014/main" id="{E83C32B1-0B93-4076-AC52-BBEA3BEDA194}"/>
                            </a:ext>
                          </a:extLst>
                        </p:cNvPr>
                        <p:cNvSpPr/>
                        <p:nvPr/>
                      </p:nvSpPr>
                      <p:spPr>
                        <a:xfrm>
                          <a:off x="3519380" y="1575630"/>
                          <a:ext cx="209658" cy="298903"/>
                        </a:xfrm>
                        <a:custGeom>
                          <a:avLst/>
                          <a:gdLst>
                            <a:gd name="connsiteX0" fmla="*/ 146969 w 209658"/>
                            <a:gd name="connsiteY0" fmla="*/ 0 h 298903"/>
                            <a:gd name="connsiteX1" fmla="*/ 188415 w 209658"/>
                            <a:gd name="connsiteY1" fmla="*/ 0 h 298903"/>
                            <a:gd name="connsiteX2" fmla="*/ 209658 w 209658"/>
                            <a:gd name="connsiteY2" fmla="*/ 21243 h 298903"/>
                            <a:gd name="connsiteX3" fmla="*/ 209658 w 209658"/>
                            <a:gd name="connsiteY3" fmla="*/ 277660 h 298903"/>
                            <a:gd name="connsiteX4" fmla="*/ 188415 w 209658"/>
                            <a:gd name="connsiteY4" fmla="*/ 298903 h 298903"/>
                            <a:gd name="connsiteX5" fmla="*/ 0 w 209658"/>
                            <a:gd name="connsiteY5" fmla="*/ 298903 h 2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58" h="298903">
                              <a:moveTo>
                                <a:pt x="146969" y="0"/>
                              </a:moveTo>
                              <a:lnTo>
                                <a:pt x="188415" y="0"/>
                              </a:lnTo>
                              <a:cubicBezTo>
                                <a:pt x="200147" y="0"/>
                                <a:pt x="209658" y="9511"/>
                                <a:pt x="209658" y="21243"/>
                              </a:cubicBezTo>
                              <a:lnTo>
                                <a:pt x="209658" y="277660"/>
                              </a:lnTo>
                              <a:cubicBezTo>
                                <a:pt x="209658" y="289392"/>
                                <a:pt x="200147" y="298903"/>
                                <a:pt x="188415" y="298903"/>
                              </a:cubicBezTo>
                              <a:lnTo>
                                <a:pt x="0" y="298903"/>
                              </a:lnTo>
                              <a:close/>
                            </a:path>
                          </a:pathLst>
                        </a:custGeom>
                        <a:solidFill>
                          <a:srgbClr val="000000">
                            <a:alpha val="16863"/>
                          </a:srgbClr>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1159" name="Group 1158">
                        <a:extLst>
                          <a:ext uri="{FF2B5EF4-FFF2-40B4-BE49-F238E27FC236}">
                            <a16:creationId xmlns:a16="http://schemas.microsoft.com/office/drawing/2014/main" id="{3BD3D1C5-1CB1-49BA-BCA9-F2F082C697E7}"/>
                          </a:ext>
                        </a:extLst>
                      </p:cNvPr>
                      <p:cNvGrpSpPr/>
                      <p:nvPr/>
                    </p:nvGrpSpPr>
                    <p:grpSpPr>
                      <a:xfrm>
                        <a:off x="5110702" y="2870449"/>
                        <a:ext cx="663633" cy="595577"/>
                        <a:chOff x="3393735" y="1575630"/>
                        <a:chExt cx="335303" cy="300917"/>
                      </a:xfrm>
                    </p:grpSpPr>
                    <p:sp>
                      <p:nvSpPr>
                        <p:cNvPr id="1160" name="Rounded Rectangle 345">
                          <a:extLst>
                            <a:ext uri="{FF2B5EF4-FFF2-40B4-BE49-F238E27FC236}">
                              <a16:creationId xmlns:a16="http://schemas.microsoft.com/office/drawing/2014/main" id="{C3D12BD6-4D93-4682-80CC-73F01221B975}"/>
                            </a:ext>
                          </a:extLst>
                        </p:cNvPr>
                        <p:cNvSpPr/>
                        <p:nvPr/>
                      </p:nvSpPr>
                      <p:spPr>
                        <a:xfrm>
                          <a:off x="3393735" y="1577644"/>
                          <a:ext cx="335303" cy="298903"/>
                        </a:xfrm>
                        <a:prstGeom prst="roundRect">
                          <a:avLst>
                            <a:gd name="adj" fmla="val 7107"/>
                          </a:avLst>
                        </a:prstGeom>
                        <a:solidFill>
                          <a:srgbClr val="338ED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61" name="Round Same Side Corner Rectangle 346">
                          <a:extLst>
                            <a:ext uri="{FF2B5EF4-FFF2-40B4-BE49-F238E27FC236}">
                              <a16:creationId xmlns:a16="http://schemas.microsoft.com/office/drawing/2014/main" id="{054DADF2-B2E9-4EB0-8283-BF69FAA71B3D}"/>
                            </a:ext>
                          </a:extLst>
                        </p:cNvPr>
                        <p:cNvSpPr/>
                        <p:nvPr/>
                      </p:nvSpPr>
                      <p:spPr>
                        <a:xfrm>
                          <a:off x="3393735" y="1577644"/>
                          <a:ext cx="335303" cy="50709"/>
                        </a:xfrm>
                        <a:prstGeom prst="round2SameRect">
                          <a:avLst>
                            <a:gd name="adj1" fmla="val 26060"/>
                            <a:gd name="adj2" fmla="val 0"/>
                          </a:avLst>
                        </a:prstGeom>
                        <a:solidFill>
                          <a:srgbClr val="65656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62" name="Freeform 347">
                          <a:extLst>
                            <a:ext uri="{FF2B5EF4-FFF2-40B4-BE49-F238E27FC236}">
                              <a16:creationId xmlns:a16="http://schemas.microsoft.com/office/drawing/2014/main" id="{F85D7CAF-F553-4BEA-BA58-748E4C283478}"/>
                            </a:ext>
                          </a:extLst>
                        </p:cNvPr>
                        <p:cNvSpPr/>
                        <p:nvPr/>
                      </p:nvSpPr>
                      <p:spPr>
                        <a:xfrm>
                          <a:off x="3519380" y="1575630"/>
                          <a:ext cx="209658" cy="298903"/>
                        </a:xfrm>
                        <a:custGeom>
                          <a:avLst/>
                          <a:gdLst>
                            <a:gd name="connsiteX0" fmla="*/ 146969 w 209658"/>
                            <a:gd name="connsiteY0" fmla="*/ 0 h 298903"/>
                            <a:gd name="connsiteX1" fmla="*/ 188415 w 209658"/>
                            <a:gd name="connsiteY1" fmla="*/ 0 h 298903"/>
                            <a:gd name="connsiteX2" fmla="*/ 209658 w 209658"/>
                            <a:gd name="connsiteY2" fmla="*/ 21243 h 298903"/>
                            <a:gd name="connsiteX3" fmla="*/ 209658 w 209658"/>
                            <a:gd name="connsiteY3" fmla="*/ 277660 h 298903"/>
                            <a:gd name="connsiteX4" fmla="*/ 188415 w 209658"/>
                            <a:gd name="connsiteY4" fmla="*/ 298903 h 298903"/>
                            <a:gd name="connsiteX5" fmla="*/ 0 w 209658"/>
                            <a:gd name="connsiteY5" fmla="*/ 298903 h 2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58" h="298903">
                              <a:moveTo>
                                <a:pt x="146969" y="0"/>
                              </a:moveTo>
                              <a:lnTo>
                                <a:pt x="188415" y="0"/>
                              </a:lnTo>
                              <a:cubicBezTo>
                                <a:pt x="200147" y="0"/>
                                <a:pt x="209658" y="9511"/>
                                <a:pt x="209658" y="21243"/>
                              </a:cubicBezTo>
                              <a:lnTo>
                                <a:pt x="209658" y="277660"/>
                              </a:lnTo>
                              <a:cubicBezTo>
                                <a:pt x="209658" y="289392"/>
                                <a:pt x="200147" y="298903"/>
                                <a:pt x="188415" y="298903"/>
                              </a:cubicBezTo>
                              <a:lnTo>
                                <a:pt x="0" y="298903"/>
                              </a:lnTo>
                              <a:close/>
                            </a:path>
                          </a:pathLst>
                        </a:custGeom>
                        <a:solidFill>
                          <a:srgbClr val="000000">
                            <a:alpha val="16863"/>
                          </a:srgbClr>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grpSp>
                  <p:nvGrpSpPr>
                    <p:cNvPr id="1148" name="Group 1147">
                      <a:extLst>
                        <a:ext uri="{FF2B5EF4-FFF2-40B4-BE49-F238E27FC236}">
                          <a16:creationId xmlns:a16="http://schemas.microsoft.com/office/drawing/2014/main" id="{FEBD4C40-1F3A-4D9D-894F-86B4E14FF5B5}"/>
                        </a:ext>
                      </a:extLst>
                    </p:cNvPr>
                    <p:cNvGrpSpPr/>
                    <p:nvPr/>
                  </p:nvGrpSpPr>
                  <p:grpSpPr>
                    <a:xfrm>
                      <a:off x="5859812" y="5327089"/>
                      <a:ext cx="157983" cy="145053"/>
                      <a:chOff x="-594587" y="2618847"/>
                      <a:chExt cx="651178" cy="597883"/>
                    </a:xfrm>
                  </p:grpSpPr>
                  <p:grpSp>
                    <p:nvGrpSpPr>
                      <p:cNvPr id="1152" name="Group 1151">
                        <a:extLst>
                          <a:ext uri="{FF2B5EF4-FFF2-40B4-BE49-F238E27FC236}">
                            <a16:creationId xmlns:a16="http://schemas.microsoft.com/office/drawing/2014/main" id="{6AA00095-1F05-4E95-BAB3-C81CEF2A0797}"/>
                          </a:ext>
                        </a:extLst>
                      </p:cNvPr>
                      <p:cNvGrpSpPr/>
                      <p:nvPr/>
                    </p:nvGrpSpPr>
                    <p:grpSpPr>
                      <a:xfrm>
                        <a:off x="-594587" y="2806085"/>
                        <a:ext cx="608911" cy="410645"/>
                        <a:chOff x="-594587" y="2806085"/>
                        <a:chExt cx="608911" cy="410645"/>
                      </a:xfrm>
                    </p:grpSpPr>
                    <p:sp>
                      <p:nvSpPr>
                        <p:cNvPr id="1154" name="Rectangle 1153">
                          <a:extLst>
                            <a:ext uri="{FF2B5EF4-FFF2-40B4-BE49-F238E27FC236}">
                              <a16:creationId xmlns:a16="http://schemas.microsoft.com/office/drawing/2014/main" id="{57FA2051-75E1-4C94-A4AD-902609B2C9CA}"/>
                            </a:ext>
                          </a:extLst>
                        </p:cNvPr>
                        <p:cNvSpPr/>
                        <p:nvPr/>
                      </p:nvSpPr>
                      <p:spPr bwMode="auto">
                        <a:xfrm>
                          <a:off x="-594587" y="2885997"/>
                          <a:ext cx="113086" cy="330733"/>
                        </a:xfrm>
                        <a:prstGeom prst="rect">
                          <a:avLst/>
                        </a:prstGeom>
                        <a:solidFill>
                          <a:srgbClr val="0071C5"/>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155" name="Rectangle 1154">
                          <a:extLst>
                            <a:ext uri="{FF2B5EF4-FFF2-40B4-BE49-F238E27FC236}">
                              <a16:creationId xmlns:a16="http://schemas.microsoft.com/office/drawing/2014/main" id="{F1D0584E-1774-4A88-B4A5-600206DCE7C1}"/>
                            </a:ext>
                          </a:extLst>
                        </p:cNvPr>
                        <p:cNvSpPr/>
                        <p:nvPr/>
                      </p:nvSpPr>
                      <p:spPr bwMode="auto">
                        <a:xfrm>
                          <a:off x="-429312" y="2806085"/>
                          <a:ext cx="113086" cy="410645"/>
                        </a:xfrm>
                        <a:prstGeom prst="rect">
                          <a:avLst/>
                        </a:prstGeom>
                        <a:solidFill>
                          <a:srgbClr val="5EB5D9"/>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156" name="Rectangle 1155">
                          <a:extLst>
                            <a:ext uri="{FF2B5EF4-FFF2-40B4-BE49-F238E27FC236}">
                              <a16:creationId xmlns:a16="http://schemas.microsoft.com/office/drawing/2014/main" id="{228CD6F6-C8E7-43D5-92DB-0B11028F3EA2}"/>
                            </a:ext>
                          </a:extLst>
                        </p:cNvPr>
                        <p:cNvSpPr/>
                        <p:nvPr/>
                      </p:nvSpPr>
                      <p:spPr bwMode="auto">
                        <a:xfrm>
                          <a:off x="-98762" y="2837090"/>
                          <a:ext cx="113086" cy="379640"/>
                        </a:xfrm>
                        <a:prstGeom prst="rect">
                          <a:avLst/>
                        </a:prstGeom>
                        <a:solidFill>
                          <a:srgbClr val="0071C5"/>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157" name="Rectangle 1156">
                          <a:extLst>
                            <a:ext uri="{FF2B5EF4-FFF2-40B4-BE49-F238E27FC236}">
                              <a16:creationId xmlns:a16="http://schemas.microsoft.com/office/drawing/2014/main" id="{86CD9127-D773-4937-84E5-9DEA974A704A}"/>
                            </a:ext>
                          </a:extLst>
                        </p:cNvPr>
                        <p:cNvSpPr/>
                        <p:nvPr/>
                      </p:nvSpPr>
                      <p:spPr bwMode="auto">
                        <a:xfrm>
                          <a:off x="-264037" y="2943226"/>
                          <a:ext cx="113086" cy="273504"/>
                        </a:xfrm>
                        <a:prstGeom prst="rect">
                          <a:avLst/>
                        </a:prstGeom>
                        <a:solidFill>
                          <a:srgbClr val="3998C5"/>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grpSp>
                  <p:sp>
                    <p:nvSpPr>
                      <p:cNvPr id="1153" name="Freeform: Shape 1152">
                        <a:extLst>
                          <a:ext uri="{FF2B5EF4-FFF2-40B4-BE49-F238E27FC236}">
                            <a16:creationId xmlns:a16="http://schemas.microsoft.com/office/drawing/2014/main" id="{F70CC717-1E10-4881-AC0C-848C22424E85}"/>
                          </a:ext>
                        </a:extLst>
                      </p:cNvPr>
                      <p:cNvSpPr/>
                      <p:nvPr/>
                    </p:nvSpPr>
                    <p:spPr bwMode="auto">
                      <a:xfrm>
                        <a:off x="-594587" y="2618847"/>
                        <a:ext cx="651178" cy="269876"/>
                      </a:xfrm>
                      <a:custGeom>
                        <a:avLst/>
                        <a:gdLst>
                          <a:gd name="connsiteX0" fmla="*/ 599546 w 651178"/>
                          <a:gd name="connsiteY0" fmla="*/ 0 h 269876"/>
                          <a:gd name="connsiteX1" fmla="*/ 651178 w 651178"/>
                          <a:gd name="connsiteY1" fmla="*/ 51633 h 269876"/>
                          <a:gd name="connsiteX2" fmla="*/ 599546 w 651178"/>
                          <a:gd name="connsiteY2" fmla="*/ 103264 h 269876"/>
                          <a:gd name="connsiteX3" fmla="*/ 586355 w 651178"/>
                          <a:gd name="connsiteY3" fmla="*/ 100601 h 269876"/>
                          <a:gd name="connsiteX4" fmla="*/ 447696 w 651178"/>
                          <a:gd name="connsiteY4" fmla="*/ 207457 h 269876"/>
                          <a:gd name="connsiteX5" fmla="*/ 452164 w 651178"/>
                          <a:gd name="connsiteY5" fmla="*/ 218244 h 269876"/>
                          <a:gd name="connsiteX6" fmla="*/ 400532 w 651178"/>
                          <a:gd name="connsiteY6" fmla="*/ 269876 h 269876"/>
                          <a:gd name="connsiteX7" fmla="*/ 348900 w 651178"/>
                          <a:gd name="connsiteY7" fmla="*/ 218244 h 269876"/>
                          <a:gd name="connsiteX8" fmla="*/ 349905 w 651178"/>
                          <a:gd name="connsiteY8" fmla="*/ 215818 h 269876"/>
                          <a:gd name="connsiteX9" fmla="*/ 283152 w 651178"/>
                          <a:gd name="connsiteY9" fmla="*/ 100199 h 269876"/>
                          <a:gd name="connsiteX10" fmla="*/ 267969 w 651178"/>
                          <a:gd name="connsiteY10" fmla="*/ 103265 h 269876"/>
                          <a:gd name="connsiteX11" fmla="*/ 247871 w 651178"/>
                          <a:gd name="connsiteY11" fmla="*/ 99207 h 269876"/>
                          <a:gd name="connsiteX12" fmla="*/ 247047 w 651178"/>
                          <a:gd name="connsiteY12" fmla="*/ 98651 h 269876"/>
                          <a:gd name="connsiteX13" fmla="*/ 94480 w 651178"/>
                          <a:gd name="connsiteY13" fmla="*/ 216225 h 269876"/>
                          <a:gd name="connsiteX14" fmla="*/ 88142 w 651178"/>
                          <a:gd name="connsiteY14" fmla="*/ 231527 h 269876"/>
                          <a:gd name="connsiteX15" fmla="*/ 51633 w 651178"/>
                          <a:gd name="connsiteY15" fmla="*/ 246650 h 269876"/>
                          <a:gd name="connsiteX16" fmla="*/ 0 w 651178"/>
                          <a:gd name="connsiteY16" fmla="*/ 195018 h 269876"/>
                          <a:gd name="connsiteX17" fmla="*/ 51633 w 651178"/>
                          <a:gd name="connsiteY17" fmla="*/ 143386 h 269876"/>
                          <a:gd name="connsiteX18" fmla="*/ 88142 w 651178"/>
                          <a:gd name="connsiteY18" fmla="*/ 158508 h 269876"/>
                          <a:gd name="connsiteX19" fmla="*/ 93300 w 651178"/>
                          <a:gd name="connsiteY19" fmla="*/ 170959 h 269876"/>
                          <a:gd name="connsiteX20" fmla="*/ 224032 w 651178"/>
                          <a:gd name="connsiteY20" fmla="*/ 70210 h 269876"/>
                          <a:gd name="connsiteX21" fmla="*/ 216336 w 651178"/>
                          <a:gd name="connsiteY21" fmla="*/ 51632 h 269876"/>
                          <a:gd name="connsiteX22" fmla="*/ 267969 w 651178"/>
                          <a:gd name="connsiteY22" fmla="*/ 1 h 269876"/>
                          <a:gd name="connsiteX23" fmla="*/ 319601 w 651178"/>
                          <a:gd name="connsiteY23" fmla="*/ 51632 h 269876"/>
                          <a:gd name="connsiteX24" fmla="*/ 310305 w 651178"/>
                          <a:gd name="connsiteY24" fmla="*/ 74076 h 269876"/>
                          <a:gd name="connsiteX25" fmla="*/ 370097 w 651178"/>
                          <a:gd name="connsiteY25" fmla="*/ 177639 h 269876"/>
                          <a:gd name="connsiteX26" fmla="*/ 380434 w 651178"/>
                          <a:gd name="connsiteY26" fmla="*/ 170670 h 269876"/>
                          <a:gd name="connsiteX27" fmla="*/ 400532 w 651178"/>
                          <a:gd name="connsiteY27" fmla="*/ 166612 h 269876"/>
                          <a:gd name="connsiteX28" fmla="*/ 420630 w 651178"/>
                          <a:gd name="connsiteY28" fmla="*/ 170670 h 269876"/>
                          <a:gd name="connsiteX29" fmla="*/ 428568 w 651178"/>
                          <a:gd name="connsiteY29" fmla="*/ 176022 h 269876"/>
                          <a:gd name="connsiteX30" fmla="*/ 558092 w 651178"/>
                          <a:gd name="connsiteY30" fmla="*/ 76205 h 269876"/>
                          <a:gd name="connsiteX31" fmla="*/ 547914 w 651178"/>
                          <a:gd name="connsiteY31" fmla="*/ 51633 h 269876"/>
                          <a:gd name="connsiteX32" fmla="*/ 599546 w 651178"/>
                          <a:gd name="connsiteY32" fmla="*/ 0 h 269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51178" h="269876">
                            <a:moveTo>
                              <a:pt x="599546" y="0"/>
                            </a:moveTo>
                            <a:cubicBezTo>
                              <a:pt x="628062" y="0"/>
                              <a:pt x="651178" y="23116"/>
                              <a:pt x="651178" y="51633"/>
                            </a:cubicBezTo>
                            <a:cubicBezTo>
                              <a:pt x="651178" y="80148"/>
                              <a:pt x="628062" y="103264"/>
                              <a:pt x="599546" y="103264"/>
                            </a:cubicBezTo>
                            <a:lnTo>
                              <a:pt x="586355" y="100601"/>
                            </a:lnTo>
                            <a:lnTo>
                              <a:pt x="447696" y="207457"/>
                            </a:lnTo>
                            <a:lnTo>
                              <a:pt x="452164" y="218244"/>
                            </a:lnTo>
                            <a:cubicBezTo>
                              <a:pt x="452164" y="246760"/>
                              <a:pt x="429048" y="269876"/>
                              <a:pt x="400532" y="269876"/>
                            </a:cubicBezTo>
                            <a:cubicBezTo>
                              <a:pt x="372016" y="269876"/>
                              <a:pt x="348900" y="246760"/>
                              <a:pt x="348900" y="218244"/>
                            </a:cubicBezTo>
                            <a:lnTo>
                              <a:pt x="349905" y="215818"/>
                            </a:lnTo>
                            <a:lnTo>
                              <a:pt x="283152" y="100199"/>
                            </a:lnTo>
                            <a:lnTo>
                              <a:pt x="267969" y="103265"/>
                            </a:lnTo>
                            <a:cubicBezTo>
                              <a:pt x="260840" y="103264"/>
                              <a:pt x="254048" y="101819"/>
                              <a:pt x="247871" y="99207"/>
                            </a:cubicBezTo>
                            <a:lnTo>
                              <a:pt x="247047" y="98651"/>
                            </a:lnTo>
                            <a:lnTo>
                              <a:pt x="94480" y="216225"/>
                            </a:lnTo>
                            <a:lnTo>
                              <a:pt x="88142" y="231527"/>
                            </a:lnTo>
                            <a:cubicBezTo>
                              <a:pt x="78799" y="240871"/>
                              <a:pt x="65891" y="246650"/>
                              <a:pt x="51633" y="246650"/>
                            </a:cubicBezTo>
                            <a:cubicBezTo>
                              <a:pt x="23116" y="246650"/>
                              <a:pt x="0" y="223534"/>
                              <a:pt x="0" y="195018"/>
                            </a:cubicBezTo>
                            <a:cubicBezTo>
                              <a:pt x="1" y="166502"/>
                              <a:pt x="23117" y="143386"/>
                              <a:pt x="51633" y="143386"/>
                            </a:cubicBezTo>
                            <a:cubicBezTo>
                              <a:pt x="65891" y="143386"/>
                              <a:pt x="78799" y="149164"/>
                              <a:pt x="88142" y="158508"/>
                            </a:cubicBezTo>
                            <a:lnTo>
                              <a:pt x="93300" y="170959"/>
                            </a:lnTo>
                            <a:lnTo>
                              <a:pt x="224032" y="70210"/>
                            </a:lnTo>
                            <a:lnTo>
                              <a:pt x="216336" y="51632"/>
                            </a:lnTo>
                            <a:cubicBezTo>
                              <a:pt x="216337" y="23117"/>
                              <a:pt x="239453" y="1"/>
                              <a:pt x="267969" y="1"/>
                            </a:cubicBezTo>
                            <a:cubicBezTo>
                              <a:pt x="296485" y="1"/>
                              <a:pt x="319601" y="23117"/>
                              <a:pt x="319601" y="51632"/>
                            </a:cubicBezTo>
                            <a:lnTo>
                              <a:pt x="310305" y="74076"/>
                            </a:lnTo>
                            <a:lnTo>
                              <a:pt x="370097" y="177639"/>
                            </a:lnTo>
                            <a:lnTo>
                              <a:pt x="380434" y="170670"/>
                            </a:lnTo>
                            <a:cubicBezTo>
                              <a:pt x="386612" y="168057"/>
                              <a:pt x="393403" y="166612"/>
                              <a:pt x="400532" y="166612"/>
                            </a:cubicBezTo>
                            <a:cubicBezTo>
                              <a:pt x="407661" y="166612"/>
                              <a:pt x="414453" y="168057"/>
                              <a:pt x="420630" y="170670"/>
                            </a:cubicBezTo>
                            <a:lnTo>
                              <a:pt x="428568" y="176022"/>
                            </a:lnTo>
                            <a:lnTo>
                              <a:pt x="558092" y="76205"/>
                            </a:lnTo>
                            <a:lnTo>
                              <a:pt x="547914" y="51633"/>
                            </a:lnTo>
                            <a:cubicBezTo>
                              <a:pt x="547913" y="23117"/>
                              <a:pt x="571030" y="0"/>
                              <a:pt x="599546" y="0"/>
                            </a:cubicBezTo>
                            <a:close/>
                          </a:path>
                        </a:pathLst>
                      </a:custGeom>
                      <a:solidFill>
                        <a:srgbClr val="804896"/>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grpSp>
                <p:grpSp>
                  <p:nvGrpSpPr>
                    <p:cNvPr id="1149" name="Group 1148">
                      <a:extLst>
                        <a:ext uri="{FF2B5EF4-FFF2-40B4-BE49-F238E27FC236}">
                          <a16:creationId xmlns:a16="http://schemas.microsoft.com/office/drawing/2014/main" id="{058B31F7-6CB4-46AB-95DD-A691A430D200}"/>
                        </a:ext>
                      </a:extLst>
                    </p:cNvPr>
                    <p:cNvGrpSpPr>
                      <a:grpSpLocks noChangeAspect="1"/>
                    </p:cNvGrpSpPr>
                    <p:nvPr/>
                  </p:nvGrpSpPr>
                  <p:grpSpPr>
                    <a:xfrm>
                      <a:off x="4877410" y="5333954"/>
                      <a:ext cx="186971" cy="155137"/>
                      <a:chOff x="6017424" y="5359615"/>
                      <a:chExt cx="186971" cy="155137"/>
                    </a:xfrm>
                  </p:grpSpPr>
                  <p:sp>
                    <p:nvSpPr>
                      <p:cNvPr id="1150" name="Heart 1149">
                        <a:extLst>
                          <a:ext uri="{FF2B5EF4-FFF2-40B4-BE49-F238E27FC236}">
                            <a16:creationId xmlns:a16="http://schemas.microsoft.com/office/drawing/2014/main" id="{304E1A8B-48DA-4C8E-BF9A-ED7C880F6290}"/>
                          </a:ext>
                        </a:extLst>
                      </p:cNvPr>
                      <p:cNvSpPr/>
                      <p:nvPr/>
                    </p:nvSpPr>
                    <p:spPr bwMode="auto">
                      <a:xfrm>
                        <a:off x="6017424" y="5359615"/>
                        <a:ext cx="186971" cy="155137"/>
                      </a:xfrm>
                      <a:prstGeom prst="heart">
                        <a:avLst/>
                      </a:prstGeom>
                      <a:solidFill>
                        <a:srgbClr val="C7434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151" name="Freeform: Shape 1150">
                        <a:extLst>
                          <a:ext uri="{FF2B5EF4-FFF2-40B4-BE49-F238E27FC236}">
                            <a16:creationId xmlns:a16="http://schemas.microsoft.com/office/drawing/2014/main" id="{537322D2-8DAF-4A64-9398-9B68E9657758}"/>
                          </a:ext>
                        </a:extLst>
                      </p:cNvPr>
                      <p:cNvSpPr/>
                      <p:nvPr/>
                    </p:nvSpPr>
                    <p:spPr bwMode="auto">
                      <a:xfrm>
                        <a:off x="6082263" y="5368123"/>
                        <a:ext cx="122132" cy="146629"/>
                      </a:xfrm>
                      <a:custGeom>
                        <a:avLst/>
                        <a:gdLst>
                          <a:gd name="connsiteX0" fmla="*/ 99825 w 122132"/>
                          <a:gd name="connsiteY0" fmla="*/ 0 h 146629"/>
                          <a:gd name="connsiteX1" fmla="*/ 114147 w 122132"/>
                          <a:gd name="connsiteY1" fmla="*/ 10884 h 146629"/>
                          <a:gd name="connsiteX2" fmla="*/ 27965 w 122132"/>
                          <a:gd name="connsiteY2" fmla="*/ 146629 h 146629"/>
                          <a:gd name="connsiteX3" fmla="*/ 0 w 122132"/>
                          <a:gd name="connsiteY3" fmla="*/ 127792 h 146629"/>
                        </a:gdLst>
                        <a:ahLst/>
                        <a:cxnLst>
                          <a:cxn ang="0">
                            <a:pos x="connsiteX0" y="connsiteY0"/>
                          </a:cxn>
                          <a:cxn ang="0">
                            <a:pos x="connsiteX1" y="connsiteY1"/>
                          </a:cxn>
                          <a:cxn ang="0">
                            <a:pos x="connsiteX2" y="connsiteY2"/>
                          </a:cxn>
                          <a:cxn ang="0">
                            <a:pos x="connsiteX3" y="connsiteY3"/>
                          </a:cxn>
                        </a:cxnLst>
                        <a:rect l="l" t="t" r="r" b="b"/>
                        <a:pathLst>
                          <a:path w="122132" h="146629">
                            <a:moveTo>
                              <a:pt x="99825" y="0"/>
                            </a:moveTo>
                            <a:lnTo>
                              <a:pt x="114147" y="10884"/>
                            </a:lnTo>
                            <a:cubicBezTo>
                              <a:pt x="133136" y="36741"/>
                              <a:pt x="123398" y="88453"/>
                              <a:pt x="27965" y="146629"/>
                            </a:cubicBezTo>
                            <a:lnTo>
                              <a:pt x="0" y="127792"/>
                            </a:lnTo>
                            <a:close/>
                          </a:path>
                        </a:pathLst>
                      </a:custGeom>
                      <a:solidFill>
                        <a:srgbClr val="B9141A"/>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grpSp>
              </p:grpSp>
            </p:grpSp>
          </p:grpSp>
          <p:grpSp>
            <p:nvGrpSpPr>
              <p:cNvPr id="1060" name="Group 1059">
                <a:extLst>
                  <a:ext uri="{FF2B5EF4-FFF2-40B4-BE49-F238E27FC236}">
                    <a16:creationId xmlns:a16="http://schemas.microsoft.com/office/drawing/2014/main" id="{0488677E-A116-4021-9855-6433934BB09F}"/>
                  </a:ext>
                </a:extLst>
              </p:cNvPr>
              <p:cNvGrpSpPr/>
              <p:nvPr/>
            </p:nvGrpSpPr>
            <p:grpSpPr>
              <a:xfrm>
                <a:off x="4536787" y="4236531"/>
                <a:ext cx="1977760" cy="1551729"/>
                <a:chOff x="4536787" y="4236531"/>
                <a:chExt cx="1977760" cy="1551729"/>
              </a:xfrm>
            </p:grpSpPr>
            <p:grpSp>
              <p:nvGrpSpPr>
                <p:cNvPr id="1061" name="Group 1060">
                  <a:extLst>
                    <a:ext uri="{FF2B5EF4-FFF2-40B4-BE49-F238E27FC236}">
                      <a16:creationId xmlns:a16="http://schemas.microsoft.com/office/drawing/2014/main" id="{4A34F60B-86FA-43AC-ACDA-3F95EB9A8379}"/>
                    </a:ext>
                  </a:extLst>
                </p:cNvPr>
                <p:cNvGrpSpPr/>
                <p:nvPr/>
              </p:nvGrpSpPr>
              <p:grpSpPr>
                <a:xfrm>
                  <a:off x="4536787" y="4236531"/>
                  <a:ext cx="1977760" cy="1551729"/>
                  <a:chOff x="4958926" y="3881760"/>
                  <a:chExt cx="1939156" cy="1521441"/>
                </a:xfrm>
              </p:grpSpPr>
              <p:grpSp>
                <p:nvGrpSpPr>
                  <p:cNvPr id="1133" name="Group 1132">
                    <a:extLst>
                      <a:ext uri="{FF2B5EF4-FFF2-40B4-BE49-F238E27FC236}">
                        <a16:creationId xmlns:a16="http://schemas.microsoft.com/office/drawing/2014/main" id="{AD8A0D2B-6FC2-4ED1-A136-596E9D236AE8}"/>
                      </a:ext>
                    </a:extLst>
                  </p:cNvPr>
                  <p:cNvGrpSpPr/>
                  <p:nvPr/>
                </p:nvGrpSpPr>
                <p:grpSpPr>
                  <a:xfrm>
                    <a:off x="4958926" y="3881760"/>
                    <a:ext cx="1939156" cy="1521441"/>
                    <a:chOff x="3993862" y="3802746"/>
                    <a:chExt cx="1939156" cy="1521441"/>
                  </a:xfrm>
                </p:grpSpPr>
                <p:sp>
                  <p:nvSpPr>
                    <p:cNvPr id="1135" name="Rectangle: Rounded Corners 1134">
                      <a:extLst>
                        <a:ext uri="{FF2B5EF4-FFF2-40B4-BE49-F238E27FC236}">
                          <a16:creationId xmlns:a16="http://schemas.microsoft.com/office/drawing/2014/main" id="{A20038F9-BA2B-4067-85CF-839724CCDDD4}"/>
                        </a:ext>
                      </a:extLst>
                    </p:cNvPr>
                    <p:cNvSpPr/>
                    <p:nvPr/>
                  </p:nvSpPr>
                  <p:spPr>
                    <a:xfrm>
                      <a:off x="3993862" y="3802746"/>
                      <a:ext cx="1939156" cy="1521441"/>
                    </a:xfrm>
                    <a:prstGeom prst="roundRect">
                      <a:avLst>
                        <a:gd name="adj" fmla="val 6571"/>
                      </a:avLst>
                    </a:prstGeom>
                    <a:solidFill>
                      <a:schemeClr val="bg2"/>
                    </a:solidFill>
                    <a:ln w="19050" cap="flat" cmpd="sng" algn="ctr">
                      <a:solidFill>
                        <a:srgbClr val="0078D7"/>
                      </a:solidFill>
                      <a:prstDash val="solid"/>
                    </a:ln>
                    <a:effectLst/>
                  </p:spPr>
                  <p:txBody>
                    <a:bodyPr rot="0" spcFirstLastPara="0" vertOverflow="overflow" horzOverflow="overflow" vert="horz" wrap="square" lIns="95117" tIns="47558" rIns="95117" bIns="47558" numCol="1" spcCol="0" rtlCol="0" fromWordArt="0" anchor="t"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anose="020B0502040204020203" pitchFamily="34" charset="0"/>
                        </a:rPr>
                        <a:t>Microservices</a:t>
                      </a:r>
                    </a:p>
                  </p:txBody>
                </p:sp>
                <p:sp>
                  <p:nvSpPr>
                    <p:cNvPr id="1136" name="TextBox 1135">
                      <a:extLst>
                        <a:ext uri="{FF2B5EF4-FFF2-40B4-BE49-F238E27FC236}">
                          <a16:creationId xmlns:a16="http://schemas.microsoft.com/office/drawing/2014/main" id="{FBC9C42C-F8F9-4761-8C98-C671247E6A3D}"/>
                        </a:ext>
                      </a:extLst>
                    </p:cNvPr>
                    <p:cNvSpPr txBox="1"/>
                    <p:nvPr/>
                  </p:nvSpPr>
                  <p:spPr>
                    <a:xfrm>
                      <a:off x="4464652" y="3918276"/>
                      <a:ext cx="177590" cy="266291"/>
                    </a:xfrm>
                    <a:prstGeom prst="rect">
                      <a:avLst/>
                    </a:prstGeom>
                    <a:noFill/>
                    <a:ln>
                      <a:noFill/>
                    </a:ln>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lumMod val="60000"/>
                            <a:lumOff val="40000"/>
                          </a:srgbClr>
                        </a:solidFill>
                        <a:effectLst/>
                        <a:uLnTx/>
                        <a:uFillTx/>
                        <a:latin typeface="Segoe UI"/>
                        <a:ea typeface="+mn-ea"/>
                        <a:cs typeface="Segoe UI" panose="020B0502040204020203" pitchFamily="34" charset="0"/>
                      </a:endParaRPr>
                    </a:p>
                  </p:txBody>
                </p:sp>
              </p:grpSp>
              <p:sp>
                <p:nvSpPr>
                  <p:cNvPr id="1134" name="TextBox 1133">
                    <a:extLst>
                      <a:ext uri="{FF2B5EF4-FFF2-40B4-BE49-F238E27FC236}">
                        <a16:creationId xmlns:a16="http://schemas.microsoft.com/office/drawing/2014/main" id="{96A886DD-0212-449B-ABB7-498433AEA2DF}"/>
                      </a:ext>
                    </a:extLst>
                  </p:cNvPr>
                  <p:cNvSpPr txBox="1"/>
                  <p:nvPr/>
                </p:nvSpPr>
                <p:spPr>
                  <a:xfrm>
                    <a:off x="6431592" y="5081456"/>
                    <a:ext cx="402518" cy="266291"/>
                  </a:xfrm>
                  <a:prstGeom prst="rect">
                    <a:avLst/>
                  </a:prstGeom>
                  <a:noFill/>
                  <a:ln>
                    <a:noFill/>
                  </a:ln>
                </p:spPr>
                <p:txBody>
                  <a:bodyPr wrap="none" rtlCol="0">
                    <a:spAutoFit/>
                  </a:bodyPr>
                  <a:lstStyle/>
                  <a:p>
                    <a:pPr marL="0" marR="0" lvl="0" indent="0" algn="ctr" defTabSz="932417"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92001">
                              <a:srgbClr val="0D0D0D"/>
                            </a:gs>
                            <a:gs pos="1250">
                              <a:srgbClr val="0D0D0D"/>
                            </a:gs>
                          </a:gsLst>
                          <a:lin ang="5400000" scaled="0"/>
                        </a:gradFill>
                        <a:effectLst/>
                        <a:uLnTx/>
                        <a:uFillTx/>
                        <a:latin typeface="Segoe UI" panose="020B0502040204020203" pitchFamily="34" charset="0"/>
                        <a:ea typeface="+mn-ea"/>
                        <a:cs typeface="Segoe UI" panose="020B0502040204020203" pitchFamily="34" charset="0"/>
                      </a:rPr>
                      <a:t>VM</a:t>
                    </a:r>
                  </a:p>
                </p:txBody>
              </p:sp>
            </p:grpSp>
            <p:grpSp>
              <p:nvGrpSpPr>
                <p:cNvPr id="1062" name="Group 1061">
                  <a:extLst>
                    <a:ext uri="{FF2B5EF4-FFF2-40B4-BE49-F238E27FC236}">
                      <a16:creationId xmlns:a16="http://schemas.microsoft.com/office/drawing/2014/main" id="{5973D16A-7051-4100-98FE-18E02E7A7224}"/>
                    </a:ext>
                  </a:extLst>
                </p:cNvPr>
                <p:cNvGrpSpPr/>
                <p:nvPr/>
              </p:nvGrpSpPr>
              <p:grpSpPr>
                <a:xfrm>
                  <a:off x="4607904" y="5516214"/>
                  <a:ext cx="222858" cy="203798"/>
                  <a:chOff x="3208463" y="2157245"/>
                  <a:chExt cx="361960" cy="331004"/>
                </a:xfrm>
              </p:grpSpPr>
              <p:sp>
                <p:nvSpPr>
                  <p:cNvPr id="1125" name="Freeform: Shape 1124">
                    <a:extLst>
                      <a:ext uri="{FF2B5EF4-FFF2-40B4-BE49-F238E27FC236}">
                        <a16:creationId xmlns:a16="http://schemas.microsoft.com/office/drawing/2014/main" id="{FFB2D4E9-B508-498A-8BC0-CDD1D0536C37}"/>
                      </a:ext>
                    </a:extLst>
                  </p:cNvPr>
                  <p:cNvSpPr/>
                  <p:nvPr/>
                </p:nvSpPr>
                <p:spPr>
                  <a:xfrm>
                    <a:off x="3271138" y="2421497"/>
                    <a:ext cx="228600" cy="66675"/>
                  </a:xfrm>
                  <a:custGeom>
                    <a:avLst/>
                    <a:gdLst/>
                    <a:ahLst/>
                    <a:cxnLst/>
                    <a:rect l="0" t="0" r="0" b="0"/>
                    <a:pathLst>
                      <a:path w="228600" h="66675">
                        <a:moveTo>
                          <a:pt x="172174" y="0"/>
                        </a:moveTo>
                        <a:lnTo>
                          <a:pt x="163544" y="0"/>
                        </a:lnTo>
                        <a:lnTo>
                          <a:pt x="78153" y="0"/>
                        </a:lnTo>
                        <a:lnTo>
                          <a:pt x="73695" y="0"/>
                        </a:lnTo>
                        <a:cubicBezTo>
                          <a:pt x="85525" y="41719"/>
                          <a:pt x="69628" y="47701"/>
                          <a:pt x="0" y="47701"/>
                        </a:cubicBezTo>
                        <a:lnTo>
                          <a:pt x="0" y="69552"/>
                        </a:lnTo>
                        <a:lnTo>
                          <a:pt x="88554" y="69552"/>
                        </a:lnTo>
                        <a:lnTo>
                          <a:pt x="153210" y="69552"/>
                        </a:lnTo>
                        <a:lnTo>
                          <a:pt x="236772" y="69552"/>
                        </a:lnTo>
                        <a:lnTo>
                          <a:pt x="236772" y="47711"/>
                        </a:lnTo>
                        <a:cubicBezTo>
                          <a:pt x="167154" y="47701"/>
                          <a:pt x="160325" y="41748"/>
                          <a:pt x="172174" y="0"/>
                        </a:cubicBezTo>
                      </a:path>
                    </a:pathLst>
                  </a:custGeom>
                  <a:solidFill>
                    <a:srgbClr val="7A7A7A"/>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sp>
                <p:nvSpPr>
                  <p:cNvPr id="1126" name="Freeform: Shape 1125">
                    <a:extLst>
                      <a:ext uri="{FF2B5EF4-FFF2-40B4-BE49-F238E27FC236}">
                        <a16:creationId xmlns:a16="http://schemas.microsoft.com/office/drawing/2014/main" id="{38A24DD2-D6B3-4C06-8130-4CE052046D0A}"/>
                      </a:ext>
                    </a:extLst>
                  </p:cNvPr>
                  <p:cNvSpPr/>
                  <p:nvPr/>
                </p:nvSpPr>
                <p:spPr>
                  <a:xfrm>
                    <a:off x="3208473" y="2157245"/>
                    <a:ext cx="361950" cy="257175"/>
                  </a:xfrm>
                  <a:custGeom>
                    <a:avLst/>
                    <a:gdLst/>
                    <a:ahLst/>
                    <a:cxnLst/>
                    <a:rect l="0" t="0" r="0" b="0"/>
                    <a:pathLst>
                      <a:path w="361950" h="257175">
                        <a:moveTo>
                          <a:pt x="340252" y="0"/>
                        </a:moveTo>
                        <a:lnTo>
                          <a:pt x="19679" y="0"/>
                        </a:lnTo>
                        <a:cubicBezTo>
                          <a:pt x="8782" y="0"/>
                          <a:pt x="0" y="9725"/>
                          <a:pt x="0" y="20593"/>
                        </a:cubicBezTo>
                        <a:lnTo>
                          <a:pt x="0" y="243850"/>
                        </a:lnTo>
                        <a:cubicBezTo>
                          <a:pt x="0" y="254651"/>
                          <a:pt x="8782" y="264271"/>
                          <a:pt x="19679" y="264271"/>
                        </a:cubicBezTo>
                        <a:lnTo>
                          <a:pt x="340252" y="264271"/>
                        </a:lnTo>
                        <a:cubicBezTo>
                          <a:pt x="351120" y="264271"/>
                          <a:pt x="362131" y="254651"/>
                          <a:pt x="362131" y="243850"/>
                        </a:cubicBezTo>
                        <a:lnTo>
                          <a:pt x="362131" y="20593"/>
                        </a:lnTo>
                        <a:cubicBezTo>
                          <a:pt x="362131" y="9706"/>
                          <a:pt x="351120" y="0"/>
                          <a:pt x="340252" y="0"/>
                        </a:cubicBezTo>
                      </a:path>
                    </a:pathLst>
                  </a:custGeom>
                  <a:solidFill>
                    <a:srgbClr val="A0A1A2"/>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sp>
                <p:nvSpPr>
                  <p:cNvPr id="1127" name="Freeform: Shape 1126">
                    <a:extLst>
                      <a:ext uri="{FF2B5EF4-FFF2-40B4-BE49-F238E27FC236}">
                        <a16:creationId xmlns:a16="http://schemas.microsoft.com/office/drawing/2014/main" id="{719B5347-B2A0-4F6D-8DE4-BA99331B7C36}"/>
                      </a:ext>
                    </a:extLst>
                  </p:cNvPr>
                  <p:cNvSpPr/>
                  <p:nvPr/>
                </p:nvSpPr>
                <p:spPr>
                  <a:xfrm>
                    <a:off x="3208463" y="2157255"/>
                    <a:ext cx="333375" cy="257175"/>
                  </a:xfrm>
                  <a:custGeom>
                    <a:avLst/>
                    <a:gdLst/>
                    <a:ahLst/>
                    <a:cxnLst/>
                    <a:rect l="0" t="0" r="0" b="0"/>
                    <a:pathLst>
                      <a:path w="333375" h="257175">
                        <a:moveTo>
                          <a:pt x="340490" y="19"/>
                        </a:moveTo>
                        <a:cubicBezTo>
                          <a:pt x="340414" y="19"/>
                          <a:pt x="340338" y="0"/>
                          <a:pt x="340262" y="0"/>
                        </a:cubicBezTo>
                        <a:lnTo>
                          <a:pt x="19679" y="0"/>
                        </a:lnTo>
                        <a:cubicBezTo>
                          <a:pt x="8782" y="0"/>
                          <a:pt x="0" y="9725"/>
                          <a:pt x="0" y="20593"/>
                        </a:cubicBezTo>
                        <a:lnTo>
                          <a:pt x="0" y="243840"/>
                        </a:lnTo>
                        <a:cubicBezTo>
                          <a:pt x="0" y="254641"/>
                          <a:pt x="8782" y="264262"/>
                          <a:pt x="19679" y="264262"/>
                        </a:cubicBezTo>
                        <a:lnTo>
                          <a:pt x="27308" y="264262"/>
                        </a:lnTo>
                        <a:lnTo>
                          <a:pt x="340490" y="19"/>
                        </a:lnTo>
                        <a:close/>
                      </a:path>
                    </a:pathLst>
                  </a:custGeom>
                  <a:solidFill>
                    <a:srgbClr val="FFFFFF">
                      <a:alpha val="20000"/>
                    </a:srgbClr>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sp>
                <p:nvSpPr>
                  <p:cNvPr id="1128" name="Freeform: Shape 1127">
                    <a:extLst>
                      <a:ext uri="{FF2B5EF4-FFF2-40B4-BE49-F238E27FC236}">
                        <a16:creationId xmlns:a16="http://schemas.microsoft.com/office/drawing/2014/main" id="{07C62BC1-96AC-4CCB-B4D1-6C17B88424F8}"/>
                      </a:ext>
                    </a:extLst>
                  </p:cNvPr>
                  <p:cNvSpPr/>
                  <p:nvPr/>
                </p:nvSpPr>
                <p:spPr>
                  <a:xfrm>
                    <a:off x="3235915" y="2184630"/>
                    <a:ext cx="304800" cy="200025"/>
                  </a:xfrm>
                  <a:custGeom>
                    <a:avLst/>
                    <a:gdLst/>
                    <a:ahLst/>
                    <a:cxnLst/>
                    <a:rect l="0" t="0" r="0" b="0"/>
                    <a:pathLst>
                      <a:path w="304800" h="200025">
                        <a:moveTo>
                          <a:pt x="307153" y="209064"/>
                        </a:moveTo>
                        <a:lnTo>
                          <a:pt x="0" y="209064"/>
                        </a:lnTo>
                        <a:lnTo>
                          <a:pt x="0" y="457"/>
                        </a:lnTo>
                        <a:lnTo>
                          <a:pt x="307153" y="0"/>
                        </a:lnTo>
                        <a:close/>
                      </a:path>
                    </a:pathLst>
                  </a:custGeom>
                  <a:solidFill>
                    <a:srgbClr val="59B4D9"/>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sp>
                <p:nvSpPr>
                  <p:cNvPr id="1129" name="Freeform: Shape 1128">
                    <a:extLst>
                      <a:ext uri="{FF2B5EF4-FFF2-40B4-BE49-F238E27FC236}">
                        <a16:creationId xmlns:a16="http://schemas.microsoft.com/office/drawing/2014/main" id="{97E3197B-968C-4269-95D3-5EDB8D764DA9}"/>
                      </a:ext>
                    </a:extLst>
                  </p:cNvPr>
                  <p:cNvSpPr/>
                  <p:nvPr/>
                </p:nvSpPr>
                <p:spPr>
                  <a:xfrm>
                    <a:off x="3271148" y="2469199"/>
                    <a:ext cx="228600" cy="19050"/>
                  </a:xfrm>
                  <a:custGeom>
                    <a:avLst/>
                    <a:gdLst/>
                    <a:ahLst/>
                    <a:cxnLst/>
                    <a:rect l="0" t="0" r="0" b="0"/>
                    <a:pathLst>
                      <a:path w="228600" h="19050">
                        <a:moveTo>
                          <a:pt x="0" y="0"/>
                        </a:moveTo>
                        <a:lnTo>
                          <a:pt x="236772" y="0"/>
                        </a:lnTo>
                        <a:lnTo>
                          <a:pt x="236772" y="21850"/>
                        </a:lnTo>
                        <a:lnTo>
                          <a:pt x="0" y="21850"/>
                        </a:lnTo>
                        <a:close/>
                      </a:path>
                    </a:pathLst>
                  </a:custGeom>
                  <a:solidFill>
                    <a:srgbClr val="A0A1A2"/>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sp>
                <p:nvSpPr>
                  <p:cNvPr id="1130" name="Freeform: Shape 1129">
                    <a:extLst>
                      <a:ext uri="{FF2B5EF4-FFF2-40B4-BE49-F238E27FC236}">
                        <a16:creationId xmlns:a16="http://schemas.microsoft.com/office/drawing/2014/main" id="{D16163C7-9E2E-4474-9611-A2369FC4C6F7}"/>
                      </a:ext>
                    </a:extLst>
                  </p:cNvPr>
                  <p:cNvSpPr/>
                  <p:nvPr/>
                </p:nvSpPr>
                <p:spPr>
                  <a:xfrm>
                    <a:off x="3327793" y="2205925"/>
                    <a:ext cx="123825" cy="76200"/>
                  </a:xfrm>
                  <a:custGeom>
                    <a:avLst/>
                    <a:gdLst/>
                    <a:ahLst/>
                    <a:cxnLst/>
                    <a:rect l="0" t="0" r="0" b="0"/>
                    <a:pathLst>
                      <a:path w="123825" h="76200">
                        <a:moveTo>
                          <a:pt x="65694" y="77136"/>
                        </a:moveTo>
                        <a:cubicBezTo>
                          <a:pt x="65361" y="77136"/>
                          <a:pt x="65037" y="77031"/>
                          <a:pt x="64722" y="76860"/>
                        </a:cubicBezTo>
                        <a:lnTo>
                          <a:pt x="953" y="40103"/>
                        </a:lnTo>
                        <a:cubicBezTo>
                          <a:pt x="371" y="39760"/>
                          <a:pt x="0" y="39112"/>
                          <a:pt x="0" y="38436"/>
                        </a:cubicBezTo>
                        <a:cubicBezTo>
                          <a:pt x="0" y="37750"/>
                          <a:pt x="371" y="37112"/>
                          <a:pt x="953" y="36769"/>
                        </a:cubicBezTo>
                        <a:lnTo>
                          <a:pt x="64332" y="250"/>
                        </a:lnTo>
                        <a:cubicBezTo>
                          <a:pt x="64922" y="-83"/>
                          <a:pt x="65646" y="-83"/>
                          <a:pt x="66237" y="250"/>
                        </a:cubicBezTo>
                        <a:lnTo>
                          <a:pt x="130026" y="37026"/>
                        </a:lnTo>
                        <a:cubicBezTo>
                          <a:pt x="130616" y="37369"/>
                          <a:pt x="130978" y="38007"/>
                          <a:pt x="130978" y="38693"/>
                        </a:cubicBezTo>
                        <a:cubicBezTo>
                          <a:pt x="130978" y="39388"/>
                          <a:pt x="130626" y="40017"/>
                          <a:pt x="130026" y="40360"/>
                        </a:cubicBezTo>
                        <a:lnTo>
                          <a:pt x="66665" y="76869"/>
                        </a:lnTo>
                        <a:cubicBezTo>
                          <a:pt x="66361" y="77031"/>
                          <a:pt x="66046" y="77136"/>
                          <a:pt x="65694" y="77136"/>
                        </a:cubicBezTo>
                      </a:path>
                    </a:pathLst>
                  </a:custGeom>
                  <a:solidFill>
                    <a:srgbClr val="FFFFFF"/>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sp>
                <p:nvSpPr>
                  <p:cNvPr id="1131" name="Freeform: Shape 1130">
                    <a:extLst>
                      <a:ext uri="{FF2B5EF4-FFF2-40B4-BE49-F238E27FC236}">
                        <a16:creationId xmlns:a16="http://schemas.microsoft.com/office/drawing/2014/main" id="{E5745322-A915-430E-B75A-174E751D4E8B}"/>
                      </a:ext>
                    </a:extLst>
                  </p:cNvPr>
                  <p:cNvSpPr/>
                  <p:nvPr/>
                </p:nvSpPr>
                <p:spPr>
                  <a:xfrm>
                    <a:off x="3318782" y="2258375"/>
                    <a:ext cx="66675" cy="104775"/>
                  </a:xfrm>
                  <a:custGeom>
                    <a:avLst/>
                    <a:gdLst/>
                    <a:ahLst/>
                    <a:cxnLst/>
                    <a:rect l="0" t="0" r="0" b="0"/>
                    <a:pathLst>
                      <a:path w="66675" h="104775">
                        <a:moveTo>
                          <a:pt x="65542" y="114031"/>
                        </a:moveTo>
                        <a:cubicBezTo>
                          <a:pt x="65180" y="114031"/>
                          <a:pt x="64856" y="113945"/>
                          <a:pt x="64570" y="113774"/>
                        </a:cubicBezTo>
                        <a:lnTo>
                          <a:pt x="991" y="77131"/>
                        </a:lnTo>
                        <a:cubicBezTo>
                          <a:pt x="371" y="76788"/>
                          <a:pt x="0" y="76169"/>
                          <a:pt x="0" y="75464"/>
                        </a:cubicBezTo>
                        <a:lnTo>
                          <a:pt x="0" y="1931"/>
                        </a:lnTo>
                        <a:cubicBezTo>
                          <a:pt x="0" y="1236"/>
                          <a:pt x="371" y="607"/>
                          <a:pt x="991" y="264"/>
                        </a:cubicBezTo>
                        <a:cubicBezTo>
                          <a:pt x="1581" y="-88"/>
                          <a:pt x="2296" y="-88"/>
                          <a:pt x="2934" y="264"/>
                        </a:cubicBezTo>
                        <a:lnTo>
                          <a:pt x="66504" y="36897"/>
                        </a:lnTo>
                        <a:cubicBezTo>
                          <a:pt x="67066" y="37259"/>
                          <a:pt x="67447" y="37888"/>
                          <a:pt x="67447" y="38583"/>
                        </a:cubicBezTo>
                        <a:lnTo>
                          <a:pt x="67447" y="112116"/>
                        </a:lnTo>
                        <a:cubicBezTo>
                          <a:pt x="67447" y="112821"/>
                          <a:pt x="67075" y="113440"/>
                          <a:pt x="66504" y="113783"/>
                        </a:cubicBezTo>
                        <a:cubicBezTo>
                          <a:pt x="66189" y="113945"/>
                          <a:pt x="65856" y="114031"/>
                          <a:pt x="65542" y="114031"/>
                        </a:cubicBezTo>
                      </a:path>
                    </a:pathLst>
                  </a:custGeom>
                  <a:solidFill>
                    <a:srgbClr val="FFFFFF">
                      <a:alpha val="70000"/>
                    </a:srgbClr>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sp>
                <p:nvSpPr>
                  <p:cNvPr id="1132" name="Freeform: Shape 1131">
                    <a:extLst>
                      <a:ext uri="{FF2B5EF4-FFF2-40B4-BE49-F238E27FC236}">
                        <a16:creationId xmlns:a16="http://schemas.microsoft.com/office/drawing/2014/main" id="{BB7A5520-F4C1-40D8-AE50-23FD15D9AE70}"/>
                      </a:ext>
                    </a:extLst>
                  </p:cNvPr>
                  <p:cNvSpPr/>
                  <p:nvPr/>
                </p:nvSpPr>
                <p:spPr>
                  <a:xfrm>
                    <a:off x="3400392" y="2258858"/>
                    <a:ext cx="66675" cy="104775"/>
                  </a:xfrm>
                  <a:custGeom>
                    <a:avLst/>
                    <a:gdLst/>
                    <a:ahLst/>
                    <a:cxnLst/>
                    <a:rect l="0" t="0" r="0" b="0"/>
                    <a:pathLst>
                      <a:path w="66675" h="104775">
                        <a:moveTo>
                          <a:pt x="1934" y="113548"/>
                        </a:moveTo>
                        <a:cubicBezTo>
                          <a:pt x="1581" y="113548"/>
                          <a:pt x="1257" y="113462"/>
                          <a:pt x="933" y="113290"/>
                        </a:cubicBezTo>
                        <a:cubicBezTo>
                          <a:pt x="371" y="112947"/>
                          <a:pt x="0" y="112319"/>
                          <a:pt x="0" y="111623"/>
                        </a:cubicBezTo>
                        <a:lnTo>
                          <a:pt x="0" y="38548"/>
                        </a:lnTo>
                        <a:cubicBezTo>
                          <a:pt x="0" y="37871"/>
                          <a:pt x="371" y="37233"/>
                          <a:pt x="933" y="36881"/>
                        </a:cubicBezTo>
                        <a:lnTo>
                          <a:pt x="64503" y="257"/>
                        </a:lnTo>
                        <a:cubicBezTo>
                          <a:pt x="65113" y="-86"/>
                          <a:pt x="65818" y="-86"/>
                          <a:pt x="66418" y="257"/>
                        </a:cubicBezTo>
                        <a:cubicBezTo>
                          <a:pt x="67027" y="600"/>
                          <a:pt x="67389" y="1229"/>
                          <a:pt x="67389" y="1924"/>
                        </a:cubicBezTo>
                        <a:lnTo>
                          <a:pt x="67389" y="74990"/>
                        </a:lnTo>
                        <a:cubicBezTo>
                          <a:pt x="67389" y="75695"/>
                          <a:pt x="67018" y="76324"/>
                          <a:pt x="66418" y="76657"/>
                        </a:cubicBezTo>
                        <a:lnTo>
                          <a:pt x="2867" y="113300"/>
                        </a:lnTo>
                        <a:cubicBezTo>
                          <a:pt x="2600" y="113462"/>
                          <a:pt x="2257" y="113548"/>
                          <a:pt x="1934" y="113548"/>
                        </a:cubicBezTo>
                      </a:path>
                    </a:pathLst>
                  </a:custGeom>
                  <a:solidFill>
                    <a:srgbClr val="FFFFFF">
                      <a:alpha val="40000"/>
                    </a:srgbClr>
                  </a:solidFill>
                  <a:ln w="9525" cap="flat">
                    <a:noFill/>
                    <a:prstDash val="solid"/>
                    <a:miter/>
                  </a:ln>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53535"/>
                      </a:solidFill>
                      <a:effectLst/>
                      <a:uLnTx/>
                      <a:uFillTx/>
                      <a:latin typeface="Segoe UI"/>
                      <a:ea typeface="+mn-ea"/>
                      <a:cs typeface="Segoe UI" panose="020B0502040204020203" pitchFamily="34" charset="0"/>
                    </a:endParaRPr>
                  </a:p>
                </p:txBody>
              </p:sp>
            </p:grpSp>
            <p:grpSp>
              <p:nvGrpSpPr>
                <p:cNvPr id="1063" name="Group 1062">
                  <a:extLst>
                    <a:ext uri="{FF2B5EF4-FFF2-40B4-BE49-F238E27FC236}">
                      <a16:creationId xmlns:a16="http://schemas.microsoft.com/office/drawing/2014/main" id="{6CEF9D9B-C289-4779-A96B-AC01BDE5C2F4}"/>
                    </a:ext>
                  </a:extLst>
                </p:cNvPr>
                <p:cNvGrpSpPr>
                  <a:grpSpLocks noChangeAspect="1"/>
                </p:cNvGrpSpPr>
                <p:nvPr/>
              </p:nvGrpSpPr>
              <p:grpSpPr>
                <a:xfrm>
                  <a:off x="4974444" y="4765325"/>
                  <a:ext cx="914400" cy="696854"/>
                  <a:chOff x="4817192" y="4571599"/>
                  <a:chExt cx="1228038" cy="935873"/>
                </a:xfrm>
              </p:grpSpPr>
              <p:grpSp>
                <p:nvGrpSpPr>
                  <p:cNvPr id="1064" name="Group 1063">
                    <a:extLst>
                      <a:ext uri="{FF2B5EF4-FFF2-40B4-BE49-F238E27FC236}">
                        <a16:creationId xmlns:a16="http://schemas.microsoft.com/office/drawing/2014/main" id="{3C3C8B6E-C98C-41C4-B967-7412D72E1A42}"/>
                      </a:ext>
                    </a:extLst>
                  </p:cNvPr>
                  <p:cNvGrpSpPr/>
                  <p:nvPr/>
                </p:nvGrpSpPr>
                <p:grpSpPr>
                  <a:xfrm>
                    <a:off x="5309908" y="4571599"/>
                    <a:ext cx="735322" cy="630823"/>
                    <a:chOff x="5387968" y="4679219"/>
                    <a:chExt cx="596136" cy="511417"/>
                  </a:xfrm>
                </p:grpSpPr>
                <p:grpSp>
                  <p:nvGrpSpPr>
                    <p:cNvPr id="1104" name="Group 1103">
                      <a:extLst>
                        <a:ext uri="{FF2B5EF4-FFF2-40B4-BE49-F238E27FC236}">
                          <a16:creationId xmlns:a16="http://schemas.microsoft.com/office/drawing/2014/main" id="{3281E540-38B8-40E7-A2E2-B00CDA7AF6AE}"/>
                        </a:ext>
                      </a:extLst>
                    </p:cNvPr>
                    <p:cNvGrpSpPr/>
                    <p:nvPr/>
                  </p:nvGrpSpPr>
                  <p:grpSpPr>
                    <a:xfrm>
                      <a:off x="5387968" y="4679219"/>
                      <a:ext cx="596136" cy="511417"/>
                      <a:chOff x="-2759706" y="1099471"/>
                      <a:chExt cx="7926138" cy="6799720"/>
                    </a:xfrm>
                  </p:grpSpPr>
                  <p:sp>
                    <p:nvSpPr>
                      <p:cNvPr id="1121" name="Rectangle 317">
                        <a:extLst>
                          <a:ext uri="{FF2B5EF4-FFF2-40B4-BE49-F238E27FC236}">
                            <a16:creationId xmlns:a16="http://schemas.microsoft.com/office/drawing/2014/main" id="{1ED069BA-0AC8-48C1-A20E-E0F6949E6109}"/>
                          </a:ext>
                        </a:extLst>
                      </p:cNvPr>
                      <p:cNvSpPr/>
                      <p:nvPr/>
                    </p:nvSpPr>
                    <p:spPr bwMode="auto">
                      <a:xfrm>
                        <a:off x="-1103535" y="6493181"/>
                        <a:ext cx="4613796" cy="1133080"/>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0372A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122" name="Rounded Rectangle 460">
                        <a:extLst>
                          <a:ext uri="{FF2B5EF4-FFF2-40B4-BE49-F238E27FC236}">
                            <a16:creationId xmlns:a16="http://schemas.microsoft.com/office/drawing/2014/main" id="{88948654-98CC-428A-8AF8-BAFAECB70035}"/>
                          </a:ext>
                        </a:extLst>
                      </p:cNvPr>
                      <p:cNvSpPr/>
                      <p:nvPr/>
                    </p:nvSpPr>
                    <p:spPr bwMode="auto">
                      <a:xfrm>
                        <a:off x="-2759706" y="1099471"/>
                        <a:ext cx="7926138" cy="5508724"/>
                      </a:xfrm>
                      <a:prstGeom prst="roundRect">
                        <a:avLst>
                          <a:gd name="adj" fmla="val 8482"/>
                        </a:avLst>
                      </a:prstGeom>
                      <a:solidFill>
                        <a:srgbClr val="0372A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123" name="Rectangle 1122">
                        <a:extLst>
                          <a:ext uri="{FF2B5EF4-FFF2-40B4-BE49-F238E27FC236}">
                            <a16:creationId xmlns:a16="http://schemas.microsoft.com/office/drawing/2014/main" id="{9009118D-9886-411D-8594-50BF72DEEADE}"/>
                          </a:ext>
                        </a:extLst>
                      </p:cNvPr>
                      <p:cNvSpPr/>
                      <p:nvPr/>
                    </p:nvSpPr>
                    <p:spPr bwMode="auto">
                      <a:xfrm>
                        <a:off x="-2133709" y="1626404"/>
                        <a:ext cx="6674143" cy="4361520"/>
                      </a:xfrm>
                      <a:prstGeom prst="rect">
                        <a:avLst/>
                      </a:prstGeom>
                      <a:gradFill flip="none" rotWithShape="1">
                        <a:gsLst>
                          <a:gs pos="45000">
                            <a:srgbClr val="AFE5FD"/>
                          </a:gs>
                          <a:gs pos="45000">
                            <a:srgbClr val="C3ECFE"/>
                          </a:gs>
                        </a:gsLst>
                        <a:lin ang="24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124" name="Rectangle 1123">
                        <a:extLst>
                          <a:ext uri="{FF2B5EF4-FFF2-40B4-BE49-F238E27FC236}">
                            <a16:creationId xmlns:a16="http://schemas.microsoft.com/office/drawing/2014/main" id="{F1D07ADD-E7D3-41E0-BB5A-8FA8A361388D}"/>
                          </a:ext>
                        </a:extLst>
                      </p:cNvPr>
                      <p:cNvSpPr/>
                      <p:nvPr/>
                    </p:nvSpPr>
                    <p:spPr bwMode="auto">
                      <a:xfrm>
                        <a:off x="-1332157" y="7460658"/>
                        <a:ext cx="5071038" cy="438533"/>
                      </a:xfrm>
                      <a:prstGeom prst="rect">
                        <a:avLst/>
                      </a:prstGeom>
                      <a:solidFill>
                        <a:srgbClr val="0372A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grpSp>
                <p:grpSp>
                  <p:nvGrpSpPr>
                    <p:cNvPr id="1105" name="Group 1104">
                      <a:extLst>
                        <a:ext uri="{FF2B5EF4-FFF2-40B4-BE49-F238E27FC236}">
                          <a16:creationId xmlns:a16="http://schemas.microsoft.com/office/drawing/2014/main" id="{6C97CC6F-D686-4C32-8E69-023425D9514B}"/>
                        </a:ext>
                      </a:extLst>
                    </p:cNvPr>
                    <p:cNvGrpSpPr/>
                    <p:nvPr/>
                  </p:nvGrpSpPr>
                  <p:grpSpPr>
                    <a:xfrm>
                      <a:off x="5724146" y="4755542"/>
                      <a:ext cx="100379" cy="121637"/>
                      <a:chOff x="8079057" y="3685619"/>
                      <a:chExt cx="1044575" cy="1265794"/>
                    </a:xfrm>
                  </p:grpSpPr>
                  <p:sp>
                    <p:nvSpPr>
                      <p:cNvPr id="1118" name="Freeform 456">
                        <a:extLst>
                          <a:ext uri="{FF2B5EF4-FFF2-40B4-BE49-F238E27FC236}">
                            <a16:creationId xmlns:a16="http://schemas.microsoft.com/office/drawing/2014/main" id="{233EAE5F-296B-4BBD-85F7-098934CD1CB2}"/>
                          </a:ext>
                        </a:extLst>
                      </p:cNvPr>
                      <p:cNvSpPr/>
                      <p:nvPr/>
                    </p:nvSpPr>
                    <p:spPr>
                      <a:xfrm>
                        <a:off x="8079057" y="3685619"/>
                        <a:ext cx="1044575"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19" name="Freeform 457">
                        <a:extLst>
                          <a:ext uri="{FF2B5EF4-FFF2-40B4-BE49-F238E27FC236}">
                            <a16:creationId xmlns:a16="http://schemas.microsoft.com/office/drawing/2014/main" id="{7291D257-F503-43D3-B447-24EC37C0E4D3}"/>
                          </a:ext>
                        </a:extLst>
                      </p:cNvPr>
                      <p:cNvSpPr/>
                      <p:nvPr/>
                    </p:nvSpPr>
                    <p:spPr>
                      <a:xfrm>
                        <a:off x="8083817" y="3970337"/>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20" name="Freeform 458">
                        <a:extLst>
                          <a:ext uri="{FF2B5EF4-FFF2-40B4-BE49-F238E27FC236}">
                            <a16:creationId xmlns:a16="http://schemas.microsoft.com/office/drawing/2014/main" id="{C42EEDB1-943C-4825-9118-BFC109B64B51}"/>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1106" name="Group 1105">
                      <a:extLst>
                        <a:ext uri="{FF2B5EF4-FFF2-40B4-BE49-F238E27FC236}">
                          <a16:creationId xmlns:a16="http://schemas.microsoft.com/office/drawing/2014/main" id="{1912A1FA-E49D-4405-A9C2-75B039C122B2}"/>
                        </a:ext>
                      </a:extLst>
                    </p:cNvPr>
                    <p:cNvGrpSpPr/>
                    <p:nvPr/>
                  </p:nvGrpSpPr>
                  <p:grpSpPr>
                    <a:xfrm>
                      <a:off x="5724146" y="4899243"/>
                      <a:ext cx="100379" cy="121637"/>
                      <a:chOff x="8079063" y="3685618"/>
                      <a:chExt cx="1044576" cy="1265795"/>
                    </a:xfrm>
                  </p:grpSpPr>
                  <p:sp>
                    <p:nvSpPr>
                      <p:cNvPr id="1115" name="Freeform 453">
                        <a:extLst>
                          <a:ext uri="{FF2B5EF4-FFF2-40B4-BE49-F238E27FC236}">
                            <a16:creationId xmlns:a16="http://schemas.microsoft.com/office/drawing/2014/main" id="{70073D82-177C-4022-8C91-4BA5AA12D02E}"/>
                          </a:ext>
                        </a:extLst>
                      </p:cNvPr>
                      <p:cNvSpPr/>
                      <p:nvPr/>
                    </p:nvSpPr>
                    <p:spPr>
                      <a:xfrm>
                        <a:off x="8079063" y="3685618"/>
                        <a:ext cx="1044576"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16" name="Freeform 454">
                        <a:extLst>
                          <a:ext uri="{FF2B5EF4-FFF2-40B4-BE49-F238E27FC236}">
                            <a16:creationId xmlns:a16="http://schemas.microsoft.com/office/drawing/2014/main" id="{C1D8E18C-E76C-4F4E-B8C8-DB19C063F46D}"/>
                          </a:ext>
                        </a:extLst>
                      </p:cNvPr>
                      <p:cNvSpPr/>
                      <p:nvPr/>
                    </p:nvSpPr>
                    <p:spPr>
                      <a:xfrm>
                        <a:off x="8083823" y="3970336"/>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17" name="Freeform 455">
                        <a:extLst>
                          <a:ext uri="{FF2B5EF4-FFF2-40B4-BE49-F238E27FC236}">
                            <a16:creationId xmlns:a16="http://schemas.microsoft.com/office/drawing/2014/main" id="{A2EE6FDC-0680-4CD4-8BA3-810BC71861B9}"/>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1107" name="Group 1106">
                      <a:extLst>
                        <a:ext uri="{FF2B5EF4-FFF2-40B4-BE49-F238E27FC236}">
                          <a16:creationId xmlns:a16="http://schemas.microsoft.com/office/drawing/2014/main" id="{718A0263-A8AB-4109-B470-DBCE5FA91527}"/>
                        </a:ext>
                      </a:extLst>
                    </p:cNvPr>
                    <p:cNvGrpSpPr/>
                    <p:nvPr/>
                  </p:nvGrpSpPr>
                  <p:grpSpPr>
                    <a:xfrm>
                      <a:off x="5539678" y="4755542"/>
                      <a:ext cx="100379" cy="121637"/>
                      <a:chOff x="8079057" y="3685619"/>
                      <a:chExt cx="1044575" cy="1265794"/>
                    </a:xfrm>
                  </p:grpSpPr>
                  <p:sp>
                    <p:nvSpPr>
                      <p:cNvPr id="1112" name="Freeform 446">
                        <a:extLst>
                          <a:ext uri="{FF2B5EF4-FFF2-40B4-BE49-F238E27FC236}">
                            <a16:creationId xmlns:a16="http://schemas.microsoft.com/office/drawing/2014/main" id="{1E240021-4B46-4F02-8694-7A5321B1F71D}"/>
                          </a:ext>
                        </a:extLst>
                      </p:cNvPr>
                      <p:cNvSpPr/>
                      <p:nvPr/>
                    </p:nvSpPr>
                    <p:spPr>
                      <a:xfrm>
                        <a:off x="8079057" y="3685619"/>
                        <a:ext cx="1044575"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13" name="Freeform 447">
                        <a:extLst>
                          <a:ext uri="{FF2B5EF4-FFF2-40B4-BE49-F238E27FC236}">
                            <a16:creationId xmlns:a16="http://schemas.microsoft.com/office/drawing/2014/main" id="{86785C10-2687-4EB5-90E7-2E8FBA6B7DCD}"/>
                          </a:ext>
                        </a:extLst>
                      </p:cNvPr>
                      <p:cNvSpPr/>
                      <p:nvPr/>
                    </p:nvSpPr>
                    <p:spPr>
                      <a:xfrm>
                        <a:off x="8083817" y="3970337"/>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14" name="Freeform 448">
                        <a:extLst>
                          <a:ext uri="{FF2B5EF4-FFF2-40B4-BE49-F238E27FC236}">
                            <a16:creationId xmlns:a16="http://schemas.microsoft.com/office/drawing/2014/main" id="{27D70C7F-E650-4D09-9BE1-D3E1C9791994}"/>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1108" name="Group 1107">
                      <a:extLst>
                        <a:ext uri="{FF2B5EF4-FFF2-40B4-BE49-F238E27FC236}">
                          <a16:creationId xmlns:a16="http://schemas.microsoft.com/office/drawing/2014/main" id="{0AD877A5-0791-4DF1-8F06-1324A93F6FDD}"/>
                        </a:ext>
                      </a:extLst>
                    </p:cNvPr>
                    <p:cNvGrpSpPr/>
                    <p:nvPr/>
                  </p:nvGrpSpPr>
                  <p:grpSpPr>
                    <a:xfrm>
                      <a:off x="5539677" y="4899243"/>
                      <a:ext cx="100379" cy="121637"/>
                      <a:chOff x="8079063" y="3685618"/>
                      <a:chExt cx="1044576" cy="1265795"/>
                    </a:xfrm>
                  </p:grpSpPr>
                  <p:sp>
                    <p:nvSpPr>
                      <p:cNvPr id="1109" name="Freeform 443">
                        <a:extLst>
                          <a:ext uri="{FF2B5EF4-FFF2-40B4-BE49-F238E27FC236}">
                            <a16:creationId xmlns:a16="http://schemas.microsoft.com/office/drawing/2014/main" id="{EF7E4D9B-5D55-44C4-8CED-381C0E2437E7}"/>
                          </a:ext>
                        </a:extLst>
                      </p:cNvPr>
                      <p:cNvSpPr/>
                      <p:nvPr/>
                    </p:nvSpPr>
                    <p:spPr>
                      <a:xfrm>
                        <a:off x="8079063" y="3685618"/>
                        <a:ext cx="1044576" cy="560387"/>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10" name="Freeform 444">
                        <a:extLst>
                          <a:ext uri="{FF2B5EF4-FFF2-40B4-BE49-F238E27FC236}">
                            <a16:creationId xmlns:a16="http://schemas.microsoft.com/office/drawing/2014/main" id="{5AE84994-8634-4AE7-BE7B-68DE2E2BAB0D}"/>
                          </a:ext>
                        </a:extLst>
                      </p:cNvPr>
                      <p:cNvSpPr/>
                      <p:nvPr/>
                    </p:nvSpPr>
                    <p:spPr>
                      <a:xfrm>
                        <a:off x="8083823" y="3970336"/>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11" name="Freeform 445">
                        <a:extLst>
                          <a:ext uri="{FF2B5EF4-FFF2-40B4-BE49-F238E27FC236}">
                            <a16:creationId xmlns:a16="http://schemas.microsoft.com/office/drawing/2014/main" id="{45AF67A5-E16D-4D73-96DD-6AFD316BDBE3}"/>
                          </a:ext>
                        </a:extLst>
                      </p:cNvPr>
                      <p:cNvSpPr/>
                      <p:nvPr/>
                    </p:nvSpPr>
                    <p:spPr>
                      <a:xfrm flipH="1">
                        <a:off x="860135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grpSp>
                <p:nvGrpSpPr>
                  <p:cNvPr id="1065" name="Group 1064">
                    <a:extLst>
                      <a:ext uri="{FF2B5EF4-FFF2-40B4-BE49-F238E27FC236}">
                        <a16:creationId xmlns:a16="http://schemas.microsoft.com/office/drawing/2014/main" id="{51E5266A-90DA-4029-8DA6-9EC713154577}"/>
                      </a:ext>
                    </a:extLst>
                  </p:cNvPr>
                  <p:cNvGrpSpPr/>
                  <p:nvPr/>
                </p:nvGrpSpPr>
                <p:grpSpPr>
                  <a:xfrm>
                    <a:off x="4888179" y="5002454"/>
                    <a:ext cx="237146" cy="203443"/>
                    <a:chOff x="4888179" y="5002454"/>
                    <a:chExt cx="237146" cy="203443"/>
                  </a:xfrm>
                </p:grpSpPr>
                <p:grpSp>
                  <p:nvGrpSpPr>
                    <p:cNvPr id="1095" name="Group 1094">
                      <a:extLst>
                        <a:ext uri="{FF2B5EF4-FFF2-40B4-BE49-F238E27FC236}">
                          <a16:creationId xmlns:a16="http://schemas.microsoft.com/office/drawing/2014/main" id="{548E4EFD-501F-409A-A6EE-E3DCD6E9053E}"/>
                        </a:ext>
                      </a:extLst>
                    </p:cNvPr>
                    <p:cNvGrpSpPr/>
                    <p:nvPr/>
                  </p:nvGrpSpPr>
                  <p:grpSpPr>
                    <a:xfrm>
                      <a:off x="4888179" y="5002454"/>
                      <a:ext cx="237146" cy="203443"/>
                      <a:chOff x="-2759707" y="1099472"/>
                      <a:chExt cx="7926138" cy="6799719"/>
                    </a:xfrm>
                  </p:grpSpPr>
                  <p:sp>
                    <p:nvSpPr>
                      <p:cNvPr id="1100" name="Rectangle 317">
                        <a:extLst>
                          <a:ext uri="{FF2B5EF4-FFF2-40B4-BE49-F238E27FC236}">
                            <a16:creationId xmlns:a16="http://schemas.microsoft.com/office/drawing/2014/main" id="{69E10836-075A-415C-A3AD-5B07A4C3F4C5}"/>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101" name="Rounded Rectangle 450">
                        <a:extLst>
                          <a:ext uri="{FF2B5EF4-FFF2-40B4-BE49-F238E27FC236}">
                            <a16:creationId xmlns:a16="http://schemas.microsoft.com/office/drawing/2014/main" id="{D7B64F8F-E796-4385-B564-EE311F3A34C3}"/>
                          </a:ext>
                        </a:extLst>
                      </p:cNvPr>
                      <p:cNvSpPr/>
                      <p:nvPr/>
                    </p:nvSpPr>
                    <p:spPr bwMode="auto">
                      <a:xfrm>
                        <a:off x="-2759707" y="1099472"/>
                        <a:ext cx="7926138" cy="5508726"/>
                      </a:xfrm>
                      <a:prstGeom prst="roundRect">
                        <a:avLst>
                          <a:gd name="adj" fmla="val 8482"/>
                        </a:avLst>
                      </a:prstGeom>
                      <a:solidFill>
                        <a:srgbClr val="494949"/>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102" name="Rectangle 1101">
                        <a:extLst>
                          <a:ext uri="{FF2B5EF4-FFF2-40B4-BE49-F238E27FC236}">
                            <a16:creationId xmlns:a16="http://schemas.microsoft.com/office/drawing/2014/main" id="{41998AE4-38F0-4391-A481-FF398579669F}"/>
                          </a:ext>
                        </a:extLst>
                      </p:cNvPr>
                      <p:cNvSpPr/>
                      <p:nvPr/>
                    </p:nvSpPr>
                    <p:spPr bwMode="auto">
                      <a:xfrm>
                        <a:off x="-2133709" y="1626405"/>
                        <a:ext cx="6674142" cy="4361521"/>
                      </a:xfrm>
                      <a:prstGeom prst="rect">
                        <a:avLst/>
                      </a:prstGeom>
                      <a:gradFill flip="none" rotWithShape="1">
                        <a:gsLst>
                          <a:gs pos="45000">
                            <a:srgbClr val="AFE5FD"/>
                          </a:gs>
                          <a:gs pos="45000">
                            <a:srgbClr val="C3ECFE"/>
                          </a:gs>
                        </a:gsLst>
                        <a:lin ang="24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103" name="Rectangle 1102">
                        <a:extLst>
                          <a:ext uri="{FF2B5EF4-FFF2-40B4-BE49-F238E27FC236}">
                            <a16:creationId xmlns:a16="http://schemas.microsoft.com/office/drawing/2014/main" id="{9AB0DB34-D8B7-4247-91D6-0432DCE16EB0}"/>
                          </a:ext>
                        </a:extLst>
                      </p:cNvPr>
                      <p:cNvSpPr/>
                      <p:nvPr/>
                    </p:nvSpPr>
                    <p:spPr bwMode="auto">
                      <a:xfrm>
                        <a:off x="-1332157" y="7460659"/>
                        <a:ext cx="5071038" cy="438532"/>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grpSp>
                <p:grpSp>
                  <p:nvGrpSpPr>
                    <p:cNvPr id="1096" name="Group 1095">
                      <a:extLst>
                        <a:ext uri="{FF2B5EF4-FFF2-40B4-BE49-F238E27FC236}">
                          <a16:creationId xmlns:a16="http://schemas.microsoft.com/office/drawing/2014/main" id="{CFCD4BE8-72EC-49E6-A320-946610DF67ED}"/>
                        </a:ext>
                      </a:extLst>
                    </p:cNvPr>
                    <p:cNvGrpSpPr/>
                    <p:nvPr/>
                  </p:nvGrpSpPr>
                  <p:grpSpPr>
                    <a:xfrm>
                      <a:off x="4967500" y="5035695"/>
                      <a:ext cx="78504" cy="95130"/>
                      <a:chOff x="8079067" y="3685620"/>
                      <a:chExt cx="1044576" cy="1265793"/>
                    </a:xfrm>
                  </p:grpSpPr>
                  <p:sp>
                    <p:nvSpPr>
                      <p:cNvPr id="1097" name="Freeform 440">
                        <a:extLst>
                          <a:ext uri="{FF2B5EF4-FFF2-40B4-BE49-F238E27FC236}">
                            <a16:creationId xmlns:a16="http://schemas.microsoft.com/office/drawing/2014/main" id="{968D55CE-03EB-416C-A003-AA553A7D5607}"/>
                          </a:ext>
                        </a:extLst>
                      </p:cNvPr>
                      <p:cNvSpPr/>
                      <p:nvPr/>
                    </p:nvSpPr>
                    <p:spPr>
                      <a:xfrm>
                        <a:off x="8079067" y="3685620"/>
                        <a:ext cx="1044576" cy="560388"/>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576" h="560388">
                            <a:moveTo>
                              <a:pt x="528638" y="0"/>
                            </a:moveTo>
                            <a:lnTo>
                              <a:pt x="0" y="290514"/>
                            </a:lnTo>
                            <a:lnTo>
                              <a:pt x="509588" y="560388"/>
                            </a:lnTo>
                            <a:lnTo>
                              <a:pt x="1044576" y="296863"/>
                            </a:lnTo>
                            <a:lnTo>
                              <a:pt x="528638" y="0"/>
                            </a:lnTo>
                            <a:close/>
                          </a:path>
                        </a:pathLst>
                      </a:custGeom>
                      <a:solidFill>
                        <a:srgbClr val="CCD42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098" name="Freeform 441">
                        <a:extLst>
                          <a:ext uri="{FF2B5EF4-FFF2-40B4-BE49-F238E27FC236}">
                            <a16:creationId xmlns:a16="http://schemas.microsoft.com/office/drawing/2014/main" id="{EA3062CD-13D7-46F9-9CDA-39D0E8A09378}"/>
                          </a:ext>
                        </a:extLst>
                      </p:cNvPr>
                      <p:cNvSpPr/>
                      <p:nvPr/>
                    </p:nvSpPr>
                    <p:spPr>
                      <a:xfrm>
                        <a:off x="8083830"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8EC74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099" name="Freeform 442">
                        <a:extLst>
                          <a:ext uri="{FF2B5EF4-FFF2-40B4-BE49-F238E27FC236}">
                            <a16:creationId xmlns:a16="http://schemas.microsoft.com/office/drawing/2014/main" id="{85CD3F54-CBA9-474D-87B3-9C183D408866}"/>
                          </a:ext>
                        </a:extLst>
                      </p:cNvPr>
                      <p:cNvSpPr/>
                      <p:nvPr/>
                    </p:nvSpPr>
                    <p:spPr>
                      <a:xfrm flipH="1">
                        <a:off x="8601355"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rgbClr val="B2DB1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sp>
                <p:nvSpPr>
                  <p:cNvPr id="1066" name="Freeform: Shape 1065">
                    <a:extLst>
                      <a:ext uri="{FF2B5EF4-FFF2-40B4-BE49-F238E27FC236}">
                        <a16:creationId xmlns:a16="http://schemas.microsoft.com/office/drawing/2014/main" id="{7906D7D3-1FD3-4124-A67A-0832894EEA62}"/>
                      </a:ext>
                    </a:extLst>
                  </p:cNvPr>
                  <p:cNvSpPr/>
                  <p:nvPr/>
                </p:nvSpPr>
                <p:spPr bwMode="auto">
                  <a:xfrm rot="18900000">
                    <a:off x="4817192" y="4775170"/>
                    <a:ext cx="585046" cy="69372"/>
                  </a:xfrm>
                  <a:custGeom>
                    <a:avLst/>
                    <a:gdLst>
                      <a:gd name="connsiteX0" fmla="*/ 39422 w 585046"/>
                      <a:gd name="connsiteY0" fmla="*/ 31543 h 69372"/>
                      <a:gd name="connsiteX1" fmla="*/ 39422 w 585046"/>
                      <a:gd name="connsiteY1" fmla="*/ 40687 h 69372"/>
                      <a:gd name="connsiteX2" fmla="*/ 0 w 585046"/>
                      <a:gd name="connsiteY2" fmla="*/ 40687 h 69372"/>
                      <a:gd name="connsiteX3" fmla="*/ 0 w 585046"/>
                      <a:gd name="connsiteY3" fmla="*/ 31543 h 69372"/>
                      <a:gd name="connsiteX4" fmla="*/ 85636 w 585046"/>
                      <a:gd name="connsiteY4" fmla="*/ 31543 h 69372"/>
                      <a:gd name="connsiteX5" fmla="*/ 85636 w 585046"/>
                      <a:gd name="connsiteY5" fmla="*/ 40687 h 69372"/>
                      <a:gd name="connsiteX6" fmla="*/ 46214 w 585046"/>
                      <a:gd name="connsiteY6" fmla="*/ 40687 h 69372"/>
                      <a:gd name="connsiteX7" fmla="*/ 46214 w 585046"/>
                      <a:gd name="connsiteY7" fmla="*/ 31543 h 69372"/>
                      <a:gd name="connsiteX8" fmla="*/ 131850 w 585046"/>
                      <a:gd name="connsiteY8" fmla="*/ 31543 h 69372"/>
                      <a:gd name="connsiteX9" fmla="*/ 131850 w 585046"/>
                      <a:gd name="connsiteY9" fmla="*/ 40687 h 69372"/>
                      <a:gd name="connsiteX10" fmla="*/ 92429 w 585046"/>
                      <a:gd name="connsiteY10" fmla="*/ 40687 h 69372"/>
                      <a:gd name="connsiteX11" fmla="*/ 92429 w 585046"/>
                      <a:gd name="connsiteY11" fmla="*/ 31543 h 69372"/>
                      <a:gd name="connsiteX12" fmla="*/ 178065 w 585046"/>
                      <a:gd name="connsiteY12" fmla="*/ 31543 h 69372"/>
                      <a:gd name="connsiteX13" fmla="*/ 178065 w 585046"/>
                      <a:gd name="connsiteY13" fmla="*/ 40687 h 69372"/>
                      <a:gd name="connsiteX14" fmla="*/ 138643 w 585046"/>
                      <a:gd name="connsiteY14" fmla="*/ 40687 h 69372"/>
                      <a:gd name="connsiteX15" fmla="*/ 138643 w 585046"/>
                      <a:gd name="connsiteY15" fmla="*/ 31543 h 69372"/>
                      <a:gd name="connsiteX16" fmla="*/ 224279 w 585046"/>
                      <a:gd name="connsiteY16" fmla="*/ 31543 h 69372"/>
                      <a:gd name="connsiteX17" fmla="*/ 224279 w 585046"/>
                      <a:gd name="connsiteY17" fmla="*/ 40687 h 69372"/>
                      <a:gd name="connsiteX18" fmla="*/ 184857 w 585046"/>
                      <a:gd name="connsiteY18" fmla="*/ 40687 h 69372"/>
                      <a:gd name="connsiteX19" fmla="*/ 184857 w 585046"/>
                      <a:gd name="connsiteY19" fmla="*/ 31543 h 69372"/>
                      <a:gd name="connsiteX20" fmla="*/ 270493 w 585046"/>
                      <a:gd name="connsiteY20" fmla="*/ 31543 h 69372"/>
                      <a:gd name="connsiteX21" fmla="*/ 270493 w 585046"/>
                      <a:gd name="connsiteY21" fmla="*/ 40687 h 69372"/>
                      <a:gd name="connsiteX22" fmla="*/ 231071 w 585046"/>
                      <a:gd name="connsiteY22" fmla="*/ 40687 h 69372"/>
                      <a:gd name="connsiteX23" fmla="*/ 231071 w 585046"/>
                      <a:gd name="connsiteY23" fmla="*/ 31543 h 69372"/>
                      <a:gd name="connsiteX24" fmla="*/ 317569 w 585046"/>
                      <a:gd name="connsiteY24" fmla="*/ 31543 h 69372"/>
                      <a:gd name="connsiteX25" fmla="*/ 317569 w 585046"/>
                      <a:gd name="connsiteY25" fmla="*/ 40687 h 69372"/>
                      <a:gd name="connsiteX26" fmla="*/ 278147 w 585046"/>
                      <a:gd name="connsiteY26" fmla="*/ 40687 h 69372"/>
                      <a:gd name="connsiteX27" fmla="*/ 278147 w 585046"/>
                      <a:gd name="connsiteY27" fmla="*/ 31543 h 69372"/>
                      <a:gd name="connsiteX28" fmla="*/ 363783 w 585046"/>
                      <a:gd name="connsiteY28" fmla="*/ 31543 h 69372"/>
                      <a:gd name="connsiteX29" fmla="*/ 363783 w 585046"/>
                      <a:gd name="connsiteY29" fmla="*/ 40687 h 69372"/>
                      <a:gd name="connsiteX30" fmla="*/ 324361 w 585046"/>
                      <a:gd name="connsiteY30" fmla="*/ 40687 h 69372"/>
                      <a:gd name="connsiteX31" fmla="*/ 324361 w 585046"/>
                      <a:gd name="connsiteY31" fmla="*/ 31543 h 69372"/>
                      <a:gd name="connsiteX32" fmla="*/ 409998 w 585046"/>
                      <a:gd name="connsiteY32" fmla="*/ 31543 h 69372"/>
                      <a:gd name="connsiteX33" fmla="*/ 409998 w 585046"/>
                      <a:gd name="connsiteY33" fmla="*/ 40687 h 69372"/>
                      <a:gd name="connsiteX34" fmla="*/ 370576 w 585046"/>
                      <a:gd name="connsiteY34" fmla="*/ 40687 h 69372"/>
                      <a:gd name="connsiteX35" fmla="*/ 370576 w 585046"/>
                      <a:gd name="connsiteY35" fmla="*/ 31543 h 69372"/>
                      <a:gd name="connsiteX36" fmla="*/ 456212 w 585046"/>
                      <a:gd name="connsiteY36" fmla="*/ 31543 h 69372"/>
                      <a:gd name="connsiteX37" fmla="*/ 456212 w 585046"/>
                      <a:gd name="connsiteY37" fmla="*/ 40687 h 69372"/>
                      <a:gd name="connsiteX38" fmla="*/ 416790 w 585046"/>
                      <a:gd name="connsiteY38" fmla="*/ 40687 h 69372"/>
                      <a:gd name="connsiteX39" fmla="*/ 416790 w 585046"/>
                      <a:gd name="connsiteY39" fmla="*/ 31543 h 69372"/>
                      <a:gd name="connsiteX40" fmla="*/ 502426 w 585046"/>
                      <a:gd name="connsiteY40" fmla="*/ 31543 h 69372"/>
                      <a:gd name="connsiteX41" fmla="*/ 502426 w 585046"/>
                      <a:gd name="connsiteY41" fmla="*/ 40687 h 69372"/>
                      <a:gd name="connsiteX42" fmla="*/ 463004 w 585046"/>
                      <a:gd name="connsiteY42" fmla="*/ 40687 h 69372"/>
                      <a:gd name="connsiteX43" fmla="*/ 463004 w 585046"/>
                      <a:gd name="connsiteY43" fmla="*/ 31543 h 69372"/>
                      <a:gd name="connsiteX44" fmla="*/ 585046 w 585046"/>
                      <a:gd name="connsiteY44" fmla="*/ 36367 h 69372"/>
                      <a:gd name="connsiteX45" fmla="*/ 531245 w 585046"/>
                      <a:gd name="connsiteY45" fmla="*/ 69372 h 69372"/>
                      <a:gd name="connsiteX46" fmla="*/ 532160 w 585046"/>
                      <a:gd name="connsiteY46" fmla="*/ 40687 h 69372"/>
                      <a:gd name="connsiteX47" fmla="*/ 509218 w 585046"/>
                      <a:gd name="connsiteY47" fmla="*/ 40687 h 69372"/>
                      <a:gd name="connsiteX48" fmla="*/ 509218 w 585046"/>
                      <a:gd name="connsiteY48" fmla="*/ 31543 h 69372"/>
                      <a:gd name="connsiteX49" fmla="*/ 532451 w 585046"/>
                      <a:gd name="connsiteY49" fmla="*/ 31543 h 69372"/>
                      <a:gd name="connsiteX50" fmla="*/ 533458 w 585046"/>
                      <a:gd name="connsiteY50" fmla="*/ 0 h 6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85046" h="69372">
                        <a:moveTo>
                          <a:pt x="39422" y="31543"/>
                        </a:moveTo>
                        <a:lnTo>
                          <a:pt x="39422" y="40687"/>
                        </a:lnTo>
                        <a:lnTo>
                          <a:pt x="0" y="40687"/>
                        </a:lnTo>
                        <a:lnTo>
                          <a:pt x="0" y="31543"/>
                        </a:lnTo>
                        <a:close/>
                        <a:moveTo>
                          <a:pt x="85636" y="31543"/>
                        </a:moveTo>
                        <a:lnTo>
                          <a:pt x="85636" y="40687"/>
                        </a:lnTo>
                        <a:lnTo>
                          <a:pt x="46214" y="40687"/>
                        </a:lnTo>
                        <a:lnTo>
                          <a:pt x="46214" y="31543"/>
                        </a:lnTo>
                        <a:close/>
                        <a:moveTo>
                          <a:pt x="131850" y="31543"/>
                        </a:moveTo>
                        <a:lnTo>
                          <a:pt x="131850" y="40687"/>
                        </a:lnTo>
                        <a:lnTo>
                          <a:pt x="92429" y="40687"/>
                        </a:lnTo>
                        <a:lnTo>
                          <a:pt x="92429" y="31543"/>
                        </a:lnTo>
                        <a:close/>
                        <a:moveTo>
                          <a:pt x="178065" y="31543"/>
                        </a:moveTo>
                        <a:lnTo>
                          <a:pt x="178065" y="40687"/>
                        </a:lnTo>
                        <a:lnTo>
                          <a:pt x="138643" y="40687"/>
                        </a:lnTo>
                        <a:lnTo>
                          <a:pt x="138643" y="31543"/>
                        </a:lnTo>
                        <a:close/>
                        <a:moveTo>
                          <a:pt x="224279" y="31543"/>
                        </a:moveTo>
                        <a:lnTo>
                          <a:pt x="224279" y="40687"/>
                        </a:lnTo>
                        <a:lnTo>
                          <a:pt x="184857" y="40687"/>
                        </a:lnTo>
                        <a:lnTo>
                          <a:pt x="184857" y="31543"/>
                        </a:lnTo>
                        <a:close/>
                        <a:moveTo>
                          <a:pt x="270493" y="31543"/>
                        </a:moveTo>
                        <a:lnTo>
                          <a:pt x="270493" y="40687"/>
                        </a:lnTo>
                        <a:lnTo>
                          <a:pt x="231071" y="40687"/>
                        </a:lnTo>
                        <a:lnTo>
                          <a:pt x="231071" y="31543"/>
                        </a:lnTo>
                        <a:close/>
                        <a:moveTo>
                          <a:pt x="317569" y="31543"/>
                        </a:moveTo>
                        <a:lnTo>
                          <a:pt x="317569" y="40687"/>
                        </a:lnTo>
                        <a:lnTo>
                          <a:pt x="278147" y="40687"/>
                        </a:lnTo>
                        <a:lnTo>
                          <a:pt x="278147" y="31543"/>
                        </a:lnTo>
                        <a:close/>
                        <a:moveTo>
                          <a:pt x="363783" y="31543"/>
                        </a:moveTo>
                        <a:lnTo>
                          <a:pt x="363783" y="40687"/>
                        </a:lnTo>
                        <a:lnTo>
                          <a:pt x="324361" y="40687"/>
                        </a:lnTo>
                        <a:lnTo>
                          <a:pt x="324361" y="31543"/>
                        </a:lnTo>
                        <a:close/>
                        <a:moveTo>
                          <a:pt x="409998" y="31543"/>
                        </a:moveTo>
                        <a:lnTo>
                          <a:pt x="409998" y="40687"/>
                        </a:lnTo>
                        <a:lnTo>
                          <a:pt x="370576" y="40687"/>
                        </a:lnTo>
                        <a:lnTo>
                          <a:pt x="370576" y="31543"/>
                        </a:lnTo>
                        <a:close/>
                        <a:moveTo>
                          <a:pt x="456212" y="31543"/>
                        </a:moveTo>
                        <a:lnTo>
                          <a:pt x="456212" y="40687"/>
                        </a:lnTo>
                        <a:lnTo>
                          <a:pt x="416790" y="40687"/>
                        </a:lnTo>
                        <a:lnTo>
                          <a:pt x="416790" y="31543"/>
                        </a:lnTo>
                        <a:close/>
                        <a:moveTo>
                          <a:pt x="502426" y="31543"/>
                        </a:moveTo>
                        <a:lnTo>
                          <a:pt x="502426" y="40687"/>
                        </a:lnTo>
                        <a:lnTo>
                          <a:pt x="463004" y="40687"/>
                        </a:lnTo>
                        <a:lnTo>
                          <a:pt x="463004" y="31543"/>
                        </a:lnTo>
                        <a:close/>
                        <a:moveTo>
                          <a:pt x="585046" y="36367"/>
                        </a:moveTo>
                        <a:lnTo>
                          <a:pt x="531245" y="69372"/>
                        </a:lnTo>
                        <a:lnTo>
                          <a:pt x="532160" y="40687"/>
                        </a:lnTo>
                        <a:lnTo>
                          <a:pt x="509218" y="40687"/>
                        </a:lnTo>
                        <a:lnTo>
                          <a:pt x="509218" y="31543"/>
                        </a:lnTo>
                        <a:lnTo>
                          <a:pt x="532451" y="31543"/>
                        </a:lnTo>
                        <a:lnTo>
                          <a:pt x="533458" y="0"/>
                        </a:lnTo>
                        <a:close/>
                      </a:path>
                    </a:pathLst>
                  </a:cu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067" name="Freeform: Shape 1066">
                    <a:extLst>
                      <a:ext uri="{FF2B5EF4-FFF2-40B4-BE49-F238E27FC236}">
                        <a16:creationId xmlns:a16="http://schemas.microsoft.com/office/drawing/2014/main" id="{4497FDE3-5B51-4D7D-B74F-BFE424CCE253}"/>
                      </a:ext>
                    </a:extLst>
                  </p:cNvPr>
                  <p:cNvSpPr/>
                  <p:nvPr/>
                </p:nvSpPr>
                <p:spPr bwMode="auto">
                  <a:xfrm rot="5062782">
                    <a:off x="5537811" y="4680200"/>
                    <a:ext cx="69407" cy="917597"/>
                  </a:xfrm>
                  <a:custGeom>
                    <a:avLst/>
                    <a:gdLst>
                      <a:gd name="connsiteX0" fmla="*/ 8596 w 69407"/>
                      <a:gd name="connsiteY0" fmla="*/ 854979 h 917597"/>
                      <a:gd name="connsiteX1" fmla="*/ 17737 w 69407"/>
                      <a:gd name="connsiteY1" fmla="*/ 855196 h 917597"/>
                      <a:gd name="connsiteX2" fmla="*/ 16254 w 69407"/>
                      <a:gd name="connsiteY2" fmla="*/ 917597 h 917597"/>
                      <a:gd name="connsiteX3" fmla="*/ 7113 w 69407"/>
                      <a:gd name="connsiteY3" fmla="*/ 917379 h 917597"/>
                      <a:gd name="connsiteX4" fmla="*/ 10334 w 69407"/>
                      <a:gd name="connsiteY4" fmla="*/ 781827 h 917597"/>
                      <a:gd name="connsiteX5" fmla="*/ 19476 w 69407"/>
                      <a:gd name="connsiteY5" fmla="*/ 782044 h 917597"/>
                      <a:gd name="connsiteX6" fmla="*/ 17993 w 69407"/>
                      <a:gd name="connsiteY6" fmla="*/ 844445 h 917597"/>
                      <a:gd name="connsiteX7" fmla="*/ 8851 w 69407"/>
                      <a:gd name="connsiteY7" fmla="*/ 844227 h 917597"/>
                      <a:gd name="connsiteX8" fmla="*/ 12072 w 69407"/>
                      <a:gd name="connsiteY8" fmla="*/ 708675 h 917597"/>
                      <a:gd name="connsiteX9" fmla="*/ 21214 w 69407"/>
                      <a:gd name="connsiteY9" fmla="*/ 708892 h 917597"/>
                      <a:gd name="connsiteX10" fmla="*/ 19731 w 69407"/>
                      <a:gd name="connsiteY10" fmla="*/ 771293 h 917597"/>
                      <a:gd name="connsiteX11" fmla="*/ 10590 w 69407"/>
                      <a:gd name="connsiteY11" fmla="*/ 771075 h 917597"/>
                      <a:gd name="connsiteX12" fmla="*/ 13811 w 69407"/>
                      <a:gd name="connsiteY12" fmla="*/ 635523 h 917597"/>
                      <a:gd name="connsiteX13" fmla="*/ 22952 w 69407"/>
                      <a:gd name="connsiteY13" fmla="*/ 635741 h 917597"/>
                      <a:gd name="connsiteX14" fmla="*/ 21469 w 69407"/>
                      <a:gd name="connsiteY14" fmla="*/ 698140 h 917597"/>
                      <a:gd name="connsiteX15" fmla="*/ 12328 w 69407"/>
                      <a:gd name="connsiteY15" fmla="*/ 697924 h 917597"/>
                      <a:gd name="connsiteX16" fmla="*/ 15549 w 69407"/>
                      <a:gd name="connsiteY16" fmla="*/ 562371 h 917597"/>
                      <a:gd name="connsiteX17" fmla="*/ 24691 w 69407"/>
                      <a:gd name="connsiteY17" fmla="*/ 562589 h 917597"/>
                      <a:gd name="connsiteX18" fmla="*/ 23208 w 69407"/>
                      <a:gd name="connsiteY18" fmla="*/ 624988 h 917597"/>
                      <a:gd name="connsiteX19" fmla="*/ 14066 w 69407"/>
                      <a:gd name="connsiteY19" fmla="*/ 624771 h 917597"/>
                      <a:gd name="connsiteX20" fmla="*/ 17287 w 69407"/>
                      <a:gd name="connsiteY20" fmla="*/ 489220 h 917597"/>
                      <a:gd name="connsiteX21" fmla="*/ 26429 w 69407"/>
                      <a:gd name="connsiteY21" fmla="*/ 489437 h 917597"/>
                      <a:gd name="connsiteX22" fmla="*/ 24946 w 69407"/>
                      <a:gd name="connsiteY22" fmla="*/ 551837 h 917597"/>
                      <a:gd name="connsiteX23" fmla="*/ 15805 w 69407"/>
                      <a:gd name="connsiteY23" fmla="*/ 551620 h 917597"/>
                      <a:gd name="connsiteX24" fmla="*/ 19058 w 69407"/>
                      <a:gd name="connsiteY24" fmla="*/ 414704 h 917597"/>
                      <a:gd name="connsiteX25" fmla="*/ 28200 w 69407"/>
                      <a:gd name="connsiteY25" fmla="*/ 414921 h 917597"/>
                      <a:gd name="connsiteX26" fmla="*/ 26717 w 69407"/>
                      <a:gd name="connsiteY26" fmla="*/ 477321 h 917597"/>
                      <a:gd name="connsiteX27" fmla="*/ 17575 w 69407"/>
                      <a:gd name="connsiteY27" fmla="*/ 477104 h 917597"/>
                      <a:gd name="connsiteX28" fmla="*/ 20797 w 69407"/>
                      <a:gd name="connsiteY28" fmla="*/ 341552 h 917597"/>
                      <a:gd name="connsiteX29" fmla="*/ 29938 w 69407"/>
                      <a:gd name="connsiteY29" fmla="*/ 341769 h 917597"/>
                      <a:gd name="connsiteX30" fmla="*/ 28455 w 69407"/>
                      <a:gd name="connsiteY30" fmla="*/ 404169 h 917597"/>
                      <a:gd name="connsiteX31" fmla="*/ 19314 w 69407"/>
                      <a:gd name="connsiteY31" fmla="*/ 403952 h 917597"/>
                      <a:gd name="connsiteX32" fmla="*/ 22535 w 69407"/>
                      <a:gd name="connsiteY32" fmla="*/ 268400 h 917597"/>
                      <a:gd name="connsiteX33" fmla="*/ 31676 w 69407"/>
                      <a:gd name="connsiteY33" fmla="*/ 268617 h 917597"/>
                      <a:gd name="connsiteX34" fmla="*/ 30194 w 69407"/>
                      <a:gd name="connsiteY34" fmla="*/ 331017 h 917597"/>
                      <a:gd name="connsiteX35" fmla="*/ 21052 w 69407"/>
                      <a:gd name="connsiteY35" fmla="*/ 330800 h 917597"/>
                      <a:gd name="connsiteX36" fmla="*/ 24273 w 69407"/>
                      <a:gd name="connsiteY36" fmla="*/ 195248 h 917597"/>
                      <a:gd name="connsiteX37" fmla="*/ 33415 w 69407"/>
                      <a:gd name="connsiteY37" fmla="*/ 195465 h 917597"/>
                      <a:gd name="connsiteX38" fmla="*/ 31932 w 69407"/>
                      <a:gd name="connsiteY38" fmla="*/ 257865 h 917597"/>
                      <a:gd name="connsiteX39" fmla="*/ 22790 w 69407"/>
                      <a:gd name="connsiteY39" fmla="*/ 257648 h 917597"/>
                      <a:gd name="connsiteX40" fmla="*/ 26012 w 69407"/>
                      <a:gd name="connsiteY40" fmla="*/ 122096 h 917597"/>
                      <a:gd name="connsiteX41" fmla="*/ 35153 w 69407"/>
                      <a:gd name="connsiteY41" fmla="*/ 122313 h 917597"/>
                      <a:gd name="connsiteX42" fmla="*/ 33670 w 69407"/>
                      <a:gd name="connsiteY42" fmla="*/ 184713 h 917597"/>
                      <a:gd name="connsiteX43" fmla="*/ 24529 w 69407"/>
                      <a:gd name="connsiteY43" fmla="*/ 184496 h 917597"/>
                      <a:gd name="connsiteX44" fmla="*/ 0 w 69407"/>
                      <a:gd name="connsiteY44" fmla="*/ 52721 h 917597"/>
                      <a:gd name="connsiteX45" fmla="*/ 34704 w 69407"/>
                      <a:gd name="connsiteY45" fmla="*/ 0 h 917597"/>
                      <a:gd name="connsiteX46" fmla="*/ 69407 w 69407"/>
                      <a:gd name="connsiteY46" fmla="*/ 52721 h 917597"/>
                      <a:gd name="connsiteX47" fmla="*/ 36807 w 69407"/>
                      <a:gd name="connsiteY47" fmla="*/ 52721 h 917597"/>
                      <a:gd name="connsiteX48" fmla="*/ 35409 w 69407"/>
                      <a:gd name="connsiteY48" fmla="*/ 111562 h 917597"/>
                      <a:gd name="connsiteX49" fmla="*/ 26267 w 69407"/>
                      <a:gd name="connsiteY49" fmla="*/ 111345 h 917597"/>
                      <a:gd name="connsiteX50" fmla="*/ 27661 w 69407"/>
                      <a:gd name="connsiteY50" fmla="*/ 52721 h 9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9407" h="917597">
                        <a:moveTo>
                          <a:pt x="8596" y="854979"/>
                        </a:moveTo>
                        <a:lnTo>
                          <a:pt x="17737" y="855196"/>
                        </a:lnTo>
                        <a:lnTo>
                          <a:pt x="16254" y="917597"/>
                        </a:lnTo>
                        <a:lnTo>
                          <a:pt x="7113" y="917379"/>
                        </a:lnTo>
                        <a:close/>
                        <a:moveTo>
                          <a:pt x="10334" y="781827"/>
                        </a:moveTo>
                        <a:lnTo>
                          <a:pt x="19476" y="782044"/>
                        </a:lnTo>
                        <a:lnTo>
                          <a:pt x="17993" y="844445"/>
                        </a:lnTo>
                        <a:lnTo>
                          <a:pt x="8851" y="844227"/>
                        </a:lnTo>
                        <a:close/>
                        <a:moveTo>
                          <a:pt x="12072" y="708675"/>
                        </a:moveTo>
                        <a:lnTo>
                          <a:pt x="21214" y="708892"/>
                        </a:lnTo>
                        <a:lnTo>
                          <a:pt x="19731" y="771293"/>
                        </a:lnTo>
                        <a:lnTo>
                          <a:pt x="10590" y="771075"/>
                        </a:lnTo>
                        <a:close/>
                        <a:moveTo>
                          <a:pt x="13811" y="635523"/>
                        </a:moveTo>
                        <a:lnTo>
                          <a:pt x="22952" y="635741"/>
                        </a:lnTo>
                        <a:lnTo>
                          <a:pt x="21469" y="698140"/>
                        </a:lnTo>
                        <a:lnTo>
                          <a:pt x="12328" y="697924"/>
                        </a:lnTo>
                        <a:close/>
                        <a:moveTo>
                          <a:pt x="15549" y="562371"/>
                        </a:moveTo>
                        <a:lnTo>
                          <a:pt x="24691" y="562589"/>
                        </a:lnTo>
                        <a:lnTo>
                          <a:pt x="23208" y="624988"/>
                        </a:lnTo>
                        <a:lnTo>
                          <a:pt x="14066" y="624771"/>
                        </a:lnTo>
                        <a:close/>
                        <a:moveTo>
                          <a:pt x="17287" y="489220"/>
                        </a:moveTo>
                        <a:lnTo>
                          <a:pt x="26429" y="489437"/>
                        </a:lnTo>
                        <a:lnTo>
                          <a:pt x="24946" y="551837"/>
                        </a:lnTo>
                        <a:lnTo>
                          <a:pt x="15805" y="551620"/>
                        </a:lnTo>
                        <a:close/>
                        <a:moveTo>
                          <a:pt x="19058" y="414704"/>
                        </a:moveTo>
                        <a:lnTo>
                          <a:pt x="28200" y="414921"/>
                        </a:lnTo>
                        <a:lnTo>
                          <a:pt x="26717" y="477321"/>
                        </a:lnTo>
                        <a:lnTo>
                          <a:pt x="17575" y="477104"/>
                        </a:lnTo>
                        <a:close/>
                        <a:moveTo>
                          <a:pt x="20797" y="341552"/>
                        </a:moveTo>
                        <a:lnTo>
                          <a:pt x="29938" y="341769"/>
                        </a:lnTo>
                        <a:lnTo>
                          <a:pt x="28455" y="404169"/>
                        </a:lnTo>
                        <a:lnTo>
                          <a:pt x="19314" y="403952"/>
                        </a:lnTo>
                        <a:close/>
                        <a:moveTo>
                          <a:pt x="22535" y="268400"/>
                        </a:moveTo>
                        <a:lnTo>
                          <a:pt x="31676" y="268617"/>
                        </a:lnTo>
                        <a:lnTo>
                          <a:pt x="30194" y="331017"/>
                        </a:lnTo>
                        <a:lnTo>
                          <a:pt x="21052" y="330800"/>
                        </a:lnTo>
                        <a:close/>
                        <a:moveTo>
                          <a:pt x="24273" y="195248"/>
                        </a:moveTo>
                        <a:lnTo>
                          <a:pt x="33415" y="195465"/>
                        </a:lnTo>
                        <a:lnTo>
                          <a:pt x="31932" y="257865"/>
                        </a:lnTo>
                        <a:lnTo>
                          <a:pt x="22790" y="257648"/>
                        </a:lnTo>
                        <a:close/>
                        <a:moveTo>
                          <a:pt x="26012" y="122096"/>
                        </a:moveTo>
                        <a:lnTo>
                          <a:pt x="35153" y="122313"/>
                        </a:lnTo>
                        <a:lnTo>
                          <a:pt x="33670" y="184713"/>
                        </a:lnTo>
                        <a:lnTo>
                          <a:pt x="24529" y="184496"/>
                        </a:lnTo>
                        <a:close/>
                        <a:moveTo>
                          <a:pt x="0" y="52721"/>
                        </a:moveTo>
                        <a:lnTo>
                          <a:pt x="34704" y="0"/>
                        </a:lnTo>
                        <a:lnTo>
                          <a:pt x="69407" y="52721"/>
                        </a:lnTo>
                        <a:lnTo>
                          <a:pt x="36807" y="52721"/>
                        </a:lnTo>
                        <a:lnTo>
                          <a:pt x="35409" y="111562"/>
                        </a:lnTo>
                        <a:lnTo>
                          <a:pt x="26267" y="111345"/>
                        </a:lnTo>
                        <a:lnTo>
                          <a:pt x="27661" y="52721"/>
                        </a:lnTo>
                        <a:close/>
                      </a:path>
                    </a:pathLst>
                  </a:custGeom>
                  <a:solidFill>
                    <a:srgbClr val="58B3D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068" name="Freeform: Shape 1067">
                    <a:extLst>
                      <a:ext uri="{FF2B5EF4-FFF2-40B4-BE49-F238E27FC236}">
                        <a16:creationId xmlns:a16="http://schemas.microsoft.com/office/drawing/2014/main" id="{75774B58-257B-4C7B-9939-09E5BE468875}"/>
                      </a:ext>
                    </a:extLst>
                  </p:cNvPr>
                  <p:cNvSpPr>
                    <a:spLocks noChangeAspect="1"/>
                  </p:cNvSpPr>
                  <p:nvPr/>
                </p:nvSpPr>
                <p:spPr bwMode="auto">
                  <a:xfrm>
                    <a:off x="4875628" y="5243272"/>
                    <a:ext cx="1163902" cy="69407"/>
                  </a:xfrm>
                  <a:custGeom>
                    <a:avLst/>
                    <a:gdLst>
                      <a:gd name="connsiteX0" fmla="*/ 1083694 w 1163902"/>
                      <a:gd name="connsiteY0" fmla="*/ 26002 h 69407"/>
                      <a:gd name="connsiteX1" fmla="*/ 1102579 w 1163902"/>
                      <a:gd name="connsiteY1" fmla="*/ 26002 h 69407"/>
                      <a:gd name="connsiteX2" fmla="*/ 1102579 w 1163902"/>
                      <a:gd name="connsiteY2" fmla="*/ 44886 h 69407"/>
                      <a:gd name="connsiteX3" fmla="*/ 1083694 w 1163902"/>
                      <a:gd name="connsiteY3" fmla="*/ 44886 h 69407"/>
                      <a:gd name="connsiteX4" fmla="*/ 1057300 w 1163902"/>
                      <a:gd name="connsiteY4" fmla="*/ 26002 h 69407"/>
                      <a:gd name="connsiteX5" fmla="*/ 1076185 w 1163902"/>
                      <a:gd name="connsiteY5" fmla="*/ 26002 h 69407"/>
                      <a:gd name="connsiteX6" fmla="*/ 1076185 w 1163902"/>
                      <a:gd name="connsiteY6" fmla="*/ 44886 h 69407"/>
                      <a:gd name="connsiteX7" fmla="*/ 1057300 w 1163902"/>
                      <a:gd name="connsiteY7" fmla="*/ 44886 h 69407"/>
                      <a:gd name="connsiteX8" fmla="*/ 1030907 w 1163902"/>
                      <a:gd name="connsiteY8" fmla="*/ 26002 h 69407"/>
                      <a:gd name="connsiteX9" fmla="*/ 1049791 w 1163902"/>
                      <a:gd name="connsiteY9" fmla="*/ 26002 h 69407"/>
                      <a:gd name="connsiteX10" fmla="*/ 1049791 w 1163902"/>
                      <a:gd name="connsiteY10" fmla="*/ 44886 h 69407"/>
                      <a:gd name="connsiteX11" fmla="*/ 1030907 w 1163902"/>
                      <a:gd name="connsiteY11" fmla="*/ 44886 h 69407"/>
                      <a:gd name="connsiteX12" fmla="*/ 1004513 w 1163902"/>
                      <a:gd name="connsiteY12" fmla="*/ 26002 h 69407"/>
                      <a:gd name="connsiteX13" fmla="*/ 1023398 w 1163902"/>
                      <a:gd name="connsiteY13" fmla="*/ 26002 h 69407"/>
                      <a:gd name="connsiteX14" fmla="*/ 1023398 w 1163902"/>
                      <a:gd name="connsiteY14" fmla="*/ 44886 h 69407"/>
                      <a:gd name="connsiteX15" fmla="*/ 1004513 w 1163902"/>
                      <a:gd name="connsiteY15" fmla="*/ 44886 h 69407"/>
                      <a:gd name="connsiteX16" fmla="*/ 978119 w 1163902"/>
                      <a:gd name="connsiteY16" fmla="*/ 26002 h 69407"/>
                      <a:gd name="connsiteX17" fmla="*/ 997004 w 1163902"/>
                      <a:gd name="connsiteY17" fmla="*/ 26002 h 69407"/>
                      <a:gd name="connsiteX18" fmla="*/ 997004 w 1163902"/>
                      <a:gd name="connsiteY18" fmla="*/ 44886 h 69407"/>
                      <a:gd name="connsiteX19" fmla="*/ 978119 w 1163902"/>
                      <a:gd name="connsiteY19" fmla="*/ 44886 h 69407"/>
                      <a:gd name="connsiteX20" fmla="*/ 951725 w 1163902"/>
                      <a:gd name="connsiteY20" fmla="*/ 26002 h 69407"/>
                      <a:gd name="connsiteX21" fmla="*/ 970610 w 1163902"/>
                      <a:gd name="connsiteY21" fmla="*/ 26002 h 69407"/>
                      <a:gd name="connsiteX22" fmla="*/ 970610 w 1163902"/>
                      <a:gd name="connsiteY22" fmla="*/ 44886 h 69407"/>
                      <a:gd name="connsiteX23" fmla="*/ 951725 w 1163902"/>
                      <a:gd name="connsiteY23" fmla="*/ 44886 h 69407"/>
                      <a:gd name="connsiteX24" fmla="*/ 925331 w 1163902"/>
                      <a:gd name="connsiteY24" fmla="*/ 26002 h 69407"/>
                      <a:gd name="connsiteX25" fmla="*/ 944216 w 1163902"/>
                      <a:gd name="connsiteY25" fmla="*/ 26002 h 69407"/>
                      <a:gd name="connsiteX26" fmla="*/ 944216 w 1163902"/>
                      <a:gd name="connsiteY26" fmla="*/ 44886 h 69407"/>
                      <a:gd name="connsiteX27" fmla="*/ 925331 w 1163902"/>
                      <a:gd name="connsiteY27" fmla="*/ 44886 h 69407"/>
                      <a:gd name="connsiteX28" fmla="*/ 898937 w 1163902"/>
                      <a:gd name="connsiteY28" fmla="*/ 26002 h 69407"/>
                      <a:gd name="connsiteX29" fmla="*/ 917822 w 1163902"/>
                      <a:gd name="connsiteY29" fmla="*/ 26002 h 69407"/>
                      <a:gd name="connsiteX30" fmla="*/ 917822 w 1163902"/>
                      <a:gd name="connsiteY30" fmla="*/ 44886 h 69407"/>
                      <a:gd name="connsiteX31" fmla="*/ 898937 w 1163902"/>
                      <a:gd name="connsiteY31" fmla="*/ 44886 h 69407"/>
                      <a:gd name="connsiteX32" fmla="*/ 872543 w 1163902"/>
                      <a:gd name="connsiteY32" fmla="*/ 26002 h 69407"/>
                      <a:gd name="connsiteX33" fmla="*/ 891428 w 1163902"/>
                      <a:gd name="connsiteY33" fmla="*/ 26002 h 69407"/>
                      <a:gd name="connsiteX34" fmla="*/ 891428 w 1163902"/>
                      <a:gd name="connsiteY34" fmla="*/ 44886 h 69407"/>
                      <a:gd name="connsiteX35" fmla="*/ 872543 w 1163902"/>
                      <a:gd name="connsiteY35" fmla="*/ 44886 h 69407"/>
                      <a:gd name="connsiteX36" fmla="*/ 846150 w 1163902"/>
                      <a:gd name="connsiteY36" fmla="*/ 26002 h 69407"/>
                      <a:gd name="connsiteX37" fmla="*/ 865034 w 1163902"/>
                      <a:gd name="connsiteY37" fmla="*/ 26002 h 69407"/>
                      <a:gd name="connsiteX38" fmla="*/ 865034 w 1163902"/>
                      <a:gd name="connsiteY38" fmla="*/ 44886 h 69407"/>
                      <a:gd name="connsiteX39" fmla="*/ 846150 w 1163902"/>
                      <a:gd name="connsiteY39" fmla="*/ 44886 h 69407"/>
                      <a:gd name="connsiteX40" fmla="*/ 819756 w 1163902"/>
                      <a:gd name="connsiteY40" fmla="*/ 26002 h 69407"/>
                      <a:gd name="connsiteX41" fmla="*/ 838641 w 1163902"/>
                      <a:gd name="connsiteY41" fmla="*/ 26002 h 69407"/>
                      <a:gd name="connsiteX42" fmla="*/ 838641 w 1163902"/>
                      <a:gd name="connsiteY42" fmla="*/ 44886 h 69407"/>
                      <a:gd name="connsiteX43" fmla="*/ 819756 w 1163902"/>
                      <a:gd name="connsiteY43" fmla="*/ 44886 h 69407"/>
                      <a:gd name="connsiteX44" fmla="*/ 793362 w 1163902"/>
                      <a:gd name="connsiteY44" fmla="*/ 26002 h 69407"/>
                      <a:gd name="connsiteX45" fmla="*/ 812247 w 1163902"/>
                      <a:gd name="connsiteY45" fmla="*/ 26002 h 69407"/>
                      <a:gd name="connsiteX46" fmla="*/ 812247 w 1163902"/>
                      <a:gd name="connsiteY46" fmla="*/ 44886 h 69407"/>
                      <a:gd name="connsiteX47" fmla="*/ 793362 w 1163902"/>
                      <a:gd name="connsiteY47" fmla="*/ 44886 h 69407"/>
                      <a:gd name="connsiteX48" fmla="*/ 766968 w 1163902"/>
                      <a:gd name="connsiteY48" fmla="*/ 26002 h 69407"/>
                      <a:gd name="connsiteX49" fmla="*/ 785853 w 1163902"/>
                      <a:gd name="connsiteY49" fmla="*/ 26002 h 69407"/>
                      <a:gd name="connsiteX50" fmla="*/ 785853 w 1163902"/>
                      <a:gd name="connsiteY50" fmla="*/ 44886 h 69407"/>
                      <a:gd name="connsiteX51" fmla="*/ 766968 w 1163902"/>
                      <a:gd name="connsiteY51" fmla="*/ 44886 h 69407"/>
                      <a:gd name="connsiteX52" fmla="*/ 740574 w 1163902"/>
                      <a:gd name="connsiteY52" fmla="*/ 26002 h 69407"/>
                      <a:gd name="connsiteX53" fmla="*/ 759459 w 1163902"/>
                      <a:gd name="connsiteY53" fmla="*/ 26002 h 69407"/>
                      <a:gd name="connsiteX54" fmla="*/ 759459 w 1163902"/>
                      <a:gd name="connsiteY54" fmla="*/ 44886 h 69407"/>
                      <a:gd name="connsiteX55" fmla="*/ 740574 w 1163902"/>
                      <a:gd name="connsiteY55" fmla="*/ 44886 h 69407"/>
                      <a:gd name="connsiteX56" fmla="*/ 712635 w 1163902"/>
                      <a:gd name="connsiteY56" fmla="*/ 26002 h 69407"/>
                      <a:gd name="connsiteX57" fmla="*/ 731520 w 1163902"/>
                      <a:gd name="connsiteY57" fmla="*/ 26002 h 69407"/>
                      <a:gd name="connsiteX58" fmla="*/ 731520 w 1163902"/>
                      <a:gd name="connsiteY58" fmla="*/ 44886 h 69407"/>
                      <a:gd name="connsiteX59" fmla="*/ 712635 w 1163902"/>
                      <a:gd name="connsiteY59" fmla="*/ 44886 h 69407"/>
                      <a:gd name="connsiteX60" fmla="*/ 686240 w 1163902"/>
                      <a:gd name="connsiteY60" fmla="*/ 26002 h 69407"/>
                      <a:gd name="connsiteX61" fmla="*/ 705125 w 1163902"/>
                      <a:gd name="connsiteY61" fmla="*/ 26002 h 69407"/>
                      <a:gd name="connsiteX62" fmla="*/ 705125 w 1163902"/>
                      <a:gd name="connsiteY62" fmla="*/ 44886 h 69407"/>
                      <a:gd name="connsiteX63" fmla="*/ 686240 w 1163902"/>
                      <a:gd name="connsiteY63" fmla="*/ 44886 h 69407"/>
                      <a:gd name="connsiteX64" fmla="*/ 659846 w 1163902"/>
                      <a:gd name="connsiteY64" fmla="*/ 26002 h 69407"/>
                      <a:gd name="connsiteX65" fmla="*/ 678731 w 1163902"/>
                      <a:gd name="connsiteY65" fmla="*/ 26002 h 69407"/>
                      <a:gd name="connsiteX66" fmla="*/ 678731 w 1163902"/>
                      <a:gd name="connsiteY66" fmla="*/ 44886 h 69407"/>
                      <a:gd name="connsiteX67" fmla="*/ 659846 w 1163902"/>
                      <a:gd name="connsiteY67" fmla="*/ 44886 h 69407"/>
                      <a:gd name="connsiteX68" fmla="*/ 633452 w 1163902"/>
                      <a:gd name="connsiteY68" fmla="*/ 26002 h 69407"/>
                      <a:gd name="connsiteX69" fmla="*/ 652337 w 1163902"/>
                      <a:gd name="connsiteY69" fmla="*/ 26002 h 69407"/>
                      <a:gd name="connsiteX70" fmla="*/ 652337 w 1163902"/>
                      <a:gd name="connsiteY70" fmla="*/ 44886 h 69407"/>
                      <a:gd name="connsiteX71" fmla="*/ 633452 w 1163902"/>
                      <a:gd name="connsiteY71" fmla="*/ 44886 h 69407"/>
                      <a:gd name="connsiteX72" fmla="*/ 607058 w 1163902"/>
                      <a:gd name="connsiteY72" fmla="*/ 26002 h 69407"/>
                      <a:gd name="connsiteX73" fmla="*/ 625943 w 1163902"/>
                      <a:gd name="connsiteY73" fmla="*/ 26002 h 69407"/>
                      <a:gd name="connsiteX74" fmla="*/ 625943 w 1163902"/>
                      <a:gd name="connsiteY74" fmla="*/ 44886 h 69407"/>
                      <a:gd name="connsiteX75" fmla="*/ 607058 w 1163902"/>
                      <a:gd name="connsiteY75" fmla="*/ 44886 h 69407"/>
                      <a:gd name="connsiteX76" fmla="*/ 580664 w 1163902"/>
                      <a:gd name="connsiteY76" fmla="*/ 26002 h 69407"/>
                      <a:gd name="connsiteX77" fmla="*/ 599549 w 1163902"/>
                      <a:gd name="connsiteY77" fmla="*/ 26002 h 69407"/>
                      <a:gd name="connsiteX78" fmla="*/ 599549 w 1163902"/>
                      <a:gd name="connsiteY78" fmla="*/ 44886 h 69407"/>
                      <a:gd name="connsiteX79" fmla="*/ 580664 w 1163902"/>
                      <a:gd name="connsiteY79" fmla="*/ 44886 h 69407"/>
                      <a:gd name="connsiteX80" fmla="*/ 554271 w 1163902"/>
                      <a:gd name="connsiteY80" fmla="*/ 26002 h 69407"/>
                      <a:gd name="connsiteX81" fmla="*/ 573155 w 1163902"/>
                      <a:gd name="connsiteY81" fmla="*/ 26002 h 69407"/>
                      <a:gd name="connsiteX82" fmla="*/ 573155 w 1163902"/>
                      <a:gd name="connsiteY82" fmla="*/ 44886 h 69407"/>
                      <a:gd name="connsiteX83" fmla="*/ 554271 w 1163902"/>
                      <a:gd name="connsiteY83" fmla="*/ 44886 h 69407"/>
                      <a:gd name="connsiteX84" fmla="*/ 527877 w 1163902"/>
                      <a:gd name="connsiteY84" fmla="*/ 26002 h 69407"/>
                      <a:gd name="connsiteX85" fmla="*/ 546762 w 1163902"/>
                      <a:gd name="connsiteY85" fmla="*/ 26002 h 69407"/>
                      <a:gd name="connsiteX86" fmla="*/ 546762 w 1163902"/>
                      <a:gd name="connsiteY86" fmla="*/ 44886 h 69407"/>
                      <a:gd name="connsiteX87" fmla="*/ 527877 w 1163902"/>
                      <a:gd name="connsiteY87" fmla="*/ 44886 h 69407"/>
                      <a:gd name="connsiteX88" fmla="*/ 501483 w 1163902"/>
                      <a:gd name="connsiteY88" fmla="*/ 26002 h 69407"/>
                      <a:gd name="connsiteX89" fmla="*/ 520368 w 1163902"/>
                      <a:gd name="connsiteY89" fmla="*/ 26002 h 69407"/>
                      <a:gd name="connsiteX90" fmla="*/ 520368 w 1163902"/>
                      <a:gd name="connsiteY90" fmla="*/ 44886 h 69407"/>
                      <a:gd name="connsiteX91" fmla="*/ 501483 w 1163902"/>
                      <a:gd name="connsiteY91" fmla="*/ 44886 h 69407"/>
                      <a:gd name="connsiteX92" fmla="*/ 475089 w 1163902"/>
                      <a:gd name="connsiteY92" fmla="*/ 26002 h 69407"/>
                      <a:gd name="connsiteX93" fmla="*/ 493974 w 1163902"/>
                      <a:gd name="connsiteY93" fmla="*/ 26002 h 69407"/>
                      <a:gd name="connsiteX94" fmla="*/ 493974 w 1163902"/>
                      <a:gd name="connsiteY94" fmla="*/ 44886 h 69407"/>
                      <a:gd name="connsiteX95" fmla="*/ 475089 w 1163902"/>
                      <a:gd name="connsiteY95" fmla="*/ 44886 h 69407"/>
                      <a:gd name="connsiteX96" fmla="*/ 448695 w 1163902"/>
                      <a:gd name="connsiteY96" fmla="*/ 26002 h 69407"/>
                      <a:gd name="connsiteX97" fmla="*/ 467580 w 1163902"/>
                      <a:gd name="connsiteY97" fmla="*/ 26002 h 69407"/>
                      <a:gd name="connsiteX98" fmla="*/ 467580 w 1163902"/>
                      <a:gd name="connsiteY98" fmla="*/ 44886 h 69407"/>
                      <a:gd name="connsiteX99" fmla="*/ 448695 w 1163902"/>
                      <a:gd name="connsiteY99" fmla="*/ 44886 h 69407"/>
                      <a:gd name="connsiteX100" fmla="*/ 422301 w 1163902"/>
                      <a:gd name="connsiteY100" fmla="*/ 26002 h 69407"/>
                      <a:gd name="connsiteX101" fmla="*/ 441186 w 1163902"/>
                      <a:gd name="connsiteY101" fmla="*/ 26002 h 69407"/>
                      <a:gd name="connsiteX102" fmla="*/ 441186 w 1163902"/>
                      <a:gd name="connsiteY102" fmla="*/ 44886 h 69407"/>
                      <a:gd name="connsiteX103" fmla="*/ 422301 w 1163902"/>
                      <a:gd name="connsiteY103" fmla="*/ 44886 h 69407"/>
                      <a:gd name="connsiteX104" fmla="*/ 395908 w 1163902"/>
                      <a:gd name="connsiteY104" fmla="*/ 26002 h 69407"/>
                      <a:gd name="connsiteX105" fmla="*/ 414792 w 1163902"/>
                      <a:gd name="connsiteY105" fmla="*/ 26002 h 69407"/>
                      <a:gd name="connsiteX106" fmla="*/ 414792 w 1163902"/>
                      <a:gd name="connsiteY106" fmla="*/ 44886 h 69407"/>
                      <a:gd name="connsiteX107" fmla="*/ 395908 w 1163902"/>
                      <a:gd name="connsiteY107" fmla="*/ 44886 h 69407"/>
                      <a:gd name="connsiteX108" fmla="*/ 369514 w 1163902"/>
                      <a:gd name="connsiteY108" fmla="*/ 26002 h 69407"/>
                      <a:gd name="connsiteX109" fmla="*/ 388398 w 1163902"/>
                      <a:gd name="connsiteY109" fmla="*/ 26002 h 69407"/>
                      <a:gd name="connsiteX110" fmla="*/ 388398 w 1163902"/>
                      <a:gd name="connsiteY110" fmla="*/ 44886 h 69407"/>
                      <a:gd name="connsiteX111" fmla="*/ 369514 w 1163902"/>
                      <a:gd name="connsiteY111" fmla="*/ 44886 h 69407"/>
                      <a:gd name="connsiteX112" fmla="*/ 343120 w 1163902"/>
                      <a:gd name="connsiteY112" fmla="*/ 26002 h 69407"/>
                      <a:gd name="connsiteX113" fmla="*/ 362005 w 1163902"/>
                      <a:gd name="connsiteY113" fmla="*/ 26002 h 69407"/>
                      <a:gd name="connsiteX114" fmla="*/ 362005 w 1163902"/>
                      <a:gd name="connsiteY114" fmla="*/ 44886 h 69407"/>
                      <a:gd name="connsiteX115" fmla="*/ 343120 w 1163902"/>
                      <a:gd name="connsiteY115" fmla="*/ 44886 h 69407"/>
                      <a:gd name="connsiteX116" fmla="*/ 316726 w 1163902"/>
                      <a:gd name="connsiteY116" fmla="*/ 26002 h 69407"/>
                      <a:gd name="connsiteX117" fmla="*/ 335611 w 1163902"/>
                      <a:gd name="connsiteY117" fmla="*/ 26002 h 69407"/>
                      <a:gd name="connsiteX118" fmla="*/ 335611 w 1163902"/>
                      <a:gd name="connsiteY118" fmla="*/ 44886 h 69407"/>
                      <a:gd name="connsiteX119" fmla="*/ 316726 w 1163902"/>
                      <a:gd name="connsiteY119" fmla="*/ 44886 h 69407"/>
                      <a:gd name="connsiteX120" fmla="*/ 290332 w 1163902"/>
                      <a:gd name="connsiteY120" fmla="*/ 26002 h 69407"/>
                      <a:gd name="connsiteX121" fmla="*/ 309217 w 1163902"/>
                      <a:gd name="connsiteY121" fmla="*/ 26002 h 69407"/>
                      <a:gd name="connsiteX122" fmla="*/ 309217 w 1163902"/>
                      <a:gd name="connsiteY122" fmla="*/ 44886 h 69407"/>
                      <a:gd name="connsiteX123" fmla="*/ 290332 w 1163902"/>
                      <a:gd name="connsiteY123" fmla="*/ 44886 h 69407"/>
                      <a:gd name="connsiteX124" fmla="*/ 263938 w 1163902"/>
                      <a:gd name="connsiteY124" fmla="*/ 26002 h 69407"/>
                      <a:gd name="connsiteX125" fmla="*/ 282823 w 1163902"/>
                      <a:gd name="connsiteY125" fmla="*/ 26002 h 69407"/>
                      <a:gd name="connsiteX126" fmla="*/ 282823 w 1163902"/>
                      <a:gd name="connsiteY126" fmla="*/ 44886 h 69407"/>
                      <a:gd name="connsiteX127" fmla="*/ 263938 w 1163902"/>
                      <a:gd name="connsiteY127" fmla="*/ 44886 h 69407"/>
                      <a:gd name="connsiteX128" fmla="*/ 237544 w 1163902"/>
                      <a:gd name="connsiteY128" fmla="*/ 26002 h 69407"/>
                      <a:gd name="connsiteX129" fmla="*/ 256429 w 1163902"/>
                      <a:gd name="connsiteY129" fmla="*/ 26002 h 69407"/>
                      <a:gd name="connsiteX130" fmla="*/ 256429 w 1163902"/>
                      <a:gd name="connsiteY130" fmla="*/ 44886 h 69407"/>
                      <a:gd name="connsiteX131" fmla="*/ 237544 w 1163902"/>
                      <a:gd name="connsiteY131" fmla="*/ 44886 h 69407"/>
                      <a:gd name="connsiteX132" fmla="*/ 211151 w 1163902"/>
                      <a:gd name="connsiteY132" fmla="*/ 26002 h 69407"/>
                      <a:gd name="connsiteX133" fmla="*/ 230035 w 1163902"/>
                      <a:gd name="connsiteY133" fmla="*/ 26002 h 69407"/>
                      <a:gd name="connsiteX134" fmla="*/ 230035 w 1163902"/>
                      <a:gd name="connsiteY134" fmla="*/ 44886 h 69407"/>
                      <a:gd name="connsiteX135" fmla="*/ 211151 w 1163902"/>
                      <a:gd name="connsiteY135" fmla="*/ 44886 h 69407"/>
                      <a:gd name="connsiteX136" fmla="*/ 184757 w 1163902"/>
                      <a:gd name="connsiteY136" fmla="*/ 26002 h 69407"/>
                      <a:gd name="connsiteX137" fmla="*/ 203642 w 1163902"/>
                      <a:gd name="connsiteY137" fmla="*/ 26002 h 69407"/>
                      <a:gd name="connsiteX138" fmla="*/ 203642 w 1163902"/>
                      <a:gd name="connsiteY138" fmla="*/ 44886 h 69407"/>
                      <a:gd name="connsiteX139" fmla="*/ 184757 w 1163902"/>
                      <a:gd name="connsiteY139" fmla="*/ 44886 h 69407"/>
                      <a:gd name="connsiteX140" fmla="*/ 158363 w 1163902"/>
                      <a:gd name="connsiteY140" fmla="*/ 26002 h 69407"/>
                      <a:gd name="connsiteX141" fmla="*/ 177248 w 1163902"/>
                      <a:gd name="connsiteY141" fmla="*/ 26002 h 69407"/>
                      <a:gd name="connsiteX142" fmla="*/ 177248 w 1163902"/>
                      <a:gd name="connsiteY142" fmla="*/ 44886 h 69407"/>
                      <a:gd name="connsiteX143" fmla="*/ 158363 w 1163902"/>
                      <a:gd name="connsiteY143" fmla="*/ 44886 h 69407"/>
                      <a:gd name="connsiteX144" fmla="*/ 131969 w 1163902"/>
                      <a:gd name="connsiteY144" fmla="*/ 26002 h 69407"/>
                      <a:gd name="connsiteX145" fmla="*/ 150854 w 1163902"/>
                      <a:gd name="connsiteY145" fmla="*/ 26002 h 69407"/>
                      <a:gd name="connsiteX146" fmla="*/ 150854 w 1163902"/>
                      <a:gd name="connsiteY146" fmla="*/ 44886 h 69407"/>
                      <a:gd name="connsiteX147" fmla="*/ 131969 w 1163902"/>
                      <a:gd name="connsiteY147" fmla="*/ 44886 h 69407"/>
                      <a:gd name="connsiteX148" fmla="*/ 105575 w 1163902"/>
                      <a:gd name="connsiteY148" fmla="*/ 26002 h 69407"/>
                      <a:gd name="connsiteX149" fmla="*/ 124460 w 1163902"/>
                      <a:gd name="connsiteY149" fmla="*/ 26002 h 69407"/>
                      <a:gd name="connsiteX150" fmla="*/ 124460 w 1163902"/>
                      <a:gd name="connsiteY150" fmla="*/ 44886 h 69407"/>
                      <a:gd name="connsiteX151" fmla="*/ 105575 w 1163902"/>
                      <a:gd name="connsiteY151" fmla="*/ 44886 h 69407"/>
                      <a:gd name="connsiteX152" fmla="*/ 79181 w 1163902"/>
                      <a:gd name="connsiteY152" fmla="*/ 26002 h 69407"/>
                      <a:gd name="connsiteX153" fmla="*/ 98066 w 1163902"/>
                      <a:gd name="connsiteY153" fmla="*/ 26002 h 69407"/>
                      <a:gd name="connsiteX154" fmla="*/ 98066 w 1163902"/>
                      <a:gd name="connsiteY154" fmla="*/ 44886 h 69407"/>
                      <a:gd name="connsiteX155" fmla="*/ 79181 w 1163902"/>
                      <a:gd name="connsiteY155" fmla="*/ 44886 h 69407"/>
                      <a:gd name="connsiteX156" fmla="*/ 52787 w 1163902"/>
                      <a:gd name="connsiteY156" fmla="*/ 26002 h 69407"/>
                      <a:gd name="connsiteX157" fmla="*/ 71672 w 1163902"/>
                      <a:gd name="connsiteY157" fmla="*/ 26002 h 69407"/>
                      <a:gd name="connsiteX158" fmla="*/ 71672 w 1163902"/>
                      <a:gd name="connsiteY158" fmla="*/ 44886 h 69407"/>
                      <a:gd name="connsiteX159" fmla="*/ 52787 w 1163902"/>
                      <a:gd name="connsiteY159" fmla="*/ 44886 h 69407"/>
                      <a:gd name="connsiteX160" fmla="*/ 26394 w 1163902"/>
                      <a:gd name="connsiteY160" fmla="*/ 26002 h 69407"/>
                      <a:gd name="connsiteX161" fmla="*/ 45278 w 1163902"/>
                      <a:gd name="connsiteY161" fmla="*/ 26002 h 69407"/>
                      <a:gd name="connsiteX162" fmla="*/ 45278 w 1163902"/>
                      <a:gd name="connsiteY162" fmla="*/ 44886 h 69407"/>
                      <a:gd name="connsiteX163" fmla="*/ 26394 w 1163902"/>
                      <a:gd name="connsiteY163" fmla="*/ 44886 h 69407"/>
                      <a:gd name="connsiteX164" fmla="*/ 0 w 1163902"/>
                      <a:gd name="connsiteY164" fmla="*/ 26002 h 69407"/>
                      <a:gd name="connsiteX165" fmla="*/ 18885 w 1163902"/>
                      <a:gd name="connsiteY165" fmla="*/ 26002 h 69407"/>
                      <a:gd name="connsiteX166" fmla="*/ 18885 w 1163902"/>
                      <a:gd name="connsiteY166" fmla="*/ 44886 h 69407"/>
                      <a:gd name="connsiteX167" fmla="*/ 0 w 1163902"/>
                      <a:gd name="connsiteY167" fmla="*/ 44886 h 69407"/>
                      <a:gd name="connsiteX168" fmla="*/ 1111181 w 1163902"/>
                      <a:gd name="connsiteY168" fmla="*/ 0 h 69407"/>
                      <a:gd name="connsiteX169" fmla="*/ 1163902 w 1163902"/>
                      <a:gd name="connsiteY169" fmla="*/ 34704 h 69407"/>
                      <a:gd name="connsiteX170" fmla="*/ 1111181 w 1163902"/>
                      <a:gd name="connsiteY170" fmla="*/ 69407 h 69407"/>
                      <a:gd name="connsiteX171" fmla="*/ 1111181 w 1163902"/>
                      <a:gd name="connsiteY171" fmla="*/ 44886 h 69407"/>
                      <a:gd name="connsiteX172" fmla="*/ 1110088 w 1163902"/>
                      <a:gd name="connsiteY172" fmla="*/ 44886 h 69407"/>
                      <a:gd name="connsiteX173" fmla="*/ 1110088 w 1163902"/>
                      <a:gd name="connsiteY173" fmla="*/ 26002 h 69407"/>
                      <a:gd name="connsiteX174" fmla="*/ 1111181 w 1163902"/>
                      <a:gd name="connsiteY174" fmla="*/ 26002 h 69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163902" h="69407">
                        <a:moveTo>
                          <a:pt x="1083694" y="26002"/>
                        </a:moveTo>
                        <a:lnTo>
                          <a:pt x="1102579" y="26002"/>
                        </a:lnTo>
                        <a:lnTo>
                          <a:pt x="1102579" y="44886"/>
                        </a:lnTo>
                        <a:lnTo>
                          <a:pt x="1083694" y="44886"/>
                        </a:lnTo>
                        <a:close/>
                        <a:moveTo>
                          <a:pt x="1057300" y="26002"/>
                        </a:moveTo>
                        <a:lnTo>
                          <a:pt x="1076185" y="26002"/>
                        </a:lnTo>
                        <a:lnTo>
                          <a:pt x="1076185" y="44886"/>
                        </a:lnTo>
                        <a:lnTo>
                          <a:pt x="1057300" y="44886"/>
                        </a:lnTo>
                        <a:close/>
                        <a:moveTo>
                          <a:pt x="1030907" y="26002"/>
                        </a:moveTo>
                        <a:lnTo>
                          <a:pt x="1049791" y="26002"/>
                        </a:lnTo>
                        <a:lnTo>
                          <a:pt x="1049791" y="44886"/>
                        </a:lnTo>
                        <a:lnTo>
                          <a:pt x="1030907" y="44886"/>
                        </a:lnTo>
                        <a:close/>
                        <a:moveTo>
                          <a:pt x="1004513" y="26002"/>
                        </a:moveTo>
                        <a:lnTo>
                          <a:pt x="1023398" y="26002"/>
                        </a:lnTo>
                        <a:lnTo>
                          <a:pt x="1023398" y="44886"/>
                        </a:lnTo>
                        <a:lnTo>
                          <a:pt x="1004513" y="44886"/>
                        </a:lnTo>
                        <a:close/>
                        <a:moveTo>
                          <a:pt x="978119" y="26002"/>
                        </a:moveTo>
                        <a:lnTo>
                          <a:pt x="997004" y="26002"/>
                        </a:lnTo>
                        <a:lnTo>
                          <a:pt x="997004" y="44886"/>
                        </a:lnTo>
                        <a:lnTo>
                          <a:pt x="978119" y="44886"/>
                        </a:lnTo>
                        <a:close/>
                        <a:moveTo>
                          <a:pt x="951725" y="26002"/>
                        </a:moveTo>
                        <a:lnTo>
                          <a:pt x="970610" y="26002"/>
                        </a:lnTo>
                        <a:lnTo>
                          <a:pt x="970610" y="44886"/>
                        </a:lnTo>
                        <a:lnTo>
                          <a:pt x="951725" y="44886"/>
                        </a:lnTo>
                        <a:close/>
                        <a:moveTo>
                          <a:pt x="925331" y="26002"/>
                        </a:moveTo>
                        <a:lnTo>
                          <a:pt x="944216" y="26002"/>
                        </a:lnTo>
                        <a:lnTo>
                          <a:pt x="944216" y="44886"/>
                        </a:lnTo>
                        <a:lnTo>
                          <a:pt x="925331" y="44886"/>
                        </a:lnTo>
                        <a:close/>
                        <a:moveTo>
                          <a:pt x="898937" y="26002"/>
                        </a:moveTo>
                        <a:lnTo>
                          <a:pt x="917822" y="26002"/>
                        </a:lnTo>
                        <a:lnTo>
                          <a:pt x="917822" y="44886"/>
                        </a:lnTo>
                        <a:lnTo>
                          <a:pt x="898937" y="44886"/>
                        </a:lnTo>
                        <a:close/>
                        <a:moveTo>
                          <a:pt x="872543" y="26002"/>
                        </a:moveTo>
                        <a:lnTo>
                          <a:pt x="891428" y="26002"/>
                        </a:lnTo>
                        <a:lnTo>
                          <a:pt x="891428" y="44886"/>
                        </a:lnTo>
                        <a:lnTo>
                          <a:pt x="872543" y="44886"/>
                        </a:lnTo>
                        <a:close/>
                        <a:moveTo>
                          <a:pt x="846150" y="26002"/>
                        </a:moveTo>
                        <a:lnTo>
                          <a:pt x="865034" y="26002"/>
                        </a:lnTo>
                        <a:lnTo>
                          <a:pt x="865034" y="44886"/>
                        </a:lnTo>
                        <a:lnTo>
                          <a:pt x="846150" y="44886"/>
                        </a:lnTo>
                        <a:close/>
                        <a:moveTo>
                          <a:pt x="819756" y="26002"/>
                        </a:moveTo>
                        <a:lnTo>
                          <a:pt x="838641" y="26002"/>
                        </a:lnTo>
                        <a:lnTo>
                          <a:pt x="838641" y="44886"/>
                        </a:lnTo>
                        <a:lnTo>
                          <a:pt x="819756" y="44886"/>
                        </a:lnTo>
                        <a:close/>
                        <a:moveTo>
                          <a:pt x="793362" y="26002"/>
                        </a:moveTo>
                        <a:lnTo>
                          <a:pt x="812247" y="26002"/>
                        </a:lnTo>
                        <a:lnTo>
                          <a:pt x="812247" y="44886"/>
                        </a:lnTo>
                        <a:lnTo>
                          <a:pt x="793362" y="44886"/>
                        </a:lnTo>
                        <a:close/>
                        <a:moveTo>
                          <a:pt x="766968" y="26002"/>
                        </a:moveTo>
                        <a:lnTo>
                          <a:pt x="785853" y="26002"/>
                        </a:lnTo>
                        <a:lnTo>
                          <a:pt x="785853" y="44886"/>
                        </a:lnTo>
                        <a:lnTo>
                          <a:pt x="766968" y="44886"/>
                        </a:lnTo>
                        <a:close/>
                        <a:moveTo>
                          <a:pt x="740574" y="26002"/>
                        </a:moveTo>
                        <a:lnTo>
                          <a:pt x="759459" y="26002"/>
                        </a:lnTo>
                        <a:lnTo>
                          <a:pt x="759459" y="44886"/>
                        </a:lnTo>
                        <a:lnTo>
                          <a:pt x="740574" y="44886"/>
                        </a:lnTo>
                        <a:close/>
                        <a:moveTo>
                          <a:pt x="712635" y="26002"/>
                        </a:moveTo>
                        <a:lnTo>
                          <a:pt x="731520" y="26002"/>
                        </a:lnTo>
                        <a:lnTo>
                          <a:pt x="731520" y="44886"/>
                        </a:lnTo>
                        <a:lnTo>
                          <a:pt x="712635" y="44886"/>
                        </a:lnTo>
                        <a:close/>
                        <a:moveTo>
                          <a:pt x="686240" y="26002"/>
                        </a:moveTo>
                        <a:lnTo>
                          <a:pt x="705125" y="26002"/>
                        </a:lnTo>
                        <a:lnTo>
                          <a:pt x="705125" y="44886"/>
                        </a:lnTo>
                        <a:lnTo>
                          <a:pt x="686240" y="44886"/>
                        </a:lnTo>
                        <a:close/>
                        <a:moveTo>
                          <a:pt x="659846" y="26002"/>
                        </a:moveTo>
                        <a:lnTo>
                          <a:pt x="678731" y="26002"/>
                        </a:lnTo>
                        <a:lnTo>
                          <a:pt x="678731" y="44886"/>
                        </a:lnTo>
                        <a:lnTo>
                          <a:pt x="659846" y="44886"/>
                        </a:lnTo>
                        <a:close/>
                        <a:moveTo>
                          <a:pt x="633452" y="26002"/>
                        </a:moveTo>
                        <a:lnTo>
                          <a:pt x="652337" y="26002"/>
                        </a:lnTo>
                        <a:lnTo>
                          <a:pt x="652337" y="44886"/>
                        </a:lnTo>
                        <a:lnTo>
                          <a:pt x="633452" y="44886"/>
                        </a:lnTo>
                        <a:close/>
                        <a:moveTo>
                          <a:pt x="607058" y="26002"/>
                        </a:moveTo>
                        <a:lnTo>
                          <a:pt x="625943" y="26002"/>
                        </a:lnTo>
                        <a:lnTo>
                          <a:pt x="625943" y="44886"/>
                        </a:lnTo>
                        <a:lnTo>
                          <a:pt x="607058" y="44886"/>
                        </a:lnTo>
                        <a:close/>
                        <a:moveTo>
                          <a:pt x="580664" y="26002"/>
                        </a:moveTo>
                        <a:lnTo>
                          <a:pt x="599549" y="26002"/>
                        </a:lnTo>
                        <a:lnTo>
                          <a:pt x="599549" y="44886"/>
                        </a:lnTo>
                        <a:lnTo>
                          <a:pt x="580664" y="44886"/>
                        </a:lnTo>
                        <a:close/>
                        <a:moveTo>
                          <a:pt x="554271" y="26002"/>
                        </a:moveTo>
                        <a:lnTo>
                          <a:pt x="573155" y="26002"/>
                        </a:lnTo>
                        <a:lnTo>
                          <a:pt x="573155" y="44886"/>
                        </a:lnTo>
                        <a:lnTo>
                          <a:pt x="554271" y="44886"/>
                        </a:lnTo>
                        <a:close/>
                        <a:moveTo>
                          <a:pt x="527877" y="26002"/>
                        </a:moveTo>
                        <a:lnTo>
                          <a:pt x="546762" y="26002"/>
                        </a:lnTo>
                        <a:lnTo>
                          <a:pt x="546762" y="44886"/>
                        </a:lnTo>
                        <a:lnTo>
                          <a:pt x="527877" y="44886"/>
                        </a:lnTo>
                        <a:close/>
                        <a:moveTo>
                          <a:pt x="501483" y="26002"/>
                        </a:moveTo>
                        <a:lnTo>
                          <a:pt x="520368" y="26002"/>
                        </a:lnTo>
                        <a:lnTo>
                          <a:pt x="520368" y="44886"/>
                        </a:lnTo>
                        <a:lnTo>
                          <a:pt x="501483" y="44886"/>
                        </a:lnTo>
                        <a:close/>
                        <a:moveTo>
                          <a:pt x="475089" y="26002"/>
                        </a:moveTo>
                        <a:lnTo>
                          <a:pt x="493974" y="26002"/>
                        </a:lnTo>
                        <a:lnTo>
                          <a:pt x="493974" y="44886"/>
                        </a:lnTo>
                        <a:lnTo>
                          <a:pt x="475089" y="44886"/>
                        </a:lnTo>
                        <a:close/>
                        <a:moveTo>
                          <a:pt x="448695" y="26002"/>
                        </a:moveTo>
                        <a:lnTo>
                          <a:pt x="467580" y="26002"/>
                        </a:lnTo>
                        <a:lnTo>
                          <a:pt x="467580" y="44886"/>
                        </a:lnTo>
                        <a:lnTo>
                          <a:pt x="448695" y="44886"/>
                        </a:lnTo>
                        <a:close/>
                        <a:moveTo>
                          <a:pt x="422301" y="26002"/>
                        </a:moveTo>
                        <a:lnTo>
                          <a:pt x="441186" y="26002"/>
                        </a:lnTo>
                        <a:lnTo>
                          <a:pt x="441186" y="44886"/>
                        </a:lnTo>
                        <a:lnTo>
                          <a:pt x="422301" y="44886"/>
                        </a:lnTo>
                        <a:close/>
                        <a:moveTo>
                          <a:pt x="395908" y="26002"/>
                        </a:moveTo>
                        <a:lnTo>
                          <a:pt x="414792" y="26002"/>
                        </a:lnTo>
                        <a:lnTo>
                          <a:pt x="414792" y="44886"/>
                        </a:lnTo>
                        <a:lnTo>
                          <a:pt x="395908" y="44886"/>
                        </a:lnTo>
                        <a:close/>
                        <a:moveTo>
                          <a:pt x="369514" y="26002"/>
                        </a:moveTo>
                        <a:lnTo>
                          <a:pt x="388398" y="26002"/>
                        </a:lnTo>
                        <a:lnTo>
                          <a:pt x="388398" y="44886"/>
                        </a:lnTo>
                        <a:lnTo>
                          <a:pt x="369514" y="44886"/>
                        </a:lnTo>
                        <a:close/>
                        <a:moveTo>
                          <a:pt x="343120" y="26002"/>
                        </a:moveTo>
                        <a:lnTo>
                          <a:pt x="362005" y="26002"/>
                        </a:lnTo>
                        <a:lnTo>
                          <a:pt x="362005" y="44886"/>
                        </a:lnTo>
                        <a:lnTo>
                          <a:pt x="343120" y="44886"/>
                        </a:lnTo>
                        <a:close/>
                        <a:moveTo>
                          <a:pt x="316726" y="26002"/>
                        </a:moveTo>
                        <a:lnTo>
                          <a:pt x="335611" y="26002"/>
                        </a:lnTo>
                        <a:lnTo>
                          <a:pt x="335611" y="44886"/>
                        </a:lnTo>
                        <a:lnTo>
                          <a:pt x="316726" y="44886"/>
                        </a:lnTo>
                        <a:close/>
                        <a:moveTo>
                          <a:pt x="290332" y="26002"/>
                        </a:moveTo>
                        <a:lnTo>
                          <a:pt x="309217" y="26002"/>
                        </a:lnTo>
                        <a:lnTo>
                          <a:pt x="309217" y="44886"/>
                        </a:lnTo>
                        <a:lnTo>
                          <a:pt x="290332" y="44886"/>
                        </a:lnTo>
                        <a:close/>
                        <a:moveTo>
                          <a:pt x="263938" y="26002"/>
                        </a:moveTo>
                        <a:lnTo>
                          <a:pt x="282823" y="26002"/>
                        </a:lnTo>
                        <a:lnTo>
                          <a:pt x="282823" y="44886"/>
                        </a:lnTo>
                        <a:lnTo>
                          <a:pt x="263938" y="44886"/>
                        </a:lnTo>
                        <a:close/>
                        <a:moveTo>
                          <a:pt x="237544" y="26002"/>
                        </a:moveTo>
                        <a:lnTo>
                          <a:pt x="256429" y="26002"/>
                        </a:lnTo>
                        <a:lnTo>
                          <a:pt x="256429" y="44886"/>
                        </a:lnTo>
                        <a:lnTo>
                          <a:pt x="237544" y="44886"/>
                        </a:lnTo>
                        <a:close/>
                        <a:moveTo>
                          <a:pt x="211151" y="26002"/>
                        </a:moveTo>
                        <a:lnTo>
                          <a:pt x="230035" y="26002"/>
                        </a:lnTo>
                        <a:lnTo>
                          <a:pt x="230035" y="44886"/>
                        </a:lnTo>
                        <a:lnTo>
                          <a:pt x="211151" y="44886"/>
                        </a:lnTo>
                        <a:close/>
                        <a:moveTo>
                          <a:pt x="184757" y="26002"/>
                        </a:moveTo>
                        <a:lnTo>
                          <a:pt x="203642" y="26002"/>
                        </a:lnTo>
                        <a:lnTo>
                          <a:pt x="203642" y="44886"/>
                        </a:lnTo>
                        <a:lnTo>
                          <a:pt x="184757" y="44886"/>
                        </a:lnTo>
                        <a:close/>
                        <a:moveTo>
                          <a:pt x="158363" y="26002"/>
                        </a:moveTo>
                        <a:lnTo>
                          <a:pt x="177248" y="26002"/>
                        </a:lnTo>
                        <a:lnTo>
                          <a:pt x="177248" y="44886"/>
                        </a:lnTo>
                        <a:lnTo>
                          <a:pt x="158363" y="44886"/>
                        </a:lnTo>
                        <a:close/>
                        <a:moveTo>
                          <a:pt x="131969" y="26002"/>
                        </a:moveTo>
                        <a:lnTo>
                          <a:pt x="150854" y="26002"/>
                        </a:lnTo>
                        <a:lnTo>
                          <a:pt x="150854" y="44886"/>
                        </a:lnTo>
                        <a:lnTo>
                          <a:pt x="131969" y="44886"/>
                        </a:lnTo>
                        <a:close/>
                        <a:moveTo>
                          <a:pt x="105575" y="26002"/>
                        </a:moveTo>
                        <a:lnTo>
                          <a:pt x="124460" y="26002"/>
                        </a:lnTo>
                        <a:lnTo>
                          <a:pt x="124460" y="44886"/>
                        </a:lnTo>
                        <a:lnTo>
                          <a:pt x="105575" y="44886"/>
                        </a:lnTo>
                        <a:close/>
                        <a:moveTo>
                          <a:pt x="79181" y="26002"/>
                        </a:moveTo>
                        <a:lnTo>
                          <a:pt x="98066" y="26002"/>
                        </a:lnTo>
                        <a:lnTo>
                          <a:pt x="98066" y="44886"/>
                        </a:lnTo>
                        <a:lnTo>
                          <a:pt x="79181" y="44886"/>
                        </a:lnTo>
                        <a:close/>
                        <a:moveTo>
                          <a:pt x="52787" y="26002"/>
                        </a:moveTo>
                        <a:lnTo>
                          <a:pt x="71672" y="26002"/>
                        </a:lnTo>
                        <a:lnTo>
                          <a:pt x="71672" y="44886"/>
                        </a:lnTo>
                        <a:lnTo>
                          <a:pt x="52787" y="44886"/>
                        </a:lnTo>
                        <a:close/>
                        <a:moveTo>
                          <a:pt x="26394" y="26002"/>
                        </a:moveTo>
                        <a:lnTo>
                          <a:pt x="45278" y="26002"/>
                        </a:lnTo>
                        <a:lnTo>
                          <a:pt x="45278" y="44886"/>
                        </a:lnTo>
                        <a:lnTo>
                          <a:pt x="26394" y="44886"/>
                        </a:lnTo>
                        <a:close/>
                        <a:moveTo>
                          <a:pt x="0" y="26002"/>
                        </a:moveTo>
                        <a:lnTo>
                          <a:pt x="18885" y="26002"/>
                        </a:lnTo>
                        <a:lnTo>
                          <a:pt x="18885" y="44886"/>
                        </a:lnTo>
                        <a:lnTo>
                          <a:pt x="0" y="44886"/>
                        </a:lnTo>
                        <a:close/>
                        <a:moveTo>
                          <a:pt x="1111181" y="0"/>
                        </a:moveTo>
                        <a:lnTo>
                          <a:pt x="1163902" y="34704"/>
                        </a:lnTo>
                        <a:lnTo>
                          <a:pt x="1111181" y="69407"/>
                        </a:lnTo>
                        <a:lnTo>
                          <a:pt x="1111181" y="44886"/>
                        </a:lnTo>
                        <a:lnTo>
                          <a:pt x="1110088" y="44886"/>
                        </a:lnTo>
                        <a:lnTo>
                          <a:pt x="1110088" y="26002"/>
                        </a:lnTo>
                        <a:lnTo>
                          <a:pt x="1111181" y="26002"/>
                        </a:lnTo>
                        <a:close/>
                      </a:path>
                    </a:pathLst>
                  </a:custGeom>
                  <a:solidFill>
                    <a:srgbClr val="58B3D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grpSp>
                <p:nvGrpSpPr>
                  <p:cNvPr id="1069" name="Group 1068">
                    <a:extLst>
                      <a:ext uri="{FF2B5EF4-FFF2-40B4-BE49-F238E27FC236}">
                        <a16:creationId xmlns:a16="http://schemas.microsoft.com/office/drawing/2014/main" id="{2DA4E15B-1FA6-4E11-AF61-F8D528E920BF}"/>
                      </a:ext>
                    </a:extLst>
                  </p:cNvPr>
                  <p:cNvGrpSpPr/>
                  <p:nvPr/>
                </p:nvGrpSpPr>
                <p:grpSpPr>
                  <a:xfrm>
                    <a:off x="4877410" y="5321735"/>
                    <a:ext cx="1140385" cy="185737"/>
                    <a:chOff x="4877410" y="5321735"/>
                    <a:chExt cx="1140385" cy="185737"/>
                  </a:xfrm>
                </p:grpSpPr>
                <p:grpSp>
                  <p:nvGrpSpPr>
                    <p:cNvPr id="1070" name="Group 1069">
                      <a:extLst>
                        <a:ext uri="{FF2B5EF4-FFF2-40B4-BE49-F238E27FC236}">
                          <a16:creationId xmlns:a16="http://schemas.microsoft.com/office/drawing/2014/main" id="{BEF6E148-9F2C-4CD8-9540-CFE497F30EF9}"/>
                        </a:ext>
                      </a:extLst>
                    </p:cNvPr>
                    <p:cNvGrpSpPr/>
                    <p:nvPr/>
                  </p:nvGrpSpPr>
                  <p:grpSpPr>
                    <a:xfrm>
                      <a:off x="5544448" y="5321735"/>
                      <a:ext cx="190838" cy="185737"/>
                      <a:chOff x="5652683" y="1636246"/>
                      <a:chExt cx="3791758" cy="3791758"/>
                    </a:xfrm>
                  </p:grpSpPr>
                  <p:sp>
                    <p:nvSpPr>
                      <p:cNvPr id="1090" name="Oval 1089">
                        <a:extLst>
                          <a:ext uri="{FF2B5EF4-FFF2-40B4-BE49-F238E27FC236}">
                            <a16:creationId xmlns:a16="http://schemas.microsoft.com/office/drawing/2014/main" id="{0A550204-7E78-480F-A3D2-7C05B607D6C3}"/>
                          </a:ext>
                        </a:extLst>
                      </p:cNvPr>
                      <p:cNvSpPr/>
                      <p:nvPr/>
                    </p:nvSpPr>
                    <p:spPr>
                      <a:xfrm>
                        <a:off x="5652683" y="1636246"/>
                        <a:ext cx="3791758" cy="3791758"/>
                      </a:xfrm>
                      <a:prstGeom prst="ellipse">
                        <a:avLst/>
                      </a:prstGeom>
                      <a:solidFill>
                        <a:srgbClr val="BAD80A"/>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091" name="Oval 1090">
                        <a:extLst>
                          <a:ext uri="{FF2B5EF4-FFF2-40B4-BE49-F238E27FC236}">
                            <a16:creationId xmlns:a16="http://schemas.microsoft.com/office/drawing/2014/main" id="{2E4D0491-09E8-420D-AE13-E9CBB73614F5}"/>
                          </a:ext>
                        </a:extLst>
                      </p:cNvPr>
                      <p:cNvSpPr/>
                      <p:nvPr/>
                    </p:nvSpPr>
                    <p:spPr>
                      <a:xfrm>
                        <a:off x="5974946" y="1932012"/>
                        <a:ext cx="3147232" cy="3147232"/>
                      </a:xfrm>
                      <a:prstGeom prst="ellipse">
                        <a:avLst/>
                      </a:prstGeom>
                      <a:solidFill>
                        <a:srgbClr val="FFFFFF"/>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092" name="Freeform 91">
                        <a:extLst>
                          <a:ext uri="{FF2B5EF4-FFF2-40B4-BE49-F238E27FC236}">
                            <a16:creationId xmlns:a16="http://schemas.microsoft.com/office/drawing/2014/main" id="{D8D4FCB5-A2B8-4711-9178-52BE7C7B0144}"/>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093" name="Rounded Rectangle 92">
                        <a:extLst>
                          <a:ext uri="{FF2B5EF4-FFF2-40B4-BE49-F238E27FC236}">
                            <a16:creationId xmlns:a16="http://schemas.microsoft.com/office/drawing/2014/main" id="{6C691E15-FC82-4103-B825-4299BBBBA639}"/>
                          </a:ext>
                        </a:extLst>
                      </p:cNvPr>
                      <p:cNvSpPr/>
                      <p:nvPr/>
                    </p:nvSpPr>
                    <p:spPr>
                      <a:xfrm>
                        <a:off x="7498946" y="3360193"/>
                        <a:ext cx="1447800" cy="290870"/>
                      </a:xfrm>
                      <a:prstGeom prst="roundRect">
                        <a:avLst>
                          <a:gd name="adj" fmla="val 50000"/>
                        </a:avLst>
                      </a:prstGeom>
                      <a:solidFill>
                        <a:srgbClr val="E6E6E6"/>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094" name="Oval 1093">
                        <a:extLst>
                          <a:ext uri="{FF2B5EF4-FFF2-40B4-BE49-F238E27FC236}">
                            <a16:creationId xmlns:a16="http://schemas.microsoft.com/office/drawing/2014/main" id="{3B394DA6-DF3D-4178-A3A4-8D81AC58426B}"/>
                          </a:ext>
                        </a:extLst>
                      </p:cNvPr>
                      <p:cNvSpPr/>
                      <p:nvPr/>
                    </p:nvSpPr>
                    <p:spPr>
                      <a:xfrm>
                        <a:off x="7294564" y="3236912"/>
                        <a:ext cx="546099" cy="546099"/>
                      </a:xfrm>
                      <a:prstGeom prst="ellipse">
                        <a:avLst/>
                      </a:prstGeom>
                      <a:solidFill>
                        <a:srgbClr val="E6E6E6"/>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1071" name="Group 1070">
                      <a:extLst>
                        <a:ext uri="{FF2B5EF4-FFF2-40B4-BE49-F238E27FC236}">
                          <a16:creationId xmlns:a16="http://schemas.microsoft.com/office/drawing/2014/main" id="{01D6D12E-3F6D-42F2-9FAF-86142010BDD6}"/>
                        </a:ext>
                      </a:extLst>
                    </p:cNvPr>
                    <p:cNvGrpSpPr/>
                    <p:nvPr/>
                  </p:nvGrpSpPr>
                  <p:grpSpPr>
                    <a:xfrm>
                      <a:off x="5229625" y="5330499"/>
                      <a:ext cx="160179" cy="153308"/>
                      <a:chOff x="4870626" y="2658174"/>
                      <a:chExt cx="903709" cy="807852"/>
                    </a:xfrm>
                  </p:grpSpPr>
                  <p:grpSp>
                    <p:nvGrpSpPr>
                      <p:cNvPr id="1082" name="Group 1081">
                        <a:extLst>
                          <a:ext uri="{FF2B5EF4-FFF2-40B4-BE49-F238E27FC236}">
                            <a16:creationId xmlns:a16="http://schemas.microsoft.com/office/drawing/2014/main" id="{49331351-8710-49C3-9F92-DE426429B4A5}"/>
                          </a:ext>
                        </a:extLst>
                      </p:cNvPr>
                      <p:cNvGrpSpPr/>
                      <p:nvPr/>
                    </p:nvGrpSpPr>
                    <p:grpSpPr>
                      <a:xfrm>
                        <a:off x="4870626" y="2658174"/>
                        <a:ext cx="663633" cy="595577"/>
                        <a:chOff x="3393735" y="1575630"/>
                        <a:chExt cx="335303" cy="300917"/>
                      </a:xfrm>
                    </p:grpSpPr>
                    <p:sp>
                      <p:nvSpPr>
                        <p:cNvPr id="1087" name="Rounded Rectangle 348">
                          <a:extLst>
                            <a:ext uri="{FF2B5EF4-FFF2-40B4-BE49-F238E27FC236}">
                              <a16:creationId xmlns:a16="http://schemas.microsoft.com/office/drawing/2014/main" id="{4848FF62-A3FB-4342-8911-BD320C808B7D}"/>
                            </a:ext>
                          </a:extLst>
                        </p:cNvPr>
                        <p:cNvSpPr/>
                        <p:nvPr/>
                      </p:nvSpPr>
                      <p:spPr>
                        <a:xfrm>
                          <a:off x="3393735" y="1577644"/>
                          <a:ext cx="335303" cy="298903"/>
                        </a:xfrm>
                        <a:prstGeom prst="roundRect">
                          <a:avLst>
                            <a:gd name="adj" fmla="val 7107"/>
                          </a:avLst>
                        </a:prstGeom>
                        <a:solidFill>
                          <a:srgbClr val="4DA3CC"/>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088" name="Round Same Side Corner Rectangle 349">
                          <a:extLst>
                            <a:ext uri="{FF2B5EF4-FFF2-40B4-BE49-F238E27FC236}">
                              <a16:creationId xmlns:a16="http://schemas.microsoft.com/office/drawing/2014/main" id="{67F58985-2611-48F5-860B-B93C192630D9}"/>
                            </a:ext>
                          </a:extLst>
                        </p:cNvPr>
                        <p:cNvSpPr/>
                        <p:nvPr/>
                      </p:nvSpPr>
                      <p:spPr>
                        <a:xfrm>
                          <a:off x="3393735" y="1577644"/>
                          <a:ext cx="335303" cy="50709"/>
                        </a:xfrm>
                        <a:prstGeom prst="round2SameRect">
                          <a:avLst>
                            <a:gd name="adj1" fmla="val 26060"/>
                            <a:gd name="adj2" fmla="val 0"/>
                          </a:avLst>
                        </a:prstGeom>
                        <a:solidFill>
                          <a:srgbClr val="B9B9B9"/>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089" name="Freeform 350">
                          <a:extLst>
                            <a:ext uri="{FF2B5EF4-FFF2-40B4-BE49-F238E27FC236}">
                              <a16:creationId xmlns:a16="http://schemas.microsoft.com/office/drawing/2014/main" id="{48F2A500-0549-4C8A-B7EA-4A84B2FF7982}"/>
                            </a:ext>
                          </a:extLst>
                        </p:cNvPr>
                        <p:cNvSpPr/>
                        <p:nvPr/>
                      </p:nvSpPr>
                      <p:spPr>
                        <a:xfrm>
                          <a:off x="3519380" y="1575630"/>
                          <a:ext cx="209658" cy="298903"/>
                        </a:xfrm>
                        <a:custGeom>
                          <a:avLst/>
                          <a:gdLst>
                            <a:gd name="connsiteX0" fmla="*/ 146969 w 209658"/>
                            <a:gd name="connsiteY0" fmla="*/ 0 h 298903"/>
                            <a:gd name="connsiteX1" fmla="*/ 188415 w 209658"/>
                            <a:gd name="connsiteY1" fmla="*/ 0 h 298903"/>
                            <a:gd name="connsiteX2" fmla="*/ 209658 w 209658"/>
                            <a:gd name="connsiteY2" fmla="*/ 21243 h 298903"/>
                            <a:gd name="connsiteX3" fmla="*/ 209658 w 209658"/>
                            <a:gd name="connsiteY3" fmla="*/ 277660 h 298903"/>
                            <a:gd name="connsiteX4" fmla="*/ 188415 w 209658"/>
                            <a:gd name="connsiteY4" fmla="*/ 298903 h 298903"/>
                            <a:gd name="connsiteX5" fmla="*/ 0 w 209658"/>
                            <a:gd name="connsiteY5" fmla="*/ 298903 h 2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58" h="298903">
                              <a:moveTo>
                                <a:pt x="146969" y="0"/>
                              </a:moveTo>
                              <a:lnTo>
                                <a:pt x="188415" y="0"/>
                              </a:lnTo>
                              <a:cubicBezTo>
                                <a:pt x="200147" y="0"/>
                                <a:pt x="209658" y="9511"/>
                                <a:pt x="209658" y="21243"/>
                              </a:cubicBezTo>
                              <a:lnTo>
                                <a:pt x="209658" y="277660"/>
                              </a:lnTo>
                              <a:cubicBezTo>
                                <a:pt x="209658" y="289392"/>
                                <a:pt x="200147" y="298903"/>
                                <a:pt x="188415" y="298903"/>
                              </a:cubicBezTo>
                              <a:lnTo>
                                <a:pt x="0" y="298903"/>
                              </a:lnTo>
                              <a:close/>
                            </a:path>
                          </a:pathLst>
                        </a:custGeom>
                        <a:solidFill>
                          <a:srgbClr val="000000">
                            <a:alpha val="16863"/>
                          </a:srgbClr>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1083" name="Group 1082">
                        <a:extLst>
                          <a:ext uri="{FF2B5EF4-FFF2-40B4-BE49-F238E27FC236}">
                            <a16:creationId xmlns:a16="http://schemas.microsoft.com/office/drawing/2014/main" id="{62543C42-F957-4977-AF53-88F8D44E06EC}"/>
                          </a:ext>
                        </a:extLst>
                      </p:cNvPr>
                      <p:cNvGrpSpPr/>
                      <p:nvPr/>
                    </p:nvGrpSpPr>
                    <p:grpSpPr>
                      <a:xfrm>
                        <a:off x="5110702" y="2870449"/>
                        <a:ext cx="663633" cy="595577"/>
                        <a:chOff x="3393735" y="1575630"/>
                        <a:chExt cx="335303" cy="300917"/>
                      </a:xfrm>
                    </p:grpSpPr>
                    <p:sp>
                      <p:nvSpPr>
                        <p:cNvPr id="1084" name="Rounded Rectangle 345">
                          <a:extLst>
                            <a:ext uri="{FF2B5EF4-FFF2-40B4-BE49-F238E27FC236}">
                              <a16:creationId xmlns:a16="http://schemas.microsoft.com/office/drawing/2014/main" id="{BDCEB73B-9CC8-4048-BD2C-3B4E3F14C9D9}"/>
                            </a:ext>
                          </a:extLst>
                        </p:cNvPr>
                        <p:cNvSpPr/>
                        <p:nvPr/>
                      </p:nvSpPr>
                      <p:spPr>
                        <a:xfrm>
                          <a:off x="3393735" y="1577644"/>
                          <a:ext cx="335303" cy="298903"/>
                        </a:xfrm>
                        <a:prstGeom prst="roundRect">
                          <a:avLst>
                            <a:gd name="adj" fmla="val 7107"/>
                          </a:avLst>
                        </a:prstGeom>
                        <a:solidFill>
                          <a:srgbClr val="338ED1"/>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085" name="Round Same Side Corner Rectangle 346">
                          <a:extLst>
                            <a:ext uri="{FF2B5EF4-FFF2-40B4-BE49-F238E27FC236}">
                              <a16:creationId xmlns:a16="http://schemas.microsoft.com/office/drawing/2014/main" id="{FB8A700F-E13D-456C-A38F-0F8B2F13E4D1}"/>
                            </a:ext>
                          </a:extLst>
                        </p:cNvPr>
                        <p:cNvSpPr/>
                        <p:nvPr/>
                      </p:nvSpPr>
                      <p:spPr>
                        <a:xfrm>
                          <a:off x="3393735" y="1577644"/>
                          <a:ext cx="335303" cy="50709"/>
                        </a:xfrm>
                        <a:prstGeom prst="round2SameRect">
                          <a:avLst>
                            <a:gd name="adj1" fmla="val 26060"/>
                            <a:gd name="adj2" fmla="val 0"/>
                          </a:avLst>
                        </a:prstGeom>
                        <a:solidFill>
                          <a:srgbClr val="656565"/>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086" name="Freeform 347">
                          <a:extLst>
                            <a:ext uri="{FF2B5EF4-FFF2-40B4-BE49-F238E27FC236}">
                              <a16:creationId xmlns:a16="http://schemas.microsoft.com/office/drawing/2014/main" id="{30DA3179-1107-410D-83A4-AFAB868C2507}"/>
                            </a:ext>
                          </a:extLst>
                        </p:cNvPr>
                        <p:cNvSpPr/>
                        <p:nvPr/>
                      </p:nvSpPr>
                      <p:spPr>
                        <a:xfrm>
                          <a:off x="3519380" y="1575630"/>
                          <a:ext cx="209658" cy="298903"/>
                        </a:xfrm>
                        <a:custGeom>
                          <a:avLst/>
                          <a:gdLst>
                            <a:gd name="connsiteX0" fmla="*/ 146969 w 209658"/>
                            <a:gd name="connsiteY0" fmla="*/ 0 h 298903"/>
                            <a:gd name="connsiteX1" fmla="*/ 188415 w 209658"/>
                            <a:gd name="connsiteY1" fmla="*/ 0 h 298903"/>
                            <a:gd name="connsiteX2" fmla="*/ 209658 w 209658"/>
                            <a:gd name="connsiteY2" fmla="*/ 21243 h 298903"/>
                            <a:gd name="connsiteX3" fmla="*/ 209658 w 209658"/>
                            <a:gd name="connsiteY3" fmla="*/ 277660 h 298903"/>
                            <a:gd name="connsiteX4" fmla="*/ 188415 w 209658"/>
                            <a:gd name="connsiteY4" fmla="*/ 298903 h 298903"/>
                            <a:gd name="connsiteX5" fmla="*/ 0 w 209658"/>
                            <a:gd name="connsiteY5" fmla="*/ 298903 h 2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58" h="298903">
                              <a:moveTo>
                                <a:pt x="146969" y="0"/>
                              </a:moveTo>
                              <a:lnTo>
                                <a:pt x="188415" y="0"/>
                              </a:lnTo>
                              <a:cubicBezTo>
                                <a:pt x="200147" y="0"/>
                                <a:pt x="209658" y="9511"/>
                                <a:pt x="209658" y="21243"/>
                              </a:cubicBezTo>
                              <a:lnTo>
                                <a:pt x="209658" y="277660"/>
                              </a:lnTo>
                              <a:cubicBezTo>
                                <a:pt x="209658" y="289392"/>
                                <a:pt x="200147" y="298903"/>
                                <a:pt x="188415" y="298903"/>
                              </a:cubicBezTo>
                              <a:lnTo>
                                <a:pt x="0" y="298903"/>
                              </a:lnTo>
                              <a:close/>
                            </a:path>
                          </a:pathLst>
                        </a:custGeom>
                        <a:solidFill>
                          <a:srgbClr val="000000">
                            <a:alpha val="16863"/>
                          </a:srgbClr>
                        </a:solidFill>
                        <a:ln w="952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grpSp>
                  <p:nvGrpSpPr>
                    <p:cNvPr id="1072" name="Group 1071">
                      <a:extLst>
                        <a:ext uri="{FF2B5EF4-FFF2-40B4-BE49-F238E27FC236}">
                          <a16:creationId xmlns:a16="http://schemas.microsoft.com/office/drawing/2014/main" id="{0B76ED6E-F14B-4777-856D-F804ACBE2209}"/>
                        </a:ext>
                      </a:extLst>
                    </p:cNvPr>
                    <p:cNvGrpSpPr/>
                    <p:nvPr/>
                  </p:nvGrpSpPr>
                  <p:grpSpPr>
                    <a:xfrm>
                      <a:off x="5859812" y="5327089"/>
                      <a:ext cx="157983" cy="145053"/>
                      <a:chOff x="-594587" y="2618847"/>
                      <a:chExt cx="651178" cy="597883"/>
                    </a:xfrm>
                  </p:grpSpPr>
                  <p:grpSp>
                    <p:nvGrpSpPr>
                      <p:cNvPr id="1076" name="Group 1075">
                        <a:extLst>
                          <a:ext uri="{FF2B5EF4-FFF2-40B4-BE49-F238E27FC236}">
                            <a16:creationId xmlns:a16="http://schemas.microsoft.com/office/drawing/2014/main" id="{A6E889EF-3427-4193-AF93-9514AB65AAC7}"/>
                          </a:ext>
                        </a:extLst>
                      </p:cNvPr>
                      <p:cNvGrpSpPr/>
                      <p:nvPr/>
                    </p:nvGrpSpPr>
                    <p:grpSpPr>
                      <a:xfrm>
                        <a:off x="-594587" y="2806085"/>
                        <a:ext cx="608911" cy="410645"/>
                        <a:chOff x="-594587" y="2806085"/>
                        <a:chExt cx="608911" cy="410645"/>
                      </a:xfrm>
                    </p:grpSpPr>
                    <p:sp>
                      <p:nvSpPr>
                        <p:cNvPr id="1078" name="Rectangle 1077">
                          <a:extLst>
                            <a:ext uri="{FF2B5EF4-FFF2-40B4-BE49-F238E27FC236}">
                              <a16:creationId xmlns:a16="http://schemas.microsoft.com/office/drawing/2014/main" id="{B1AE7389-0F94-45BF-99C3-9049DF0E8C99}"/>
                            </a:ext>
                          </a:extLst>
                        </p:cNvPr>
                        <p:cNvSpPr/>
                        <p:nvPr/>
                      </p:nvSpPr>
                      <p:spPr bwMode="auto">
                        <a:xfrm>
                          <a:off x="-594587" y="2885997"/>
                          <a:ext cx="113086" cy="330733"/>
                        </a:xfrm>
                        <a:prstGeom prst="rect">
                          <a:avLst/>
                        </a:prstGeom>
                        <a:solidFill>
                          <a:srgbClr val="0071C5"/>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079" name="Rectangle 1078">
                          <a:extLst>
                            <a:ext uri="{FF2B5EF4-FFF2-40B4-BE49-F238E27FC236}">
                              <a16:creationId xmlns:a16="http://schemas.microsoft.com/office/drawing/2014/main" id="{B620E870-425F-4C45-AFE6-91200AB36C13}"/>
                            </a:ext>
                          </a:extLst>
                        </p:cNvPr>
                        <p:cNvSpPr/>
                        <p:nvPr/>
                      </p:nvSpPr>
                      <p:spPr bwMode="auto">
                        <a:xfrm>
                          <a:off x="-429312" y="2806085"/>
                          <a:ext cx="113086" cy="410645"/>
                        </a:xfrm>
                        <a:prstGeom prst="rect">
                          <a:avLst/>
                        </a:prstGeom>
                        <a:solidFill>
                          <a:srgbClr val="5EB5D9"/>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080" name="Rectangle 1079">
                          <a:extLst>
                            <a:ext uri="{FF2B5EF4-FFF2-40B4-BE49-F238E27FC236}">
                              <a16:creationId xmlns:a16="http://schemas.microsoft.com/office/drawing/2014/main" id="{0F3D7633-BCC0-4B96-A3F4-A84FD1F38446}"/>
                            </a:ext>
                          </a:extLst>
                        </p:cNvPr>
                        <p:cNvSpPr/>
                        <p:nvPr/>
                      </p:nvSpPr>
                      <p:spPr bwMode="auto">
                        <a:xfrm>
                          <a:off x="-98762" y="2837090"/>
                          <a:ext cx="113086" cy="379640"/>
                        </a:xfrm>
                        <a:prstGeom prst="rect">
                          <a:avLst/>
                        </a:prstGeom>
                        <a:solidFill>
                          <a:srgbClr val="0071C5"/>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081" name="Rectangle 1080">
                          <a:extLst>
                            <a:ext uri="{FF2B5EF4-FFF2-40B4-BE49-F238E27FC236}">
                              <a16:creationId xmlns:a16="http://schemas.microsoft.com/office/drawing/2014/main" id="{CD542345-6C54-4469-A872-7B6E6E745E11}"/>
                            </a:ext>
                          </a:extLst>
                        </p:cNvPr>
                        <p:cNvSpPr/>
                        <p:nvPr/>
                      </p:nvSpPr>
                      <p:spPr bwMode="auto">
                        <a:xfrm>
                          <a:off x="-264037" y="2943226"/>
                          <a:ext cx="113086" cy="273504"/>
                        </a:xfrm>
                        <a:prstGeom prst="rect">
                          <a:avLst/>
                        </a:prstGeom>
                        <a:solidFill>
                          <a:srgbClr val="3998C5"/>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grpSp>
                  <p:sp>
                    <p:nvSpPr>
                      <p:cNvPr id="1077" name="Freeform: Shape 1076">
                        <a:extLst>
                          <a:ext uri="{FF2B5EF4-FFF2-40B4-BE49-F238E27FC236}">
                            <a16:creationId xmlns:a16="http://schemas.microsoft.com/office/drawing/2014/main" id="{AB4590AC-42A3-480D-96DA-10419B77FCD8}"/>
                          </a:ext>
                        </a:extLst>
                      </p:cNvPr>
                      <p:cNvSpPr/>
                      <p:nvPr/>
                    </p:nvSpPr>
                    <p:spPr bwMode="auto">
                      <a:xfrm>
                        <a:off x="-594587" y="2618847"/>
                        <a:ext cx="651178" cy="269876"/>
                      </a:xfrm>
                      <a:custGeom>
                        <a:avLst/>
                        <a:gdLst>
                          <a:gd name="connsiteX0" fmla="*/ 599546 w 651178"/>
                          <a:gd name="connsiteY0" fmla="*/ 0 h 269876"/>
                          <a:gd name="connsiteX1" fmla="*/ 651178 w 651178"/>
                          <a:gd name="connsiteY1" fmla="*/ 51633 h 269876"/>
                          <a:gd name="connsiteX2" fmla="*/ 599546 w 651178"/>
                          <a:gd name="connsiteY2" fmla="*/ 103264 h 269876"/>
                          <a:gd name="connsiteX3" fmla="*/ 586355 w 651178"/>
                          <a:gd name="connsiteY3" fmla="*/ 100601 h 269876"/>
                          <a:gd name="connsiteX4" fmla="*/ 447696 w 651178"/>
                          <a:gd name="connsiteY4" fmla="*/ 207457 h 269876"/>
                          <a:gd name="connsiteX5" fmla="*/ 452164 w 651178"/>
                          <a:gd name="connsiteY5" fmla="*/ 218244 h 269876"/>
                          <a:gd name="connsiteX6" fmla="*/ 400532 w 651178"/>
                          <a:gd name="connsiteY6" fmla="*/ 269876 h 269876"/>
                          <a:gd name="connsiteX7" fmla="*/ 348900 w 651178"/>
                          <a:gd name="connsiteY7" fmla="*/ 218244 h 269876"/>
                          <a:gd name="connsiteX8" fmla="*/ 349905 w 651178"/>
                          <a:gd name="connsiteY8" fmla="*/ 215818 h 269876"/>
                          <a:gd name="connsiteX9" fmla="*/ 283152 w 651178"/>
                          <a:gd name="connsiteY9" fmla="*/ 100199 h 269876"/>
                          <a:gd name="connsiteX10" fmla="*/ 267969 w 651178"/>
                          <a:gd name="connsiteY10" fmla="*/ 103265 h 269876"/>
                          <a:gd name="connsiteX11" fmla="*/ 247871 w 651178"/>
                          <a:gd name="connsiteY11" fmla="*/ 99207 h 269876"/>
                          <a:gd name="connsiteX12" fmla="*/ 247047 w 651178"/>
                          <a:gd name="connsiteY12" fmla="*/ 98651 h 269876"/>
                          <a:gd name="connsiteX13" fmla="*/ 94480 w 651178"/>
                          <a:gd name="connsiteY13" fmla="*/ 216225 h 269876"/>
                          <a:gd name="connsiteX14" fmla="*/ 88142 w 651178"/>
                          <a:gd name="connsiteY14" fmla="*/ 231527 h 269876"/>
                          <a:gd name="connsiteX15" fmla="*/ 51633 w 651178"/>
                          <a:gd name="connsiteY15" fmla="*/ 246650 h 269876"/>
                          <a:gd name="connsiteX16" fmla="*/ 0 w 651178"/>
                          <a:gd name="connsiteY16" fmla="*/ 195018 h 269876"/>
                          <a:gd name="connsiteX17" fmla="*/ 51633 w 651178"/>
                          <a:gd name="connsiteY17" fmla="*/ 143386 h 269876"/>
                          <a:gd name="connsiteX18" fmla="*/ 88142 w 651178"/>
                          <a:gd name="connsiteY18" fmla="*/ 158508 h 269876"/>
                          <a:gd name="connsiteX19" fmla="*/ 93300 w 651178"/>
                          <a:gd name="connsiteY19" fmla="*/ 170959 h 269876"/>
                          <a:gd name="connsiteX20" fmla="*/ 224032 w 651178"/>
                          <a:gd name="connsiteY20" fmla="*/ 70210 h 269876"/>
                          <a:gd name="connsiteX21" fmla="*/ 216336 w 651178"/>
                          <a:gd name="connsiteY21" fmla="*/ 51632 h 269876"/>
                          <a:gd name="connsiteX22" fmla="*/ 267969 w 651178"/>
                          <a:gd name="connsiteY22" fmla="*/ 1 h 269876"/>
                          <a:gd name="connsiteX23" fmla="*/ 319601 w 651178"/>
                          <a:gd name="connsiteY23" fmla="*/ 51632 h 269876"/>
                          <a:gd name="connsiteX24" fmla="*/ 310305 w 651178"/>
                          <a:gd name="connsiteY24" fmla="*/ 74076 h 269876"/>
                          <a:gd name="connsiteX25" fmla="*/ 370097 w 651178"/>
                          <a:gd name="connsiteY25" fmla="*/ 177639 h 269876"/>
                          <a:gd name="connsiteX26" fmla="*/ 380434 w 651178"/>
                          <a:gd name="connsiteY26" fmla="*/ 170670 h 269876"/>
                          <a:gd name="connsiteX27" fmla="*/ 400532 w 651178"/>
                          <a:gd name="connsiteY27" fmla="*/ 166612 h 269876"/>
                          <a:gd name="connsiteX28" fmla="*/ 420630 w 651178"/>
                          <a:gd name="connsiteY28" fmla="*/ 170670 h 269876"/>
                          <a:gd name="connsiteX29" fmla="*/ 428568 w 651178"/>
                          <a:gd name="connsiteY29" fmla="*/ 176022 h 269876"/>
                          <a:gd name="connsiteX30" fmla="*/ 558092 w 651178"/>
                          <a:gd name="connsiteY30" fmla="*/ 76205 h 269876"/>
                          <a:gd name="connsiteX31" fmla="*/ 547914 w 651178"/>
                          <a:gd name="connsiteY31" fmla="*/ 51633 h 269876"/>
                          <a:gd name="connsiteX32" fmla="*/ 599546 w 651178"/>
                          <a:gd name="connsiteY32" fmla="*/ 0 h 269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51178" h="269876">
                            <a:moveTo>
                              <a:pt x="599546" y="0"/>
                            </a:moveTo>
                            <a:cubicBezTo>
                              <a:pt x="628062" y="0"/>
                              <a:pt x="651178" y="23116"/>
                              <a:pt x="651178" y="51633"/>
                            </a:cubicBezTo>
                            <a:cubicBezTo>
                              <a:pt x="651178" y="80148"/>
                              <a:pt x="628062" y="103264"/>
                              <a:pt x="599546" y="103264"/>
                            </a:cubicBezTo>
                            <a:lnTo>
                              <a:pt x="586355" y="100601"/>
                            </a:lnTo>
                            <a:lnTo>
                              <a:pt x="447696" y="207457"/>
                            </a:lnTo>
                            <a:lnTo>
                              <a:pt x="452164" y="218244"/>
                            </a:lnTo>
                            <a:cubicBezTo>
                              <a:pt x="452164" y="246760"/>
                              <a:pt x="429048" y="269876"/>
                              <a:pt x="400532" y="269876"/>
                            </a:cubicBezTo>
                            <a:cubicBezTo>
                              <a:pt x="372016" y="269876"/>
                              <a:pt x="348900" y="246760"/>
                              <a:pt x="348900" y="218244"/>
                            </a:cubicBezTo>
                            <a:lnTo>
                              <a:pt x="349905" y="215818"/>
                            </a:lnTo>
                            <a:lnTo>
                              <a:pt x="283152" y="100199"/>
                            </a:lnTo>
                            <a:lnTo>
                              <a:pt x="267969" y="103265"/>
                            </a:lnTo>
                            <a:cubicBezTo>
                              <a:pt x="260840" y="103264"/>
                              <a:pt x="254048" y="101819"/>
                              <a:pt x="247871" y="99207"/>
                            </a:cubicBezTo>
                            <a:lnTo>
                              <a:pt x="247047" y="98651"/>
                            </a:lnTo>
                            <a:lnTo>
                              <a:pt x="94480" y="216225"/>
                            </a:lnTo>
                            <a:lnTo>
                              <a:pt x="88142" y="231527"/>
                            </a:lnTo>
                            <a:cubicBezTo>
                              <a:pt x="78799" y="240871"/>
                              <a:pt x="65891" y="246650"/>
                              <a:pt x="51633" y="246650"/>
                            </a:cubicBezTo>
                            <a:cubicBezTo>
                              <a:pt x="23116" y="246650"/>
                              <a:pt x="0" y="223534"/>
                              <a:pt x="0" y="195018"/>
                            </a:cubicBezTo>
                            <a:cubicBezTo>
                              <a:pt x="1" y="166502"/>
                              <a:pt x="23117" y="143386"/>
                              <a:pt x="51633" y="143386"/>
                            </a:cubicBezTo>
                            <a:cubicBezTo>
                              <a:pt x="65891" y="143386"/>
                              <a:pt x="78799" y="149164"/>
                              <a:pt x="88142" y="158508"/>
                            </a:cubicBezTo>
                            <a:lnTo>
                              <a:pt x="93300" y="170959"/>
                            </a:lnTo>
                            <a:lnTo>
                              <a:pt x="224032" y="70210"/>
                            </a:lnTo>
                            <a:lnTo>
                              <a:pt x="216336" y="51632"/>
                            </a:lnTo>
                            <a:cubicBezTo>
                              <a:pt x="216337" y="23117"/>
                              <a:pt x="239453" y="1"/>
                              <a:pt x="267969" y="1"/>
                            </a:cubicBezTo>
                            <a:cubicBezTo>
                              <a:pt x="296485" y="1"/>
                              <a:pt x="319601" y="23117"/>
                              <a:pt x="319601" y="51632"/>
                            </a:cubicBezTo>
                            <a:lnTo>
                              <a:pt x="310305" y="74076"/>
                            </a:lnTo>
                            <a:lnTo>
                              <a:pt x="370097" y="177639"/>
                            </a:lnTo>
                            <a:lnTo>
                              <a:pt x="380434" y="170670"/>
                            </a:lnTo>
                            <a:cubicBezTo>
                              <a:pt x="386612" y="168057"/>
                              <a:pt x="393403" y="166612"/>
                              <a:pt x="400532" y="166612"/>
                            </a:cubicBezTo>
                            <a:cubicBezTo>
                              <a:pt x="407661" y="166612"/>
                              <a:pt x="414453" y="168057"/>
                              <a:pt x="420630" y="170670"/>
                            </a:cubicBezTo>
                            <a:lnTo>
                              <a:pt x="428568" y="176022"/>
                            </a:lnTo>
                            <a:lnTo>
                              <a:pt x="558092" y="76205"/>
                            </a:lnTo>
                            <a:lnTo>
                              <a:pt x="547914" y="51633"/>
                            </a:lnTo>
                            <a:cubicBezTo>
                              <a:pt x="547913" y="23117"/>
                              <a:pt x="571030" y="0"/>
                              <a:pt x="599546" y="0"/>
                            </a:cubicBezTo>
                            <a:close/>
                          </a:path>
                        </a:pathLst>
                      </a:custGeom>
                      <a:solidFill>
                        <a:srgbClr val="804896"/>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grpSp>
                <p:grpSp>
                  <p:nvGrpSpPr>
                    <p:cNvPr id="1073" name="Group 1072">
                      <a:extLst>
                        <a:ext uri="{FF2B5EF4-FFF2-40B4-BE49-F238E27FC236}">
                          <a16:creationId xmlns:a16="http://schemas.microsoft.com/office/drawing/2014/main" id="{89C23E60-EDF2-4193-B71E-945CCA17FAF8}"/>
                        </a:ext>
                      </a:extLst>
                    </p:cNvPr>
                    <p:cNvGrpSpPr>
                      <a:grpSpLocks noChangeAspect="1"/>
                    </p:cNvGrpSpPr>
                    <p:nvPr/>
                  </p:nvGrpSpPr>
                  <p:grpSpPr>
                    <a:xfrm>
                      <a:off x="4877410" y="5333954"/>
                      <a:ext cx="186971" cy="155137"/>
                      <a:chOff x="6017424" y="5359615"/>
                      <a:chExt cx="186971" cy="155137"/>
                    </a:xfrm>
                  </p:grpSpPr>
                  <p:sp>
                    <p:nvSpPr>
                      <p:cNvPr id="1074" name="Heart 1073">
                        <a:extLst>
                          <a:ext uri="{FF2B5EF4-FFF2-40B4-BE49-F238E27FC236}">
                            <a16:creationId xmlns:a16="http://schemas.microsoft.com/office/drawing/2014/main" id="{E0F2F012-302B-491D-BDBA-A3C3487BB7F1}"/>
                          </a:ext>
                        </a:extLst>
                      </p:cNvPr>
                      <p:cNvSpPr/>
                      <p:nvPr/>
                    </p:nvSpPr>
                    <p:spPr bwMode="auto">
                      <a:xfrm>
                        <a:off x="6017424" y="5359615"/>
                        <a:ext cx="186971" cy="155137"/>
                      </a:xfrm>
                      <a:prstGeom prst="heart">
                        <a:avLst/>
                      </a:prstGeom>
                      <a:solidFill>
                        <a:srgbClr val="C7434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sp>
                    <p:nvSpPr>
                      <p:cNvPr id="1075" name="Freeform: Shape 1074">
                        <a:extLst>
                          <a:ext uri="{FF2B5EF4-FFF2-40B4-BE49-F238E27FC236}">
                            <a16:creationId xmlns:a16="http://schemas.microsoft.com/office/drawing/2014/main" id="{21068747-0306-4AEB-8273-21CC8755A2CA}"/>
                          </a:ext>
                        </a:extLst>
                      </p:cNvPr>
                      <p:cNvSpPr/>
                      <p:nvPr/>
                    </p:nvSpPr>
                    <p:spPr bwMode="auto">
                      <a:xfrm>
                        <a:off x="6082263" y="5368123"/>
                        <a:ext cx="122132" cy="146629"/>
                      </a:xfrm>
                      <a:custGeom>
                        <a:avLst/>
                        <a:gdLst>
                          <a:gd name="connsiteX0" fmla="*/ 99825 w 122132"/>
                          <a:gd name="connsiteY0" fmla="*/ 0 h 146629"/>
                          <a:gd name="connsiteX1" fmla="*/ 114147 w 122132"/>
                          <a:gd name="connsiteY1" fmla="*/ 10884 h 146629"/>
                          <a:gd name="connsiteX2" fmla="*/ 27965 w 122132"/>
                          <a:gd name="connsiteY2" fmla="*/ 146629 h 146629"/>
                          <a:gd name="connsiteX3" fmla="*/ 0 w 122132"/>
                          <a:gd name="connsiteY3" fmla="*/ 127792 h 146629"/>
                        </a:gdLst>
                        <a:ahLst/>
                        <a:cxnLst>
                          <a:cxn ang="0">
                            <a:pos x="connsiteX0" y="connsiteY0"/>
                          </a:cxn>
                          <a:cxn ang="0">
                            <a:pos x="connsiteX1" y="connsiteY1"/>
                          </a:cxn>
                          <a:cxn ang="0">
                            <a:pos x="connsiteX2" y="connsiteY2"/>
                          </a:cxn>
                          <a:cxn ang="0">
                            <a:pos x="connsiteX3" y="connsiteY3"/>
                          </a:cxn>
                        </a:cxnLst>
                        <a:rect l="l" t="t" r="r" b="b"/>
                        <a:pathLst>
                          <a:path w="122132" h="146629">
                            <a:moveTo>
                              <a:pt x="99825" y="0"/>
                            </a:moveTo>
                            <a:lnTo>
                              <a:pt x="114147" y="10884"/>
                            </a:lnTo>
                            <a:cubicBezTo>
                              <a:pt x="133136" y="36741"/>
                              <a:pt x="123398" y="88453"/>
                              <a:pt x="27965" y="146629"/>
                            </a:cubicBezTo>
                            <a:lnTo>
                              <a:pt x="0" y="127792"/>
                            </a:lnTo>
                            <a:close/>
                          </a:path>
                        </a:pathLst>
                      </a:custGeom>
                      <a:solidFill>
                        <a:srgbClr val="B9141A"/>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p:txBody>
                  </p:sp>
                </p:grpSp>
              </p:grpSp>
            </p:grpSp>
          </p:grpSp>
        </p:grpSp>
        <p:grpSp>
          <p:nvGrpSpPr>
            <p:cNvPr id="1054" name="Group 1053">
              <a:extLst>
                <a:ext uri="{FF2B5EF4-FFF2-40B4-BE49-F238E27FC236}">
                  <a16:creationId xmlns:a16="http://schemas.microsoft.com/office/drawing/2014/main" id="{7C6998A7-5A72-44E0-B70A-B3839D04409B}"/>
                </a:ext>
              </a:extLst>
            </p:cNvPr>
            <p:cNvGrpSpPr/>
            <p:nvPr/>
          </p:nvGrpSpPr>
          <p:grpSpPr>
            <a:xfrm>
              <a:off x="7762318" y="5521310"/>
              <a:ext cx="933856" cy="764488"/>
              <a:chOff x="7762318" y="5521310"/>
              <a:chExt cx="933856" cy="764488"/>
            </a:xfrm>
          </p:grpSpPr>
          <p:sp>
            <p:nvSpPr>
              <p:cNvPr id="1055" name="Freeform 110">
                <a:extLst>
                  <a:ext uri="{FF2B5EF4-FFF2-40B4-BE49-F238E27FC236}">
                    <a16:creationId xmlns:a16="http://schemas.microsoft.com/office/drawing/2014/main" id="{068DD1EE-A411-4201-81A2-E95CB09989FA}"/>
                  </a:ext>
                </a:extLst>
              </p:cNvPr>
              <p:cNvSpPr>
                <a:spLocks noChangeAspect="1"/>
              </p:cNvSpPr>
              <p:nvPr/>
            </p:nvSpPr>
            <p:spPr>
              <a:xfrm>
                <a:off x="8030897" y="5644519"/>
                <a:ext cx="384251" cy="333870"/>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accent1"/>
              </a:solidFill>
              <a:ln w="10795" cap="flat" cmpd="sng" algn="ctr">
                <a:noFill/>
                <a:prstDash val="solid"/>
              </a:ln>
              <a:effectLst/>
            </p:spPr>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Semilight"/>
                  <a:ea typeface="+mn-ea"/>
                  <a:cs typeface="+mn-cs"/>
                </a:endParaRPr>
              </a:p>
            </p:txBody>
          </p:sp>
          <p:sp>
            <p:nvSpPr>
              <p:cNvPr id="1056" name="Rectangle 250">
                <a:extLst>
                  <a:ext uri="{FF2B5EF4-FFF2-40B4-BE49-F238E27FC236}">
                    <a16:creationId xmlns:a16="http://schemas.microsoft.com/office/drawing/2014/main" id="{36852D76-07AA-483C-B751-5FC978C4700F}"/>
                  </a:ext>
                </a:extLst>
              </p:cNvPr>
              <p:cNvSpPr>
                <a:spLocks noChangeArrowheads="1"/>
              </p:cNvSpPr>
              <p:nvPr/>
            </p:nvSpPr>
            <p:spPr bwMode="auto">
              <a:xfrm>
                <a:off x="7894406" y="6002007"/>
                <a:ext cx="65723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32417"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gradFill>
                      <a:gsLst>
                        <a:gs pos="92001">
                          <a:srgbClr val="0D0D0D"/>
                        </a:gs>
                        <a:gs pos="1250">
                          <a:srgbClr val="0D0D0D"/>
                        </a:gs>
                      </a:gsLst>
                      <a:lin ang="5400000" scaled="0"/>
                    </a:gradFill>
                    <a:effectLst/>
                    <a:uLnTx/>
                    <a:uFillTx/>
                    <a:latin typeface="Segoe UI" panose="020B0502040204020203" pitchFamily="34" charset="0"/>
                    <a:ea typeface="+mn-ea"/>
                    <a:cs typeface="Segoe UI" panose="020B0502040204020203" pitchFamily="34" charset="0"/>
                  </a:rPr>
                  <a:t>Azure ML</a:t>
                </a:r>
              </a:p>
            </p:txBody>
          </p:sp>
          <p:sp>
            <p:nvSpPr>
              <p:cNvPr id="1057" name="Rectangle 1056">
                <a:extLst>
                  <a:ext uri="{FF2B5EF4-FFF2-40B4-BE49-F238E27FC236}">
                    <a16:creationId xmlns:a16="http://schemas.microsoft.com/office/drawing/2014/main" id="{A56D711C-C44C-47E4-ADDD-72C60B3958B7}"/>
                  </a:ext>
                </a:extLst>
              </p:cNvPr>
              <p:cNvSpPr/>
              <p:nvPr/>
            </p:nvSpPr>
            <p:spPr bwMode="auto">
              <a:xfrm>
                <a:off x="7762318" y="5521310"/>
                <a:ext cx="933856" cy="764488"/>
              </a:xfrm>
              <a:prstGeom prst="rect">
                <a:avLst/>
              </a:prstGeom>
              <a:noFill/>
              <a:ln w="12700" cap="flat" cmpd="sng" algn="ctr">
                <a:solidFill>
                  <a:srgbClr val="0070C0"/>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4070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9F7AB87-8B37-4344-87B8-152792B3699A}"/>
              </a:ext>
            </a:extLst>
          </p:cNvPr>
          <p:cNvGrpSpPr/>
          <p:nvPr/>
        </p:nvGrpSpPr>
        <p:grpSpPr>
          <a:xfrm>
            <a:off x="5847" y="0"/>
            <a:ext cx="6096000" cy="6858000"/>
            <a:chOff x="-1393484" y="25434"/>
            <a:chExt cx="6096000" cy="6858000"/>
          </a:xfrm>
        </p:grpSpPr>
        <p:pic>
          <p:nvPicPr>
            <p:cNvPr id="60" name="Picture 59">
              <a:extLst>
                <a:ext uri="{FF2B5EF4-FFF2-40B4-BE49-F238E27FC236}">
                  <a16:creationId xmlns:a16="http://schemas.microsoft.com/office/drawing/2014/main" id="{6D4C17CD-5707-43E6-AC2F-CF9E7D103507}"/>
                </a:ext>
              </a:extLst>
            </p:cNvPr>
            <p:cNvPicPr>
              <a:picLocks noChangeAspect="1"/>
            </p:cNvPicPr>
            <p:nvPr/>
          </p:nvPicPr>
          <p:blipFill rotWithShape="1">
            <a:blip r:embed="rId3"/>
            <a:srcRect l="5334" r="44301"/>
            <a:stretch/>
          </p:blipFill>
          <p:spPr>
            <a:xfrm>
              <a:off x="-1393484" y="25434"/>
              <a:ext cx="6096000" cy="6858000"/>
            </a:xfrm>
            <a:prstGeom prst="rect">
              <a:avLst/>
            </a:prstGeom>
          </p:spPr>
        </p:pic>
        <p:grpSp>
          <p:nvGrpSpPr>
            <p:cNvPr id="63" name="Group 62">
              <a:extLst>
                <a:ext uri="{FF2B5EF4-FFF2-40B4-BE49-F238E27FC236}">
                  <a16:creationId xmlns:a16="http://schemas.microsoft.com/office/drawing/2014/main" id="{06B104CD-6E54-4F54-83EA-FAB7286621FC}"/>
                </a:ext>
              </a:extLst>
            </p:cNvPr>
            <p:cNvGrpSpPr/>
            <p:nvPr/>
          </p:nvGrpSpPr>
          <p:grpSpPr>
            <a:xfrm>
              <a:off x="-479084" y="4227749"/>
              <a:ext cx="4267201" cy="2545867"/>
              <a:chOff x="6794638" y="2511283"/>
              <a:chExt cx="5087209" cy="4007213"/>
            </a:xfrm>
          </p:grpSpPr>
          <p:grpSp>
            <p:nvGrpSpPr>
              <p:cNvPr id="64" name="Group 63">
                <a:extLst>
                  <a:ext uri="{FF2B5EF4-FFF2-40B4-BE49-F238E27FC236}">
                    <a16:creationId xmlns:a16="http://schemas.microsoft.com/office/drawing/2014/main" id="{071E9B94-DBC7-47ED-BBAE-2E44AABE2779}"/>
                  </a:ext>
                </a:extLst>
              </p:cNvPr>
              <p:cNvGrpSpPr/>
              <p:nvPr/>
            </p:nvGrpSpPr>
            <p:grpSpPr>
              <a:xfrm>
                <a:off x="7837840" y="3544332"/>
                <a:ext cx="914400" cy="914400"/>
                <a:chOff x="7512419" y="3544332"/>
                <a:chExt cx="914400" cy="914400"/>
              </a:xfrm>
            </p:grpSpPr>
            <p:sp>
              <p:nvSpPr>
                <p:cNvPr id="149" name="Rectangle 148">
                  <a:extLst>
                    <a:ext uri="{FF2B5EF4-FFF2-40B4-BE49-F238E27FC236}">
                      <a16:creationId xmlns:a16="http://schemas.microsoft.com/office/drawing/2014/main" id="{09187E69-0FF2-48FC-A75A-D959793618CE}"/>
                    </a:ext>
                  </a:extLst>
                </p:cNvPr>
                <p:cNvSpPr/>
                <p:nvPr/>
              </p:nvSpPr>
              <p:spPr bwMode="auto">
                <a:xfrm>
                  <a:off x="7512419" y="3544332"/>
                  <a:ext cx="914400" cy="914400"/>
                </a:xfrm>
                <a:prstGeom prst="rect">
                  <a:avLst/>
                </a:pr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struction</a:t>
                  </a:r>
                </a:p>
              </p:txBody>
            </p:sp>
            <p:sp>
              <p:nvSpPr>
                <p:cNvPr id="150" name="construction" title="Icon of a construction helmet">
                  <a:extLst>
                    <a:ext uri="{FF2B5EF4-FFF2-40B4-BE49-F238E27FC236}">
                      <a16:creationId xmlns:a16="http://schemas.microsoft.com/office/drawing/2014/main" id="{F758E054-5E65-41C2-A0FC-BC3E4EF3F5B7}"/>
                    </a:ext>
                  </a:extLst>
                </p:cNvPr>
                <p:cNvSpPr>
                  <a:spLocks noChangeAspect="1" noEditPoints="1"/>
                </p:cNvSpPr>
                <p:nvPr/>
              </p:nvSpPr>
              <p:spPr bwMode="auto">
                <a:xfrm>
                  <a:off x="7763879" y="3846145"/>
                  <a:ext cx="411480" cy="259275"/>
                </a:xfrm>
                <a:custGeom>
                  <a:avLst/>
                  <a:gdLst>
                    <a:gd name="T0" fmla="*/ 253 w 286"/>
                    <a:gd name="T1" fmla="*/ 150 h 180"/>
                    <a:gd name="T2" fmla="*/ 286 w 286"/>
                    <a:gd name="T3" fmla="*/ 150 h 180"/>
                    <a:gd name="T4" fmla="*/ 286 w 286"/>
                    <a:gd name="T5" fmla="*/ 180 h 180"/>
                    <a:gd name="T6" fmla="*/ 0 w 286"/>
                    <a:gd name="T7" fmla="*/ 180 h 180"/>
                    <a:gd name="T8" fmla="*/ 0 w 286"/>
                    <a:gd name="T9" fmla="*/ 150 h 180"/>
                    <a:gd name="T10" fmla="*/ 33 w 286"/>
                    <a:gd name="T11" fmla="*/ 150 h 180"/>
                    <a:gd name="T12" fmla="*/ 143 w 286"/>
                    <a:gd name="T13" fmla="*/ 0 h 180"/>
                    <a:gd name="T14" fmla="*/ 143 w 286"/>
                    <a:gd name="T15" fmla="*/ 54 h 180"/>
                    <a:gd name="T16" fmla="*/ 177 w 286"/>
                    <a:gd name="T17" fmla="*/ 70 h 180"/>
                    <a:gd name="T18" fmla="*/ 177 w 286"/>
                    <a:gd name="T19" fmla="*/ 0 h 180"/>
                    <a:gd name="T20" fmla="*/ 108 w 286"/>
                    <a:gd name="T21" fmla="*/ 0 h 180"/>
                    <a:gd name="T22" fmla="*/ 108 w 286"/>
                    <a:gd name="T23" fmla="*/ 70 h 180"/>
                    <a:gd name="T24" fmla="*/ 69 w 286"/>
                    <a:gd name="T25" fmla="*/ 150 h 180"/>
                    <a:gd name="T26" fmla="*/ 217 w 286"/>
                    <a:gd name="T27" fmla="*/ 150 h 180"/>
                    <a:gd name="T28" fmla="*/ 265 w 286"/>
                    <a:gd name="T29" fmla="*/ 150 h 180"/>
                    <a:gd name="T30" fmla="*/ 266 w 286"/>
                    <a:gd name="T31" fmla="*/ 145 h 180"/>
                    <a:gd name="T32" fmla="*/ 177 w 286"/>
                    <a:gd name="T33" fmla="*/ 27 h 180"/>
                    <a:gd name="T34" fmla="*/ 108 w 286"/>
                    <a:gd name="T35" fmla="*/ 26 h 180"/>
                    <a:gd name="T36" fmla="*/ 18 w 286"/>
                    <a:gd name="T37" fmla="*/ 145 h 180"/>
                    <a:gd name="T38" fmla="*/ 19 w 286"/>
                    <a:gd name="T39" fmla="*/ 150 h 180"/>
                    <a:gd name="T40" fmla="*/ 142 w 286"/>
                    <a:gd name="T41" fmla="*/ 90 h 180"/>
                    <a:gd name="T42" fmla="*/ 122 w 286"/>
                    <a:gd name="T43" fmla="*/ 110 h 180"/>
                    <a:gd name="T44" fmla="*/ 142 w 286"/>
                    <a:gd name="T45" fmla="*/ 130 h 180"/>
                    <a:gd name="T46" fmla="*/ 162 w 286"/>
                    <a:gd name="T47" fmla="*/ 110 h 180"/>
                    <a:gd name="T48" fmla="*/ 142 w 286"/>
                    <a:gd name="T49"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6" h="180">
                      <a:moveTo>
                        <a:pt x="253" y="150"/>
                      </a:moveTo>
                      <a:cubicBezTo>
                        <a:pt x="286" y="150"/>
                        <a:pt x="286" y="150"/>
                        <a:pt x="286" y="150"/>
                      </a:cubicBezTo>
                      <a:cubicBezTo>
                        <a:pt x="286" y="180"/>
                        <a:pt x="286" y="180"/>
                        <a:pt x="286" y="180"/>
                      </a:cubicBezTo>
                      <a:cubicBezTo>
                        <a:pt x="0" y="180"/>
                        <a:pt x="0" y="180"/>
                        <a:pt x="0" y="180"/>
                      </a:cubicBezTo>
                      <a:cubicBezTo>
                        <a:pt x="0" y="150"/>
                        <a:pt x="0" y="150"/>
                        <a:pt x="0" y="150"/>
                      </a:cubicBezTo>
                      <a:cubicBezTo>
                        <a:pt x="33" y="150"/>
                        <a:pt x="33" y="150"/>
                        <a:pt x="33" y="150"/>
                      </a:cubicBezTo>
                      <a:moveTo>
                        <a:pt x="143" y="0"/>
                      </a:moveTo>
                      <a:cubicBezTo>
                        <a:pt x="143" y="54"/>
                        <a:pt x="143" y="54"/>
                        <a:pt x="143" y="54"/>
                      </a:cubicBezTo>
                      <a:moveTo>
                        <a:pt x="177" y="70"/>
                      </a:moveTo>
                      <a:cubicBezTo>
                        <a:pt x="177" y="0"/>
                        <a:pt x="177" y="0"/>
                        <a:pt x="177" y="0"/>
                      </a:cubicBezTo>
                      <a:cubicBezTo>
                        <a:pt x="108" y="0"/>
                        <a:pt x="108" y="0"/>
                        <a:pt x="108" y="0"/>
                      </a:cubicBezTo>
                      <a:cubicBezTo>
                        <a:pt x="108" y="70"/>
                        <a:pt x="108" y="70"/>
                        <a:pt x="108" y="70"/>
                      </a:cubicBezTo>
                      <a:moveTo>
                        <a:pt x="69" y="150"/>
                      </a:moveTo>
                      <a:cubicBezTo>
                        <a:pt x="217" y="150"/>
                        <a:pt x="217" y="150"/>
                        <a:pt x="217" y="150"/>
                      </a:cubicBezTo>
                      <a:moveTo>
                        <a:pt x="265" y="150"/>
                      </a:moveTo>
                      <a:cubicBezTo>
                        <a:pt x="265" y="148"/>
                        <a:pt x="266" y="147"/>
                        <a:pt x="266" y="145"/>
                      </a:cubicBezTo>
                      <a:cubicBezTo>
                        <a:pt x="266" y="89"/>
                        <a:pt x="228" y="42"/>
                        <a:pt x="177" y="27"/>
                      </a:cubicBezTo>
                      <a:moveTo>
                        <a:pt x="108" y="26"/>
                      </a:moveTo>
                      <a:cubicBezTo>
                        <a:pt x="56" y="39"/>
                        <a:pt x="18" y="89"/>
                        <a:pt x="18" y="145"/>
                      </a:cubicBezTo>
                      <a:cubicBezTo>
                        <a:pt x="18" y="147"/>
                        <a:pt x="18" y="148"/>
                        <a:pt x="19" y="150"/>
                      </a:cubicBezTo>
                      <a:moveTo>
                        <a:pt x="142" y="90"/>
                      </a:moveTo>
                      <a:cubicBezTo>
                        <a:pt x="131" y="90"/>
                        <a:pt x="122" y="99"/>
                        <a:pt x="122" y="110"/>
                      </a:cubicBezTo>
                      <a:cubicBezTo>
                        <a:pt x="122" y="121"/>
                        <a:pt x="131" y="130"/>
                        <a:pt x="142" y="130"/>
                      </a:cubicBezTo>
                      <a:cubicBezTo>
                        <a:pt x="153" y="130"/>
                        <a:pt x="162" y="121"/>
                        <a:pt x="162" y="110"/>
                      </a:cubicBezTo>
                      <a:cubicBezTo>
                        <a:pt x="162" y="99"/>
                        <a:pt x="153" y="90"/>
                        <a:pt x="142" y="90"/>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65" name="Group 64">
                <a:extLst>
                  <a:ext uri="{FF2B5EF4-FFF2-40B4-BE49-F238E27FC236}">
                    <a16:creationId xmlns:a16="http://schemas.microsoft.com/office/drawing/2014/main" id="{A1BAAA16-8732-454A-A43E-60482D064E1E}"/>
                  </a:ext>
                </a:extLst>
              </p:cNvPr>
              <p:cNvGrpSpPr/>
              <p:nvPr/>
            </p:nvGrpSpPr>
            <p:grpSpPr>
              <a:xfrm>
                <a:off x="9917283" y="3539573"/>
                <a:ext cx="914400" cy="914400"/>
                <a:chOff x="8572914" y="2505374"/>
                <a:chExt cx="914400" cy="914400"/>
              </a:xfrm>
            </p:grpSpPr>
            <p:sp>
              <p:nvSpPr>
                <p:cNvPr id="147" name="Rectangle 146">
                  <a:extLst>
                    <a:ext uri="{FF2B5EF4-FFF2-40B4-BE49-F238E27FC236}">
                      <a16:creationId xmlns:a16="http://schemas.microsoft.com/office/drawing/2014/main" id="{DC72790E-77F8-431B-A30A-322953F99658}"/>
                    </a:ext>
                  </a:extLst>
                </p:cNvPr>
                <p:cNvSpPr/>
                <p:nvPr/>
              </p:nvSpPr>
              <p:spPr bwMode="auto">
                <a:xfrm>
                  <a:off x="8572914" y="2505374"/>
                  <a:ext cx="914400" cy="914400"/>
                </a:xfrm>
                <a:prstGeom prst="rect">
                  <a:avLst/>
                </a:pr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mpus</a:t>
                  </a:r>
                </a:p>
              </p:txBody>
            </p:sp>
            <p:sp>
              <p:nvSpPr>
                <p:cNvPr id="148" name="building_11" title="Icon og a school house">
                  <a:extLst>
                    <a:ext uri="{FF2B5EF4-FFF2-40B4-BE49-F238E27FC236}">
                      <a16:creationId xmlns:a16="http://schemas.microsoft.com/office/drawing/2014/main" id="{6ABA7C61-76B4-46F3-A938-224B662CEAD5}"/>
                    </a:ext>
                  </a:extLst>
                </p:cNvPr>
                <p:cNvSpPr>
                  <a:spLocks noChangeAspect="1" noEditPoints="1"/>
                </p:cNvSpPr>
                <p:nvPr/>
              </p:nvSpPr>
              <p:spPr bwMode="auto">
                <a:xfrm>
                  <a:off x="8738040" y="2779432"/>
                  <a:ext cx="548640" cy="295337"/>
                </a:xfrm>
                <a:custGeom>
                  <a:avLst/>
                  <a:gdLst>
                    <a:gd name="T0" fmla="*/ 164 w 361"/>
                    <a:gd name="T1" fmla="*/ 94 h 193"/>
                    <a:gd name="T2" fmla="*/ 66 w 361"/>
                    <a:gd name="T3" fmla="*/ 193 h 193"/>
                    <a:gd name="T4" fmla="*/ 98 w 361"/>
                    <a:gd name="T5" fmla="*/ 124 h 193"/>
                    <a:gd name="T6" fmla="*/ 93 w 361"/>
                    <a:gd name="T7" fmla="*/ 129 h 193"/>
                    <a:gd name="T8" fmla="*/ 98 w 361"/>
                    <a:gd name="T9" fmla="*/ 124 h 193"/>
                    <a:gd name="T10" fmla="*/ 93 w 361"/>
                    <a:gd name="T11" fmla="*/ 160 h 193"/>
                    <a:gd name="T12" fmla="*/ 98 w 361"/>
                    <a:gd name="T13" fmla="*/ 165 h 193"/>
                    <a:gd name="T14" fmla="*/ 135 w 361"/>
                    <a:gd name="T15" fmla="*/ 124 h 193"/>
                    <a:gd name="T16" fmla="*/ 130 w 361"/>
                    <a:gd name="T17" fmla="*/ 129 h 193"/>
                    <a:gd name="T18" fmla="*/ 135 w 361"/>
                    <a:gd name="T19" fmla="*/ 124 h 193"/>
                    <a:gd name="T20" fmla="*/ 130 w 361"/>
                    <a:gd name="T21" fmla="*/ 160 h 193"/>
                    <a:gd name="T22" fmla="*/ 135 w 361"/>
                    <a:gd name="T23" fmla="*/ 165 h 193"/>
                    <a:gd name="T24" fmla="*/ 295 w 361"/>
                    <a:gd name="T25" fmla="*/ 124 h 193"/>
                    <a:gd name="T26" fmla="*/ 291 w 361"/>
                    <a:gd name="T27" fmla="*/ 129 h 193"/>
                    <a:gd name="T28" fmla="*/ 295 w 361"/>
                    <a:gd name="T29" fmla="*/ 124 h 193"/>
                    <a:gd name="T30" fmla="*/ 291 w 361"/>
                    <a:gd name="T31" fmla="*/ 160 h 193"/>
                    <a:gd name="T32" fmla="*/ 295 w 361"/>
                    <a:gd name="T33" fmla="*/ 165 h 193"/>
                    <a:gd name="T34" fmla="*/ 333 w 361"/>
                    <a:gd name="T35" fmla="*/ 124 h 193"/>
                    <a:gd name="T36" fmla="*/ 328 w 361"/>
                    <a:gd name="T37" fmla="*/ 129 h 193"/>
                    <a:gd name="T38" fmla="*/ 333 w 361"/>
                    <a:gd name="T39" fmla="*/ 124 h 193"/>
                    <a:gd name="T40" fmla="*/ 328 w 361"/>
                    <a:gd name="T41" fmla="*/ 160 h 193"/>
                    <a:gd name="T42" fmla="*/ 333 w 361"/>
                    <a:gd name="T43" fmla="*/ 165 h 193"/>
                    <a:gd name="T44" fmla="*/ 263 w 361"/>
                    <a:gd name="T45" fmla="*/ 193 h 193"/>
                    <a:gd name="T46" fmla="*/ 361 w 361"/>
                    <a:gd name="T47" fmla="*/ 94 h 193"/>
                    <a:gd name="T48" fmla="*/ 263 w 361"/>
                    <a:gd name="T49" fmla="*/ 193 h 193"/>
                    <a:gd name="T50" fmla="*/ 164 w 361"/>
                    <a:gd name="T51" fmla="*/ 45 h 193"/>
                    <a:gd name="T52" fmla="*/ 263 w 361"/>
                    <a:gd name="T53" fmla="*/ 193 h 193"/>
                    <a:gd name="T54" fmla="*/ 214 w 361"/>
                    <a:gd name="T55" fmla="*/ 0 h 193"/>
                    <a:gd name="T56" fmla="*/ 185 w 361"/>
                    <a:gd name="T57" fmla="*/ 58 h 193"/>
                    <a:gd name="T58" fmla="*/ 241 w 361"/>
                    <a:gd name="T59" fmla="*/ 84 h 193"/>
                    <a:gd name="T60" fmla="*/ 241 w 361"/>
                    <a:gd name="T61" fmla="*/ 193 h 193"/>
                    <a:gd name="T62" fmla="*/ 213 w 361"/>
                    <a:gd name="T63" fmla="*/ 144 h 193"/>
                    <a:gd name="T64" fmla="*/ 213 w 361"/>
                    <a:gd name="T65" fmla="*/ 144 h 193"/>
                    <a:gd name="T66" fmla="*/ 185 w 361"/>
                    <a:gd name="T67" fmla="*/ 193 h 193"/>
                    <a:gd name="T68" fmla="*/ 207 w 361"/>
                    <a:gd name="T69" fmla="*/ 115 h 193"/>
                    <a:gd name="T70" fmla="*/ 219 w 361"/>
                    <a:gd name="T71" fmla="*/ 115 h 193"/>
                    <a:gd name="T72" fmla="*/ 19 w 361"/>
                    <a:gd name="T73" fmla="*/ 75 h 193"/>
                    <a:gd name="T74" fmla="*/ 19 w 361"/>
                    <a:gd name="T75" fmla="*/ 45 h 193"/>
                    <a:gd name="T76" fmla="*/ 0 w 361"/>
                    <a:gd name="T7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193">
                      <a:moveTo>
                        <a:pt x="66" y="94"/>
                      </a:moveTo>
                      <a:cubicBezTo>
                        <a:pt x="164" y="94"/>
                        <a:pt x="164" y="94"/>
                        <a:pt x="164" y="94"/>
                      </a:cubicBezTo>
                      <a:cubicBezTo>
                        <a:pt x="164" y="193"/>
                        <a:pt x="164" y="193"/>
                        <a:pt x="164" y="193"/>
                      </a:cubicBezTo>
                      <a:cubicBezTo>
                        <a:pt x="66" y="193"/>
                        <a:pt x="66" y="193"/>
                        <a:pt x="66" y="193"/>
                      </a:cubicBezTo>
                      <a:lnTo>
                        <a:pt x="66" y="94"/>
                      </a:lnTo>
                      <a:close/>
                      <a:moveTo>
                        <a:pt x="98" y="124"/>
                      </a:moveTo>
                      <a:cubicBezTo>
                        <a:pt x="93" y="124"/>
                        <a:pt x="93" y="124"/>
                        <a:pt x="93" y="124"/>
                      </a:cubicBezTo>
                      <a:cubicBezTo>
                        <a:pt x="93" y="129"/>
                        <a:pt x="93" y="129"/>
                        <a:pt x="93" y="129"/>
                      </a:cubicBezTo>
                      <a:cubicBezTo>
                        <a:pt x="98" y="129"/>
                        <a:pt x="98" y="129"/>
                        <a:pt x="98" y="129"/>
                      </a:cubicBezTo>
                      <a:lnTo>
                        <a:pt x="98" y="124"/>
                      </a:lnTo>
                      <a:close/>
                      <a:moveTo>
                        <a:pt x="98" y="160"/>
                      </a:moveTo>
                      <a:cubicBezTo>
                        <a:pt x="93" y="160"/>
                        <a:pt x="93" y="160"/>
                        <a:pt x="93" y="160"/>
                      </a:cubicBezTo>
                      <a:cubicBezTo>
                        <a:pt x="93" y="165"/>
                        <a:pt x="93" y="165"/>
                        <a:pt x="93" y="165"/>
                      </a:cubicBezTo>
                      <a:cubicBezTo>
                        <a:pt x="98" y="165"/>
                        <a:pt x="98" y="165"/>
                        <a:pt x="98" y="165"/>
                      </a:cubicBezTo>
                      <a:lnTo>
                        <a:pt x="98" y="160"/>
                      </a:lnTo>
                      <a:close/>
                      <a:moveTo>
                        <a:pt x="135" y="124"/>
                      </a:moveTo>
                      <a:cubicBezTo>
                        <a:pt x="130" y="124"/>
                        <a:pt x="130" y="124"/>
                        <a:pt x="130" y="124"/>
                      </a:cubicBezTo>
                      <a:cubicBezTo>
                        <a:pt x="130" y="129"/>
                        <a:pt x="130" y="129"/>
                        <a:pt x="130" y="129"/>
                      </a:cubicBezTo>
                      <a:cubicBezTo>
                        <a:pt x="135" y="129"/>
                        <a:pt x="135" y="129"/>
                        <a:pt x="135" y="129"/>
                      </a:cubicBezTo>
                      <a:lnTo>
                        <a:pt x="135" y="124"/>
                      </a:lnTo>
                      <a:close/>
                      <a:moveTo>
                        <a:pt x="135" y="160"/>
                      </a:moveTo>
                      <a:cubicBezTo>
                        <a:pt x="130" y="160"/>
                        <a:pt x="130" y="160"/>
                        <a:pt x="130" y="160"/>
                      </a:cubicBezTo>
                      <a:cubicBezTo>
                        <a:pt x="130" y="165"/>
                        <a:pt x="130" y="165"/>
                        <a:pt x="130" y="165"/>
                      </a:cubicBezTo>
                      <a:cubicBezTo>
                        <a:pt x="135" y="165"/>
                        <a:pt x="135" y="165"/>
                        <a:pt x="135" y="165"/>
                      </a:cubicBezTo>
                      <a:lnTo>
                        <a:pt x="135" y="160"/>
                      </a:lnTo>
                      <a:close/>
                      <a:moveTo>
                        <a:pt x="295" y="124"/>
                      </a:moveTo>
                      <a:cubicBezTo>
                        <a:pt x="291" y="124"/>
                        <a:pt x="291" y="124"/>
                        <a:pt x="291" y="124"/>
                      </a:cubicBezTo>
                      <a:cubicBezTo>
                        <a:pt x="291" y="129"/>
                        <a:pt x="291" y="129"/>
                        <a:pt x="291" y="129"/>
                      </a:cubicBezTo>
                      <a:cubicBezTo>
                        <a:pt x="295" y="129"/>
                        <a:pt x="295" y="129"/>
                        <a:pt x="295" y="129"/>
                      </a:cubicBezTo>
                      <a:lnTo>
                        <a:pt x="295" y="124"/>
                      </a:lnTo>
                      <a:close/>
                      <a:moveTo>
                        <a:pt x="295" y="160"/>
                      </a:moveTo>
                      <a:cubicBezTo>
                        <a:pt x="291" y="160"/>
                        <a:pt x="291" y="160"/>
                        <a:pt x="291" y="160"/>
                      </a:cubicBezTo>
                      <a:cubicBezTo>
                        <a:pt x="291" y="165"/>
                        <a:pt x="291" y="165"/>
                        <a:pt x="291" y="165"/>
                      </a:cubicBezTo>
                      <a:cubicBezTo>
                        <a:pt x="295" y="165"/>
                        <a:pt x="295" y="165"/>
                        <a:pt x="295" y="165"/>
                      </a:cubicBezTo>
                      <a:lnTo>
                        <a:pt x="295" y="160"/>
                      </a:lnTo>
                      <a:close/>
                      <a:moveTo>
                        <a:pt x="333" y="124"/>
                      </a:moveTo>
                      <a:cubicBezTo>
                        <a:pt x="328" y="124"/>
                        <a:pt x="328" y="124"/>
                        <a:pt x="328" y="124"/>
                      </a:cubicBezTo>
                      <a:cubicBezTo>
                        <a:pt x="328" y="129"/>
                        <a:pt x="328" y="129"/>
                        <a:pt x="328" y="129"/>
                      </a:cubicBezTo>
                      <a:cubicBezTo>
                        <a:pt x="333" y="129"/>
                        <a:pt x="333" y="129"/>
                        <a:pt x="333" y="129"/>
                      </a:cubicBezTo>
                      <a:lnTo>
                        <a:pt x="333" y="124"/>
                      </a:lnTo>
                      <a:close/>
                      <a:moveTo>
                        <a:pt x="333" y="160"/>
                      </a:moveTo>
                      <a:cubicBezTo>
                        <a:pt x="328" y="160"/>
                        <a:pt x="328" y="160"/>
                        <a:pt x="328" y="160"/>
                      </a:cubicBezTo>
                      <a:cubicBezTo>
                        <a:pt x="328" y="165"/>
                        <a:pt x="328" y="165"/>
                        <a:pt x="328" y="165"/>
                      </a:cubicBezTo>
                      <a:cubicBezTo>
                        <a:pt x="333" y="165"/>
                        <a:pt x="333" y="165"/>
                        <a:pt x="333" y="165"/>
                      </a:cubicBezTo>
                      <a:lnTo>
                        <a:pt x="333" y="160"/>
                      </a:lnTo>
                      <a:close/>
                      <a:moveTo>
                        <a:pt x="263" y="193"/>
                      </a:moveTo>
                      <a:cubicBezTo>
                        <a:pt x="361" y="193"/>
                        <a:pt x="361" y="193"/>
                        <a:pt x="361" y="193"/>
                      </a:cubicBezTo>
                      <a:cubicBezTo>
                        <a:pt x="361" y="94"/>
                        <a:pt x="361" y="94"/>
                        <a:pt x="361" y="94"/>
                      </a:cubicBezTo>
                      <a:cubicBezTo>
                        <a:pt x="263" y="94"/>
                        <a:pt x="263" y="94"/>
                        <a:pt x="263" y="94"/>
                      </a:cubicBezTo>
                      <a:lnTo>
                        <a:pt x="263" y="193"/>
                      </a:lnTo>
                      <a:close/>
                      <a:moveTo>
                        <a:pt x="214" y="0"/>
                      </a:moveTo>
                      <a:cubicBezTo>
                        <a:pt x="164" y="45"/>
                        <a:pt x="164" y="45"/>
                        <a:pt x="164" y="45"/>
                      </a:cubicBezTo>
                      <a:cubicBezTo>
                        <a:pt x="164" y="193"/>
                        <a:pt x="164" y="193"/>
                        <a:pt x="164" y="193"/>
                      </a:cubicBezTo>
                      <a:cubicBezTo>
                        <a:pt x="263" y="193"/>
                        <a:pt x="263" y="193"/>
                        <a:pt x="263" y="193"/>
                      </a:cubicBezTo>
                      <a:cubicBezTo>
                        <a:pt x="263" y="45"/>
                        <a:pt x="263" y="45"/>
                        <a:pt x="263" y="45"/>
                      </a:cubicBezTo>
                      <a:lnTo>
                        <a:pt x="214" y="0"/>
                      </a:lnTo>
                      <a:close/>
                      <a:moveTo>
                        <a:pt x="241" y="58"/>
                      </a:moveTo>
                      <a:cubicBezTo>
                        <a:pt x="185" y="58"/>
                        <a:pt x="185" y="58"/>
                        <a:pt x="185" y="58"/>
                      </a:cubicBezTo>
                      <a:cubicBezTo>
                        <a:pt x="185" y="84"/>
                        <a:pt x="185" y="84"/>
                        <a:pt x="185" y="84"/>
                      </a:cubicBezTo>
                      <a:cubicBezTo>
                        <a:pt x="241" y="84"/>
                        <a:pt x="241" y="84"/>
                        <a:pt x="241" y="84"/>
                      </a:cubicBezTo>
                      <a:lnTo>
                        <a:pt x="241" y="58"/>
                      </a:lnTo>
                      <a:close/>
                      <a:moveTo>
                        <a:pt x="241" y="193"/>
                      </a:moveTo>
                      <a:cubicBezTo>
                        <a:pt x="241" y="144"/>
                        <a:pt x="241" y="144"/>
                        <a:pt x="241" y="144"/>
                      </a:cubicBezTo>
                      <a:cubicBezTo>
                        <a:pt x="213" y="144"/>
                        <a:pt x="213" y="144"/>
                        <a:pt x="213" y="144"/>
                      </a:cubicBezTo>
                      <a:cubicBezTo>
                        <a:pt x="213" y="193"/>
                        <a:pt x="213" y="193"/>
                        <a:pt x="213" y="193"/>
                      </a:cubicBezTo>
                      <a:moveTo>
                        <a:pt x="213" y="144"/>
                      </a:moveTo>
                      <a:cubicBezTo>
                        <a:pt x="185" y="144"/>
                        <a:pt x="185" y="144"/>
                        <a:pt x="185" y="144"/>
                      </a:cubicBezTo>
                      <a:cubicBezTo>
                        <a:pt x="185" y="193"/>
                        <a:pt x="185" y="193"/>
                        <a:pt x="185" y="193"/>
                      </a:cubicBezTo>
                      <a:moveTo>
                        <a:pt x="213" y="109"/>
                      </a:moveTo>
                      <a:cubicBezTo>
                        <a:pt x="210" y="109"/>
                        <a:pt x="207" y="112"/>
                        <a:pt x="207" y="115"/>
                      </a:cubicBezTo>
                      <a:cubicBezTo>
                        <a:pt x="207" y="119"/>
                        <a:pt x="210" y="122"/>
                        <a:pt x="213" y="122"/>
                      </a:cubicBezTo>
                      <a:cubicBezTo>
                        <a:pt x="217" y="122"/>
                        <a:pt x="219" y="119"/>
                        <a:pt x="219" y="115"/>
                      </a:cubicBezTo>
                      <a:cubicBezTo>
                        <a:pt x="219" y="112"/>
                        <a:pt x="217" y="109"/>
                        <a:pt x="213" y="109"/>
                      </a:cubicBezTo>
                      <a:close/>
                      <a:moveTo>
                        <a:pt x="19" y="75"/>
                      </a:moveTo>
                      <a:cubicBezTo>
                        <a:pt x="50" y="62"/>
                        <a:pt x="50" y="62"/>
                        <a:pt x="50" y="62"/>
                      </a:cubicBezTo>
                      <a:cubicBezTo>
                        <a:pt x="19" y="45"/>
                        <a:pt x="19" y="45"/>
                        <a:pt x="19" y="45"/>
                      </a:cubicBezTo>
                      <a:cubicBezTo>
                        <a:pt x="19" y="193"/>
                        <a:pt x="19" y="193"/>
                        <a:pt x="19" y="193"/>
                      </a:cubicBezTo>
                      <a:moveTo>
                        <a:pt x="0" y="193"/>
                      </a:moveTo>
                      <a:cubicBezTo>
                        <a:pt x="38" y="193"/>
                        <a:pt x="38" y="193"/>
                        <a:pt x="38" y="19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66" name="Group 65">
                <a:extLst>
                  <a:ext uri="{FF2B5EF4-FFF2-40B4-BE49-F238E27FC236}">
                    <a16:creationId xmlns:a16="http://schemas.microsoft.com/office/drawing/2014/main" id="{AD150652-EB1E-4B1F-AA4C-B1D90E93CD3B}"/>
                  </a:ext>
                </a:extLst>
              </p:cNvPr>
              <p:cNvGrpSpPr/>
              <p:nvPr/>
            </p:nvGrpSpPr>
            <p:grpSpPr>
              <a:xfrm>
                <a:off x="6794638" y="3544332"/>
                <a:ext cx="914400" cy="914400"/>
                <a:chOff x="6452895" y="3544332"/>
                <a:chExt cx="914400" cy="914400"/>
              </a:xfrm>
            </p:grpSpPr>
            <p:sp>
              <p:nvSpPr>
                <p:cNvPr id="145" name="Rectangle 144">
                  <a:extLst>
                    <a:ext uri="{FF2B5EF4-FFF2-40B4-BE49-F238E27FC236}">
                      <a16:creationId xmlns:a16="http://schemas.microsoft.com/office/drawing/2014/main" id="{359BCD7B-76EF-49AD-B3BD-68CDD75E7A63}"/>
                    </a:ext>
                  </a:extLst>
                </p:cNvPr>
                <p:cNvSpPr/>
                <p:nvPr/>
              </p:nvSpPr>
              <p:spPr bwMode="auto">
                <a:xfrm>
                  <a:off x="6452895" y="3544332"/>
                  <a:ext cx="914400" cy="914400"/>
                </a:xfrm>
                <a:prstGeom prst="rect">
                  <a:avLst/>
                </a:pr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actory</a:t>
                  </a:r>
                </a:p>
              </p:txBody>
            </p:sp>
            <p:sp>
              <p:nvSpPr>
                <p:cNvPr id="146" name="factory_3" title="Icon of a factory or warehouse">
                  <a:extLst>
                    <a:ext uri="{FF2B5EF4-FFF2-40B4-BE49-F238E27FC236}">
                      <a16:creationId xmlns:a16="http://schemas.microsoft.com/office/drawing/2014/main" id="{B1D94ED4-0AEC-4BB7-A8D3-2B9894D7DBF3}"/>
                    </a:ext>
                  </a:extLst>
                </p:cNvPr>
                <p:cNvSpPr>
                  <a:spLocks noChangeAspect="1" noEditPoints="1"/>
                </p:cNvSpPr>
                <p:nvPr/>
              </p:nvSpPr>
              <p:spPr bwMode="auto">
                <a:xfrm>
                  <a:off x="6704355" y="3832212"/>
                  <a:ext cx="411480" cy="2548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67" name="Group 66">
                <a:extLst>
                  <a:ext uri="{FF2B5EF4-FFF2-40B4-BE49-F238E27FC236}">
                    <a16:creationId xmlns:a16="http://schemas.microsoft.com/office/drawing/2014/main" id="{93331363-8C7D-41D2-81FC-78191803EEFB}"/>
                  </a:ext>
                </a:extLst>
              </p:cNvPr>
              <p:cNvGrpSpPr/>
              <p:nvPr/>
            </p:nvGrpSpPr>
            <p:grpSpPr>
              <a:xfrm>
                <a:off x="7835520" y="2514600"/>
                <a:ext cx="914400" cy="914400"/>
                <a:chOff x="7517955" y="2514600"/>
                <a:chExt cx="914400" cy="914400"/>
              </a:xfrm>
            </p:grpSpPr>
            <p:sp>
              <p:nvSpPr>
                <p:cNvPr id="143" name="Rectangle 142">
                  <a:extLst>
                    <a:ext uri="{FF2B5EF4-FFF2-40B4-BE49-F238E27FC236}">
                      <a16:creationId xmlns:a16="http://schemas.microsoft.com/office/drawing/2014/main" id="{B560CACB-56E8-47A5-99E9-8561A7B7C546}"/>
                    </a:ext>
                  </a:extLst>
                </p:cNvPr>
                <p:cNvSpPr/>
                <p:nvPr/>
              </p:nvSpPr>
              <p:spPr bwMode="auto">
                <a:xfrm>
                  <a:off x="7517955" y="2514600"/>
                  <a:ext cx="914400" cy="914400"/>
                </a:xfrm>
                <a:prstGeom prst="rect">
                  <a:avLst/>
                </a:pr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ffice</a:t>
                  </a:r>
                </a:p>
              </p:txBody>
            </p:sp>
            <p:sp>
              <p:nvSpPr>
                <p:cNvPr id="144" name="building_4" title="Icon of a tall rectangular building in front of two shorter buildings">
                  <a:extLst>
                    <a:ext uri="{FF2B5EF4-FFF2-40B4-BE49-F238E27FC236}">
                      <a16:creationId xmlns:a16="http://schemas.microsoft.com/office/drawing/2014/main" id="{86C856DA-5D65-4E6F-9F92-16658216105F}"/>
                    </a:ext>
                  </a:extLst>
                </p:cNvPr>
                <p:cNvSpPr>
                  <a:spLocks noChangeAspect="1" noEditPoints="1"/>
                </p:cNvSpPr>
                <p:nvPr/>
              </p:nvSpPr>
              <p:spPr bwMode="auto">
                <a:xfrm>
                  <a:off x="7808630" y="2765303"/>
                  <a:ext cx="360089" cy="365760"/>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68" name="Group 67">
                <a:extLst>
                  <a:ext uri="{FF2B5EF4-FFF2-40B4-BE49-F238E27FC236}">
                    <a16:creationId xmlns:a16="http://schemas.microsoft.com/office/drawing/2014/main" id="{B595200C-8F06-4B80-8EB9-F73B38EC336B}"/>
                  </a:ext>
                </a:extLst>
              </p:cNvPr>
              <p:cNvGrpSpPr/>
              <p:nvPr/>
            </p:nvGrpSpPr>
            <p:grpSpPr>
              <a:xfrm>
                <a:off x="9917283" y="2516186"/>
                <a:ext cx="914400" cy="914400"/>
                <a:chOff x="9637415" y="2516186"/>
                <a:chExt cx="914400" cy="914400"/>
              </a:xfrm>
            </p:grpSpPr>
            <p:sp>
              <p:nvSpPr>
                <p:cNvPr id="141" name="Rectangle 140">
                  <a:extLst>
                    <a:ext uri="{FF2B5EF4-FFF2-40B4-BE49-F238E27FC236}">
                      <a16:creationId xmlns:a16="http://schemas.microsoft.com/office/drawing/2014/main" id="{F736A0BE-2D29-46A1-8E90-D69A1BB77123}"/>
                    </a:ext>
                  </a:extLst>
                </p:cNvPr>
                <p:cNvSpPr/>
                <p:nvPr/>
              </p:nvSpPr>
              <p:spPr bwMode="auto">
                <a:xfrm>
                  <a:off x="9637415" y="2516186"/>
                  <a:ext cx="914400" cy="914400"/>
                </a:xfrm>
                <a:prstGeom prst="rect">
                  <a:avLst/>
                </a:pr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spitality</a:t>
                  </a:r>
                </a:p>
              </p:txBody>
            </p:sp>
            <p:sp>
              <p:nvSpPr>
                <p:cNvPr id="142" name="building_1" title="Icon of two tall rectangular buildings of different heights">
                  <a:extLst>
                    <a:ext uri="{FF2B5EF4-FFF2-40B4-BE49-F238E27FC236}">
                      <a16:creationId xmlns:a16="http://schemas.microsoft.com/office/drawing/2014/main" id="{878A760D-CF85-42D4-B77F-8A7CEA1CC65B}"/>
                    </a:ext>
                  </a:extLst>
                </p:cNvPr>
                <p:cNvSpPr>
                  <a:spLocks noChangeAspect="1" noEditPoints="1"/>
                </p:cNvSpPr>
                <p:nvPr/>
              </p:nvSpPr>
              <p:spPr bwMode="auto">
                <a:xfrm>
                  <a:off x="9910350" y="2740572"/>
                  <a:ext cx="364274" cy="365760"/>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69" name="Group 68">
                <a:extLst>
                  <a:ext uri="{FF2B5EF4-FFF2-40B4-BE49-F238E27FC236}">
                    <a16:creationId xmlns:a16="http://schemas.microsoft.com/office/drawing/2014/main" id="{F41B29CF-287C-41FE-85AE-C1C5BD408724}"/>
                  </a:ext>
                </a:extLst>
              </p:cNvPr>
              <p:cNvGrpSpPr/>
              <p:nvPr/>
            </p:nvGrpSpPr>
            <p:grpSpPr>
              <a:xfrm>
                <a:off x="10967447" y="4577728"/>
                <a:ext cx="914400" cy="914400"/>
                <a:chOff x="10680704" y="4577728"/>
                <a:chExt cx="914400" cy="914400"/>
              </a:xfrm>
            </p:grpSpPr>
            <p:sp>
              <p:nvSpPr>
                <p:cNvPr id="139" name="Rectangle 138">
                  <a:extLst>
                    <a:ext uri="{FF2B5EF4-FFF2-40B4-BE49-F238E27FC236}">
                      <a16:creationId xmlns:a16="http://schemas.microsoft.com/office/drawing/2014/main" id="{221453DC-3710-4623-9E74-CFAB1C727785}"/>
                    </a:ext>
                  </a:extLst>
                </p:cNvPr>
                <p:cNvSpPr/>
                <p:nvPr/>
              </p:nvSpPr>
              <p:spPr bwMode="auto">
                <a:xfrm>
                  <a:off x="10680704" y="4577728"/>
                  <a:ext cx="914400" cy="914400"/>
                </a:xfrm>
                <a:prstGeom prst="rect">
                  <a:avLst/>
                </a:pr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ank</a:t>
                  </a:r>
                </a:p>
              </p:txBody>
            </p:sp>
            <p:sp>
              <p:nvSpPr>
                <p:cNvPr id="140" name="building_5" title="Icon of a building with columns in a row and a triangular top">
                  <a:extLst>
                    <a:ext uri="{FF2B5EF4-FFF2-40B4-BE49-F238E27FC236}">
                      <a16:creationId xmlns:a16="http://schemas.microsoft.com/office/drawing/2014/main" id="{3F2BF386-150B-4A08-B0D1-7EDACA1A51AD}"/>
                    </a:ext>
                  </a:extLst>
                </p:cNvPr>
                <p:cNvSpPr>
                  <a:spLocks noChangeAspect="1" noEditPoints="1"/>
                </p:cNvSpPr>
                <p:nvPr/>
              </p:nvSpPr>
              <p:spPr bwMode="auto">
                <a:xfrm>
                  <a:off x="10906735" y="4796898"/>
                  <a:ext cx="427011" cy="365760"/>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70" name="Group 69">
                <a:extLst>
                  <a:ext uri="{FF2B5EF4-FFF2-40B4-BE49-F238E27FC236}">
                    <a16:creationId xmlns:a16="http://schemas.microsoft.com/office/drawing/2014/main" id="{2C1AE212-D3AC-4463-BE12-025A5622DB02}"/>
                  </a:ext>
                </a:extLst>
              </p:cNvPr>
              <p:cNvGrpSpPr/>
              <p:nvPr/>
            </p:nvGrpSpPr>
            <p:grpSpPr>
              <a:xfrm>
                <a:off x="8881042" y="3544332"/>
                <a:ext cx="914400" cy="914400"/>
                <a:chOff x="8577685" y="3544332"/>
                <a:chExt cx="914400" cy="914400"/>
              </a:xfrm>
            </p:grpSpPr>
            <p:sp>
              <p:nvSpPr>
                <p:cNvPr id="137" name="Rectangle 136">
                  <a:extLst>
                    <a:ext uri="{FF2B5EF4-FFF2-40B4-BE49-F238E27FC236}">
                      <a16:creationId xmlns:a16="http://schemas.microsoft.com/office/drawing/2014/main" id="{E00E6C9A-36D7-4F3F-B014-91621898CE2A}"/>
                    </a:ext>
                  </a:extLst>
                </p:cNvPr>
                <p:cNvSpPr/>
                <p:nvPr/>
              </p:nvSpPr>
              <p:spPr bwMode="auto">
                <a:xfrm>
                  <a:off x="8577685" y="3544332"/>
                  <a:ext cx="914400" cy="914400"/>
                </a:xfrm>
                <a:prstGeom prst="rect">
                  <a:avLst/>
                </a:pr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ities</a:t>
                  </a:r>
                </a:p>
              </p:txBody>
            </p:sp>
            <p:sp>
              <p:nvSpPr>
                <p:cNvPr id="138" name="building_9" title="Icon of a building with columns in a row and a triangular top and a flag atop it">
                  <a:extLst>
                    <a:ext uri="{FF2B5EF4-FFF2-40B4-BE49-F238E27FC236}">
                      <a16:creationId xmlns:a16="http://schemas.microsoft.com/office/drawing/2014/main" id="{58201EF7-0269-495D-BAED-CDFCD4331100}"/>
                    </a:ext>
                  </a:extLst>
                </p:cNvPr>
                <p:cNvSpPr>
                  <a:spLocks noChangeAspect="1" noEditPoints="1"/>
                </p:cNvSpPr>
                <p:nvPr/>
              </p:nvSpPr>
              <p:spPr bwMode="auto">
                <a:xfrm>
                  <a:off x="8855499" y="3747038"/>
                  <a:ext cx="358771" cy="365760"/>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71" name="Group 70">
                <a:extLst>
                  <a:ext uri="{FF2B5EF4-FFF2-40B4-BE49-F238E27FC236}">
                    <a16:creationId xmlns:a16="http://schemas.microsoft.com/office/drawing/2014/main" id="{4A748D0A-7C91-45F6-8CEE-FB3FFF251D3A}"/>
                  </a:ext>
                </a:extLst>
              </p:cNvPr>
              <p:cNvGrpSpPr/>
              <p:nvPr/>
            </p:nvGrpSpPr>
            <p:grpSpPr>
              <a:xfrm>
                <a:off x="10967447" y="5597801"/>
                <a:ext cx="914400" cy="914400"/>
                <a:chOff x="6458246" y="5560733"/>
                <a:chExt cx="914400" cy="914400"/>
              </a:xfrm>
            </p:grpSpPr>
            <p:sp>
              <p:nvSpPr>
                <p:cNvPr id="135" name="Rectangle 134">
                  <a:extLst>
                    <a:ext uri="{FF2B5EF4-FFF2-40B4-BE49-F238E27FC236}">
                      <a16:creationId xmlns:a16="http://schemas.microsoft.com/office/drawing/2014/main" id="{3DB2ADC7-B787-4D71-88F5-C9966F7F4BCA}"/>
                    </a:ext>
                  </a:extLst>
                </p:cNvPr>
                <p:cNvSpPr/>
                <p:nvPr/>
              </p:nvSpPr>
              <p:spPr bwMode="auto">
                <a:xfrm>
                  <a:off x="6458246" y="5560733"/>
                  <a:ext cx="914400" cy="914400"/>
                </a:xfrm>
                <a:prstGeom prst="rect">
                  <a:avLst/>
                </a:pr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id &amp; Utilities</a:t>
                  </a:r>
                </a:p>
              </p:txBody>
            </p:sp>
            <p:sp>
              <p:nvSpPr>
                <p:cNvPr id="136" name="LightningBolt_E945" title="Icon of a lightning bolt">
                  <a:extLst>
                    <a:ext uri="{FF2B5EF4-FFF2-40B4-BE49-F238E27FC236}">
                      <a16:creationId xmlns:a16="http://schemas.microsoft.com/office/drawing/2014/main" id="{F8B2D8A1-EAAD-4333-A0D8-4E022660DF7D}"/>
                    </a:ext>
                  </a:extLst>
                </p:cNvPr>
                <p:cNvSpPr>
                  <a:spLocks noChangeAspect="1"/>
                </p:cNvSpPr>
                <p:nvPr/>
              </p:nvSpPr>
              <p:spPr bwMode="auto">
                <a:xfrm>
                  <a:off x="6784393" y="5759113"/>
                  <a:ext cx="262105" cy="36576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2" name="Group 71">
                <a:extLst>
                  <a:ext uri="{FF2B5EF4-FFF2-40B4-BE49-F238E27FC236}">
                    <a16:creationId xmlns:a16="http://schemas.microsoft.com/office/drawing/2014/main" id="{7729438E-233A-4B2A-8F1F-03E102261714}"/>
                  </a:ext>
                </a:extLst>
              </p:cNvPr>
              <p:cNvGrpSpPr/>
              <p:nvPr/>
            </p:nvGrpSpPr>
            <p:grpSpPr>
              <a:xfrm>
                <a:off x="6800209" y="4577728"/>
                <a:ext cx="914400" cy="914400"/>
                <a:chOff x="9627873" y="3532582"/>
                <a:chExt cx="914400" cy="914400"/>
              </a:xfrm>
            </p:grpSpPr>
            <p:sp>
              <p:nvSpPr>
                <p:cNvPr id="133" name="Rectangle 132">
                  <a:extLst>
                    <a:ext uri="{FF2B5EF4-FFF2-40B4-BE49-F238E27FC236}">
                      <a16:creationId xmlns:a16="http://schemas.microsoft.com/office/drawing/2014/main" id="{3C4FCB3E-E1AC-46AB-BB1B-0E25EB70C7B2}"/>
                    </a:ext>
                  </a:extLst>
                </p:cNvPr>
                <p:cNvSpPr/>
                <p:nvPr/>
              </p:nvSpPr>
              <p:spPr bwMode="auto">
                <a:xfrm>
                  <a:off x="9627873" y="3532582"/>
                  <a:ext cx="914400" cy="914400"/>
                </a:xfrm>
                <a:prstGeom prst="rect">
                  <a:avLst/>
                </a:pr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arehouse</a:t>
                  </a:r>
                </a:p>
              </p:txBody>
            </p:sp>
            <p:sp>
              <p:nvSpPr>
                <p:cNvPr id="134" name="Forklift" title="Icon of a forklift carrying boxes">
                  <a:extLst>
                    <a:ext uri="{FF2B5EF4-FFF2-40B4-BE49-F238E27FC236}">
                      <a16:creationId xmlns:a16="http://schemas.microsoft.com/office/drawing/2014/main" id="{1E5DA389-770E-4802-8AE3-AD5F6F5090EB}"/>
                    </a:ext>
                  </a:extLst>
                </p:cNvPr>
                <p:cNvSpPr>
                  <a:spLocks noChangeAspect="1" noEditPoints="1"/>
                </p:cNvSpPr>
                <p:nvPr/>
              </p:nvSpPr>
              <p:spPr bwMode="auto">
                <a:xfrm>
                  <a:off x="9887511" y="3753562"/>
                  <a:ext cx="395123" cy="365760"/>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73" name="Group 72">
                <a:extLst>
                  <a:ext uri="{FF2B5EF4-FFF2-40B4-BE49-F238E27FC236}">
                    <a16:creationId xmlns:a16="http://schemas.microsoft.com/office/drawing/2014/main" id="{D7A43FCD-4943-42E9-90DC-C36F7CEE204F}"/>
                  </a:ext>
                </a:extLst>
              </p:cNvPr>
              <p:cNvGrpSpPr/>
              <p:nvPr/>
            </p:nvGrpSpPr>
            <p:grpSpPr>
              <a:xfrm>
                <a:off x="6794638" y="2514600"/>
                <a:ext cx="914400" cy="914400"/>
                <a:chOff x="6452895" y="2514600"/>
                <a:chExt cx="914400" cy="914400"/>
              </a:xfrm>
            </p:grpSpPr>
            <p:sp>
              <p:nvSpPr>
                <p:cNvPr id="131" name="Rectangle 130">
                  <a:extLst>
                    <a:ext uri="{FF2B5EF4-FFF2-40B4-BE49-F238E27FC236}">
                      <a16:creationId xmlns:a16="http://schemas.microsoft.com/office/drawing/2014/main" id="{553B0A89-C100-4350-91E0-9B0A4FF73F76}"/>
                    </a:ext>
                  </a:extLst>
                </p:cNvPr>
                <p:cNvSpPr/>
                <p:nvPr/>
              </p:nvSpPr>
              <p:spPr bwMode="auto">
                <a:xfrm>
                  <a:off x="6452895" y="2514600"/>
                  <a:ext cx="914400" cy="914400"/>
                </a:xfrm>
                <a:prstGeom prst="rect">
                  <a:avLst/>
                </a:pr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uildings</a:t>
                  </a:r>
                </a:p>
              </p:txBody>
            </p:sp>
            <p:sp>
              <p:nvSpPr>
                <p:cNvPr id="132" name="building_5" title="Icon of tall buildings">
                  <a:extLst>
                    <a:ext uri="{FF2B5EF4-FFF2-40B4-BE49-F238E27FC236}">
                      <a16:creationId xmlns:a16="http://schemas.microsoft.com/office/drawing/2014/main" id="{7F226D06-E09D-412D-B450-8825ED946B50}"/>
                    </a:ext>
                  </a:extLst>
                </p:cNvPr>
                <p:cNvSpPr>
                  <a:spLocks noChangeAspect="1" noEditPoints="1"/>
                </p:cNvSpPr>
                <p:nvPr/>
              </p:nvSpPr>
              <p:spPr bwMode="auto">
                <a:xfrm>
                  <a:off x="6741708" y="2744221"/>
                  <a:ext cx="336772" cy="365760"/>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74" name="Group 73">
                <a:extLst>
                  <a:ext uri="{FF2B5EF4-FFF2-40B4-BE49-F238E27FC236}">
                    <a16:creationId xmlns:a16="http://schemas.microsoft.com/office/drawing/2014/main" id="{B9B22C2C-F9DF-46C6-90DB-FD92549D6DEF}"/>
                  </a:ext>
                </a:extLst>
              </p:cNvPr>
              <p:cNvGrpSpPr/>
              <p:nvPr/>
            </p:nvGrpSpPr>
            <p:grpSpPr>
              <a:xfrm>
                <a:off x="10967447" y="3530582"/>
                <a:ext cx="914400" cy="914400"/>
                <a:chOff x="10680704" y="3530582"/>
                <a:chExt cx="914400" cy="914400"/>
              </a:xfrm>
            </p:grpSpPr>
            <p:sp>
              <p:nvSpPr>
                <p:cNvPr id="129" name="Rectangle 128">
                  <a:extLst>
                    <a:ext uri="{FF2B5EF4-FFF2-40B4-BE49-F238E27FC236}">
                      <a16:creationId xmlns:a16="http://schemas.microsoft.com/office/drawing/2014/main" id="{E983648C-5862-4F48-B7A5-73A9B48AC3E7}"/>
                    </a:ext>
                  </a:extLst>
                </p:cNvPr>
                <p:cNvSpPr/>
                <p:nvPr/>
              </p:nvSpPr>
              <p:spPr bwMode="auto">
                <a:xfrm>
                  <a:off x="10680704" y="3530582"/>
                  <a:ext cx="914400" cy="914400"/>
                </a:xfrm>
                <a:prstGeom prst="rect">
                  <a:avLst/>
                </a:pr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staurants</a:t>
                  </a:r>
                </a:p>
              </p:txBody>
            </p:sp>
            <p:sp>
              <p:nvSpPr>
                <p:cNvPr id="130" name="pizza" title="Icon of a slice of pizza">
                  <a:extLst>
                    <a:ext uri="{FF2B5EF4-FFF2-40B4-BE49-F238E27FC236}">
                      <a16:creationId xmlns:a16="http://schemas.microsoft.com/office/drawing/2014/main" id="{F377BD4E-1642-4740-8740-BE21572A2A84}"/>
                    </a:ext>
                  </a:extLst>
                </p:cNvPr>
                <p:cNvSpPr>
                  <a:spLocks noChangeAspect="1" noEditPoints="1"/>
                </p:cNvSpPr>
                <p:nvPr/>
              </p:nvSpPr>
              <p:spPr bwMode="auto">
                <a:xfrm>
                  <a:off x="11047271" y="3767313"/>
                  <a:ext cx="272770" cy="365760"/>
                </a:xfrm>
                <a:custGeom>
                  <a:avLst/>
                  <a:gdLst>
                    <a:gd name="T0" fmla="*/ 150 w 255"/>
                    <a:gd name="T1" fmla="*/ 33 h 345"/>
                    <a:gd name="T2" fmla="*/ 238 w 255"/>
                    <a:gd name="T3" fmla="*/ 102 h 345"/>
                    <a:gd name="T4" fmla="*/ 250 w 255"/>
                    <a:gd name="T5" fmla="*/ 136 h 345"/>
                    <a:gd name="T6" fmla="*/ 250 w 255"/>
                    <a:gd name="T7" fmla="*/ 136 h 345"/>
                    <a:gd name="T8" fmla="*/ 219 w 255"/>
                    <a:gd name="T9" fmla="*/ 147 h 345"/>
                    <a:gd name="T10" fmla="*/ 138 w 255"/>
                    <a:gd name="T11" fmla="*/ 78 h 345"/>
                    <a:gd name="T12" fmla="*/ 16 w 255"/>
                    <a:gd name="T13" fmla="*/ 43 h 345"/>
                    <a:gd name="T14" fmla="*/ 6 w 255"/>
                    <a:gd name="T15" fmla="*/ 12 h 345"/>
                    <a:gd name="T16" fmla="*/ 6 w 255"/>
                    <a:gd name="T17" fmla="*/ 12 h 345"/>
                    <a:gd name="T18" fmla="*/ 40 w 255"/>
                    <a:gd name="T19" fmla="*/ 1 h 345"/>
                    <a:gd name="T20" fmla="*/ 148 w 255"/>
                    <a:gd name="T21" fmla="*/ 31 h 345"/>
                    <a:gd name="T22" fmla="*/ 150 w 255"/>
                    <a:gd name="T23" fmla="*/ 33 h 345"/>
                    <a:gd name="T24" fmla="*/ 70 w 255"/>
                    <a:gd name="T25" fmla="*/ 80 h 345"/>
                    <a:gd name="T26" fmla="*/ 49 w 255"/>
                    <a:gd name="T27" fmla="*/ 101 h 345"/>
                    <a:gd name="T28" fmla="*/ 70 w 255"/>
                    <a:gd name="T29" fmla="*/ 123 h 345"/>
                    <a:gd name="T30" fmla="*/ 91 w 255"/>
                    <a:gd name="T31" fmla="*/ 101 h 345"/>
                    <a:gd name="T32" fmla="*/ 70 w 255"/>
                    <a:gd name="T33" fmla="*/ 80 h 345"/>
                    <a:gd name="T34" fmla="*/ 116 w 255"/>
                    <a:gd name="T35" fmla="*/ 149 h 345"/>
                    <a:gd name="T36" fmla="*/ 95 w 255"/>
                    <a:gd name="T37" fmla="*/ 170 h 345"/>
                    <a:gd name="T38" fmla="*/ 116 w 255"/>
                    <a:gd name="T39" fmla="*/ 191 h 345"/>
                    <a:gd name="T40" fmla="*/ 137 w 255"/>
                    <a:gd name="T41" fmla="*/ 170 h 345"/>
                    <a:gd name="T42" fmla="*/ 116 w 255"/>
                    <a:gd name="T43" fmla="*/ 149 h 345"/>
                    <a:gd name="T44" fmla="*/ 66 w 255"/>
                    <a:gd name="T45" fmla="*/ 215 h 345"/>
                    <a:gd name="T46" fmla="*/ 45 w 255"/>
                    <a:gd name="T47" fmla="*/ 236 h 345"/>
                    <a:gd name="T48" fmla="*/ 66 w 255"/>
                    <a:gd name="T49" fmla="*/ 258 h 345"/>
                    <a:gd name="T50" fmla="*/ 88 w 255"/>
                    <a:gd name="T51" fmla="*/ 236 h 345"/>
                    <a:gd name="T52" fmla="*/ 66 w 255"/>
                    <a:gd name="T53" fmla="*/ 215 h 345"/>
                    <a:gd name="T54" fmla="*/ 15 w 255"/>
                    <a:gd name="T55" fmla="*/ 44 h 345"/>
                    <a:gd name="T56" fmla="*/ 15 w 255"/>
                    <a:gd name="T57" fmla="*/ 322 h 345"/>
                    <a:gd name="T58" fmla="*/ 15 w 255"/>
                    <a:gd name="T59" fmla="*/ 324 h 345"/>
                    <a:gd name="T60" fmla="*/ 15 w 255"/>
                    <a:gd name="T61" fmla="*/ 324 h 345"/>
                    <a:gd name="T62" fmla="*/ 15 w 255"/>
                    <a:gd name="T63" fmla="*/ 329 h 345"/>
                    <a:gd name="T64" fmla="*/ 31 w 255"/>
                    <a:gd name="T65" fmla="*/ 345 h 345"/>
                    <a:gd name="T66" fmla="*/ 31 w 255"/>
                    <a:gd name="T67" fmla="*/ 345 h 345"/>
                    <a:gd name="T68" fmla="*/ 47 w 255"/>
                    <a:gd name="T69" fmla="*/ 329 h 345"/>
                    <a:gd name="T70" fmla="*/ 47 w 255"/>
                    <a:gd name="T71" fmla="*/ 324 h 345"/>
                    <a:gd name="T72" fmla="*/ 47 w 255"/>
                    <a:gd name="T73" fmla="*/ 324 h 345"/>
                    <a:gd name="T74" fmla="*/ 174 w 255"/>
                    <a:gd name="T75" fmla="*/ 195 h 345"/>
                    <a:gd name="T76" fmla="*/ 174 w 255"/>
                    <a:gd name="T77" fmla="*/ 195 h 345"/>
                    <a:gd name="T78" fmla="*/ 174 w 255"/>
                    <a:gd name="T79" fmla="*/ 216 h 345"/>
                    <a:gd name="T80" fmla="*/ 188 w 255"/>
                    <a:gd name="T81" fmla="*/ 229 h 345"/>
                    <a:gd name="T82" fmla="*/ 188 w 255"/>
                    <a:gd name="T83" fmla="*/ 229 h 345"/>
                    <a:gd name="T84" fmla="*/ 201 w 255"/>
                    <a:gd name="T85" fmla="*/ 216 h 345"/>
                    <a:gd name="T86" fmla="*/ 201 w 255"/>
                    <a:gd name="T87" fmla="*/ 168 h 345"/>
                    <a:gd name="T88" fmla="*/ 201 w 255"/>
                    <a:gd name="T89" fmla="*/ 164 h 345"/>
                    <a:gd name="T90" fmla="*/ 201 w 255"/>
                    <a:gd name="T91" fmla="*/ 176 h 345"/>
                    <a:gd name="T92" fmla="*/ 214 w 255"/>
                    <a:gd name="T93" fmla="*/ 189 h 345"/>
                    <a:gd name="T94" fmla="*/ 214 w 255"/>
                    <a:gd name="T95" fmla="*/ 189 h 345"/>
                    <a:gd name="T96" fmla="*/ 226 w 255"/>
                    <a:gd name="T97" fmla="*/ 176 h 345"/>
                    <a:gd name="T98" fmla="*/ 226 w 255"/>
                    <a:gd name="T99" fmla="*/ 15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5" h="345">
                      <a:moveTo>
                        <a:pt x="150" y="33"/>
                      </a:moveTo>
                      <a:cubicBezTo>
                        <a:pt x="215" y="68"/>
                        <a:pt x="238" y="102"/>
                        <a:pt x="238" y="102"/>
                      </a:cubicBezTo>
                      <a:cubicBezTo>
                        <a:pt x="249" y="116"/>
                        <a:pt x="255" y="124"/>
                        <a:pt x="250" y="136"/>
                      </a:cubicBezTo>
                      <a:cubicBezTo>
                        <a:pt x="250" y="136"/>
                        <a:pt x="250" y="136"/>
                        <a:pt x="250" y="136"/>
                      </a:cubicBezTo>
                      <a:cubicBezTo>
                        <a:pt x="244" y="147"/>
                        <a:pt x="228" y="156"/>
                        <a:pt x="219" y="147"/>
                      </a:cubicBezTo>
                      <a:cubicBezTo>
                        <a:pt x="204" y="136"/>
                        <a:pt x="183" y="104"/>
                        <a:pt x="138" y="78"/>
                      </a:cubicBezTo>
                      <a:cubicBezTo>
                        <a:pt x="90" y="50"/>
                        <a:pt x="26" y="46"/>
                        <a:pt x="16" y="43"/>
                      </a:cubicBezTo>
                      <a:cubicBezTo>
                        <a:pt x="5" y="41"/>
                        <a:pt x="0" y="23"/>
                        <a:pt x="6" y="12"/>
                      </a:cubicBezTo>
                      <a:cubicBezTo>
                        <a:pt x="6" y="12"/>
                        <a:pt x="6" y="12"/>
                        <a:pt x="6" y="12"/>
                      </a:cubicBezTo>
                      <a:cubicBezTo>
                        <a:pt x="12" y="0"/>
                        <a:pt x="23" y="1"/>
                        <a:pt x="40" y="1"/>
                      </a:cubicBezTo>
                      <a:cubicBezTo>
                        <a:pt x="40" y="1"/>
                        <a:pt x="81" y="0"/>
                        <a:pt x="148" y="31"/>
                      </a:cubicBezTo>
                      <a:cubicBezTo>
                        <a:pt x="148" y="32"/>
                        <a:pt x="150" y="32"/>
                        <a:pt x="150" y="33"/>
                      </a:cubicBezTo>
                      <a:close/>
                      <a:moveTo>
                        <a:pt x="70" y="80"/>
                      </a:moveTo>
                      <a:cubicBezTo>
                        <a:pt x="58" y="80"/>
                        <a:pt x="49" y="89"/>
                        <a:pt x="49" y="101"/>
                      </a:cubicBezTo>
                      <a:cubicBezTo>
                        <a:pt x="49" y="113"/>
                        <a:pt x="58" y="123"/>
                        <a:pt x="70" y="123"/>
                      </a:cubicBezTo>
                      <a:cubicBezTo>
                        <a:pt x="82" y="123"/>
                        <a:pt x="91" y="113"/>
                        <a:pt x="91" y="101"/>
                      </a:cubicBezTo>
                      <a:cubicBezTo>
                        <a:pt x="91" y="89"/>
                        <a:pt x="82" y="80"/>
                        <a:pt x="70" y="80"/>
                      </a:cubicBezTo>
                      <a:close/>
                      <a:moveTo>
                        <a:pt x="116" y="149"/>
                      </a:moveTo>
                      <a:cubicBezTo>
                        <a:pt x="104" y="149"/>
                        <a:pt x="95" y="158"/>
                        <a:pt x="95" y="170"/>
                      </a:cubicBezTo>
                      <a:cubicBezTo>
                        <a:pt x="95" y="182"/>
                        <a:pt x="104" y="191"/>
                        <a:pt x="116" y="191"/>
                      </a:cubicBezTo>
                      <a:cubicBezTo>
                        <a:pt x="128" y="191"/>
                        <a:pt x="137" y="182"/>
                        <a:pt x="137" y="170"/>
                      </a:cubicBezTo>
                      <a:cubicBezTo>
                        <a:pt x="137" y="158"/>
                        <a:pt x="128" y="149"/>
                        <a:pt x="116" y="149"/>
                      </a:cubicBezTo>
                      <a:close/>
                      <a:moveTo>
                        <a:pt x="66" y="215"/>
                      </a:moveTo>
                      <a:cubicBezTo>
                        <a:pt x="54" y="215"/>
                        <a:pt x="45" y="224"/>
                        <a:pt x="45" y="236"/>
                      </a:cubicBezTo>
                      <a:cubicBezTo>
                        <a:pt x="45" y="248"/>
                        <a:pt x="54" y="258"/>
                        <a:pt x="66" y="258"/>
                      </a:cubicBezTo>
                      <a:cubicBezTo>
                        <a:pt x="78" y="258"/>
                        <a:pt x="88" y="248"/>
                        <a:pt x="88" y="236"/>
                      </a:cubicBezTo>
                      <a:cubicBezTo>
                        <a:pt x="88" y="224"/>
                        <a:pt x="78" y="215"/>
                        <a:pt x="66" y="215"/>
                      </a:cubicBezTo>
                      <a:close/>
                      <a:moveTo>
                        <a:pt x="15" y="44"/>
                      </a:moveTo>
                      <a:cubicBezTo>
                        <a:pt x="15" y="322"/>
                        <a:pt x="15" y="322"/>
                        <a:pt x="15" y="322"/>
                      </a:cubicBezTo>
                      <a:cubicBezTo>
                        <a:pt x="15" y="322"/>
                        <a:pt x="15" y="323"/>
                        <a:pt x="15" y="324"/>
                      </a:cubicBezTo>
                      <a:cubicBezTo>
                        <a:pt x="15" y="324"/>
                        <a:pt x="15" y="324"/>
                        <a:pt x="15" y="324"/>
                      </a:cubicBezTo>
                      <a:cubicBezTo>
                        <a:pt x="15" y="329"/>
                        <a:pt x="15" y="329"/>
                        <a:pt x="15" y="329"/>
                      </a:cubicBezTo>
                      <a:cubicBezTo>
                        <a:pt x="15" y="338"/>
                        <a:pt x="22" y="345"/>
                        <a:pt x="31" y="345"/>
                      </a:cubicBezTo>
                      <a:cubicBezTo>
                        <a:pt x="31" y="345"/>
                        <a:pt x="31" y="345"/>
                        <a:pt x="31" y="345"/>
                      </a:cubicBezTo>
                      <a:cubicBezTo>
                        <a:pt x="40" y="345"/>
                        <a:pt x="47" y="338"/>
                        <a:pt x="47" y="329"/>
                      </a:cubicBezTo>
                      <a:cubicBezTo>
                        <a:pt x="47" y="324"/>
                        <a:pt x="47" y="324"/>
                        <a:pt x="47" y="324"/>
                      </a:cubicBezTo>
                      <a:cubicBezTo>
                        <a:pt x="47" y="324"/>
                        <a:pt x="47" y="324"/>
                        <a:pt x="47" y="324"/>
                      </a:cubicBezTo>
                      <a:cubicBezTo>
                        <a:pt x="54" y="317"/>
                        <a:pt x="174" y="195"/>
                        <a:pt x="174" y="195"/>
                      </a:cubicBezTo>
                      <a:cubicBezTo>
                        <a:pt x="174" y="195"/>
                        <a:pt x="174" y="195"/>
                        <a:pt x="174" y="195"/>
                      </a:cubicBezTo>
                      <a:cubicBezTo>
                        <a:pt x="174" y="216"/>
                        <a:pt x="174" y="216"/>
                        <a:pt x="174" y="216"/>
                      </a:cubicBezTo>
                      <a:cubicBezTo>
                        <a:pt x="174" y="223"/>
                        <a:pt x="180" y="229"/>
                        <a:pt x="188" y="229"/>
                      </a:cubicBezTo>
                      <a:cubicBezTo>
                        <a:pt x="188" y="229"/>
                        <a:pt x="188" y="229"/>
                        <a:pt x="188" y="229"/>
                      </a:cubicBezTo>
                      <a:cubicBezTo>
                        <a:pt x="195" y="229"/>
                        <a:pt x="201" y="223"/>
                        <a:pt x="201" y="216"/>
                      </a:cubicBezTo>
                      <a:cubicBezTo>
                        <a:pt x="201" y="168"/>
                        <a:pt x="201" y="168"/>
                        <a:pt x="201" y="168"/>
                      </a:cubicBezTo>
                      <a:cubicBezTo>
                        <a:pt x="201" y="164"/>
                        <a:pt x="201" y="164"/>
                        <a:pt x="201" y="164"/>
                      </a:cubicBezTo>
                      <a:moveTo>
                        <a:pt x="201" y="176"/>
                      </a:moveTo>
                      <a:cubicBezTo>
                        <a:pt x="201" y="183"/>
                        <a:pt x="207" y="189"/>
                        <a:pt x="214" y="189"/>
                      </a:cubicBezTo>
                      <a:cubicBezTo>
                        <a:pt x="214" y="189"/>
                        <a:pt x="214" y="189"/>
                        <a:pt x="214" y="189"/>
                      </a:cubicBezTo>
                      <a:cubicBezTo>
                        <a:pt x="221" y="189"/>
                        <a:pt x="226" y="183"/>
                        <a:pt x="226" y="176"/>
                      </a:cubicBezTo>
                      <a:cubicBezTo>
                        <a:pt x="226" y="150"/>
                        <a:pt x="226" y="150"/>
                        <a:pt x="226" y="150"/>
                      </a:cubicBezTo>
                    </a:path>
                  </a:pathLst>
                </a:custGeom>
                <a:noFill/>
                <a:ln w="15875" cap="sq">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75" name="Group 74">
                <a:extLst>
                  <a:ext uri="{FF2B5EF4-FFF2-40B4-BE49-F238E27FC236}">
                    <a16:creationId xmlns:a16="http://schemas.microsoft.com/office/drawing/2014/main" id="{E4CA8ABB-6E88-4193-9710-F0DB22350C8A}"/>
                  </a:ext>
                </a:extLst>
              </p:cNvPr>
              <p:cNvGrpSpPr/>
              <p:nvPr/>
            </p:nvGrpSpPr>
            <p:grpSpPr>
              <a:xfrm>
                <a:off x="8878033" y="4562960"/>
                <a:ext cx="914400" cy="914400"/>
                <a:chOff x="6452895" y="4528057"/>
                <a:chExt cx="914400" cy="914400"/>
              </a:xfrm>
            </p:grpSpPr>
            <p:sp>
              <p:nvSpPr>
                <p:cNvPr id="127" name="Rectangle 126">
                  <a:extLst>
                    <a:ext uri="{FF2B5EF4-FFF2-40B4-BE49-F238E27FC236}">
                      <a16:creationId xmlns:a16="http://schemas.microsoft.com/office/drawing/2014/main" id="{079DC19C-BDFB-45B0-AC56-3A5691C80955}"/>
                    </a:ext>
                  </a:extLst>
                </p:cNvPr>
                <p:cNvSpPr/>
                <p:nvPr/>
              </p:nvSpPr>
              <p:spPr bwMode="auto">
                <a:xfrm>
                  <a:off x="6452895" y="4528057"/>
                  <a:ext cx="914400" cy="914400"/>
                </a:xfrm>
                <a:prstGeom prst="rect">
                  <a:avLst/>
                </a:pr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fety/Security</a:t>
                  </a:r>
                </a:p>
              </p:txBody>
            </p:sp>
            <p:sp>
              <p:nvSpPr>
                <p:cNvPr id="128" name="SecurityCamera_EB35" title="Icon of a security camera">
                  <a:extLst>
                    <a:ext uri="{FF2B5EF4-FFF2-40B4-BE49-F238E27FC236}">
                      <a16:creationId xmlns:a16="http://schemas.microsoft.com/office/drawing/2014/main" id="{20C4E46A-2928-48F7-820C-B56430C1E573}"/>
                    </a:ext>
                  </a:extLst>
                </p:cNvPr>
                <p:cNvSpPr>
                  <a:spLocks noChangeAspect="1" noEditPoints="1"/>
                </p:cNvSpPr>
                <p:nvPr/>
              </p:nvSpPr>
              <p:spPr bwMode="auto">
                <a:xfrm flipH="1">
                  <a:off x="6678805" y="4765356"/>
                  <a:ext cx="384054" cy="331564"/>
                </a:xfrm>
                <a:custGeom>
                  <a:avLst/>
                  <a:gdLst>
                    <a:gd name="T0" fmla="*/ 1409 w 4712"/>
                    <a:gd name="T1" fmla="*/ 2190 h 4068"/>
                    <a:gd name="T2" fmla="*/ 1409 w 4712"/>
                    <a:gd name="T3" fmla="*/ 3442 h 4068"/>
                    <a:gd name="T4" fmla="*/ 0 w 4712"/>
                    <a:gd name="T5" fmla="*/ 3442 h 4068"/>
                    <a:gd name="T6" fmla="*/ 0 w 4712"/>
                    <a:gd name="T7" fmla="*/ 4068 h 4068"/>
                    <a:gd name="T8" fmla="*/ 2035 w 4712"/>
                    <a:gd name="T9" fmla="*/ 4068 h 4068"/>
                    <a:gd name="T10" fmla="*/ 2035 w 4712"/>
                    <a:gd name="T11" fmla="*/ 2345 h 4068"/>
                    <a:gd name="T12" fmla="*/ 4225 w 4712"/>
                    <a:gd name="T13" fmla="*/ 1565 h 4068"/>
                    <a:gd name="T14" fmla="*/ 4226 w 4712"/>
                    <a:gd name="T15" fmla="*/ 1563 h 4068"/>
                    <a:gd name="T16" fmla="*/ 4225 w 4712"/>
                    <a:gd name="T17" fmla="*/ 1565 h 4068"/>
                    <a:gd name="T18" fmla="*/ 617 w 4712"/>
                    <a:gd name="T19" fmla="*/ 662 h 4068"/>
                    <a:gd name="T20" fmla="*/ 4225 w 4712"/>
                    <a:gd name="T21" fmla="*/ 1565 h 4068"/>
                    <a:gd name="T22" fmla="*/ 4400 w 4712"/>
                    <a:gd name="T23" fmla="*/ 1608 h 4068"/>
                    <a:gd name="T24" fmla="*/ 4712 w 4712"/>
                    <a:gd name="T25" fmla="*/ 982 h 4068"/>
                    <a:gd name="T26" fmla="*/ 782 w 4712"/>
                    <a:gd name="T27" fmla="*/ 0 h 4068"/>
                    <a:gd name="T28" fmla="*/ 617 w 4712"/>
                    <a:gd name="T29" fmla="*/ 662 h 4068"/>
                    <a:gd name="T30" fmla="*/ 617 w 4712"/>
                    <a:gd name="T31" fmla="*/ 662 h 4068"/>
                    <a:gd name="T32" fmla="*/ 313 w 4712"/>
                    <a:gd name="T33" fmla="*/ 1876 h 4068"/>
                    <a:gd name="T34" fmla="*/ 3652 w 4712"/>
                    <a:gd name="T35" fmla="*/ 2711 h 4068"/>
                    <a:gd name="T36" fmla="*/ 4225 w 4712"/>
                    <a:gd name="T37" fmla="*/ 1565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2" h="4068">
                      <a:moveTo>
                        <a:pt x="1409" y="2190"/>
                      </a:moveTo>
                      <a:lnTo>
                        <a:pt x="1409" y="3442"/>
                      </a:lnTo>
                      <a:lnTo>
                        <a:pt x="0" y="3442"/>
                      </a:lnTo>
                      <a:moveTo>
                        <a:pt x="0" y="4068"/>
                      </a:moveTo>
                      <a:lnTo>
                        <a:pt x="2035" y="4068"/>
                      </a:lnTo>
                      <a:lnTo>
                        <a:pt x="2035" y="2345"/>
                      </a:lnTo>
                      <a:moveTo>
                        <a:pt x="4225" y="1565"/>
                      </a:moveTo>
                      <a:lnTo>
                        <a:pt x="4226" y="1563"/>
                      </a:lnTo>
                      <a:moveTo>
                        <a:pt x="4225" y="1565"/>
                      </a:moveTo>
                      <a:lnTo>
                        <a:pt x="617" y="662"/>
                      </a:lnTo>
                      <a:moveTo>
                        <a:pt x="4225" y="1565"/>
                      </a:moveTo>
                      <a:lnTo>
                        <a:pt x="4400" y="1608"/>
                      </a:lnTo>
                      <a:lnTo>
                        <a:pt x="4712" y="982"/>
                      </a:lnTo>
                      <a:lnTo>
                        <a:pt x="782" y="0"/>
                      </a:lnTo>
                      <a:lnTo>
                        <a:pt x="617" y="662"/>
                      </a:lnTo>
                      <a:moveTo>
                        <a:pt x="617" y="662"/>
                      </a:moveTo>
                      <a:lnTo>
                        <a:pt x="313" y="1876"/>
                      </a:lnTo>
                      <a:lnTo>
                        <a:pt x="3652" y="2711"/>
                      </a:lnTo>
                      <a:lnTo>
                        <a:pt x="4225" y="1565"/>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76" name="Group 75">
                <a:extLst>
                  <a:ext uri="{FF2B5EF4-FFF2-40B4-BE49-F238E27FC236}">
                    <a16:creationId xmlns:a16="http://schemas.microsoft.com/office/drawing/2014/main" id="{235F6861-2650-4C93-949B-2EB980EB206C}"/>
                  </a:ext>
                </a:extLst>
              </p:cNvPr>
              <p:cNvGrpSpPr/>
              <p:nvPr/>
            </p:nvGrpSpPr>
            <p:grpSpPr>
              <a:xfrm>
                <a:off x="9922739" y="4562960"/>
                <a:ext cx="914400" cy="914400"/>
                <a:chOff x="9613334" y="4562960"/>
                <a:chExt cx="914400" cy="914400"/>
              </a:xfrm>
            </p:grpSpPr>
            <p:sp>
              <p:nvSpPr>
                <p:cNvPr id="104" name="Rectangle 103">
                  <a:extLst>
                    <a:ext uri="{FF2B5EF4-FFF2-40B4-BE49-F238E27FC236}">
                      <a16:creationId xmlns:a16="http://schemas.microsoft.com/office/drawing/2014/main" id="{D515D261-14AA-4398-AFC5-96D2D6889B92}"/>
                    </a:ext>
                  </a:extLst>
                </p:cNvPr>
                <p:cNvSpPr/>
                <p:nvPr/>
              </p:nvSpPr>
              <p:spPr bwMode="auto">
                <a:xfrm>
                  <a:off x="9613334" y="4562960"/>
                  <a:ext cx="914400" cy="914400"/>
                </a:xfrm>
                <a:prstGeom prst="rect">
                  <a:avLst/>
                </a:pr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adium</a:t>
                  </a:r>
                </a:p>
              </p:txBody>
            </p:sp>
            <p:grpSp>
              <p:nvGrpSpPr>
                <p:cNvPr id="105" name="Group 104">
                  <a:extLst>
                    <a:ext uri="{FF2B5EF4-FFF2-40B4-BE49-F238E27FC236}">
                      <a16:creationId xmlns:a16="http://schemas.microsoft.com/office/drawing/2014/main" id="{501960A5-E6C7-4970-94DB-1E4C0B6AE87E}"/>
                    </a:ext>
                  </a:extLst>
                </p:cNvPr>
                <p:cNvGrpSpPr/>
                <p:nvPr/>
              </p:nvGrpSpPr>
              <p:grpSpPr>
                <a:xfrm>
                  <a:off x="9824844" y="4786244"/>
                  <a:ext cx="478917" cy="351869"/>
                  <a:chOff x="-3024521" y="4547035"/>
                  <a:chExt cx="1186487" cy="871737"/>
                </a:xfrm>
                <a:solidFill>
                  <a:srgbClr val="82C7E3"/>
                </a:solidFill>
              </p:grpSpPr>
              <p:sp>
                <p:nvSpPr>
                  <p:cNvPr id="106" name="Oval 105">
                    <a:extLst>
                      <a:ext uri="{FF2B5EF4-FFF2-40B4-BE49-F238E27FC236}">
                        <a16:creationId xmlns:a16="http://schemas.microsoft.com/office/drawing/2014/main" id="{8BA349FB-6710-4972-BC3C-913130503F27}"/>
                      </a:ext>
                    </a:extLst>
                  </p:cNvPr>
                  <p:cNvSpPr/>
                  <p:nvPr/>
                </p:nvSpPr>
                <p:spPr bwMode="auto">
                  <a:xfrm>
                    <a:off x="-3024521" y="4684599"/>
                    <a:ext cx="1154833" cy="290919"/>
                  </a:xfrm>
                  <a:prstGeom prst="ellipse">
                    <a:avLst/>
                  </a:pr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5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07" name="Group 106">
                    <a:extLst>
                      <a:ext uri="{FF2B5EF4-FFF2-40B4-BE49-F238E27FC236}">
                        <a16:creationId xmlns:a16="http://schemas.microsoft.com/office/drawing/2014/main" id="{079E5677-680F-4F0B-8057-4B215B850C61}"/>
                      </a:ext>
                    </a:extLst>
                  </p:cNvPr>
                  <p:cNvGrpSpPr>
                    <a:grpSpLocks noChangeAspect="1"/>
                  </p:cNvGrpSpPr>
                  <p:nvPr/>
                </p:nvGrpSpPr>
                <p:grpSpPr>
                  <a:xfrm>
                    <a:off x="-3014375" y="4547035"/>
                    <a:ext cx="1176341" cy="871737"/>
                    <a:chOff x="-3014375" y="4547035"/>
                    <a:chExt cx="1176341" cy="871737"/>
                  </a:xfrm>
                  <a:grpFill/>
                </p:grpSpPr>
                <p:grpSp>
                  <p:nvGrpSpPr>
                    <p:cNvPr id="108" name="Group 107">
                      <a:extLst>
                        <a:ext uri="{FF2B5EF4-FFF2-40B4-BE49-F238E27FC236}">
                          <a16:creationId xmlns:a16="http://schemas.microsoft.com/office/drawing/2014/main" id="{D0C30CFE-2D3A-4D81-B815-0CDA4686A847}"/>
                        </a:ext>
                      </a:extLst>
                    </p:cNvPr>
                    <p:cNvGrpSpPr/>
                    <p:nvPr/>
                  </p:nvGrpSpPr>
                  <p:grpSpPr>
                    <a:xfrm>
                      <a:off x="-2909220" y="4615579"/>
                      <a:ext cx="151622" cy="128491"/>
                      <a:chOff x="-2914650" y="4596199"/>
                      <a:chExt cx="151622" cy="128491"/>
                    </a:xfrm>
                    <a:grpFill/>
                  </p:grpSpPr>
                  <p:sp>
                    <p:nvSpPr>
                      <p:cNvPr id="125" name="Arrow: Pentagon 124">
                        <a:extLst>
                          <a:ext uri="{FF2B5EF4-FFF2-40B4-BE49-F238E27FC236}">
                            <a16:creationId xmlns:a16="http://schemas.microsoft.com/office/drawing/2014/main" id="{B5895E1C-F415-4179-AB87-6AA635947CF0}"/>
                          </a:ext>
                        </a:extLst>
                      </p:cNvPr>
                      <p:cNvSpPr/>
                      <p:nvPr/>
                    </p:nvSpPr>
                    <p:spPr bwMode="auto">
                      <a:xfrm>
                        <a:off x="-2898450" y="4598580"/>
                        <a:ext cx="135422" cy="73385"/>
                      </a:xfrm>
                      <a:prstGeom prst="homePlate">
                        <a:avLst/>
                      </a:pr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5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6" name="Straight Connector 125">
                        <a:extLst>
                          <a:ext uri="{FF2B5EF4-FFF2-40B4-BE49-F238E27FC236}">
                            <a16:creationId xmlns:a16="http://schemas.microsoft.com/office/drawing/2014/main" id="{E4FECE00-8CB6-41E8-B14A-B73C2D58F430}"/>
                          </a:ext>
                        </a:extLst>
                      </p:cNvPr>
                      <p:cNvCxnSpPr/>
                      <p:nvPr/>
                    </p:nvCxnSpPr>
                    <p:spPr>
                      <a:xfrm>
                        <a:off x="-2914650" y="4596199"/>
                        <a:ext cx="0" cy="12849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9" name="Group 108">
                      <a:extLst>
                        <a:ext uri="{FF2B5EF4-FFF2-40B4-BE49-F238E27FC236}">
                          <a16:creationId xmlns:a16="http://schemas.microsoft.com/office/drawing/2014/main" id="{DA038C78-B1E8-45BC-88A0-086E508A160B}"/>
                        </a:ext>
                      </a:extLst>
                    </p:cNvPr>
                    <p:cNvGrpSpPr/>
                    <p:nvPr/>
                  </p:nvGrpSpPr>
                  <p:grpSpPr>
                    <a:xfrm>
                      <a:off x="-2679329" y="4562854"/>
                      <a:ext cx="151622" cy="128491"/>
                      <a:chOff x="-2914650" y="4596199"/>
                      <a:chExt cx="151622" cy="128491"/>
                    </a:xfrm>
                    <a:grpFill/>
                  </p:grpSpPr>
                  <p:sp>
                    <p:nvSpPr>
                      <p:cNvPr id="123" name="Arrow: Pentagon 122">
                        <a:extLst>
                          <a:ext uri="{FF2B5EF4-FFF2-40B4-BE49-F238E27FC236}">
                            <a16:creationId xmlns:a16="http://schemas.microsoft.com/office/drawing/2014/main" id="{A0C45BB4-5578-49B2-B8DE-F1EC804878B4}"/>
                          </a:ext>
                        </a:extLst>
                      </p:cNvPr>
                      <p:cNvSpPr/>
                      <p:nvPr/>
                    </p:nvSpPr>
                    <p:spPr bwMode="auto">
                      <a:xfrm>
                        <a:off x="-2898450" y="4598580"/>
                        <a:ext cx="135422" cy="73385"/>
                      </a:xfrm>
                      <a:prstGeom prst="homePlate">
                        <a:avLst/>
                      </a:pr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5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4" name="Straight Connector 123">
                        <a:extLst>
                          <a:ext uri="{FF2B5EF4-FFF2-40B4-BE49-F238E27FC236}">
                            <a16:creationId xmlns:a16="http://schemas.microsoft.com/office/drawing/2014/main" id="{A3DF8807-2771-4ED7-8844-32A699715672}"/>
                          </a:ext>
                        </a:extLst>
                      </p:cNvPr>
                      <p:cNvCxnSpPr/>
                      <p:nvPr/>
                    </p:nvCxnSpPr>
                    <p:spPr>
                      <a:xfrm>
                        <a:off x="-2914650" y="4596199"/>
                        <a:ext cx="0" cy="12849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0" name="Group 109">
                      <a:extLst>
                        <a:ext uri="{FF2B5EF4-FFF2-40B4-BE49-F238E27FC236}">
                          <a16:creationId xmlns:a16="http://schemas.microsoft.com/office/drawing/2014/main" id="{ECC032A5-9F4A-464F-8256-BFA239BC1018}"/>
                        </a:ext>
                      </a:extLst>
                    </p:cNvPr>
                    <p:cNvGrpSpPr/>
                    <p:nvPr/>
                  </p:nvGrpSpPr>
                  <p:grpSpPr>
                    <a:xfrm>
                      <a:off x="-2449438" y="4547035"/>
                      <a:ext cx="151622" cy="128491"/>
                      <a:chOff x="-2914650" y="4596199"/>
                      <a:chExt cx="151622" cy="128491"/>
                    </a:xfrm>
                    <a:grpFill/>
                  </p:grpSpPr>
                  <p:sp>
                    <p:nvSpPr>
                      <p:cNvPr id="121" name="Arrow: Pentagon 120">
                        <a:extLst>
                          <a:ext uri="{FF2B5EF4-FFF2-40B4-BE49-F238E27FC236}">
                            <a16:creationId xmlns:a16="http://schemas.microsoft.com/office/drawing/2014/main" id="{6F3B5A49-7525-461B-8794-A64126E2D64B}"/>
                          </a:ext>
                        </a:extLst>
                      </p:cNvPr>
                      <p:cNvSpPr/>
                      <p:nvPr/>
                    </p:nvSpPr>
                    <p:spPr bwMode="auto">
                      <a:xfrm>
                        <a:off x="-2898450" y="4598580"/>
                        <a:ext cx="135422" cy="73385"/>
                      </a:xfrm>
                      <a:prstGeom prst="homePlate">
                        <a:avLst/>
                      </a:pr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5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2" name="Straight Connector 121">
                        <a:extLst>
                          <a:ext uri="{FF2B5EF4-FFF2-40B4-BE49-F238E27FC236}">
                            <a16:creationId xmlns:a16="http://schemas.microsoft.com/office/drawing/2014/main" id="{14C2A36A-1E96-4BFE-9A43-9C7ED2B3F028}"/>
                          </a:ext>
                        </a:extLst>
                      </p:cNvPr>
                      <p:cNvCxnSpPr/>
                      <p:nvPr/>
                    </p:nvCxnSpPr>
                    <p:spPr>
                      <a:xfrm>
                        <a:off x="-2914650" y="4596199"/>
                        <a:ext cx="0" cy="128491"/>
                      </a:xfrm>
                      <a:prstGeom prst="line">
                        <a:avLst/>
                      </a:prstGeom>
                      <a:no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11FD0E3B-275F-4F3A-AA53-E1FEBD9D362B}"/>
                        </a:ext>
                      </a:extLst>
                    </p:cNvPr>
                    <p:cNvGrpSpPr/>
                    <p:nvPr/>
                  </p:nvGrpSpPr>
                  <p:grpSpPr>
                    <a:xfrm>
                      <a:off x="-1989656" y="4615579"/>
                      <a:ext cx="151622" cy="128491"/>
                      <a:chOff x="-2914650" y="4596199"/>
                      <a:chExt cx="151622" cy="128491"/>
                    </a:xfrm>
                    <a:grpFill/>
                  </p:grpSpPr>
                  <p:sp>
                    <p:nvSpPr>
                      <p:cNvPr id="119" name="Arrow: Pentagon 118">
                        <a:extLst>
                          <a:ext uri="{FF2B5EF4-FFF2-40B4-BE49-F238E27FC236}">
                            <a16:creationId xmlns:a16="http://schemas.microsoft.com/office/drawing/2014/main" id="{8338C590-0F8B-442B-8E54-C51DB198987E}"/>
                          </a:ext>
                        </a:extLst>
                      </p:cNvPr>
                      <p:cNvSpPr/>
                      <p:nvPr/>
                    </p:nvSpPr>
                    <p:spPr bwMode="auto">
                      <a:xfrm>
                        <a:off x="-2898450" y="4598580"/>
                        <a:ext cx="135422" cy="73385"/>
                      </a:xfrm>
                      <a:prstGeom prst="homePlate">
                        <a:avLst/>
                      </a:pr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5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0" name="Straight Connector 119">
                        <a:extLst>
                          <a:ext uri="{FF2B5EF4-FFF2-40B4-BE49-F238E27FC236}">
                            <a16:creationId xmlns:a16="http://schemas.microsoft.com/office/drawing/2014/main" id="{756A8A3C-187E-4DBD-975B-6DD2AF9E6FF0}"/>
                          </a:ext>
                        </a:extLst>
                      </p:cNvPr>
                      <p:cNvCxnSpPr/>
                      <p:nvPr/>
                    </p:nvCxnSpPr>
                    <p:spPr>
                      <a:xfrm>
                        <a:off x="-2914650" y="4596199"/>
                        <a:ext cx="0" cy="128491"/>
                      </a:xfrm>
                      <a:prstGeom prst="line">
                        <a:avLst/>
                      </a:prstGeom>
                      <a:no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3" name="Group 112">
                      <a:extLst>
                        <a:ext uri="{FF2B5EF4-FFF2-40B4-BE49-F238E27FC236}">
                          <a16:creationId xmlns:a16="http://schemas.microsoft.com/office/drawing/2014/main" id="{3FD8E20E-4A8D-4D2A-85DA-7284CEF427D0}"/>
                        </a:ext>
                      </a:extLst>
                    </p:cNvPr>
                    <p:cNvGrpSpPr/>
                    <p:nvPr/>
                  </p:nvGrpSpPr>
                  <p:grpSpPr>
                    <a:xfrm>
                      <a:off x="-2219547" y="4562854"/>
                      <a:ext cx="151622" cy="128491"/>
                      <a:chOff x="-2914650" y="4596199"/>
                      <a:chExt cx="151622" cy="128491"/>
                    </a:xfrm>
                    <a:grpFill/>
                  </p:grpSpPr>
                  <p:sp>
                    <p:nvSpPr>
                      <p:cNvPr id="117" name="Arrow: Pentagon 116">
                        <a:extLst>
                          <a:ext uri="{FF2B5EF4-FFF2-40B4-BE49-F238E27FC236}">
                            <a16:creationId xmlns:a16="http://schemas.microsoft.com/office/drawing/2014/main" id="{ABDECB68-9106-431A-81FE-9F508CACC796}"/>
                          </a:ext>
                        </a:extLst>
                      </p:cNvPr>
                      <p:cNvSpPr/>
                      <p:nvPr/>
                    </p:nvSpPr>
                    <p:spPr bwMode="auto">
                      <a:xfrm>
                        <a:off x="-2898450" y="4598580"/>
                        <a:ext cx="135422" cy="73385"/>
                      </a:xfrm>
                      <a:prstGeom prst="homePlate">
                        <a:avLst/>
                      </a:pr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5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18" name="Straight Connector 117">
                        <a:extLst>
                          <a:ext uri="{FF2B5EF4-FFF2-40B4-BE49-F238E27FC236}">
                            <a16:creationId xmlns:a16="http://schemas.microsoft.com/office/drawing/2014/main" id="{F8B1546D-5E99-4EAC-89D6-1027020B01E8}"/>
                          </a:ext>
                        </a:extLst>
                      </p:cNvPr>
                      <p:cNvCxnSpPr/>
                      <p:nvPr/>
                    </p:nvCxnSpPr>
                    <p:spPr>
                      <a:xfrm>
                        <a:off x="-2914650" y="4596199"/>
                        <a:ext cx="0" cy="128491"/>
                      </a:xfrm>
                      <a:prstGeom prst="line">
                        <a:avLst/>
                      </a:prstGeom>
                      <a:no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14" name="Freeform: Shape 113">
                      <a:extLst>
                        <a:ext uri="{FF2B5EF4-FFF2-40B4-BE49-F238E27FC236}">
                          <a16:creationId xmlns:a16="http://schemas.microsoft.com/office/drawing/2014/main" id="{893F5C2E-E27D-4604-9F16-EC66634312DB}"/>
                        </a:ext>
                      </a:extLst>
                    </p:cNvPr>
                    <p:cNvSpPr/>
                    <p:nvPr/>
                  </p:nvSpPr>
                  <p:spPr bwMode="auto">
                    <a:xfrm>
                      <a:off x="-2968661" y="4736769"/>
                      <a:ext cx="1031160" cy="136630"/>
                    </a:xfrm>
                    <a:custGeom>
                      <a:avLst/>
                      <a:gdLst>
                        <a:gd name="connsiteX0" fmla="*/ 1734932 w 1868753"/>
                        <a:gd name="connsiteY0" fmla="*/ 96740 h 247613"/>
                        <a:gd name="connsiteX1" fmla="*/ 1868753 w 1868753"/>
                        <a:gd name="connsiteY1" fmla="*/ 144057 h 247613"/>
                        <a:gd name="connsiteX2" fmla="*/ 1594366 w 1868753"/>
                        <a:gd name="connsiteY2" fmla="*/ 247613 h 247613"/>
                        <a:gd name="connsiteX3" fmla="*/ 1572257 w 1868753"/>
                        <a:gd name="connsiteY3" fmla="*/ 243971 h 247613"/>
                        <a:gd name="connsiteX4" fmla="*/ 119763 w 1868753"/>
                        <a:gd name="connsiteY4" fmla="*/ 93891 h 247613"/>
                        <a:gd name="connsiteX5" fmla="*/ 279714 w 1868753"/>
                        <a:gd name="connsiteY5" fmla="*/ 238656 h 247613"/>
                        <a:gd name="connsiteX6" fmla="*/ 273112 w 1868753"/>
                        <a:gd name="connsiteY6" fmla="*/ 239447 h 247613"/>
                        <a:gd name="connsiteX7" fmla="*/ 0 w 1868753"/>
                        <a:gd name="connsiteY7" fmla="*/ 139974 h 247613"/>
                        <a:gd name="connsiteX8" fmla="*/ 66697 w 1868753"/>
                        <a:gd name="connsiteY8" fmla="*/ 109485 h 247613"/>
                        <a:gd name="connsiteX9" fmla="*/ 435444 w 1868753"/>
                        <a:gd name="connsiteY9" fmla="*/ 34208 h 247613"/>
                        <a:gd name="connsiteX10" fmla="*/ 532530 w 1868753"/>
                        <a:gd name="connsiteY10" fmla="*/ 211466 h 247613"/>
                        <a:gd name="connsiteX11" fmla="*/ 420473 w 1868753"/>
                        <a:gd name="connsiteY11" fmla="*/ 221783 h 247613"/>
                        <a:gd name="connsiteX12" fmla="*/ 315813 w 1868753"/>
                        <a:gd name="connsiteY12" fmla="*/ 234329 h 247613"/>
                        <a:gd name="connsiteX13" fmla="*/ 150623 w 1868753"/>
                        <a:gd name="connsiteY13" fmla="*/ 84822 h 247613"/>
                        <a:gd name="connsiteX14" fmla="*/ 160040 w 1868753"/>
                        <a:gd name="connsiteY14" fmla="*/ 82054 h 247613"/>
                        <a:gd name="connsiteX15" fmla="*/ 402052 w 1868753"/>
                        <a:gd name="connsiteY15" fmla="*/ 37650 h 247613"/>
                        <a:gd name="connsiteX16" fmla="*/ 1433761 w 1868753"/>
                        <a:gd name="connsiteY16" fmla="*/ 30675 h 247613"/>
                        <a:gd name="connsiteX17" fmla="*/ 1436503 w 1868753"/>
                        <a:gd name="connsiteY17" fmla="*/ 30932 h 247613"/>
                        <a:gd name="connsiteX18" fmla="*/ 1674189 w 1868753"/>
                        <a:gd name="connsiteY18" fmla="*/ 75263 h 247613"/>
                        <a:gd name="connsiteX19" fmla="*/ 1705536 w 1868753"/>
                        <a:gd name="connsiteY19" fmla="*/ 86346 h 247613"/>
                        <a:gd name="connsiteX20" fmla="*/ 1537673 w 1868753"/>
                        <a:gd name="connsiteY20" fmla="*/ 238272 h 247613"/>
                        <a:gd name="connsiteX21" fmla="*/ 1461991 w 1868753"/>
                        <a:gd name="connsiteY21" fmla="*/ 225803 h 247613"/>
                        <a:gd name="connsiteX22" fmla="*/ 1334178 w 1868753"/>
                        <a:gd name="connsiteY22" fmla="*/ 212493 h 247613"/>
                        <a:gd name="connsiteX23" fmla="*/ 696820 w 1868753"/>
                        <a:gd name="connsiteY23" fmla="*/ 8579 h 247613"/>
                        <a:gd name="connsiteX24" fmla="*/ 734395 w 1868753"/>
                        <a:gd name="connsiteY24" fmla="*/ 197353 h 247613"/>
                        <a:gd name="connsiteX25" fmla="*/ 589556 w 1868753"/>
                        <a:gd name="connsiteY25" fmla="*/ 206216 h 247613"/>
                        <a:gd name="connsiteX26" fmla="*/ 562306 w 1868753"/>
                        <a:gd name="connsiteY26" fmla="*/ 208725 h 247613"/>
                        <a:gd name="connsiteX27" fmla="*/ 465049 w 1868753"/>
                        <a:gd name="connsiteY27" fmla="*/ 31156 h 247613"/>
                        <a:gd name="connsiteX28" fmla="*/ 676802 w 1868753"/>
                        <a:gd name="connsiteY28" fmla="*/ 9328 h 247613"/>
                        <a:gd name="connsiteX29" fmla="*/ 1171872 w 1868753"/>
                        <a:gd name="connsiteY29" fmla="*/ 6774 h 247613"/>
                        <a:gd name="connsiteX30" fmla="*/ 1181518 w 1868753"/>
                        <a:gd name="connsiteY30" fmla="*/ 7064 h 247613"/>
                        <a:gd name="connsiteX31" fmla="*/ 1404010 w 1868753"/>
                        <a:gd name="connsiteY31" fmla="*/ 27890 h 247613"/>
                        <a:gd name="connsiteX32" fmla="*/ 1304588 w 1868753"/>
                        <a:gd name="connsiteY32" fmla="*/ 209412 h 247613"/>
                        <a:gd name="connsiteX33" fmla="*/ 1295141 w 1868753"/>
                        <a:gd name="connsiteY33" fmla="*/ 208428 h 247613"/>
                        <a:gd name="connsiteX34" fmla="*/ 1133814 w 1868753"/>
                        <a:gd name="connsiteY34" fmla="*/ 197980 h 247613"/>
                        <a:gd name="connsiteX35" fmla="*/ 953330 w 1868753"/>
                        <a:gd name="connsiteY35" fmla="*/ 206 h 247613"/>
                        <a:gd name="connsiteX36" fmla="*/ 1144069 w 1868753"/>
                        <a:gd name="connsiteY36" fmla="*/ 5939 h 247613"/>
                        <a:gd name="connsiteX37" fmla="*/ 1106141 w 1868753"/>
                        <a:gd name="connsiteY37" fmla="*/ 196482 h 247613"/>
                        <a:gd name="connsiteX38" fmla="*/ 953329 w 1868753"/>
                        <a:gd name="connsiteY38" fmla="*/ 192238 h 247613"/>
                        <a:gd name="connsiteX39" fmla="*/ 925898 w 1868753"/>
                        <a:gd name="connsiteY39" fmla="*/ 0 h 247613"/>
                        <a:gd name="connsiteX40" fmla="*/ 925898 w 1868753"/>
                        <a:gd name="connsiteY40" fmla="*/ 192115 h 247613"/>
                        <a:gd name="connsiteX41" fmla="*/ 766924 w 1868753"/>
                        <a:gd name="connsiteY41" fmla="*/ 195363 h 247613"/>
                        <a:gd name="connsiteX42" fmla="*/ 762029 w 1868753"/>
                        <a:gd name="connsiteY42" fmla="*/ 195663 h 247613"/>
                        <a:gd name="connsiteX43" fmla="*/ 724584 w 1868753"/>
                        <a:gd name="connsiteY43" fmla="*/ 7539 h 24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868753" h="247613">
                          <a:moveTo>
                            <a:pt x="1734932" y="96740"/>
                          </a:moveTo>
                          <a:lnTo>
                            <a:pt x="1868753" y="144057"/>
                          </a:lnTo>
                          <a:cubicBezTo>
                            <a:pt x="1765459" y="191279"/>
                            <a:pt x="1756559" y="200188"/>
                            <a:pt x="1594366" y="247613"/>
                          </a:cubicBezTo>
                          <a:lnTo>
                            <a:pt x="1572257" y="243971"/>
                          </a:lnTo>
                          <a:close/>
                          <a:moveTo>
                            <a:pt x="119763" y="93891"/>
                          </a:moveTo>
                          <a:lnTo>
                            <a:pt x="279714" y="238656"/>
                          </a:lnTo>
                          <a:lnTo>
                            <a:pt x="273112" y="239447"/>
                          </a:lnTo>
                          <a:cubicBezTo>
                            <a:pt x="109332" y="189754"/>
                            <a:pt x="129842" y="210102"/>
                            <a:pt x="0" y="139974"/>
                          </a:cubicBezTo>
                          <a:cubicBezTo>
                            <a:pt x="17107" y="129337"/>
                            <a:pt x="39681" y="119156"/>
                            <a:pt x="66697" y="109485"/>
                          </a:cubicBezTo>
                          <a:close/>
                          <a:moveTo>
                            <a:pt x="435444" y="34208"/>
                          </a:moveTo>
                          <a:lnTo>
                            <a:pt x="532530" y="211466"/>
                          </a:lnTo>
                          <a:lnTo>
                            <a:pt x="420473" y="221783"/>
                          </a:lnTo>
                          <a:lnTo>
                            <a:pt x="315813" y="234329"/>
                          </a:lnTo>
                          <a:lnTo>
                            <a:pt x="150623" y="84822"/>
                          </a:lnTo>
                          <a:lnTo>
                            <a:pt x="160040" y="82054"/>
                          </a:lnTo>
                          <a:cubicBezTo>
                            <a:pt x="229784" y="64858"/>
                            <a:pt x="313190" y="49913"/>
                            <a:pt x="402052" y="37650"/>
                          </a:cubicBezTo>
                          <a:close/>
                          <a:moveTo>
                            <a:pt x="1433761" y="30675"/>
                          </a:moveTo>
                          <a:lnTo>
                            <a:pt x="1436503" y="30932"/>
                          </a:lnTo>
                          <a:cubicBezTo>
                            <a:pt x="1520049" y="42076"/>
                            <a:pt x="1600713" y="56631"/>
                            <a:pt x="1674189" y="75263"/>
                          </a:cubicBezTo>
                          <a:lnTo>
                            <a:pt x="1705536" y="86346"/>
                          </a:lnTo>
                          <a:lnTo>
                            <a:pt x="1537673" y="238272"/>
                          </a:lnTo>
                          <a:lnTo>
                            <a:pt x="1461991" y="225803"/>
                          </a:lnTo>
                          <a:lnTo>
                            <a:pt x="1334178" y="212493"/>
                          </a:lnTo>
                          <a:close/>
                          <a:moveTo>
                            <a:pt x="696820" y="8579"/>
                          </a:moveTo>
                          <a:lnTo>
                            <a:pt x="734395" y="197353"/>
                          </a:lnTo>
                          <a:lnTo>
                            <a:pt x="589556" y="206216"/>
                          </a:lnTo>
                          <a:lnTo>
                            <a:pt x="562306" y="208725"/>
                          </a:lnTo>
                          <a:lnTo>
                            <a:pt x="465049" y="31156"/>
                          </a:lnTo>
                          <a:lnTo>
                            <a:pt x="676802" y="9328"/>
                          </a:lnTo>
                          <a:close/>
                          <a:moveTo>
                            <a:pt x="1171872" y="6774"/>
                          </a:moveTo>
                          <a:lnTo>
                            <a:pt x="1181518" y="7064"/>
                          </a:lnTo>
                          <a:lnTo>
                            <a:pt x="1404010" y="27890"/>
                          </a:lnTo>
                          <a:lnTo>
                            <a:pt x="1304588" y="209412"/>
                          </a:lnTo>
                          <a:lnTo>
                            <a:pt x="1295141" y="208428"/>
                          </a:lnTo>
                          <a:lnTo>
                            <a:pt x="1133814" y="197980"/>
                          </a:lnTo>
                          <a:close/>
                          <a:moveTo>
                            <a:pt x="953330" y="206"/>
                          </a:moveTo>
                          <a:lnTo>
                            <a:pt x="1144069" y="5939"/>
                          </a:lnTo>
                          <a:lnTo>
                            <a:pt x="1106141" y="196482"/>
                          </a:lnTo>
                          <a:lnTo>
                            <a:pt x="953329" y="192238"/>
                          </a:lnTo>
                          <a:close/>
                          <a:moveTo>
                            <a:pt x="925898" y="0"/>
                          </a:moveTo>
                          <a:lnTo>
                            <a:pt x="925898" y="192115"/>
                          </a:lnTo>
                          <a:lnTo>
                            <a:pt x="766924" y="195363"/>
                          </a:lnTo>
                          <a:lnTo>
                            <a:pt x="762029" y="195663"/>
                          </a:lnTo>
                          <a:lnTo>
                            <a:pt x="724584" y="7539"/>
                          </a:lnTo>
                          <a:close/>
                        </a:path>
                      </a:pathLst>
                    </a:cu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5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5" name="Freeform: Shape 114">
                      <a:extLst>
                        <a:ext uri="{FF2B5EF4-FFF2-40B4-BE49-F238E27FC236}">
                          <a16:creationId xmlns:a16="http://schemas.microsoft.com/office/drawing/2014/main" id="{93D7F7C8-A818-47A1-B852-C1811C0F2AE2}"/>
                        </a:ext>
                      </a:extLst>
                    </p:cNvPr>
                    <p:cNvSpPr/>
                    <p:nvPr/>
                  </p:nvSpPr>
                  <p:spPr bwMode="auto">
                    <a:xfrm>
                      <a:off x="-3010655" y="5196726"/>
                      <a:ext cx="1154834" cy="222046"/>
                    </a:xfrm>
                    <a:custGeom>
                      <a:avLst/>
                      <a:gdLst>
                        <a:gd name="connsiteX0" fmla="*/ 98816 w 1154834"/>
                        <a:gd name="connsiteY0" fmla="*/ 0 h 222046"/>
                        <a:gd name="connsiteX1" fmla="*/ 80814 w 1154834"/>
                        <a:gd name="connsiteY1" fmla="*/ 27055 h 222046"/>
                        <a:gd name="connsiteX2" fmla="*/ 577417 w 1154834"/>
                        <a:gd name="connsiteY2" fmla="*/ 177741 h 222046"/>
                        <a:gd name="connsiteX3" fmla="*/ 1074020 w 1154834"/>
                        <a:gd name="connsiteY3" fmla="*/ 27055 h 222046"/>
                        <a:gd name="connsiteX4" fmla="*/ 1056019 w 1154834"/>
                        <a:gd name="connsiteY4" fmla="*/ 0 h 222046"/>
                        <a:gd name="connsiteX5" fmla="*/ 1109458 w 1154834"/>
                        <a:gd name="connsiteY5" fmla="*/ 19967 h 222046"/>
                        <a:gd name="connsiteX6" fmla="*/ 1154834 w 1154834"/>
                        <a:gd name="connsiteY6" fmla="*/ 76586 h 222046"/>
                        <a:gd name="connsiteX7" fmla="*/ 577417 w 1154834"/>
                        <a:gd name="connsiteY7" fmla="*/ 222046 h 222046"/>
                        <a:gd name="connsiteX8" fmla="*/ 0 w 1154834"/>
                        <a:gd name="connsiteY8" fmla="*/ 76586 h 222046"/>
                        <a:gd name="connsiteX9" fmla="*/ 45376 w 1154834"/>
                        <a:gd name="connsiteY9" fmla="*/ 19967 h 222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834" h="222046">
                          <a:moveTo>
                            <a:pt x="98816" y="0"/>
                          </a:moveTo>
                          <a:lnTo>
                            <a:pt x="80814" y="27055"/>
                          </a:lnTo>
                          <a:cubicBezTo>
                            <a:pt x="80814" y="110277"/>
                            <a:pt x="303151" y="177741"/>
                            <a:pt x="577417" y="177741"/>
                          </a:cubicBezTo>
                          <a:cubicBezTo>
                            <a:pt x="851683" y="177741"/>
                            <a:pt x="1074020" y="110277"/>
                            <a:pt x="1074020" y="27055"/>
                          </a:cubicBezTo>
                          <a:lnTo>
                            <a:pt x="1056019" y="0"/>
                          </a:lnTo>
                          <a:lnTo>
                            <a:pt x="1109458" y="19967"/>
                          </a:lnTo>
                          <a:cubicBezTo>
                            <a:pt x="1138677" y="37369"/>
                            <a:pt x="1154834" y="56503"/>
                            <a:pt x="1154834" y="76586"/>
                          </a:cubicBezTo>
                          <a:cubicBezTo>
                            <a:pt x="1154834" y="156921"/>
                            <a:pt x="896316" y="222046"/>
                            <a:pt x="577417" y="222046"/>
                          </a:cubicBezTo>
                          <a:cubicBezTo>
                            <a:pt x="258518" y="222046"/>
                            <a:pt x="0" y="156921"/>
                            <a:pt x="0" y="76586"/>
                          </a:cubicBezTo>
                          <a:cubicBezTo>
                            <a:pt x="0" y="56503"/>
                            <a:pt x="16158" y="37369"/>
                            <a:pt x="45376" y="19967"/>
                          </a:cubicBezTo>
                          <a:close/>
                        </a:path>
                      </a:pathLst>
                    </a:custGeom>
                    <a:solidFill>
                      <a:schemeClr val="bg1"/>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5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6" name="Freeform: Shape 115">
                      <a:extLst>
                        <a:ext uri="{FF2B5EF4-FFF2-40B4-BE49-F238E27FC236}">
                          <a16:creationId xmlns:a16="http://schemas.microsoft.com/office/drawing/2014/main" id="{0947A87D-ECE0-4F4E-9105-05F7E7F7585E}"/>
                        </a:ext>
                      </a:extLst>
                    </p:cNvPr>
                    <p:cNvSpPr/>
                    <p:nvPr/>
                  </p:nvSpPr>
                  <p:spPr bwMode="auto">
                    <a:xfrm rot="10800000">
                      <a:off x="-3014375" y="4850664"/>
                      <a:ext cx="1137380" cy="473510"/>
                    </a:xfrm>
                    <a:custGeom>
                      <a:avLst/>
                      <a:gdLst>
                        <a:gd name="connsiteX0" fmla="*/ 0 w 1137380"/>
                        <a:gd name="connsiteY0" fmla="*/ 473510 h 473510"/>
                        <a:gd name="connsiteX1" fmla="*/ 136658 w 1137380"/>
                        <a:gd name="connsiteY1" fmla="*/ 94247 h 473510"/>
                        <a:gd name="connsiteX2" fmla="*/ 283703 w 1137380"/>
                        <a:gd name="connsiteY2" fmla="*/ 14369 h 473510"/>
                        <a:gd name="connsiteX3" fmla="*/ 355678 w 1137380"/>
                        <a:gd name="connsiteY3" fmla="*/ 3698 h 473510"/>
                        <a:gd name="connsiteX4" fmla="*/ 355678 w 1137380"/>
                        <a:gd name="connsiteY4" fmla="*/ 167074 h 473510"/>
                        <a:gd name="connsiteX5" fmla="*/ 401529 w 1137380"/>
                        <a:gd name="connsiteY5" fmla="*/ 212925 h 473510"/>
                        <a:gd name="connsiteX6" fmla="*/ 712086 w 1137380"/>
                        <a:gd name="connsiteY6" fmla="*/ 212925 h 473510"/>
                        <a:gd name="connsiteX7" fmla="*/ 757937 w 1137380"/>
                        <a:gd name="connsiteY7" fmla="*/ 167074 h 473510"/>
                        <a:gd name="connsiteX8" fmla="*/ 757937 w 1137380"/>
                        <a:gd name="connsiteY8" fmla="*/ 0 h 473510"/>
                        <a:gd name="connsiteX9" fmla="*/ 855889 w 1137380"/>
                        <a:gd name="connsiteY9" fmla="*/ 14325 h 473510"/>
                        <a:gd name="connsiteX10" fmla="*/ 1007525 w 1137380"/>
                        <a:gd name="connsiteY10" fmla="*/ 92885 h 473510"/>
                        <a:gd name="connsiteX11" fmla="*/ 1137380 w 1137380"/>
                        <a:gd name="connsiteY11" fmla="*/ 453099 h 473510"/>
                        <a:gd name="connsiteX12" fmla="*/ 0 w 1137380"/>
                        <a:gd name="connsiteY12" fmla="*/ 473510 h 473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7380" h="473510">
                          <a:moveTo>
                            <a:pt x="0" y="473510"/>
                          </a:moveTo>
                          <a:lnTo>
                            <a:pt x="136658" y="94247"/>
                          </a:lnTo>
                          <a:cubicBezTo>
                            <a:pt x="147432" y="58642"/>
                            <a:pt x="204044" y="32051"/>
                            <a:pt x="283703" y="14369"/>
                          </a:cubicBezTo>
                          <a:lnTo>
                            <a:pt x="355678" y="3698"/>
                          </a:lnTo>
                          <a:lnTo>
                            <a:pt x="355678" y="167074"/>
                          </a:lnTo>
                          <a:cubicBezTo>
                            <a:pt x="355678" y="192397"/>
                            <a:pt x="376206" y="212925"/>
                            <a:pt x="401529" y="212925"/>
                          </a:cubicBezTo>
                          <a:lnTo>
                            <a:pt x="712086" y="212925"/>
                          </a:lnTo>
                          <a:cubicBezTo>
                            <a:pt x="737409" y="212925"/>
                            <a:pt x="757937" y="192397"/>
                            <a:pt x="757937" y="167074"/>
                          </a:cubicBezTo>
                          <a:lnTo>
                            <a:pt x="757937" y="0"/>
                          </a:lnTo>
                          <a:lnTo>
                            <a:pt x="855889" y="14325"/>
                          </a:lnTo>
                          <a:cubicBezTo>
                            <a:pt x="936568" y="31851"/>
                            <a:pt x="994711" y="58073"/>
                            <a:pt x="1007525" y="92885"/>
                          </a:cubicBezTo>
                          <a:lnTo>
                            <a:pt x="1137380" y="453099"/>
                          </a:lnTo>
                          <a:cubicBezTo>
                            <a:pt x="903849" y="308863"/>
                            <a:pt x="195430" y="317029"/>
                            <a:pt x="0" y="473510"/>
                          </a:cubicBezTo>
                          <a:close/>
                        </a:path>
                      </a:pathLst>
                    </a:cu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5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grpSp>
          <p:grpSp>
            <p:nvGrpSpPr>
              <p:cNvPr id="77" name="Group 76">
                <a:extLst>
                  <a:ext uri="{FF2B5EF4-FFF2-40B4-BE49-F238E27FC236}">
                    <a16:creationId xmlns:a16="http://schemas.microsoft.com/office/drawing/2014/main" id="{E55BC47C-6FE2-4365-B70F-D291C59CC5BF}"/>
                  </a:ext>
                </a:extLst>
              </p:cNvPr>
              <p:cNvGrpSpPr/>
              <p:nvPr/>
            </p:nvGrpSpPr>
            <p:grpSpPr>
              <a:xfrm>
                <a:off x="9922811" y="5597801"/>
                <a:ext cx="914400" cy="914400"/>
                <a:chOff x="9604840" y="5592756"/>
                <a:chExt cx="914400" cy="914400"/>
              </a:xfrm>
            </p:grpSpPr>
            <p:sp>
              <p:nvSpPr>
                <p:cNvPr id="98" name="Rectangle 97">
                  <a:extLst>
                    <a:ext uri="{FF2B5EF4-FFF2-40B4-BE49-F238E27FC236}">
                      <a16:creationId xmlns:a16="http://schemas.microsoft.com/office/drawing/2014/main" id="{ACFE8660-B466-46C7-A726-28C1062BFB84}"/>
                    </a:ext>
                  </a:extLst>
                </p:cNvPr>
                <p:cNvSpPr/>
                <p:nvPr/>
              </p:nvSpPr>
              <p:spPr bwMode="auto">
                <a:xfrm>
                  <a:off x="9604840" y="5592756"/>
                  <a:ext cx="914400" cy="914400"/>
                </a:xfrm>
                <a:prstGeom prst="rect">
                  <a:avLst/>
                </a:pr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newables</a:t>
                  </a:r>
                </a:p>
              </p:txBody>
            </p:sp>
            <p:grpSp>
              <p:nvGrpSpPr>
                <p:cNvPr id="99" name="Group 98">
                  <a:extLst>
                    <a:ext uri="{FF2B5EF4-FFF2-40B4-BE49-F238E27FC236}">
                      <a16:creationId xmlns:a16="http://schemas.microsoft.com/office/drawing/2014/main" id="{58AC27E2-473F-44DC-9C32-0E3A2D004E09}"/>
                    </a:ext>
                  </a:extLst>
                </p:cNvPr>
                <p:cNvGrpSpPr/>
                <p:nvPr/>
              </p:nvGrpSpPr>
              <p:grpSpPr>
                <a:xfrm>
                  <a:off x="9856255" y="5725269"/>
                  <a:ext cx="462444" cy="469715"/>
                  <a:chOff x="9799920" y="5684082"/>
                  <a:chExt cx="576191" cy="585250"/>
                </a:xfrm>
              </p:grpSpPr>
              <p:sp>
                <p:nvSpPr>
                  <p:cNvPr id="100" name="Trapezoid 99">
                    <a:extLst>
                      <a:ext uri="{FF2B5EF4-FFF2-40B4-BE49-F238E27FC236}">
                        <a16:creationId xmlns:a16="http://schemas.microsoft.com/office/drawing/2014/main" id="{635BC872-2E06-4791-898E-16A808CCAE3E}"/>
                      </a:ext>
                    </a:extLst>
                  </p:cNvPr>
                  <p:cNvSpPr/>
                  <p:nvPr/>
                </p:nvSpPr>
                <p:spPr bwMode="auto">
                  <a:xfrm>
                    <a:off x="9799920" y="6070603"/>
                    <a:ext cx="271750" cy="159794"/>
                  </a:xfrm>
                  <a:prstGeom prst="trapezoid">
                    <a:avLst/>
                  </a:prstGeom>
                  <a:pattFill prst="ltHorz">
                    <a:fgClr>
                      <a:schemeClr val="bg1"/>
                    </a:fgClr>
                    <a:bgClr>
                      <a:srgbClr val="3899C6"/>
                    </a:bgClr>
                  </a:patt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1A1A1A">
                          <a:lumMod val="65000"/>
                          <a:lumOff val="35000"/>
                        </a:srgbClr>
                      </a:solidFill>
                      <a:effectLst/>
                      <a:uLnTx/>
                      <a:uFillTx/>
                      <a:latin typeface="Segoe UI"/>
                      <a:ea typeface="Segoe UI" pitchFamily="34" charset="0"/>
                      <a:cs typeface="Segoe UI" pitchFamily="34" charset="0"/>
                    </a:endParaRPr>
                  </a:p>
                </p:txBody>
              </p:sp>
              <p:sp>
                <p:nvSpPr>
                  <p:cNvPr id="101" name="Trapezoid 100">
                    <a:extLst>
                      <a:ext uri="{FF2B5EF4-FFF2-40B4-BE49-F238E27FC236}">
                        <a16:creationId xmlns:a16="http://schemas.microsoft.com/office/drawing/2014/main" id="{60E4AA0E-E22E-4F73-B324-AE43ECAC05F8}"/>
                      </a:ext>
                    </a:extLst>
                  </p:cNvPr>
                  <p:cNvSpPr/>
                  <p:nvPr/>
                </p:nvSpPr>
                <p:spPr bwMode="auto">
                  <a:xfrm>
                    <a:off x="10104361" y="6068015"/>
                    <a:ext cx="271750" cy="159794"/>
                  </a:xfrm>
                  <a:prstGeom prst="trapezoid">
                    <a:avLst/>
                  </a:prstGeom>
                  <a:pattFill prst="ltHorz">
                    <a:fgClr>
                      <a:schemeClr val="bg1"/>
                    </a:fgClr>
                    <a:bgClr>
                      <a:srgbClr val="3899C6"/>
                    </a:bgClr>
                  </a:patt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1A1A1A">
                          <a:lumMod val="65000"/>
                          <a:lumOff val="35000"/>
                        </a:srgbClr>
                      </a:solidFill>
                      <a:effectLst/>
                      <a:uLnTx/>
                      <a:uFillTx/>
                      <a:latin typeface="Segoe UI"/>
                      <a:ea typeface="Segoe UI" pitchFamily="34" charset="0"/>
                      <a:cs typeface="Segoe UI" pitchFamily="34" charset="0"/>
                    </a:endParaRPr>
                  </a:p>
                </p:txBody>
              </p:sp>
              <p:sp>
                <p:nvSpPr>
                  <p:cNvPr id="102" name="Trapezoid 101">
                    <a:extLst>
                      <a:ext uri="{FF2B5EF4-FFF2-40B4-BE49-F238E27FC236}">
                        <a16:creationId xmlns:a16="http://schemas.microsoft.com/office/drawing/2014/main" id="{EAA44E92-9210-48B4-AEC4-D4356C3D5EA7}"/>
                      </a:ext>
                    </a:extLst>
                  </p:cNvPr>
                  <p:cNvSpPr/>
                  <p:nvPr/>
                </p:nvSpPr>
                <p:spPr bwMode="auto">
                  <a:xfrm>
                    <a:off x="9952202" y="6109538"/>
                    <a:ext cx="271750" cy="159794"/>
                  </a:xfrm>
                  <a:prstGeom prst="trapezoid">
                    <a:avLst/>
                  </a:prstGeom>
                  <a:pattFill prst="ltHorz">
                    <a:fgClr>
                      <a:schemeClr val="bg1"/>
                    </a:fgClr>
                    <a:bgClr>
                      <a:srgbClr val="3899C6"/>
                    </a:bgClr>
                  </a:patt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1A1A1A">
                          <a:lumMod val="65000"/>
                          <a:lumOff val="35000"/>
                        </a:srgbClr>
                      </a:solidFill>
                      <a:effectLst/>
                      <a:uLnTx/>
                      <a:uFillTx/>
                      <a:latin typeface="Segoe UI"/>
                      <a:ea typeface="Segoe UI" pitchFamily="34" charset="0"/>
                      <a:cs typeface="Segoe UI" pitchFamily="34" charset="0"/>
                    </a:endParaRPr>
                  </a:p>
                </p:txBody>
              </p:sp>
              <p:sp>
                <p:nvSpPr>
                  <p:cNvPr id="103" name="Sun" title="Icon of the sun">
                    <a:extLst>
                      <a:ext uri="{FF2B5EF4-FFF2-40B4-BE49-F238E27FC236}">
                        <a16:creationId xmlns:a16="http://schemas.microsoft.com/office/drawing/2014/main" id="{BC13F7D2-9A40-4676-AA70-3EA2BB37935C}"/>
                      </a:ext>
                    </a:extLst>
                  </p:cNvPr>
                  <p:cNvSpPr>
                    <a:spLocks noChangeAspect="1" noEditPoints="1"/>
                  </p:cNvSpPr>
                  <p:nvPr/>
                </p:nvSpPr>
                <p:spPr bwMode="auto">
                  <a:xfrm>
                    <a:off x="9896347" y="5684082"/>
                    <a:ext cx="365760" cy="365760"/>
                  </a:xfrm>
                  <a:custGeom>
                    <a:avLst/>
                    <a:gdLst>
                      <a:gd name="T0" fmla="*/ 106 w 360"/>
                      <a:gd name="T1" fmla="*/ 182 h 360"/>
                      <a:gd name="T2" fmla="*/ 180 w 360"/>
                      <a:gd name="T3" fmla="*/ 108 h 360"/>
                      <a:gd name="T4" fmla="*/ 254 w 360"/>
                      <a:gd name="T5" fmla="*/ 182 h 360"/>
                      <a:gd name="T6" fmla="*/ 180 w 360"/>
                      <a:gd name="T7" fmla="*/ 256 h 360"/>
                      <a:gd name="T8" fmla="*/ 106 w 360"/>
                      <a:gd name="T9" fmla="*/ 182 h 360"/>
                      <a:gd name="T10" fmla="*/ 103 w 360"/>
                      <a:gd name="T11" fmla="*/ 103 h 360"/>
                      <a:gd name="T12" fmla="*/ 52 w 360"/>
                      <a:gd name="T13" fmla="*/ 53 h 360"/>
                      <a:gd name="T14" fmla="*/ 256 w 360"/>
                      <a:gd name="T15" fmla="*/ 103 h 360"/>
                      <a:gd name="T16" fmla="*/ 308 w 360"/>
                      <a:gd name="T17" fmla="*/ 53 h 360"/>
                      <a:gd name="T18" fmla="*/ 180 w 360"/>
                      <a:gd name="T19" fmla="*/ 72 h 360"/>
                      <a:gd name="T20" fmla="*/ 180 w 360"/>
                      <a:gd name="T21" fmla="*/ 0 h 360"/>
                      <a:gd name="T22" fmla="*/ 180 w 360"/>
                      <a:gd name="T23" fmla="*/ 288 h 360"/>
                      <a:gd name="T24" fmla="*/ 180 w 360"/>
                      <a:gd name="T25" fmla="*/ 360 h 360"/>
                      <a:gd name="T26" fmla="*/ 256 w 360"/>
                      <a:gd name="T27" fmla="*/ 256 h 360"/>
                      <a:gd name="T28" fmla="*/ 308 w 360"/>
                      <a:gd name="T29" fmla="*/ 307 h 360"/>
                      <a:gd name="T30" fmla="*/ 103 w 360"/>
                      <a:gd name="T31" fmla="*/ 256 h 360"/>
                      <a:gd name="T32" fmla="*/ 52 w 360"/>
                      <a:gd name="T33" fmla="*/ 307 h 360"/>
                      <a:gd name="T34" fmla="*/ 72 w 360"/>
                      <a:gd name="T35" fmla="*/ 180 h 360"/>
                      <a:gd name="T36" fmla="*/ 0 w 360"/>
                      <a:gd name="T37" fmla="*/ 180 h 360"/>
                      <a:gd name="T38" fmla="*/ 288 w 360"/>
                      <a:gd name="T39" fmla="*/ 180 h 360"/>
                      <a:gd name="T40" fmla="*/ 360 w 360"/>
                      <a:gd name="T41"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0" h="360">
                        <a:moveTo>
                          <a:pt x="106" y="182"/>
                        </a:moveTo>
                        <a:cubicBezTo>
                          <a:pt x="106" y="141"/>
                          <a:pt x="139" y="108"/>
                          <a:pt x="180" y="108"/>
                        </a:cubicBezTo>
                        <a:cubicBezTo>
                          <a:pt x="221" y="108"/>
                          <a:pt x="254" y="141"/>
                          <a:pt x="254" y="182"/>
                        </a:cubicBezTo>
                        <a:cubicBezTo>
                          <a:pt x="254" y="223"/>
                          <a:pt x="221" y="256"/>
                          <a:pt x="180" y="256"/>
                        </a:cubicBezTo>
                        <a:cubicBezTo>
                          <a:pt x="139" y="256"/>
                          <a:pt x="106" y="223"/>
                          <a:pt x="106" y="182"/>
                        </a:cubicBezTo>
                        <a:close/>
                        <a:moveTo>
                          <a:pt x="103" y="103"/>
                        </a:moveTo>
                        <a:cubicBezTo>
                          <a:pt x="52" y="53"/>
                          <a:pt x="52" y="53"/>
                          <a:pt x="52" y="53"/>
                        </a:cubicBezTo>
                        <a:moveTo>
                          <a:pt x="256" y="103"/>
                        </a:moveTo>
                        <a:cubicBezTo>
                          <a:pt x="308" y="53"/>
                          <a:pt x="308" y="53"/>
                          <a:pt x="308" y="53"/>
                        </a:cubicBezTo>
                        <a:moveTo>
                          <a:pt x="180" y="72"/>
                        </a:moveTo>
                        <a:cubicBezTo>
                          <a:pt x="180" y="0"/>
                          <a:pt x="180" y="0"/>
                          <a:pt x="180" y="0"/>
                        </a:cubicBezTo>
                        <a:moveTo>
                          <a:pt x="180" y="288"/>
                        </a:moveTo>
                        <a:cubicBezTo>
                          <a:pt x="180" y="360"/>
                          <a:pt x="180" y="360"/>
                          <a:pt x="180" y="360"/>
                        </a:cubicBezTo>
                        <a:moveTo>
                          <a:pt x="256" y="256"/>
                        </a:moveTo>
                        <a:cubicBezTo>
                          <a:pt x="308" y="307"/>
                          <a:pt x="308" y="307"/>
                          <a:pt x="308" y="307"/>
                        </a:cubicBezTo>
                        <a:moveTo>
                          <a:pt x="103" y="256"/>
                        </a:moveTo>
                        <a:cubicBezTo>
                          <a:pt x="52" y="307"/>
                          <a:pt x="52" y="307"/>
                          <a:pt x="52" y="307"/>
                        </a:cubicBezTo>
                        <a:moveTo>
                          <a:pt x="72" y="180"/>
                        </a:moveTo>
                        <a:cubicBezTo>
                          <a:pt x="0" y="180"/>
                          <a:pt x="0" y="180"/>
                          <a:pt x="0" y="180"/>
                        </a:cubicBezTo>
                        <a:moveTo>
                          <a:pt x="288" y="180"/>
                        </a:moveTo>
                        <a:cubicBezTo>
                          <a:pt x="360" y="180"/>
                          <a:pt x="360" y="180"/>
                          <a:pt x="360" y="18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1A1A1A">
                          <a:lumMod val="65000"/>
                          <a:lumOff val="35000"/>
                        </a:srgbClr>
                      </a:solidFill>
                      <a:effectLst/>
                      <a:uLnTx/>
                      <a:uFillTx/>
                      <a:latin typeface="Segoe UI"/>
                      <a:ea typeface="+mn-ea"/>
                      <a:cs typeface="+mn-cs"/>
                    </a:endParaRPr>
                  </a:p>
                </p:txBody>
              </p:sp>
            </p:grpSp>
          </p:grpSp>
          <p:grpSp>
            <p:nvGrpSpPr>
              <p:cNvPr id="78" name="Group 77">
                <a:extLst>
                  <a:ext uri="{FF2B5EF4-FFF2-40B4-BE49-F238E27FC236}">
                    <a16:creationId xmlns:a16="http://schemas.microsoft.com/office/drawing/2014/main" id="{57000432-3488-4313-8BF2-42C0AF59EB82}"/>
                  </a:ext>
                </a:extLst>
              </p:cNvPr>
              <p:cNvGrpSpPr/>
              <p:nvPr/>
            </p:nvGrpSpPr>
            <p:grpSpPr>
              <a:xfrm>
                <a:off x="8878174" y="5597801"/>
                <a:ext cx="914400" cy="914400"/>
                <a:chOff x="8579289" y="5592756"/>
                <a:chExt cx="914400" cy="914400"/>
              </a:xfrm>
            </p:grpSpPr>
            <p:sp>
              <p:nvSpPr>
                <p:cNvPr id="96" name="Rectangle 95">
                  <a:extLst>
                    <a:ext uri="{FF2B5EF4-FFF2-40B4-BE49-F238E27FC236}">
                      <a16:creationId xmlns:a16="http://schemas.microsoft.com/office/drawing/2014/main" id="{6B718220-BCE2-49C5-A2EC-040C71D1FD76}"/>
                    </a:ext>
                  </a:extLst>
                </p:cNvPr>
                <p:cNvSpPr/>
                <p:nvPr/>
              </p:nvSpPr>
              <p:spPr bwMode="auto">
                <a:xfrm>
                  <a:off x="8579289" y="5592756"/>
                  <a:ext cx="914400" cy="914400"/>
                </a:xfrm>
                <a:prstGeom prst="rect">
                  <a:avLst/>
                </a:pr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V Charging</a:t>
                  </a:r>
                </a:p>
              </p:txBody>
            </p:sp>
            <p:sp>
              <p:nvSpPr>
                <p:cNvPr id="97" name="car_3" title="Icon of a car with signal lines on top">
                  <a:extLst>
                    <a:ext uri="{FF2B5EF4-FFF2-40B4-BE49-F238E27FC236}">
                      <a16:creationId xmlns:a16="http://schemas.microsoft.com/office/drawing/2014/main" id="{7E78D442-841D-4475-AA09-CA01554E0E1C}"/>
                    </a:ext>
                  </a:extLst>
                </p:cNvPr>
                <p:cNvSpPr>
                  <a:spLocks noChangeAspect="1" noEditPoints="1"/>
                </p:cNvSpPr>
                <p:nvPr/>
              </p:nvSpPr>
              <p:spPr bwMode="auto">
                <a:xfrm>
                  <a:off x="8775780" y="5832843"/>
                  <a:ext cx="457200" cy="343390"/>
                </a:xfrm>
                <a:custGeom>
                  <a:avLst/>
                  <a:gdLst>
                    <a:gd name="T0" fmla="*/ 27 w 339"/>
                    <a:gd name="T1" fmla="*/ 121 h 255"/>
                    <a:gd name="T2" fmla="*/ 287 w 339"/>
                    <a:gd name="T3" fmla="*/ 121 h 255"/>
                    <a:gd name="T4" fmla="*/ 339 w 339"/>
                    <a:gd name="T5" fmla="*/ 173 h 255"/>
                    <a:gd name="T6" fmla="*/ 339 w 339"/>
                    <a:gd name="T7" fmla="*/ 211 h 255"/>
                    <a:gd name="T8" fmla="*/ 318 w 339"/>
                    <a:gd name="T9" fmla="*/ 233 h 255"/>
                    <a:gd name="T10" fmla="*/ 294 w 339"/>
                    <a:gd name="T11" fmla="*/ 233 h 255"/>
                    <a:gd name="T12" fmla="*/ 297 w 339"/>
                    <a:gd name="T13" fmla="*/ 219 h 255"/>
                    <a:gd name="T14" fmla="*/ 261 w 339"/>
                    <a:gd name="T15" fmla="*/ 182 h 255"/>
                    <a:gd name="T16" fmla="*/ 224 w 339"/>
                    <a:gd name="T17" fmla="*/ 219 h 255"/>
                    <a:gd name="T18" fmla="*/ 261 w 339"/>
                    <a:gd name="T19" fmla="*/ 255 h 255"/>
                    <a:gd name="T20" fmla="*/ 297 w 339"/>
                    <a:gd name="T21" fmla="*/ 219 h 255"/>
                    <a:gd name="T22" fmla="*/ 95 w 339"/>
                    <a:gd name="T23" fmla="*/ 219 h 255"/>
                    <a:gd name="T24" fmla="*/ 59 w 339"/>
                    <a:gd name="T25" fmla="*/ 182 h 255"/>
                    <a:gd name="T26" fmla="*/ 22 w 339"/>
                    <a:gd name="T27" fmla="*/ 219 h 255"/>
                    <a:gd name="T28" fmla="*/ 59 w 339"/>
                    <a:gd name="T29" fmla="*/ 255 h 255"/>
                    <a:gd name="T30" fmla="*/ 95 w 339"/>
                    <a:gd name="T31" fmla="*/ 219 h 255"/>
                    <a:gd name="T32" fmla="*/ 63 w 339"/>
                    <a:gd name="T33" fmla="*/ 51 h 255"/>
                    <a:gd name="T34" fmla="*/ 10 w 339"/>
                    <a:gd name="T35" fmla="*/ 156 h 255"/>
                    <a:gd name="T36" fmla="*/ 0 w 339"/>
                    <a:gd name="T37" fmla="*/ 190 h 255"/>
                    <a:gd name="T38" fmla="*/ 24 w 339"/>
                    <a:gd name="T39" fmla="*/ 229 h 255"/>
                    <a:gd name="T40" fmla="*/ 271 w 339"/>
                    <a:gd name="T41" fmla="*/ 121 h 255"/>
                    <a:gd name="T42" fmla="*/ 222 w 339"/>
                    <a:gd name="T43" fmla="*/ 66 h 255"/>
                    <a:gd name="T44" fmla="*/ 194 w 339"/>
                    <a:gd name="T45" fmla="*/ 51 h 255"/>
                    <a:gd name="T46" fmla="*/ 37 w 339"/>
                    <a:gd name="T47" fmla="*/ 51 h 255"/>
                    <a:gd name="T48" fmla="*/ 227 w 339"/>
                    <a:gd name="T49" fmla="*/ 233 h 255"/>
                    <a:gd name="T50" fmla="*/ 92 w 339"/>
                    <a:gd name="T51" fmla="*/ 233 h 255"/>
                    <a:gd name="T52" fmla="*/ 134 w 339"/>
                    <a:gd name="T53" fmla="*/ 233 h 255"/>
                    <a:gd name="T54" fmla="*/ 134 w 339"/>
                    <a:gd name="T55" fmla="*/ 51 h 255"/>
                    <a:gd name="T56" fmla="*/ 258 w 339"/>
                    <a:gd name="T57" fmla="*/ 66 h 255"/>
                    <a:gd name="T58" fmla="*/ 269 w 339"/>
                    <a:gd name="T59" fmla="*/ 70 h 255"/>
                    <a:gd name="T60" fmla="*/ 273 w 339"/>
                    <a:gd name="T61" fmla="*/ 79 h 255"/>
                    <a:gd name="T62" fmla="*/ 305 w 339"/>
                    <a:gd name="T63" fmla="*/ 79 h 255"/>
                    <a:gd name="T64" fmla="*/ 292 w 339"/>
                    <a:gd name="T65" fmla="*/ 47 h 255"/>
                    <a:gd name="T66" fmla="*/ 258 w 339"/>
                    <a:gd name="T67" fmla="*/ 33 h 255"/>
                    <a:gd name="T68" fmla="*/ 339 w 339"/>
                    <a:gd name="T69" fmla="*/ 79 h 255"/>
                    <a:gd name="T70" fmla="*/ 316 w 339"/>
                    <a:gd name="T71" fmla="*/ 23 h 255"/>
                    <a:gd name="T72" fmla="*/ 258 w 339"/>
                    <a:gd name="T7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9" h="255">
                      <a:moveTo>
                        <a:pt x="27" y="121"/>
                      </a:moveTo>
                      <a:cubicBezTo>
                        <a:pt x="287" y="121"/>
                        <a:pt x="287" y="121"/>
                        <a:pt x="287" y="121"/>
                      </a:cubicBezTo>
                      <a:cubicBezTo>
                        <a:pt x="316" y="121"/>
                        <a:pt x="339" y="145"/>
                        <a:pt x="339" y="173"/>
                      </a:cubicBezTo>
                      <a:cubicBezTo>
                        <a:pt x="339" y="211"/>
                        <a:pt x="339" y="211"/>
                        <a:pt x="339" y="211"/>
                      </a:cubicBezTo>
                      <a:cubicBezTo>
                        <a:pt x="339" y="223"/>
                        <a:pt x="330" y="233"/>
                        <a:pt x="318" y="233"/>
                      </a:cubicBezTo>
                      <a:cubicBezTo>
                        <a:pt x="294" y="233"/>
                        <a:pt x="294" y="233"/>
                        <a:pt x="294" y="233"/>
                      </a:cubicBezTo>
                      <a:moveTo>
                        <a:pt x="297" y="219"/>
                      </a:moveTo>
                      <a:cubicBezTo>
                        <a:pt x="297" y="199"/>
                        <a:pt x="281" y="182"/>
                        <a:pt x="261" y="182"/>
                      </a:cubicBezTo>
                      <a:cubicBezTo>
                        <a:pt x="241" y="182"/>
                        <a:pt x="224" y="199"/>
                        <a:pt x="224" y="219"/>
                      </a:cubicBezTo>
                      <a:cubicBezTo>
                        <a:pt x="224" y="239"/>
                        <a:pt x="241" y="255"/>
                        <a:pt x="261" y="255"/>
                      </a:cubicBezTo>
                      <a:cubicBezTo>
                        <a:pt x="281" y="255"/>
                        <a:pt x="297" y="239"/>
                        <a:pt x="297" y="219"/>
                      </a:cubicBezTo>
                      <a:close/>
                      <a:moveTo>
                        <a:pt x="95" y="219"/>
                      </a:moveTo>
                      <a:cubicBezTo>
                        <a:pt x="95" y="199"/>
                        <a:pt x="79" y="182"/>
                        <a:pt x="59" y="182"/>
                      </a:cubicBezTo>
                      <a:cubicBezTo>
                        <a:pt x="39" y="182"/>
                        <a:pt x="22" y="199"/>
                        <a:pt x="22" y="219"/>
                      </a:cubicBezTo>
                      <a:cubicBezTo>
                        <a:pt x="22" y="239"/>
                        <a:pt x="39" y="255"/>
                        <a:pt x="59" y="255"/>
                      </a:cubicBezTo>
                      <a:cubicBezTo>
                        <a:pt x="79" y="255"/>
                        <a:pt x="95" y="239"/>
                        <a:pt x="95" y="219"/>
                      </a:cubicBezTo>
                      <a:close/>
                      <a:moveTo>
                        <a:pt x="63" y="51"/>
                      </a:moveTo>
                      <a:cubicBezTo>
                        <a:pt x="63" y="51"/>
                        <a:pt x="20" y="135"/>
                        <a:pt x="10" y="156"/>
                      </a:cubicBezTo>
                      <a:cubicBezTo>
                        <a:pt x="0" y="178"/>
                        <a:pt x="0" y="190"/>
                        <a:pt x="0" y="190"/>
                      </a:cubicBezTo>
                      <a:cubicBezTo>
                        <a:pt x="0" y="205"/>
                        <a:pt x="9" y="224"/>
                        <a:pt x="24" y="229"/>
                      </a:cubicBezTo>
                      <a:moveTo>
                        <a:pt x="271" y="121"/>
                      </a:moveTo>
                      <a:cubicBezTo>
                        <a:pt x="222" y="66"/>
                        <a:pt x="222" y="66"/>
                        <a:pt x="222" y="66"/>
                      </a:cubicBezTo>
                      <a:cubicBezTo>
                        <a:pt x="214" y="56"/>
                        <a:pt x="206" y="51"/>
                        <a:pt x="194" y="51"/>
                      </a:cubicBezTo>
                      <a:cubicBezTo>
                        <a:pt x="37" y="51"/>
                        <a:pt x="37" y="51"/>
                        <a:pt x="37" y="51"/>
                      </a:cubicBezTo>
                      <a:moveTo>
                        <a:pt x="227" y="233"/>
                      </a:moveTo>
                      <a:cubicBezTo>
                        <a:pt x="92" y="233"/>
                        <a:pt x="92" y="233"/>
                        <a:pt x="92" y="233"/>
                      </a:cubicBezTo>
                      <a:moveTo>
                        <a:pt x="134" y="233"/>
                      </a:moveTo>
                      <a:cubicBezTo>
                        <a:pt x="134" y="51"/>
                        <a:pt x="134" y="51"/>
                        <a:pt x="134" y="51"/>
                      </a:cubicBezTo>
                      <a:moveTo>
                        <a:pt x="258" y="66"/>
                      </a:moveTo>
                      <a:cubicBezTo>
                        <a:pt x="262" y="66"/>
                        <a:pt x="266" y="67"/>
                        <a:pt x="269" y="70"/>
                      </a:cubicBezTo>
                      <a:cubicBezTo>
                        <a:pt x="271" y="73"/>
                        <a:pt x="273" y="76"/>
                        <a:pt x="273" y="79"/>
                      </a:cubicBezTo>
                      <a:moveTo>
                        <a:pt x="305" y="79"/>
                      </a:moveTo>
                      <a:cubicBezTo>
                        <a:pt x="305" y="67"/>
                        <a:pt x="301" y="56"/>
                        <a:pt x="292" y="47"/>
                      </a:cubicBezTo>
                      <a:cubicBezTo>
                        <a:pt x="283" y="38"/>
                        <a:pt x="270" y="33"/>
                        <a:pt x="258" y="33"/>
                      </a:cubicBezTo>
                      <a:moveTo>
                        <a:pt x="339" y="79"/>
                      </a:moveTo>
                      <a:cubicBezTo>
                        <a:pt x="339" y="59"/>
                        <a:pt x="331" y="39"/>
                        <a:pt x="316" y="23"/>
                      </a:cubicBezTo>
                      <a:cubicBezTo>
                        <a:pt x="300" y="7"/>
                        <a:pt x="279" y="0"/>
                        <a:pt x="258"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 name="Group 78">
                <a:extLst>
                  <a:ext uri="{FF2B5EF4-FFF2-40B4-BE49-F238E27FC236}">
                    <a16:creationId xmlns:a16="http://schemas.microsoft.com/office/drawing/2014/main" id="{1543E1BA-7F0B-4B56-B1E7-181FCF7AB0FA}"/>
                  </a:ext>
                </a:extLst>
              </p:cNvPr>
              <p:cNvGrpSpPr/>
              <p:nvPr/>
            </p:nvGrpSpPr>
            <p:grpSpPr>
              <a:xfrm>
                <a:off x="7833327" y="4567189"/>
                <a:ext cx="914400" cy="914400"/>
                <a:chOff x="7505544" y="4580939"/>
                <a:chExt cx="914400" cy="914400"/>
              </a:xfrm>
            </p:grpSpPr>
            <p:sp>
              <p:nvSpPr>
                <p:cNvPr id="94" name="Rectangle 93">
                  <a:extLst>
                    <a:ext uri="{FF2B5EF4-FFF2-40B4-BE49-F238E27FC236}">
                      <a16:creationId xmlns:a16="http://schemas.microsoft.com/office/drawing/2014/main" id="{9A37E543-3276-4BE9-826A-4F1485BF8350}"/>
                    </a:ext>
                  </a:extLst>
                </p:cNvPr>
                <p:cNvSpPr/>
                <p:nvPr/>
              </p:nvSpPr>
              <p:spPr bwMode="auto">
                <a:xfrm>
                  <a:off x="7505544" y="4580939"/>
                  <a:ext cx="914400" cy="914400"/>
                </a:xfrm>
                <a:prstGeom prst="rect">
                  <a:avLst/>
                </a:pr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Urban Mobility</a:t>
                  </a:r>
                </a:p>
              </p:txBody>
            </p:sp>
            <p:sp>
              <p:nvSpPr>
                <p:cNvPr id="95" name="bus" title="Icon of a bus">
                  <a:extLst>
                    <a:ext uri="{FF2B5EF4-FFF2-40B4-BE49-F238E27FC236}">
                      <a16:creationId xmlns:a16="http://schemas.microsoft.com/office/drawing/2014/main" id="{ACCF5844-5F2E-44DF-AC58-0FC4FA36A37A}"/>
                    </a:ext>
                  </a:extLst>
                </p:cNvPr>
                <p:cNvSpPr>
                  <a:spLocks noChangeAspect="1" noEditPoints="1"/>
                </p:cNvSpPr>
                <p:nvPr/>
              </p:nvSpPr>
              <p:spPr bwMode="auto">
                <a:xfrm>
                  <a:off x="7794077" y="4790520"/>
                  <a:ext cx="365760" cy="365760"/>
                </a:xfrm>
                <a:custGeom>
                  <a:avLst/>
                  <a:gdLst>
                    <a:gd name="T0" fmla="*/ 290 w 344"/>
                    <a:gd name="T1" fmla="*/ 0 h 343"/>
                    <a:gd name="T2" fmla="*/ 318 w 344"/>
                    <a:gd name="T3" fmla="*/ 28 h 343"/>
                    <a:gd name="T4" fmla="*/ 318 w 344"/>
                    <a:gd name="T5" fmla="*/ 314 h 343"/>
                    <a:gd name="T6" fmla="*/ 25 w 344"/>
                    <a:gd name="T7" fmla="*/ 314 h 343"/>
                    <a:gd name="T8" fmla="*/ 25 w 344"/>
                    <a:gd name="T9" fmla="*/ 28 h 343"/>
                    <a:gd name="T10" fmla="*/ 54 w 344"/>
                    <a:gd name="T11" fmla="*/ 0 h 343"/>
                    <a:gd name="T12" fmla="*/ 290 w 344"/>
                    <a:gd name="T13" fmla="*/ 0 h 343"/>
                    <a:gd name="T14" fmla="*/ 104 w 344"/>
                    <a:gd name="T15" fmla="*/ 46 h 343"/>
                    <a:gd name="T16" fmla="*/ 237 w 344"/>
                    <a:gd name="T17" fmla="*/ 46 h 343"/>
                    <a:gd name="T18" fmla="*/ 60 w 344"/>
                    <a:gd name="T19" fmla="*/ 224 h 343"/>
                    <a:gd name="T20" fmla="*/ 104 w 344"/>
                    <a:gd name="T21" fmla="*/ 224 h 343"/>
                    <a:gd name="T22" fmla="*/ 237 w 344"/>
                    <a:gd name="T23" fmla="*/ 224 h 343"/>
                    <a:gd name="T24" fmla="*/ 281 w 344"/>
                    <a:gd name="T25" fmla="*/ 224 h 343"/>
                    <a:gd name="T26" fmla="*/ 25 w 344"/>
                    <a:gd name="T27" fmla="*/ 92 h 343"/>
                    <a:gd name="T28" fmla="*/ 318 w 344"/>
                    <a:gd name="T29" fmla="*/ 92 h 343"/>
                    <a:gd name="T30" fmla="*/ 25 w 344"/>
                    <a:gd name="T31" fmla="*/ 179 h 343"/>
                    <a:gd name="T32" fmla="*/ 318 w 344"/>
                    <a:gd name="T33" fmla="*/ 179 h 343"/>
                    <a:gd name="T34" fmla="*/ 25 w 344"/>
                    <a:gd name="T35" fmla="*/ 268 h 343"/>
                    <a:gd name="T36" fmla="*/ 318 w 344"/>
                    <a:gd name="T37" fmla="*/ 268 h 343"/>
                    <a:gd name="T38" fmla="*/ 172 w 344"/>
                    <a:gd name="T39" fmla="*/ 92 h 343"/>
                    <a:gd name="T40" fmla="*/ 172 w 344"/>
                    <a:gd name="T41" fmla="*/ 179 h 343"/>
                    <a:gd name="T42" fmla="*/ 318 w 344"/>
                    <a:gd name="T43" fmla="*/ 124 h 343"/>
                    <a:gd name="T44" fmla="*/ 344 w 344"/>
                    <a:gd name="T45" fmla="*/ 124 h 343"/>
                    <a:gd name="T46" fmla="*/ 344 w 344"/>
                    <a:gd name="T47" fmla="*/ 83 h 343"/>
                    <a:gd name="T48" fmla="*/ 318 w 344"/>
                    <a:gd name="T49" fmla="*/ 83 h 343"/>
                    <a:gd name="T50" fmla="*/ 240 w 344"/>
                    <a:gd name="T51" fmla="*/ 314 h 343"/>
                    <a:gd name="T52" fmla="*/ 240 w 344"/>
                    <a:gd name="T53" fmla="*/ 343 h 343"/>
                    <a:gd name="T54" fmla="*/ 301 w 344"/>
                    <a:gd name="T55" fmla="*/ 343 h 343"/>
                    <a:gd name="T56" fmla="*/ 301 w 344"/>
                    <a:gd name="T57" fmla="*/ 314 h 343"/>
                    <a:gd name="T58" fmla="*/ 38 w 344"/>
                    <a:gd name="T59" fmla="*/ 314 h 343"/>
                    <a:gd name="T60" fmla="*/ 38 w 344"/>
                    <a:gd name="T61" fmla="*/ 343 h 343"/>
                    <a:gd name="T62" fmla="*/ 98 w 344"/>
                    <a:gd name="T63" fmla="*/ 343 h 343"/>
                    <a:gd name="T64" fmla="*/ 98 w 344"/>
                    <a:gd name="T65" fmla="*/ 314 h 343"/>
                    <a:gd name="T66" fmla="*/ 25 w 344"/>
                    <a:gd name="T67" fmla="*/ 83 h 343"/>
                    <a:gd name="T68" fmla="*/ 0 w 344"/>
                    <a:gd name="T69" fmla="*/ 83 h 343"/>
                    <a:gd name="T70" fmla="*/ 0 w 344"/>
                    <a:gd name="T71" fmla="*/ 124 h 343"/>
                    <a:gd name="T72" fmla="*/ 25 w 344"/>
                    <a:gd name="T73" fmla="*/ 12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4" h="343">
                      <a:moveTo>
                        <a:pt x="290" y="0"/>
                      </a:moveTo>
                      <a:cubicBezTo>
                        <a:pt x="305" y="0"/>
                        <a:pt x="318" y="12"/>
                        <a:pt x="318" y="28"/>
                      </a:cubicBezTo>
                      <a:cubicBezTo>
                        <a:pt x="318" y="314"/>
                        <a:pt x="318" y="314"/>
                        <a:pt x="318" y="314"/>
                      </a:cubicBezTo>
                      <a:cubicBezTo>
                        <a:pt x="25" y="314"/>
                        <a:pt x="25" y="314"/>
                        <a:pt x="25" y="314"/>
                      </a:cubicBezTo>
                      <a:cubicBezTo>
                        <a:pt x="25" y="28"/>
                        <a:pt x="25" y="28"/>
                        <a:pt x="25" y="28"/>
                      </a:cubicBezTo>
                      <a:cubicBezTo>
                        <a:pt x="25" y="12"/>
                        <a:pt x="38" y="0"/>
                        <a:pt x="54" y="0"/>
                      </a:cubicBezTo>
                      <a:lnTo>
                        <a:pt x="290" y="0"/>
                      </a:lnTo>
                      <a:close/>
                      <a:moveTo>
                        <a:pt x="104" y="46"/>
                      </a:moveTo>
                      <a:cubicBezTo>
                        <a:pt x="237" y="46"/>
                        <a:pt x="237" y="46"/>
                        <a:pt x="237" y="46"/>
                      </a:cubicBezTo>
                      <a:moveTo>
                        <a:pt x="60" y="224"/>
                      </a:moveTo>
                      <a:cubicBezTo>
                        <a:pt x="104" y="224"/>
                        <a:pt x="104" y="224"/>
                        <a:pt x="104" y="224"/>
                      </a:cubicBezTo>
                      <a:moveTo>
                        <a:pt x="237" y="224"/>
                      </a:moveTo>
                      <a:cubicBezTo>
                        <a:pt x="281" y="224"/>
                        <a:pt x="281" y="224"/>
                        <a:pt x="281" y="224"/>
                      </a:cubicBezTo>
                      <a:moveTo>
                        <a:pt x="25" y="92"/>
                      </a:moveTo>
                      <a:cubicBezTo>
                        <a:pt x="318" y="92"/>
                        <a:pt x="318" y="92"/>
                        <a:pt x="318" y="92"/>
                      </a:cubicBezTo>
                      <a:moveTo>
                        <a:pt x="25" y="179"/>
                      </a:moveTo>
                      <a:cubicBezTo>
                        <a:pt x="318" y="179"/>
                        <a:pt x="318" y="179"/>
                        <a:pt x="318" y="179"/>
                      </a:cubicBezTo>
                      <a:moveTo>
                        <a:pt x="25" y="268"/>
                      </a:moveTo>
                      <a:cubicBezTo>
                        <a:pt x="318" y="268"/>
                        <a:pt x="318" y="268"/>
                        <a:pt x="318" y="268"/>
                      </a:cubicBezTo>
                      <a:moveTo>
                        <a:pt x="172" y="92"/>
                      </a:moveTo>
                      <a:cubicBezTo>
                        <a:pt x="172" y="179"/>
                        <a:pt x="172" y="179"/>
                        <a:pt x="172" y="179"/>
                      </a:cubicBezTo>
                      <a:moveTo>
                        <a:pt x="318" y="124"/>
                      </a:moveTo>
                      <a:cubicBezTo>
                        <a:pt x="344" y="124"/>
                        <a:pt x="344" y="124"/>
                        <a:pt x="344" y="124"/>
                      </a:cubicBezTo>
                      <a:cubicBezTo>
                        <a:pt x="344" y="83"/>
                        <a:pt x="344" y="83"/>
                        <a:pt x="344" y="83"/>
                      </a:cubicBezTo>
                      <a:cubicBezTo>
                        <a:pt x="318" y="83"/>
                        <a:pt x="318" y="83"/>
                        <a:pt x="318" y="83"/>
                      </a:cubicBezTo>
                      <a:moveTo>
                        <a:pt x="240" y="314"/>
                      </a:moveTo>
                      <a:cubicBezTo>
                        <a:pt x="240" y="343"/>
                        <a:pt x="240" y="343"/>
                        <a:pt x="240" y="343"/>
                      </a:cubicBezTo>
                      <a:cubicBezTo>
                        <a:pt x="301" y="343"/>
                        <a:pt x="301" y="343"/>
                        <a:pt x="301" y="343"/>
                      </a:cubicBezTo>
                      <a:cubicBezTo>
                        <a:pt x="301" y="314"/>
                        <a:pt x="301" y="314"/>
                        <a:pt x="301" y="314"/>
                      </a:cubicBezTo>
                      <a:moveTo>
                        <a:pt x="38" y="314"/>
                      </a:moveTo>
                      <a:cubicBezTo>
                        <a:pt x="38" y="343"/>
                        <a:pt x="38" y="343"/>
                        <a:pt x="38" y="343"/>
                      </a:cubicBezTo>
                      <a:cubicBezTo>
                        <a:pt x="98" y="343"/>
                        <a:pt x="98" y="343"/>
                        <a:pt x="98" y="343"/>
                      </a:cubicBezTo>
                      <a:cubicBezTo>
                        <a:pt x="98" y="314"/>
                        <a:pt x="98" y="314"/>
                        <a:pt x="98" y="314"/>
                      </a:cubicBezTo>
                      <a:moveTo>
                        <a:pt x="25" y="83"/>
                      </a:moveTo>
                      <a:cubicBezTo>
                        <a:pt x="0" y="83"/>
                        <a:pt x="0" y="83"/>
                        <a:pt x="0" y="83"/>
                      </a:cubicBezTo>
                      <a:cubicBezTo>
                        <a:pt x="0" y="124"/>
                        <a:pt x="0" y="124"/>
                        <a:pt x="0" y="124"/>
                      </a:cubicBezTo>
                      <a:cubicBezTo>
                        <a:pt x="25" y="124"/>
                        <a:pt x="25" y="124"/>
                        <a:pt x="25" y="124"/>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80" name="Group 79">
                <a:extLst>
                  <a:ext uri="{FF2B5EF4-FFF2-40B4-BE49-F238E27FC236}">
                    <a16:creationId xmlns:a16="http://schemas.microsoft.com/office/drawing/2014/main" id="{BC5AA1B2-EDDA-472E-8301-1421EB96E811}"/>
                  </a:ext>
                </a:extLst>
              </p:cNvPr>
              <p:cNvGrpSpPr/>
              <p:nvPr/>
            </p:nvGrpSpPr>
            <p:grpSpPr>
              <a:xfrm>
                <a:off x="7833537" y="5597801"/>
                <a:ext cx="914400" cy="914400"/>
                <a:chOff x="7519294" y="5592865"/>
                <a:chExt cx="914400" cy="914400"/>
              </a:xfrm>
            </p:grpSpPr>
            <p:sp>
              <p:nvSpPr>
                <p:cNvPr id="90" name="Rectangle 89">
                  <a:extLst>
                    <a:ext uri="{FF2B5EF4-FFF2-40B4-BE49-F238E27FC236}">
                      <a16:creationId xmlns:a16="http://schemas.microsoft.com/office/drawing/2014/main" id="{D4E61012-FCF2-48AB-9E49-D81A9D7DE350}"/>
                    </a:ext>
                  </a:extLst>
                </p:cNvPr>
                <p:cNvSpPr/>
                <p:nvPr/>
              </p:nvSpPr>
              <p:spPr bwMode="auto">
                <a:xfrm>
                  <a:off x="7519294" y="5592865"/>
                  <a:ext cx="914400" cy="914400"/>
                </a:xfrm>
                <a:prstGeom prst="rect">
                  <a:avLst/>
                </a:pr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king</a:t>
                  </a:r>
                </a:p>
              </p:txBody>
            </p:sp>
            <p:sp>
              <p:nvSpPr>
                <p:cNvPr id="91" name="Car" title="Icon of the front of a car">
                  <a:extLst>
                    <a:ext uri="{FF2B5EF4-FFF2-40B4-BE49-F238E27FC236}">
                      <a16:creationId xmlns:a16="http://schemas.microsoft.com/office/drawing/2014/main" id="{F4C7657B-0882-49A2-B9EF-9149EA99FA48}"/>
                    </a:ext>
                  </a:extLst>
                </p:cNvPr>
                <p:cNvSpPr>
                  <a:spLocks noChangeAspect="1" noEditPoints="1"/>
                </p:cNvSpPr>
                <p:nvPr/>
              </p:nvSpPr>
              <p:spPr bwMode="auto">
                <a:xfrm>
                  <a:off x="7750347" y="5918357"/>
                  <a:ext cx="324612" cy="249819"/>
                </a:xfrm>
                <a:custGeom>
                  <a:avLst/>
                  <a:gdLst>
                    <a:gd name="T0" fmla="*/ 349 w 360"/>
                    <a:gd name="T1" fmla="*/ 148 h 276"/>
                    <a:gd name="T2" fmla="*/ 349 w 360"/>
                    <a:gd name="T3" fmla="*/ 252 h 276"/>
                    <a:gd name="T4" fmla="*/ 14 w 360"/>
                    <a:gd name="T5" fmla="*/ 252 h 276"/>
                    <a:gd name="T6" fmla="*/ 14 w 360"/>
                    <a:gd name="T7" fmla="*/ 149 h 276"/>
                    <a:gd name="T8" fmla="*/ 51 w 360"/>
                    <a:gd name="T9" fmla="*/ 43 h 276"/>
                    <a:gd name="T10" fmla="*/ 94 w 360"/>
                    <a:gd name="T11" fmla="*/ 0 h 276"/>
                    <a:gd name="T12" fmla="*/ 268 w 360"/>
                    <a:gd name="T13" fmla="*/ 0 h 276"/>
                    <a:gd name="T14" fmla="*/ 311 w 360"/>
                    <a:gd name="T15" fmla="*/ 43 h 276"/>
                    <a:gd name="T16" fmla="*/ 349 w 360"/>
                    <a:gd name="T17" fmla="*/ 148 h 276"/>
                    <a:gd name="T18" fmla="*/ 77 w 360"/>
                    <a:gd name="T19" fmla="*/ 174 h 276"/>
                    <a:gd name="T20" fmla="*/ 91 w 360"/>
                    <a:gd name="T21" fmla="*/ 160 h 276"/>
                    <a:gd name="T22" fmla="*/ 77 w 360"/>
                    <a:gd name="T23" fmla="*/ 145 h 276"/>
                    <a:gd name="T24" fmla="*/ 63 w 360"/>
                    <a:gd name="T25" fmla="*/ 160 h 276"/>
                    <a:gd name="T26" fmla="*/ 77 w 360"/>
                    <a:gd name="T27" fmla="*/ 174 h 276"/>
                    <a:gd name="T28" fmla="*/ 14 w 360"/>
                    <a:gd name="T29" fmla="*/ 252 h 276"/>
                    <a:gd name="T30" fmla="*/ 14 w 360"/>
                    <a:gd name="T31" fmla="*/ 260 h 276"/>
                    <a:gd name="T32" fmla="*/ 30 w 360"/>
                    <a:gd name="T33" fmla="*/ 276 h 276"/>
                    <a:gd name="T34" fmla="*/ 50 w 360"/>
                    <a:gd name="T35" fmla="*/ 276 h 276"/>
                    <a:gd name="T36" fmla="*/ 67 w 360"/>
                    <a:gd name="T37" fmla="*/ 260 h 276"/>
                    <a:gd name="T38" fmla="*/ 67 w 360"/>
                    <a:gd name="T39" fmla="*/ 252 h 276"/>
                    <a:gd name="T40" fmla="*/ 295 w 360"/>
                    <a:gd name="T41" fmla="*/ 252 h 276"/>
                    <a:gd name="T42" fmla="*/ 295 w 360"/>
                    <a:gd name="T43" fmla="*/ 260 h 276"/>
                    <a:gd name="T44" fmla="*/ 312 w 360"/>
                    <a:gd name="T45" fmla="*/ 276 h 276"/>
                    <a:gd name="T46" fmla="*/ 332 w 360"/>
                    <a:gd name="T47" fmla="*/ 276 h 276"/>
                    <a:gd name="T48" fmla="*/ 349 w 360"/>
                    <a:gd name="T49" fmla="*/ 260 h 276"/>
                    <a:gd name="T50" fmla="*/ 349 w 360"/>
                    <a:gd name="T51" fmla="*/ 252 h 276"/>
                    <a:gd name="T52" fmla="*/ 283 w 360"/>
                    <a:gd name="T53" fmla="*/ 174 h 276"/>
                    <a:gd name="T54" fmla="*/ 297 w 360"/>
                    <a:gd name="T55" fmla="*/ 160 h 276"/>
                    <a:gd name="T56" fmla="*/ 283 w 360"/>
                    <a:gd name="T57" fmla="*/ 145 h 276"/>
                    <a:gd name="T58" fmla="*/ 268 w 360"/>
                    <a:gd name="T59" fmla="*/ 160 h 276"/>
                    <a:gd name="T60" fmla="*/ 283 w 360"/>
                    <a:gd name="T61" fmla="*/ 174 h 276"/>
                    <a:gd name="T62" fmla="*/ 245 w 360"/>
                    <a:gd name="T63" fmla="*/ 252 h 276"/>
                    <a:gd name="T64" fmla="*/ 245 w 360"/>
                    <a:gd name="T65" fmla="*/ 222 h 276"/>
                    <a:gd name="T66" fmla="*/ 229 w 360"/>
                    <a:gd name="T67" fmla="*/ 197 h 276"/>
                    <a:gd name="T68" fmla="*/ 133 w 360"/>
                    <a:gd name="T69" fmla="*/ 197 h 276"/>
                    <a:gd name="T70" fmla="*/ 117 w 360"/>
                    <a:gd name="T71" fmla="*/ 222 h 276"/>
                    <a:gd name="T72" fmla="*/ 117 w 360"/>
                    <a:gd name="T73" fmla="*/ 252 h 276"/>
                    <a:gd name="T74" fmla="*/ 0 w 360"/>
                    <a:gd name="T75" fmla="*/ 75 h 276"/>
                    <a:gd name="T76" fmla="*/ 16 w 360"/>
                    <a:gd name="T77" fmla="*/ 75 h 276"/>
                    <a:gd name="T78" fmla="*/ 32 w 360"/>
                    <a:gd name="T79" fmla="*/ 96 h 276"/>
                    <a:gd name="T80" fmla="*/ 330 w 360"/>
                    <a:gd name="T81" fmla="*/ 96 h 276"/>
                    <a:gd name="T82" fmla="*/ 345 w 360"/>
                    <a:gd name="T83" fmla="*/ 75 h 276"/>
                    <a:gd name="T84" fmla="*/ 360 w 360"/>
                    <a:gd name="T85" fmla="*/ 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276">
                      <a:moveTo>
                        <a:pt x="349" y="148"/>
                      </a:moveTo>
                      <a:cubicBezTo>
                        <a:pt x="349" y="252"/>
                        <a:pt x="349" y="252"/>
                        <a:pt x="349" y="252"/>
                      </a:cubicBezTo>
                      <a:cubicBezTo>
                        <a:pt x="14" y="252"/>
                        <a:pt x="14" y="252"/>
                        <a:pt x="14" y="252"/>
                      </a:cubicBezTo>
                      <a:cubicBezTo>
                        <a:pt x="14" y="149"/>
                        <a:pt x="14" y="149"/>
                        <a:pt x="14" y="149"/>
                      </a:cubicBezTo>
                      <a:cubicBezTo>
                        <a:pt x="51" y="43"/>
                        <a:pt x="51" y="43"/>
                        <a:pt x="51" y="43"/>
                      </a:cubicBezTo>
                      <a:cubicBezTo>
                        <a:pt x="59" y="19"/>
                        <a:pt x="70" y="0"/>
                        <a:pt x="94" y="0"/>
                      </a:cubicBezTo>
                      <a:cubicBezTo>
                        <a:pt x="268" y="0"/>
                        <a:pt x="268" y="0"/>
                        <a:pt x="268" y="0"/>
                      </a:cubicBezTo>
                      <a:cubicBezTo>
                        <a:pt x="292" y="0"/>
                        <a:pt x="304" y="19"/>
                        <a:pt x="311" y="43"/>
                      </a:cubicBezTo>
                      <a:lnTo>
                        <a:pt x="349" y="148"/>
                      </a:lnTo>
                      <a:close/>
                      <a:moveTo>
                        <a:pt x="77" y="174"/>
                      </a:moveTo>
                      <a:cubicBezTo>
                        <a:pt x="85" y="174"/>
                        <a:pt x="91" y="167"/>
                        <a:pt x="91" y="160"/>
                      </a:cubicBezTo>
                      <a:cubicBezTo>
                        <a:pt x="91" y="152"/>
                        <a:pt x="85" y="145"/>
                        <a:pt x="77" y="145"/>
                      </a:cubicBezTo>
                      <a:cubicBezTo>
                        <a:pt x="69" y="145"/>
                        <a:pt x="63" y="152"/>
                        <a:pt x="63" y="160"/>
                      </a:cubicBezTo>
                      <a:cubicBezTo>
                        <a:pt x="63" y="167"/>
                        <a:pt x="69" y="174"/>
                        <a:pt x="77" y="174"/>
                      </a:cubicBezTo>
                      <a:close/>
                      <a:moveTo>
                        <a:pt x="14" y="252"/>
                      </a:moveTo>
                      <a:cubicBezTo>
                        <a:pt x="14" y="260"/>
                        <a:pt x="14" y="260"/>
                        <a:pt x="14" y="260"/>
                      </a:cubicBezTo>
                      <a:cubicBezTo>
                        <a:pt x="14" y="269"/>
                        <a:pt x="21" y="276"/>
                        <a:pt x="30" y="276"/>
                      </a:cubicBezTo>
                      <a:cubicBezTo>
                        <a:pt x="50" y="276"/>
                        <a:pt x="50" y="276"/>
                        <a:pt x="50" y="276"/>
                      </a:cubicBezTo>
                      <a:cubicBezTo>
                        <a:pt x="59" y="276"/>
                        <a:pt x="67" y="269"/>
                        <a:pt x="67" y="260"/>
                      </a:cubicBezTo>
                      <a:cubicBezTo>
                        <a:pt x="67" y="252"/>
                        <a:pt x="67" y="252"/>
                        <a:pt x="67" y="252"/>
                      </a:cubicBezTo>
                      <a:moveTo>
                        <a:pt x="295" y="252"/>
                      </a:moveTo>
                      <a:cubicBezTo>
                        <a:pt x="295" y="260"/>
                        <a:pt x="295" y="260"/>
                        <a:pt x="295" y="260"/>
                      </a:cubicBezTo>
                      <a:cubicBezTo>
                        <a:pt x="295" y="269"/>
                        <a:pt x="303" y="276"/>
                        <a:pt x="312" y="276"/>
                      </a:cubicBezTo>
                      <a:cubicBezTo>
                        <a:pt x="332" y="276"/>
                        <a:pt x="332" y="276"/>
                        <a:pt x="332" y="276"/>
                      </a:cubicBezTo>
                      <a:cubicBezTo>
                        <a:pt x="341" y="276"/>
                        <a:pt x="349" y="269"/>
                        <a:pt x="349" y="260"/>
                      </a:cubicBezTo>
                      <a:cubicBezTo>
                        <a:pt x="349" y="252"/>
                        <a:pt x="349" y="252"/>
                        <a:pt x="349" y="252"/>
                      </a:cubicBezTo>
                      <a:moveTo>
                        <a:pt x="283" y="174"/>
                      </a:moveTo>
                      <a:cubicBezTo>
                        <a:pt x="290" y="174"/>
                        <a:pt x="297" y="167"/>
                        <a:pt x="297" y="160"/>
                      </a:cubicBezTo>
                      <a:cubicBezTo>
                        <a:pt x="297" y="152"/>
                        <a:pt x="290" y="145"/>
                        <a:pt x="283" y="145"/>
                      </a:cubicBezTo>
                      <a:cubicBezTo>
                        <a:pt x="275" y="145"/>
                        <a:pt x="268" y="152"/>
                        <a:pt x="268" y="160"/>
                      </a:cubicBezTo>
                      <a:cubicBezTo>
                        <a:pt x="268" y="167"/>
                        <a:pt x="275" y="174"/>
                        <a:pt x="283" y="174"/>
                      </a:cubicBezTo>
                      <a:close/>
                      <a:moveTo>
                        <a:pt x="245" y="252"/>
                      </a:moveTo>
                      <a:cubicBezTo>
                        <a:pt x="245" y="222"/>
                        <a:pt x="245" y="222"/>
                        <a:pt x="245" y="222"/>
                      </a:cubicBezTo>
                      <a:cubicBezTo>
                        <a:pt x="229" y="197"/>
                        <a:pt x="229" y="197"/>
                        <a:pt x="229" y="197"/>
                      </a:cubicBezTo>
                      <a:cubicBezTo>
                        <a:pt x="133" y="197"/>
                        <a:pt x="133" y="197"/>
                        <a:pt x="133" y="197"/>
                      </a:cubicBezTo>
                      <a:cubicBezTo>
                        <a:pt x="117" y="222"/>
                        <a:pt x="117" y="222"/>
                        <a:pt x="117" y="222"/>
                      </a:cubicBezTo>
                      <a:cubicBezTo>
                        <a:pt x="117" y="252"/>
                        <a:pt x="117" y="252"/>
                        <a:pt x="117" y="252"/>
                      </a:cubicBezTo>
                      <a:moveTo>
                        <a:pt x="0" y="75"/>
                      </a:moveTo>
                      <a:cubicBezTo>
                        <a:pt x="16" y="75"/>
                        <a:pt x="16" y="75"/>
                        <a:pt x="16" y="75"/>
                      </a:cubicBezTo>
                      <a:cubicBezTo>
                        <a:pt x="32" y="96"/>
                        <a:pt x="32" y="96"/>
                        <a:pt x="32" y="96"/>
                      </a:cubicBezTo>
                      <a:cubicBezTo>
                        <a:pt x="330" y="96"/>
                        <a:pt x="330" y="96"/>
                        <a:pt x="330" y="96"/>
                      </a:cubicBezTo>
                      <a:cubicBezTo>
                        <a:pt x="345" y="75"/>
                        <a:pt x="345" y="75"/>
                        <a:pt x="345" y="75"/>
                      </a:cubicBezTo>
                      <a:cubicBezTo>
                        <a:pt x="360" y="75"/>
                        <a:pt x="360" y="75"/>
                        <a:pt x="360" y="75"/>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2" name="Oval 91">
                  <a:extLst>
                    <a:ext uri="{FF2B5EF4-FFF2-40B4-BE49-F238E27FC236}">
                      <a16:creationId xmlns:a16="http://schemas.microsoft.com/office/drawing/2014/main" id="{46D45EB9-D6D6-4516-8CBB-F09D35A753B3}"/>
                    </a:ext>
                  </a:extLst>
                </p:cNvPr>
                <p:cNvSpPr/>
                <p:nvPr/>
              </p:nvSpPr>
              <p:spPr bwMode="auto">
                <a:xfrm>
                  <a:off x="8074960" y="5758345"/>
                  <a:ext cx="197376" cy="179219"/>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t>
                  </a:r>
                </a:p>
              </p:txBody>
            </p:sp>
            <p:cxnSp>
              <p:nvCxnSpPr>
                <p:cNvPr id="93" name="Straight Connector 92">
                  <a:extLst>
                    <a:ext uri="{FF2B5EF4-FFF2-40B4-BE49-F238E27FC236}">
                      <a16:creationId xmlns:a16="http://schemas.microsoft.com/office/drawing/2014/main" id="{B6285D1D-4724-48E9-A99A-7CD5B62ACA14}"/>
                    </a:ext>
                  </a:extLst>
                </p:cNvPr>
                <p:cNvCxnSpPr>
                  <a:cxnSpLocks/>
                </p:cNvCxnSpPr>
                <p:nvPr/>
              </p:nvCxnSpPr>
              <p:spPr>
                <a:xfrm flipH="1">
                  <a:off x="8173648" y="5937564"/>
                  <a:ext cx="1" cy="233965"/>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1" name="Group 80">
                <a:extLst>
                  <a:ext uri="{FF2B5EF4-FFF2-40B4-BE49-F238E27FC236}">
                    <a16:creationId xmlns:a16="http://schemas.microsoft.com/office/drawing/2014/main" id="{01B6A1E0-6699-48E9-92DB-2179B66B8ADD}"/>
                  </a:ext>
                </a:extLst>
              </p:cNvPr>
              <p:cNvGrpSpPr/>
              <p:nvPr/>
            </p:nvGrpSpPr>
            <p:grpSpPr>
              <a:xfrm>
                <a:off x="8876402" y="2511283"/>
                <a:ext cx="914400" cy="914400"/>
                <a:chOff x="8577685" y="2511283"/>
                <a:chExt cx="914400" cy="914400"/>
              </a:xfrm>
            </p:grpSpPr>
            <p:grpSp>
              <p:nvGrpSpPr>
                <p:cNvPr id="86" name="Group 85">
                  <a:extLst>
                    <a:ext uri="{FF2B5EF4-FFF2-40B4-BE49-F238E27FC236}">
                      <a16:creationId xmlns:a16="http://schemas.microsoft.com/office/drawing/2014/main" id="{FE0717F6-751E-431D-8770-1501C3B4409E}"/>
                    </a:ext>
                  </a:extLst>
                </p:cNvPr>
                <p:cNvGrpSpPr/>
                <p:nvPr/>
              </p:nvGrpSpPr>
              <p:grpSpPr>
                <a:xfrm>
                  <a:off x="8577685" y="2511283"/>
                  <a:ext cx="914400" cy="914400"/>
                  <a:chOff x="9627873" y="2509769"/>
                  <a:chExt cx="914400" cy="914400"/>
                </a:xfrm>
              </p:grpSpPr>
              <p:sp>
                <p:nvSpPr>
                  <p:cNvPr id="88" name="Rectangle 87">
                    <a:extLst>
                      <a:ext uri="{FF2B5EF4-FFF2-40B4-BE49-F238E27FC236}">
                        <a16:creationId xmlns:a16="http://schemas.microsoft.com/office/drawing/2014/main" id="{060B34ED-FABF-4620-8DF4-1DA0451E1953}"/>
                      </a:ext>
                    </a:extLst>
                  </p:cNvPr>
                  <p:cNvSpPr/>
                  <p:nvPr/>
                </p:nvSpPr>
                <p:spPr bwMode="auto">
                  <a:xfrm>
                    <a:off x="9627873" y="2509769"/>
                    <a:ext cx="914400" cy="914400"/>
                  </a:xfrm>
                  <a:prstGeom prst="rect">
                    <a:avLst/>
                  </a:pr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tail</a:t>
                    </a:r>
                  </a:p>
                </p:txBody>
              </p:sp>
              <p:sp>
                <p:nvSpPr>
                  <p:cNvPr id="89" name="ShoppingCart_E7BF" title="Icon of a shopping cart">
                    <a:extLst>
                      <a:ext uri="{FF2B5EF4-FFF2-40B4-BE49-F238E27FC236}">
                        <a16:creationId xmlns:a16="http://schemas.microsoft.com/office/drawing/2014/main" id="{133E877E-2F77-4848-954D-7A08293EA271}"/>
                      </a:ext>
                    </a:extLst>
                  </p:cNvPr>
                  <p:cNvSpPr>
                    <a:spLocks noChangeAspect="1" noEditPoints="1"/>
                  </p:cNvSpPr>
                  <p:nvPr/>
                </p:nvSpPr>
                <p:spPr bwMode="auto">
                  <a:xfrm>
                    <a:off x="9783490" y="3000004"/>
                    <a:ext cx="182146" cy="154889"/>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7" name="building_4" title="Icon of a warehouse with three doors">
                  <a:extLst>
                    <a:ext uri="{FF2B5EF4-FFF2-40B4-BE49-F238E27FC236}">
                      <a16:creationId xmlns:a16="http://schemas.microsoft.com/office/drawing/2014/main" id="{2FF5262E-7903-4363-820B-BDCBBCA4BB19}"/>
                    </a:ext>
                  </a:extLst>
                </p:cNvPr>
                <p:cNvSpPr>
                  <a:spLocks noChangeAspect="1" noEditPoints="1"/>
                </p:cNvSpPr>
                <p:nvPr/>
              </p:nvSpPr>
              <p:spPr bwMode="auto">
                <a:xfrm>
                  <a:off x="8851131" y="2839184"/>
                  <a:ext cx="411480" cy="226144"/>
                </a:xfrm>
                <a:custGeom>
                  <a:avLst/>
                  <a:gdLst>
                    <a:gd name="T0" fmla="*/ 183 w 242"/>
                    <a:gd name="T1" fmla="*/ 16 h 133"/>
                    <a:gd name="T2" fmla="*/ 242 w 242"/>
                    <a:gd name="T3" fmla="*/ 31 h 133"/>
                    <a:gd name="T4" fmla="*/ 242 w 242"/>
                    <a:gd name="T5" fmla="*/ 133 h 133"/>
                    <a:gd name="T6" fmla="*/ 32 w 242"/>
                    <a:gd name="T7" fmla="*/ 133 h 133"/>
                    <a:gd name="T8" fmla="*/ 0 w 242"/>
                    <a:gd name="T9" fmla="*/ 133 h 133"/>
                    <a:gd name="T10" fmla="*/ 0 w 242"/>
                    <a:gd name="T11" fmla="*/ 31 h 133"/>
                    <a:gd name="T12" fmla="*/ 121 w 242"/>
                    <a:gd name="T13" fmla="*/ 0 h 133"/>
                    <a:gd name="T14" fmla="*/ 183 w 242"/>
                    <a:gd name="T15" fmla="*/ 16 h 133"/>
                    <a:gd name="T16" fmla="*/ 70 w 242"/>
                    <a:gd name="T17" fmla="*/ 133 h 133"/>
                    <a:gd name="T18" fmla="*/ 70 w 242"/>
                    <a:gd name="T19" fmla="*/ 81 h 133"/>
                    <a:gd name="T20" fmla="*/ 33 w 242"/>
                    <a:gd name="T21" fmla="*/ 81 h 133"/>
                    <a:gd name="T22" fmla="*/ 33 w 242"/>
                    <a:gd name="T23" fmla="*/ 133 h 133"/>
                    <a:gd name="T24" fmla="*/ 139 w 242"/>
                    <a:gd name="T25" fmla="*/ 133 h 133"/>
                    <a:gd name="T26" fmla="*/ 139 w 242"/>
                    <a:gd name="T27" fmla="*/ 81 h 133"/>
                    <a:gd name="T28" fmla="*/ 103 w 242"/>
                    <a:gd name="T29" fmla="*/ 81 h 133"/>
                    <a:gd name="T30" fmla="*/ 103 w 242"/>
                    <a:gd name="T31" fmla="*/ 133 h 133"/>
                    <a:gd name="T32" fmla="*/ 209 w 242"/>
                    <a:gd name="T33" fmla="*/ 133 h 133"/>
                    <a:gd name="T34" fmla="*/ 209 w 242"/>
                    <a:gd name="T35" fmla="*/ 81 h 133"/>
                    <a:gd name="T36" fmla="*/ 172 w 242"/>
                    <a:gd name="T37" fmla="*/ 81 h 133"/>
                    <a:gd name="T38" fmla="*/ 172 w 242"/>
                    <a:gd name="T3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133">
                      <a:moveTo>
                        <a:pt x="183" y="16"/>
                      </a:moveTo>
                      <a:lnTo>
                        <a:pt x="242" y="31"/>
                      </a:lnTo>
                      <a:lnTo>
                        <a:pt x="242" y="133"/>
                      </a:lnTo>
                      <a:lnTo>
                        <a:pt x="32" y="133"/>
                      </a:lnTo>
                      <a:lnTo>
                        <a:pt x="0" y="133"/>
                      </a:lnTo>
                      <a:lnTo>
                        <a:pt x="0" y="31"/>
                      </a:lnTo>
                      <a:lnTo>
                        <a:pt x="121" y="0"/>
                      </a:lnTo>
                      <a:lnTo>
                        <a:pt x="183" y="16"/>
                      </a:lnTo>
                      <a:moveTo>
                        <a:pt x="70" y="133"/>
                      </a:moveTo>
                      <a:lnTo>
                        <a:pt x="70" y="81"/>
                      </a:lnTo>
                      <a:lnTo>
                        <a:pt x="33" y="81"/>
                      </a:lnTo>
                      <a:lnTo>
                        <a:pt x="33" y="133"/>
                      </a:lnTo>
                      <a:moveTo>
                        <a:pt x="139" y="133"/>
                      </a:moveTo>
                      <a:lnTo>
                        <a:pt x="139" y="81"/>
                      </a:lnTo>
                      <a:lnTo>
                        <a:pt x="103" y="81"/>
                      </a:lnTo>
                      <a:lnTo>
                        <a:pt x="103" y="133"/>
                      </a:lnTo>
                      <a:moveTo>
                        <a:pt x="209" y="133"/>
                      </a:moveTo>
                      <a:lnTo>
                        <a:pt x="209" y="81"/>
                      </a:lnTo>
                      <a:lnTo>
                        <a:pt x="172" y="81"/>
                      </a:lnTo>
                      <a:lnTo>
                        <a:pt x="172" y="13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82" name="Rectangle 81">
                <a:extLst>
                  <a:ext uri="{FF2B5EF4-FFF2-40B4-BE49-F238E27FC236}">
                    <a16:creationId xmlns:a16="http://schemas.microsoft.com/office/drawing/2014/main" id="{75B8FCFD-14E9-49A8-A4A4-297308AA16FB}"/>
                  </a:ext>
                </a:extLst>
              </p:cNvPr>
              <p:cNvSpPr/>
              <p:nvPr/>
            </p:nvSpPr>
            <p:spPr bwMode="auto">
              <a:xfrm>
                <a:off x="10966699" y="2517036"/>
                <a:ext cx="914400" cy="914400"/>
              </a:xfrm>
              <a:prstGeom prst="rect">
                <a:avLst/>
              </a:pr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Cruise Ship</a:t>
                </a:r>
              </a:p>
            </p:txBody>
          </p:sp>
          <p:sp>
            <p:nvSpPr>
              <p:cNvPr id="83" name="Rectangle 82">
                <a:extLst>
                  <a:ext uri="{FF2B5EF4-FFF2-40B4-BE49-F238E27FC236}">
                    <a16:creationId xmlns:a16="http://schemas.microsoft.com/office/drawing/2014/main" id="{8549EDA9-0782-461B-B9B3-EFA0C61B71A7}"/>
                  </a:ext>
                </a:extLst>
              </p:cNvPr>
              <p:cNvSpPr/>
              <p:nvPr/>
            </p:nvSpPr>
            <p:spPr bwMode="auto">
              <a:xfrm>
                <a:off x="6803861" y="5604096"/>
                <a:ext cx="914400" cy="914400"/>
              </a:xfrm>
              <a:prstGeom prst="rect">
                <a:avLst/>
              </a:prstGeom>
              <a:solidFill>
                <a:srgbClr val="3899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irport</a:t>
                </a:r>
              </a:p>
            </p:txBody>
          </p:sp>
          <p:sp>
            <p:nvSpPr>
              <p:cNvPr id="84" name="Airplane_E709" title="Icon of an airplane">
                <a:extLst>
                  <a:ext uri="{FF2B5EF4-FFF2-40B4-BE49-F238E27FC236}">
                    <a16:creationId xmlns:a16="http://schemas.microsoft.com/office/drawing/2014/main" id="{6F97CDF3-6CF1-4640-8933-4D6030D83E12}"/>
                  </a:ext>
                </a:extLst>
              </p:cNvPr>
              <p:cNvSpPr>
                <a:spLocks noChangeAspect="1"/>
              </p:cNvSpPr>
              <p:nvPr/>
            </p:nvSpPr>
            <p:spPr bwMode="auto">
              <a:xfrm>
                <a:off x="7105247" y="5803360"/>
                <a:ext cx="360982" cy="365760"/>
              </a:xfrm>
              <a:custGeom>
                <a:avLst/>
                <a:gdLst>
                  <a:gd name="T0" fmla="*/ 1002 w 3707"/>
                  <a:gd name="T1" fmla="*/ 3755 h 3755"/>
                  <a:gd name="T2" fmla="*/ 1502 w 3707"/>
                  <a:gd name="T3" fmla="*/ 2253 h 3755"/>
                  <a:gd name="T4" fmla="*/ 751 w 3707"/>
                  <a:gd name="T5" fmla="*/ 2253 h 3755"/>
                  <a:gd name="T6" fmla="*/ 625 w 3707"/>
                  <a:gd name="T7" fmla="*/ 2503 h 3755"/>
                  <a:gd name="T8" fmla="*/ 0 w 3707"/>
                  <a:gd name="T9" fmla="*/ 2503 h 3755"/>
                  <a:gd name="T10" fmla="*/ 209 w 3707"/>
                  <a:gd name="T11" fmla="*/ 1877 h 3755"/>
                  <a:gd name="T12" fmla="*/ 0 w 3707"/>
                  <a:gd name="T13" fmla="*/ 1251 h 3755"/>
                  <a:gd name="T14" fmla="*/ 625 w 3707"/>
                  <a:gd name="T15" fmla="*/ 1251 h 3755"/>
                  <a:gd name="T16" fmla="*/ 751 w 3707"/>
                  <a:gd name="T17" fmla="*/ 1502 h 3755"/>
                  <a:gd name="T18" fmla="*/ 1502 w 3707"/>
                  <a:gd name="T19" fmla="*/ 1502 h 3755"/>
                  <a:gd name="T20" fmla="*/ 1002 w 3707"/>
                  <a:gd name="T21" fmla="*/ 0 h 3755"/>
                  <a:gd name="T22" fmla="*/ 1627 w 3707"/>
                  <a:gd name="T23" fmla="*/ 0 h 3755"/>
                  <a:gd name="T24" fmla="*/ 2378 w 3707"/>
                  <a:gd name="T25" fmla="*/ 1502 h 3755"/>
                  <a:gd name="T26" fmla="*/ 3331 w 3707"/>
                  <a:gd name="T27" fmla="*/ 1502 h 3755"/>
                  <a:gd name="T28" fmla="*/ 3707 w 3707"/>
                  <a:gd name="T29" fmla="*/ 1877 h 3755"/>
                  <a:gd name="T30" fmla="*/ 3331 w 3707"/>
                  <a:gd name="T31" fmla="*/ 2253 h 3755"/>
                  <a:gd name="T32" fmla="*/ 2378 w 3707"/>
                  <a:gd name="T33" fmla="*/ 2253 h 3755"/>
                  <a:gd name="T34" fmla="*/ 1627 w 3707"/>
                  <a:gd name="T35" fmla="*/ 3755 h 3755"/>
                  <a:gd name="T36" fmla="*/ 1002 w 3707"/>
                  <a:gd name="T37" fmla="*/ 3755 h 3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07" h="3755">
                    <a:moveTo>
                      <a:pt x="1002" y="3755"/>
                    </a:moveTo>
                    <a:cubicBezTo>
                      <a:pt x="1502" y="2253"/>
                      <a:pt x="1502" y="2253"/>
                      <a:pt x="1502" y="2253"/>
                    </a:cubicBezTo>
                    <a:cubicBezTo>
                      <a:pt x="751" y="2253"/>
                      <a:pt x="751" y="2253"/>
                      <a:pt x="751" y="2253"/>
                    </a:cubicBezTo>
                    <a:cubicBezTo>
                      <a:pt x="625" y="2503"/>
                      <a:pt x="625" y="2503"/>
                      <a:pt x="625" y="2503"/>
                    </a:cubicBezTo>
                    <a:cubicBezTo>
                      <a:pt x="0" y="2503"/>
                      <a:pt x="0" y="2503"/>
                      <a:pt x="0" y="2503"/>
                    </a:cubicBezTo>
                    <a:cubicBezTo>
                      <a:pt x="209" y="1877"/>
                      <a:pt x="209" y="1877"/>
                      <a:pt x="209" y="1877"/>
                    </a:cubicBezTo>
                    <a:cubicBezTo>
                      <a:pt x="0" y="1251"/>
                      <a:pt x="0" y="1251"/>
                      <a:pt x="0" y="1251"/>
                    </a:cubicBezTo>
                    <a:cubicBezTo>
                      <a:pt x="625" y="1251"/>
                      <a:pt x="625" y="1251"/>
                      <a:pt x="625" y="1251"/>
                    </a:cubicBezTo>
                    <a:cubicBezTo>
                      <a:pt x="751" y="1502"/>
                      <a:pt x="751" y="1502"/>
                      <a:pt x="751" y="1502"/>
                    </a:cubicBezTo>
                    <a:cubicBezTo>
                      <a:pt x="1502" y="1502"/>
                      <a:pt x="1502" y="1502"/>
                      <a:pt x="1502" y="1502"/>
                    </a:cubicBezTo>
                    <a:cubicBezTo>
                      <a:pt x="1002" y="0"/>
                      <a:pt x="1002" y="0"/>
                      <a:pt x="1002" y="0"/>
                    </a:cubicBezTo>
                    <a:cubicBezTo>
                      <a:pt x="1627" y="0"/>
                      <a:pt x="1627" y="0"/>
                      <a:pt x="1627" y="0"/>
                    </a:cubicBezTo>
                    <a:cubicBezTo>
                      <a:pt x="2378" y="1502"/>
                      <a:pt x="2378" y="1502"/>
                      <a:pt x="2378" y="1502"/>
                    </a:cubicBezTo>
                    <a:cubicBezTo>
                      <a:pt x="3331" y="1502"/>
                      <a:pt x="3331" y="1502"/>
                      <a:pt x="3331" y="1502"/>
                    </a:cubicBezTo>
                    <a:cubicBezTo>
                      <a:pt x="3538" y="1502"/>
                      <a:pt x="3707" y="1670"/>
                      <a:pt x="3707" y="1877"/>
                    </a:cubicBezTo>
                    <a:cubicBezTo>
                      <a:pt x="3707" y="2084"/>
                      <a:pt x="3538" y="2253"/>
                      <a:pt x="3331" y="2253"/>
                    </a:cubicBezTo>
                    <a:cubicBezTo>
                      <a:pt x="2378" y="2253"/>
                      <a:pt x="2378" y="2253"/>
                      <a:pt x="2378" y="2253"/>
                    </a:cubicBezTo>
                    <a:cubicBezTo>
                      <a:pt x="1627" y="3755"/>
                      <a:pt x="1627" y="3755"/>
                      <a:pt x="1627" y="3755"/>
                    </a:cubicBezTo>
                    <a:lnTo>
                      <a:pt x="1002" y="3755"/>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5" name="Boat" title="Icon of a large boat">
                <a:extLst>
                  <a:ext uri="{FF2B5EF4-FFF2-40B4-BE49-F238E27FC236}">
                    <a16:creationId xmlns:a16="http://schemas.microsoft.com/office/drawing/2014/main" id="{73666245-D802-4534-A89B-11B8A6F19616}"/>
                  </a:ext>
                </a:extLst>
              </p:cNvPr>
              <p:cNvSpPr>
                <a:spLocks noChangeAspect="1" noEditPoints="1"/>
              </p:cNvSpPr>
              <p:nvPr/>
            </p:nvSpPr>
            <p:spPr bwMode="auto">
              <a:xfrm>
                <a:off x="11193478" y="2769376"/>
                <a:ext cx="422205" cy="365760"/>
              </a:xfrm>
              <a:custGeom>
                <a:avLst/>
                <a:gdLst>
                  <a:gd name="T0" fmla="*/ 158 w 316"/>
                  <a:gd name="T1" fmla="*/ 42 h 274"/>
                  <a:gd name="T2" fmla="*/ 221 w 316"/>
                  <a:gd name="T3" fmla="*/ 42 h 274"/>
                  <a:gd name="T4" fmla="*/ 241 w 316"/>
                  <a:gd name="T5" fmla="*/ 84 h 274"/>
                  <a:gd name="T6" fmla="*/ 262 w 316"/>
                  <a:gd name="T7" fmla="*/ 84 h 274"/>
                  <a:gd name="T8" fmla="*/ 262 w 316"/>
                  <a:gd name="T9" fmla="*/ 160 h 274"/>
                  <a:gd name="T10" fmla="*/ 311 w 316"/>
                  <a:gd name="T11" fmla="*/ 176 h 274"/>
                  <a:gd name="T12" fmla="*/ 268 w 316"/>
                  <a:gd name="T13" fmla="*/ 263 h 274"/>
                  <a:gd name="T14" fmla="*/ 253 w 316"/>
                  <a:gd name="T15" fmla="*/ 273 h 274"/>
                  <a:gd name="T16" fmla="*/ 205 w 316"/>
                  <a:gd name="T17" fmla="*/ 252 h 274"/>
                  <a:gd name="T18" fmla="*/ 158 w 316"/>
                  <a:gd name="T19" fmla="*/ 274 h 274"/>
                  <a:gd name="T20" fmla="*/ 111 w 316"/>
                  <a:gd name="T21" fmla="*/ 252 h 274"/>
                  <a:gd name="T22" fmla="*/ 63 w 316"/>
                  <a:gd name="T23" fmla="*/ 273 h 274"/>
                  <a:gd name="T24" fmla="*/ 48 w 316"/>
                  <a:gd name="T25" fmla="*/ 263 h 274"/>
                  <a:gd name="T26" fmla="*/ 5 w 316"/>
                  <a:gd name="T27" fmla="*/ 176 h 274"/>
                  <a:gd name="T28" fmla="*/ 54 w 316"/>
                  <a:gd name="T29" fmla="*/ 160 h 274"/>
                  <a:gd name="T30" fmla="*/ 54 w 316"/>
                  <a:gd name="T31" fmla="*/ 84 h 274"/>
                  <a:gd name="T32" fmla="*/ 74 w 316"/>
                  <a:gd name="T33" fmla="*/ 84 h 274"/>
                  <a:gd name="T34" fmla="*/ 95 w 316"/>
                  <a:gd name="T35" fmla="*/ 42 h 274"/>
                  <a:gd name="T36" fmla="*/ 158 w 316"/>
                  <a:gd name="T37" fmla="*/ 42 h 274"/>
                  <a:gd name="T38" fmla="*/ 179 w 316"/>
                  <a:gd name="T39" fmla="*/ 42 h 274"/>
                  <a:gd name="T40" fmla="*/ 179 w 316"/>
                  <a:gd name="T41" fmla="*/ 0 h 274"/>
                  <a:gd name="T42" fmla="*/ 137 w 316"/>
                  <a:gd name="T43" fmla="*/ 0 h 274"/>
                  <a:gd name="T44" fmla="*/ 137 w 316"/>
                  <a:gd name="T45" fmla="*/ 42 h 274"/>
                  <a:gd name="T46" fmla="*/ 262 w 316"/>
                  <a:gd name="T47" fmla="*/ 160 h 274"/>
                  <a:gd name="T48" fmla="*/ 158 w 316"/>
                  <a:gd name="T49" fmla="*/ 127 h 274"/>
                  <a:gd name="T50" fmla="*/ 54 w 316"/>
                  <a:gd name="T51" fmla="*/ 160 h 274"/>
                  <a:gd name="T52" fmla="*/ 74 w 316"/>
                  <a:gd name="T53" fmla="*/ 84 h 274"/>
                  <a:gd name="T54" fmla="*/ 241 w 316"/>
                  <a:gd name="T55" fmla="*/ 84 h 274"/>
                  <a:gd name="T56" fmla="*/ 158 w 316"/>
                  <a:gd name="T57" fmla="*/ 271 h 274"/>
                  <a:gd name="T58" fmla="*/ 158 w 316"/>
                  <a:gd name="T59" fmla="*/ 129 h 274"/>
                  <a:gd name="T60" fmla="*/ 0 w 316"/>
                  <a:gd name="T61" fmla="*/ 253 h 274"/>
                  <a:gd name="T62" fmla="*/ 41 w 316"/>
                  <a:gd name="T63" fmla="*/ 253 h 274"/>
                  <a:gd name="T64" fmla="*/ 275 w 316"/>
                  <a:gd name="T65" fmla="*/ 253 h 274"/>
                  <a:gd name="T66" fmla="*/ 316 w 316"/>
                  <a:gd name="T67" fmla="*/ 25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6" h="274">
                    <a:moveTo>
                      <a:pt x="158" y="42"/>
                    </a:moveTo>
                    <a:cubicBezTo>
                      <a:pt x="221" y="42"/>
                      <a:pt x="221" y="42"/>
                      <a:pt x="221" y="42"/>
                    </a:cubicBezTo>
                    <a:cubicBezTo>
                      <a:pt x="241" y="84"/>
                      <a:pt x="241" y="84"/>
                      <a:pt x="241" y="84"/>
                    </a:cubicBezTo>
                    <a:cubicBezTo>
                      <a:pt x="262" y="84"/>
                      <a:pt x="262" y="84"/>
                      <a:pt x="262" y="84"/>
                    </a:cubicBezTo>
                    <a:cubicBezTo>
                      <a:pt x="262" y="160"/>
                      <a:pt x="262" y="160"/>
                      <a:pt x="262" y="160"/>
                    </a:cubicBezTo>
                    <a:cubicBezTo>
                      <a:pt x="311" y="176"/>
                      <a:pt x="311" y="176"/>
                      <a:pt x="311" y="176"/>
                    </a:cubicBezTo>
                    <a:cubicBezTo>
                      <a:pt x="268" y="263"/>
                      <a:pt x="268" y="263"/>
                      <a:pt x="268" y="263"/>
                    </a:cubicBezTo>
                    <a:cubicBezTo>
                      <a:pt x="268" y="263"/>
                      <a:pt x="264" y="273"/>
                      <a:pt x="253" y="273"/>
                    </a:cubicBezTo>
                    <a:cubicBezTo>
                      <a:pt x="232" y="273"/>
                      <a:pt x="226" y="252"/>
                      <a:pt x="205" y="252"/>
                    </a:cubicBezTo>
                    <a:cubicBezTo>
                      <a:pt x="188" y="252"/>
                      <a:pt x="177" y="274"/>
                      <a:pt x="158" y="274"/>
                    </a:cubicBezTo>
                    <a:cubicBezTo>
                      <a:pt x="139" y="274"/>
                      <a:pt x="128" y="252"/>
                      <a:pt x="111" y="252"/>
                    </a:cubicBezTo>
                    <a:cubicBezTo>
                      <a:pt x="90" y="252"/>
                      <a:pt x="84" y="273"/>
                      <a:pt x="63" y="273"/>
                    </a:cubicBezTo>
                    <a:cubicBezTo>
                      <a:pt x="52" y="273"/>
                      <a:pt x="48" y="263"/>
                      <a:pt x="48" y="263"/>
                    </a:cubicBezTo>
                    <a:cubicBezTo>
                      <a:pt x="5" y="176"/>
                      <a:pt x="5" y="176"/>
                      <a:pt x="5" y="176"/>
                    </a:cubicBezTo>
                    <a:cubicBezTo>
                      <a:pt x="54" y="160"/>
                      <a:pt x="54" y="160"/>
                      <a:pt x="54" y="160"/>
                    </a:cubicBezTo>
                    <a:cubicBezTo>
                      <a:pt x="54" y="84"/>
                      <a:pt x="54" y="84"/>
                      <a:pt x="54" y="84"/>
                    </a:cubicBezTo>
                    <a:cubicBezTo>
                      <a:pt x="74" y="84"/>
                      <a:pt x="74" y="84"/>
                      <a:pt x="74" y="84"/>
                    </a:cubicBezTo>
                    <a:cubicBezTo>
                      <a:pt x="95" y="42"/>
                      <a:pt x="95" y="42"/>
                      <a:pt x="95" y="42"/>
                    </a:cubicBezTo>
                    <a:cubicBezTo>
                      <a:pt x="158" y="42"/>
                      <a:pt x="158" y="42"/>
                      <a:pt x="158" y="42"/>
                    </a:cubicBezTo>
                    <a:moveTo>
                      <a:pt x="179" y="42"/>
                    </a:moveTo>
                    <a:cubicBezTo>
                      <a:pt x="179" y="0"/>
                      <a:pt x="179" y="0"/>
                      <a:pt x="179" y="0"/>
                    </a:cubicBezTo>
                    <a:cubicBezTo>
                      <a:pt x="137" y="0"/>
                      <a:pt x="137" y="0"/>
                      <a:pt x="137" y="0"/>
                    </a:cubicBezTo>
                    <a:cubicBezTo>
                      <a:pt x="137" y="42"/>
                      <a:pt x="137" y="42"/>
                      <a:pt x="137" y="42"/>
                    </a:cubicBezTo>
                    <a:moveTo>
                      <a:pt x="262" y="160"/>
                    </a:moveTo>
                    <a:cubicBezTo>
                      <a:pt x="158" y="127"/>
                      <a:pt x="158" y="127"/>
                      <a:pt x="158" y="127"/>
                    </a:cubicBezTo>
                    <a:cubicBezTo>
                      <a:pt x="54" y="160"/>
                      <a:pt x="54" y="160"/>
                      <a:pt x="54" y="160"/>
                    </a:cubicBezTo>
                    <a:moveTo>
                      <a:pt x="74" y="84"/>
                    </a:moveTo>
                    <a:cubicBezTo>
                      <a:pt x="241" y="84"/>
                      <a:pt x="241" y="84"/>
                      <a:pt x="241" y="84"/>
                    </a:cubicBezTo>
                    <a:moveTo>
                      <a:pt x="158" y="271"/>
                    </a:moveTo>
                    <a:cubicBezTo>
                      <a:pt x="158" y="129"/>
                      <a:pt x="158" y="129"/>
                      <a:pt x="158" y="129"/>
                    </a:cubicBezTo>
                    <a:moveTo>
                      <a:pt x="0" y="253"/>
                    </a:moveTo>
                    <a:cubicBezTo>
                      <a:pt x="41" y="253"/>
                      <a:pt x="41" y="253"/>
                      <a:pt x="41" y="253"/>
                    </a:cubicBezTo>
                    <a:moveTo>
                      <a:pt x="275" y="253"/>
                    </a:moveTo>
                    <a:cubicBezTo>
                      <a:pt x="316" y="253"/>
                      <a:pt x="316" y="253"/>
                      <a:pt x="316" y="25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8" name="Rectangle 57">
              <a:extLst>
                <a:ext uri="{FF2B5EF4-FFF2-40B4-BE49-F238E27FC236}">
                  <a16:creationId xmlns:a16="http://schemas.microsoft.com/office/drawing/2014/main" id="{3B7B9FAE-1851-4DED-A10E-87E4A9EFF874}"/>
                </a:ext>
              </a:extLst>
            </p:cNvPr>
            <p:cNvSpPr/>
            <p:nvPr/>
          </p:nvSpPr>
          <p:spPr bwMode="auto">
            <a:xfrm>
              <a:off x="-1393484" y="25434"/>
              <a:ext cx="6096000" cy="6858000"/>
            </a:xfrm>
            <a:prstGeom prst="rect">
              <a:avLst/>
            </a:prstGeom>
            <a:solidFill>
              <a:srgbClr val="000000">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9" name="Rectangle 58">
            <a:extLst>
              <a:ext uri="{FF2B5EF4-FFF2-40B4-BE49-F238E27FC236}">
                <a16:creationId xmlns:a16="http://schemas.microsoft.com/office/drawing/2014/main" id="{4021C479-B7E2-4CA8-9BCD-B76138050BFF}"/>
              </a:ext>
            </a:extLst>
          </p:cNvPr>
          <p:cNvSpPr/>
          <p:nvPr/>
        </p:nvSpPr>
        <p:spPr>
          <a:xfrm>
            <a:off x="312738" y="2932798"/>
            <a:ext cx="5654157" cy="992404"/>
          </a:xfrm>
          <a:prstGeom prst="rect">
            <a:avLst/>
          </a:prstGeom>
        </p:spPr>
        <p:txBody>
          <a:bodyPr wrap="square" lIns="0" tIns="0" rIns="274320" bIns="0" anchor="ctr">
            <a:noAutofit/>
          </a:bodyPr>
          <a:lstStyle/>
          <a:p>
            <a:pPr marL="0" marR="0" lvl="0" indent="0" algn="r" defTabSz="932688"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light (Headings)"/>
                <a:ea typeface="+mn-ea"/>
                <a:cs typeface="+mn-cs"/>
              </a:rPr>
              <a:t>Azure</a:t>
            </a:r>
            <a:r>
              <a:rPr kumimoji="0" lang="en-US" sz="3600" b="0" i="0" u="none" strike="noStrike" kern="1200" cap="none" spc="0" normalizeH="0" baseline="0" noProof="0">
                <a:ln>
                  <a:noFill/>
                </a:ln>
                <a:solidFill>
                  <a:srgbClr val="FFFFFF"/>
                </a:solidFill>
                <a:effectLst/>
                <a:uLnTx/>
                <a:uFillTx/>
                <a:latin typeface="Segoe UI Semibold"/>
                <a:ea typeface="+mn-ea"/>
                <a:cs typeface="+mn-cs"/>
              </a:rPr>
              <a:t> </a:t>
            </a:r>
            <a:r>
              <a:rPr kumimoji="0" lang="en-US" sz="3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igital Twins</a:t>
            </a:r>
          </a:p>
        </p:txBody>
      </p:sp>
      <p:grpSp>
        <p:nvGrpSpPr>
          <p:cNvPr id="152" name="Group 151">
            <a:extLst>
              <a:ext uri="{FF2B5EF4-FFF2-40B4-BE49-F238E27FC236}">
                <a16:creationId xmlns:a16="http://schemas.microsoft.com/office/drawing/2014/main" id="{746FAEFA-29C9-4D23-BF30-2C0D40705CE9}"/>
              </a:ext>
            </a:extLst>
          </p:cNvPr>
          <p:cNvGrpSpPr/>
          <p:nvPr/>
        </p:nvGrpSpPr>
        <p:grpSpPr>
          <a:xfrm>
            <a:off x="-9141" y="0"/>
            <a:ext cx="2730501" cy="2441199"/>
            <a:chOff x="0" y="0"/>
            <a:chExt cx="2000250" cy="1838325"/>
          </a:xfrm>
        </p:grpSpPr>
        <p:sp>
          <p:nvSpPr>
            <p:cNvPr id="153" name="Diagonal Stripe 152">
              <a:extLst>
                <a:ext uri="{FF2B5EF4-FFF2-40B4-BE49-F238E27FC236}">
                  <a16:creationId xmlns:a16="http://schemas.microsoft.com/office/drawing/2014/main" id="{820C2F12-34BE-44CE-B27A-2F024EF7AF20}"/>
                </a:ext>
              </a:extLst>
            </p:cNvPr>
            <p:cNvSpPr/>
            <p:nvPr/>
          </p:nvSpPr>
          <p:spPr bwMode="auto">
            <a:xfrm>
              <a:off x="0" y="0"/>
              <a:ext cx="2000250" cy="1838325"/>
            </a:xfrm>
            <a:prstGeom prst="diagStripe">
              <a:avLst>
                <a:gd name="adj" fmla="val 62953"/>
              </a:avLst>
            </a:prstGeom>
            <a:solidFill>
              <a:srgbClr val="C00000"/>
            </a:solidFill>
            <a:ln>
              <a:noFill/>
            </a:ln>
          </p:spPr>
          <p:style>
            <a:lnRef idx="0">
              <a:scrgbClr r="0" g="0" b="0"/>
            </a:lnRef>
            <a:fillRef idx="0">
              <a:scrgbClr r="0" g="0" b="0"/>
            </a:fillRef>
            <a:effectRef idx="0">
              <a:scrgbClr r="0" g="0" b="0"/>
            </a:effectRef>
            <a:fontRef idx="minor">
              <a:schemeClr val="lt1"/>
            </a:fontRef>
          </p:style>
          <p:txBody>
            <a:bodyPr vert="horz" wrap="square" lIns="0" tIns="46637" rIns="0" bIns="46637"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a:ea typeface="+mn-ea"/>
                <a:cs typeface="+mn-cs"/>
              </a:endParaRPr>
            </a:p>
          </p:txBody>
        </p:sp>
        <p:sp>
          <p:nvSpPr>
            <p:cNvPr id="154" name="Rectangle 153">
              <a:extLst>
                <a:ext uri="{FF2B5EF4-FFF2-40B4-BE49-F238E27FC236}">
                  <a16:creationId xmlns:a16="http://schemas.microsoft.com/office/drawing/2014/main" id="{3A8307D6-45C5-4CD6-9B06-CDB33CB6B459}"/>
                </a:ext>
              </a:extLst>
            </p:cNvPr>
            <p:cNvSpPr/>
            <p:nvPr/>
          </p:nvSpPr>
          <p:spPr>
            <a:xfrm rot="19074741">
              <a:off x="113385" y="577088"/>
              <a:ext cx="1428597" cy="301300"/>
            </a:xfrm>
            <a:prstGeom prst="rect">
              <a:avLst/>
            </a:prstGeom>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Segoe UI"/>
                  <a:ea typeface="+mn-ea"/>
                  <a:cs typeface="Segoe UI Semibold" panose="020B0702040204020203" pitchFamily="34" charset="0"/>
                </a:rPr>
                <a:t>Public preview</a:t>
              </a:r>
            </a:p>
          </p:txBody>
        </p:sp>
      </p:grpSp>
      <p:grpSp>
        <p:nvGrpSpPr>
          <p:cNvPr id="4" name="Group 3">
            <a:extLst>
              <a:ext uri="{FF2B5EF4-FFF2-40B4-BE49-F238E27FC236}">
                <a16:creationId xmlns:a16="http://schemas.microsoft.com/office/drawing/2014/main" id="{CD2E5934-64BC-4A61-8001-768DE1815706}"/>
              </a:ext>
            </a:extLst>
          </p:cNvPr>
          <p:cNvGrpSpPr/>
          <p:nvPr/>
        </p:nvGrpSpPr>
        <p:grpSpPr>
          <a:xfrm>
            <a:off x="6885729" y="693923"/>
            <a:ext cx="4990361" cy="961853"/>
            <a:chOff x="6885729" y="693923"/>
            <a:chExt cx="4990361" cy="961853"/>
          </a:xfrm>
        </p:grpSpPr>
        <p:cxnSp>
          <p:nvCxnSpPr>
            <p:cNvPr id="162" name="Straight Connector 161">
              <a:extLst>
                <a:ext uri="{FF2B5EF4-FFF2-40B4-BE49-F238E27FC236}">
                  <a16:creationId xmlns:a16="http://schemas.microsoft.com/office/drawing/2014/main" id="{48CE4306-6DCE-48F6-964D-2887BC8C9775}"/>
                </a:ext>
              </a:extLst>
            </p:cNvPr>
            <p:cNvCxnSpPr>
              <a:cxnSpLocks/>
            </p:cNvCxnSpPr>
            <p:nvPr/>
          </p:nvCxnSpPr>
          <p:spPr>
            <a:xfrm>
              <a:off x="6885729" y="1655776"/>
              <a:ext cx="4553682" cy="0"/>
            </a:xfrm>
            <a:prstGeom prst="line">
              <a:avLst/>
            </a:prstGeom>
            <a:ln w="9525">
              <a:solidFill>
                <a:schemeClr val="accent1"/>
              </a:solidFill>
              <a:headEnd type="none"/>
              <a:tailEnd type="none"/>
            </a:ln>
          </p:spPr>
          <p:style>
            <a:lnRef idx="2">
              <a:schemeClr val="accent1"/>
            </a:lnRef>
            <a:fillRef idx="0">
              <a:schemeClr val="accent1"/>
            </a:fillRef>
            <a:effectRef idx="1">
              <a:schemeClr val="accent1"/>
            </a:effectRef>
            <a:fontRef idx="minor">
              <a:schemeClr val="tx1"/>
            </a:fontRef>
          </p:style>
        </p:cxnSp>
        <p:sp>
          <p:nvSpPr>
            <p:cNvPr id="163" name="Rectangle 162">
              <a:extLst>
                <a:ext uri="{FF2B5EF4-FFF2-40B4-BE49-F238E27FC236}">
                  <a16:creationId xmlns:a16="http://schemas.microsoft.com/office/drawing/2014/main" id="{609016E1-2A9D-4AE2-B642-92F0A77B9A50}"/>
                </a:ext>
              </a:extLst>
            </p:cNvPr>
            <p:cNvSpPr/>
            <p:nvPr/>
          </p:nvSpPr>
          <p:spPr>
            <a:xfrm>
              <a:off x="7843274" y="882162"/>
              <a:ext cx="4032816" cy="387798"/>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92001">
                        <a:srgbClr val="0D0D0D"/>
                      </a:gs>
                      <a:gs pos="1250">
                        <a:srgbClr val="0D0D0D"/>
                      </a:gs>
                    </a:gsLst>
                    <a:lin ang="5400000" scaled="0"/>
                  </a:gradFill>
                  <a:effectLst/>
                  <a:uLnTx/>
                  <a:uFillTx/>
                  <a:latin typeface="Segoe UI Semibold"/>
                  <a:ea typeface="+mn-ea"/>
                  <a:cs typeface="Segoe UI Semilight" panose="020B0402040204020203" pitchFamily="34" charset="0"/>
                </a:rPr>
                <a:t>Build next generation IoT solutions with </a:t>
              </a:r>
              <a:br>
                <a:rPr kumimoji="0" lang="en-US" sz="1400" b="0" i="0" u="none" strike="noStrike" kern="1200" cap="none" spc="0" normalizeH="0" baseline="0" noProof="0">
                  <a:ln>
                    <a:noFill/>
                  </a:ln>
                  <a:gradFill>
                    <a:gsLst>
                      <a:gs pos="92001">
                        <a:srgbClr val="0D0D0D"/>
                      </a:gs>
                      <a:gs pos="1250">
                        <a:srgbClr val="0D0D0D"/>
                      </a:gs>
                    </a:gsLst>
                    <a:lin ang="5400000" scaled="0"/>
                  </a:gradFill>
                  <a:effectLst/>
                  <a:uLnTx/>
                  <a:uFillTx/>
                  <a:latin typeface="Segoe UI Semibold"/>
                  <a:ea typeface="+mn-ea"/>
                  <a:cs typeface="Segoe UI Semilight" panose="020B0402040204020203" pitchFamily="34" charset="0"/>
                </a:rPr>
              </a:br>
              <a:r>
                <a:rPr kumimoji="0" lang="en-US" sz="1400" b="0" i="0" u="none" strike="noStrike" kern="1200" cap="none" spc="0" normalizeH="0" baseline="0" noProof="0">
                  <a:ln>
                    <a:noFill/>
                  </a:ln>
                  <a:gradFill>
                    <a:gsLst>
                      <a:gs pos="92001">
                        <a:srgbClr val="0D0D0D"/>
                      </a:gs>
                      <a:gs pos="1250">
                        <a:srgbClr val="0D0D0D"/>
                      </a:gs>
                    </a:gsLst>
                    <a:lin ang="5400000" scaled="0"/>
                  </a:gradFill>
                  <a:effectLst/>
                  <a:uLnTx/>
                  <a:uFillTx/>
                  <a:latin typeface="Segoe UI Semibold"/>
                  <a:ea typeface="+mn-ea"/>
                  <a:cs typeface="Segoe UI Semilight" panose="020B0402040204020203" pitchFamily="34" charset="0"/>
                </a:rPr>
                <a:t>Azure Digital Twins</a:t>
              </a:r>
            </a:p>
          </p:txBody>
        </p:sp>
        <p:sp>
          <p:nvSpPr>
            <p:cNvPr id="165" name="Oval 164">
              <a:extLst>
                <a:ext uri="{FF2B5EF4-FFF2-40B4-BE49-F238E27FC236}">
                  <a16:creationId xmlns:a16="http://schemas.microsoft.com/office/drawing/2014/main" id="{AC8262D6-9AA7-4D6C-B99B-E10DABA10927}"/>
                </a:ext>
              </a:extLst>
            </p:cNvPr>
            <p:cNvSpPr/>
            <p:nvPr/>
          </p:nvSpPr>
          <p:spPr bwMode="auto">
            <a:xfrm>
              <a:off x="6926672" y="693923"/>
              <a:ext cx="76427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92001">
                      <a:srgbClr val="0D0D0D"/>
                    </a:gs>
                    <a:gs pos="1250">
                      <a:srgbClr val="0D0D0D"/>
                    </a:gs>
                  </a:gsLst>
                  <a:lin ang="5400000" scaled="0"/>
                </a:gradFill>
                <a:effectLst/>
                <a:uLnTx/>
                <a:uFillTx/>
                <a:latin typeface="Segoe UI Semibold"/>
                <a:ea typeface="+mn-ea"/>
                <a:cs typeface="+mn-cs"/>
              </a:endParaRPr>
            </a:p>
          </p:txBody>
        </p:sp>
        <p:sp>
          <p:nvSpPr>
            <p:cNvPr id="184" name="bot_3">
              <a:extLst>
                <a:ext uri="{FF2B5EF4-FFF2-40B4-BE49-F238E27FC236}">
                  <a16:creationId xmlns:a16="http://schemas.microsoft.com/office/drawing/2014/main" id="{DB749769-0099-41EE-AA3B-B5609B7B58AF}"/>
                </a:ext>
              </a:extLst>
            </p:cNvPr>
            <p:cNvSpPr>
              <a:spLocks noChangeAspect="1" noEditPoints="1"/>
            </p:cNvSpPr>
            <p:nvPr/>
          </p:nvSpPr>
          <p:spPr bwMode="auto">
            <a:xfrm>
              <a:off x="7079716" y="911686"/>
              <a:ext cx="458188" cy="328750"/>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92001">
                      <a:srgbClr val="0D0D0D"/>
                    </a:gs>
                    <a:gs pos="1250">
                      <a:srgbClr val="0D0D0D"/>
                    </a:gs>
                  </a:gsLst>
                  <a:lin ang="5400000" scaled="0"/>
                </a:gradFill>
                <a:effectLst/>
                <a:uLnTx/>
                <a:uFillTx/>
                <a:latin typeface="Segoe UI Semibold"/>
                <a:ea typeface="+mn-ea"/>
                <a:cs typeface="+mn-cs"/>
              </a:endParaRPr>
            </a:p>
          </p:txBody>
        </p:sp>
      </p:grpSp>
      <p:grpSp>
        <p:nvGrpSpPr>
          <p:cNvPr id="5" name="Group 4">
            <a:extLst>
              <a:ext uri="{FF2B5EF4-FFF2-40B4-BE49-F238E27FC236}">
                <a16:creationId xmlns:a16="http://schemas.microsoft.com/office/drawing/2014/main" id="{9E4421AE-C4A6-48AF-A73C-29C1389203ED}"/>
              </a:ext>
            </a:extLst>
          </p:cNvPr>
          <p:cNvGrpSpPr/>
          <p:nvPr/>
        </p:nvGrpSpPr>
        <p:grpSpPr>
          <a:xfrm>
            <a:off x="6885728" y="1853353"/>
            <a:ext cx="4990360" cy="961853"/>
            <a:chOff x="6885728" y="1853353"/>
            <a:chExt cx="4990360" cy="961853"/>
          </a:xfrm>
        </p:grpSpPr>
        <p:cxnSp>
          <p:nvCxnSpPr>
            <p:cNvPr id="168" name="Straight Connector 167">
              <a:extLst>
                <a:ext uri="{FF2B5EF4-FFF2-40B4-BE49-F238E27FC236}">
                  <a16:creationId xmlns:a16="http://schemas.microsoft.com/office/drawing/2014/main" id="{2BD58F34-18ED-4E3E-AD63-3FCF1EA060EA}"/>
                </a:ext>
              </a:extLst>
            </p:cNvPr>
            <p:cNvCxnSpPr>
              <a:cxnSpLocks/>
            </p:cNvCxnSpPr>
            <p:nvPr/>
          </p:nvCxnSpPr>
          <p:spPr>
            <a:xfrm>
              <a:off x="6885728" y="2815206"/>
              <a:ext cx="4553682" cy="0"/>
            </a:xfrm>
            <a:prstGeom prst="line">
              <a:avLst/>
            </a:prstGeom>
            <a:ln w="9525">
              <a:solidFill>
                <a:schemeClr val="accent1"/>
              </a:solidFill>
              <a:headEnd type="none"/>
              <a:tailEnd type="none"/>
            </a:ln>
          </p:spPr>
          <p:style>
            <a:lnRef idx="2">
              <a:schemeClr val="accent1"/>
            </a:lnRef>
            <a:fillRef idx="0">
              <a:schemeClr val="accent1"/>
            </a:fillRef>
            <a:effectRef idx="1">
              <a:schemeClr val="accent1"/>
            </a:effectRef>
            <a:fontRef idx="minor">
              <a:schemeClr val="tx1"/>
            </a:fontRef>
          </p:style>
        </p:cxnSp>
        <p:sp>
          <p:nvSpPr>
            <p:cNvPr id="169" name="Rectangle 168">
              <a:extLst>
                <a:ext uri="{FF2B5EF4-FFF2-40B4-BE49-F238E27FC236}">
                  <a16:creationId xmlns:a16="http://schemas.microsoft.com/office/drawing/2014/main" id="{F0E8F3E5-766D-457D-89A0-D198C0368141}"/>
                </a:ext>
              </a:extLst>
            </p:cNvPr>
            <p:cNvSpPr/>
            <p:nvPr/>
          </p:nvSpPr>
          <p:spPr>
            <a:xfrm>
              <a:off x="7843272" y="1944641"/>
              <a:ext cx="4032816" cy="581698"/>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92001">
                        <a:srgbClr val="0D0D0D"/>
                      </a:gs>
                      <a:gs pos="1250">
                        <a:srgbClr val="0D0D0D"/>
                      </a:gs>
                    </a:gsLst>
                    <a:lin ang="5400000" scaled="0"/>
                  </a:gradFill>
                  <a:effectLst/>
                  <a:uLnTx/>
                  <a:uFillTx/>
                  <a:latin typeface="Segoe UI Semibold"/>
                  <a:ea typeface="+mn-ea"/>
                  <a:cs typeface="Segoe UI Semilight" panose="020B0402040204020203" pitchFamily="34" charset="0"/>
                </a:rPr>
                <a:t>Virtually represent the physical world with </a:t>
              </a:r>
              <a:br>
                <a:rPr kumimoji="0" lang="en-US" sz="1400" b="0" i="0" u="none" strike="noStrike" kern="1200" cap="none" spc="0" normalizeH="0" baseline="0" noProof="0">
                  <a:ln>
                    <a:noFill/>
                  </a:ln>
                  <a:gradFill>
                    <a:gsLst>
                      <a:gs pos="92001">
                        <a:srgbClr val="0D0D0D"/>
                      </a:gs>
                      <a:gs pos="1250">
                        <a:srgbClr val="0D0D0D"/>
                      </a:gs>
                    </a:gsLst>
                    <a:lin ang="5400000" scaled="0"/>
                  </a:gradFill>
                  <a:effectLst/>
                  <a:uLnTx/>
                  <a:uFillTx/>
                  <a:latin typeface="Segoe UI Semibold"/>
                  <a:ea typeface="+mn-ea"/>
                  <a:cs typeface="Segoe UI Semilight" panose="020B0402040204020203" pitchFamily="34" charset="0"/>
                </a:rPr>
              </a:br>
              <a:r>
                <a:rPr kumimoji="0" lang="en-US" sz="1400" b="0" i="0" u="none" strike="noStrike" kern="1200" cap="none" spc="0" normalizeH="0" baseline="0" noProof="0">
                  <a:ln>
                    <a:noFill/>
                  </a:ln>
                  <a:gradFill>
                    <a:gsLst>
                      <a:gs pos="92001">
                        <a:srgbClr val="0D0D0D"/>
                      </a:gs>
                      <a:gs pos="1250">
                        <a:srgbClr val="0D0D0D"/>
                      </a:gs>
                    </a:gsLst>
                    <a:lin ang="5400000" scaled="0"/>
                  </a:gradFill>
                  <a:effectLst/>
                  <a:uLnTx/>
                  <a:uFillTx/>
                  <a:latin typeface="Segoe UI Semibold"/>
                  <a:ea typeface="+mn-ea"/>
                  <a:cs typeface="Segoe UI Semilight" panose="020B0402040204020203" pitchFamily="34" charset="0"/>
                </a:rPr>
                <a:t>a digital twin that models the relationships between people, places and devices</a:t>
              </a:r>
            </a:p>
          </p:txBody>
        </p:sp>
        <p:grpSp>
          <p:nvGrpSpPr>
            <p:cNvPr id="2" name="Group 1">
              <a:extLst>
                <a:ext uri="{FF2B5EF4-FFF2-40B4-BE49-F238E27FC236}">
                  <a16:creationId xmlns:a16="http://schemas.microsoft.com/office/drawing/2014/main" id="{D50DCBF9-9A62-4417-9156-2D63B49CEAD0}"/>
                </a:ext>
              </a:extLst>
            </p:cNvPr>
            <p:cNvGrpSpPr/>
            <p:nvPr/>
          </p:nvGrpSpPr>
          <p:grpSpPr>
            <a:xfrm>
              <a:off x="6926671" y="1853353"/>
              <a:ext cx="764276" cy="764276"/>
              <a:chOff x="6926671" y="1853353"/>
              <a:chExt cx="764276" cy="764276"/>
            </a:xfrm>
          </p:grpSpPr>
          <p:sp>
            <p:nvSpPr>
              <p:cNvPr id="171" name="Oval 170">
                <a:extLst>
                  <a:ext uri="{FF2B5EF4-FFF2-40B4-BE49-F238E27FC236}">
                    <a16:creationId xmlns:a16="http://schemas.microsoft.com/office/drawing/2014/main" id="{BA22A574-2018-4A7A-ADE3-1C54F7D75DA3}"/>
                  </a:ext>
                </a:extLst>
              </p:cNvPr>
              <p:cNvSpPr/>
              <p:nvPr/>
            </p:nvSpPr>
            <p:spPr bwMode="auto">
              <a:xfrm>
                <a:off x="6926671" y="1853353"/>
                <a:ext cx="76427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92001">
                        <a:srgbClr val="0D0D0D"/>
                      </a:gs>
                      <a:gs pos="1250">
                        <a:srgbClr val="0D0D0D"/>
                      </a:gs>
                    </a:gsLst>
                    <a:lin ang="5400000" scaled="0"/>
                  </a:gradFill>
                  <a:effectLst/>
                  <a:uLnTx/>
                  <a:uFillTx/>
                  <a:latin typeface="Segoe UI Semibold"/>
                  <a:ea typeface="+mn-ea"/>
                  <a:cs typeface="+mn-cs"/>
                </a:endParaRPr>
              </a:p>
            </p:txBody>
          </p:sp>
          <p:sp>
            <p:nvSpPr>
              <p:cNvPr id="185" name="Mixed Reality">
                <a:extLst>
                  <a:ext uri="{FF2B5EF4-FFF2-40B4-BE49-F238E27FC236}">
                    <a16:creationId xmlns:a16="http://schemas.microsoft.com/office/drawing/2014/main" id="{3D557EEC-2B3D-4712-A8B7-9B92E133EEEB}"/>
                  </a:ext>
                </a:extLst>
              </p:cNvPr>
              <p:cNvSpPr>
                <a:spLocks noChangeAspect="1" noEditPoints="1"/>
              </p:cNvSpPr>
              <p:nvPr/>
            </p:nvSpPr>
            <p:spPr bwMode="auto">
              <a:xfrm>
                <a:off x="7108000" y="2052611"/>
                <a:ext cx="401619" cy="365760"/>
              </a:xfrm>
              <a:custGeom>
                <a:avLst/>
                <a:gdLst>
                  <a:gd name="T0" fmla="*/ 174 w 348"/>
                  <a:gd name="T1" fmla="*/ 0 h 316"/>
                  <a:gd name="T2" fmla="*/ 330 w 348"/>
                  <a:gd name="T3" fmla="*/ 19 h 316"/>
                  <a:gd name="T4" fmla="*/ 342 w 348"/>
                  <a:gd name="T5" fmla="*/ 26 h 316"/>
                  <a:gd name="T6" fmla="*/ 348 w 348"/>
                  <a:gd name="T7" fmla="*/ 37 h 316"/>
                  <a:gd name="T8" fmla="*/ 348 w 348"/>
                  <a:gd name="T9" fmla="*/ 76 h 316"/>
                  <a:gd name="T10" fmla="*/ 347 w 348"/>
                  <a:gd name="T11" fmla="*/ 87 h 316"/>
                  <a:gd name="T12" fmla="*/ 319 w 348"/>
                  <a:gd name="T13" fmla="*/ 151 h 316"/>
                  <a:gd name="T14" fmla="*/ 251 w 348"/>
                  <a:gd name="T15" fmla="*/ 180 h 316"/>
                  <a:gd name="T16" fmla="*/ 237 w 348"/>
                  <a:gd name="T17" fmla="*/ 180 h 316"/>
                  <a:gd name="T18" fmla="*/ 222 w 348"/>
                  <a:gd name="T19" fmla="*/ 175 h 316"/>
                  <a:gd name="T20" fmla="*/ 199 w 348"/>
                  <a:gd name="T21" fmla="*/ 156 h 316"/>
                  <a:gd name="T22" fmla="*/ 174 w 348"/>
                  <a:gd name="T23" fmla="*/ 146 h 316"/>
                  <a:gd name="T24" fmla="*/ 174 w 348"/>
                  <a:gd name="T25" fmla="*/ 146 h 316"/>
                  <a:gd name="T26" fmla="*/ 149 w 348"/>
                  <a:gd name="T27" fmla="*/ 156 h 316"/>
                  <a:gd name="T28" fmla="*/ 126 w 348"/>
                  <a:gd name="T29" fmla="*/ 175 h 316"/>
                  <a:gd name="T30" fmla="*/ 111 w 348"/>
                  <a:gd name="T31" fmla="*/ 180 h 316"/>
                  <a:gd name="T32" fmla="*/ 97 w 348"/>
                  <a:gd name="T33" fmla="*/ 180 h 316"/>
                  <a:gd name="T34" fmla="*/ 29 w 348"/>
                  <a:gd name="T35" fmla="*/ 151 h 316"/>
                  <a:gd name="T36" fmla="*/ 1 w 348"/>
                  <a:gd name="T37" fmla="*/ 87 h 316"/>
                  <a:gd name="T38" fmla="*/ 0 w 348"/>
                  <a:gd name="T39" fmla="*/ 76 h 316"/>
                  <a:gd name="T40" fmla="*/ 0 w 348"/>
                  <a:gd name="T41" fmla="*/ 37 h 316"/>
                  <a:gd name="T42" fmla="*/ 6 w 348"/>
                  <a:gd name="T43" fmla="*/ 26 h 316"/>
                  <a:gd name="T44" fmla="*/ 18 w 348"/>
                  <a:gd name="T45" fmla="*/ 19 h 316"/>
                  <a:gd name="T46" fmla="*/ 174 w 348"/>
                  <a:gd name="T47" fmla="*/ 0 h 316"/>
                  <a:gd name="T48" fmla="*/ 191 w 348"/>
                  <a:gd name="T49" fmla="*/ 48 h 316"/>
                  <a:gd name="T50" fmla="*/ 157 w 348"/>
                  <a:gd name="T51" fmla="*/ 48 h 316"/>
                  <a:gd name="T52" fmla="*/ 79 w 348"/>
                  <a:gd name="T53" fmla="*/ 264 h 316"/>
                  <a:gd name="T54" fmla="*/ 174 w 348"/>
                  <a:gd name="T55" fmla="*/ 316 h 316"/>
                  <a:gd name="T56" fmla="*/ 269 w 348"/>
                  <a:gd name="T57" fmla="*/ 264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16">
                    <a:moveTo>
                      <a:pt x="174" y="0"/>
                    </a:moveTo>
                    <a:cubicBezTo>
                      <a:pt x="245" y="0"/>
                      <a:pt x="299" y="7"/>
                      <a:pt x="330" y="19"/>
                    </a:cubicBezTo>
                    <a:cubicBezTo>
                      <a:pt x="334" y="21"/>
                      <a:pt x="338" y="23"/>
                      <a:pt x="342" y="26"/>
                    </a:cubicBezTo>
                    <a:cubicBezTo>
                      <a:pt x="342" y="26"/>
                      <a:pt x="348" y="31"/>
                      <a:pt x="348" y="37"/>
                    </a:cubicBezTo>
                    <a:cubicBezTo>
                      <a:pt x="348" y="76"/>
                      <a:pt x="348" y="76"/>
                      <a:pt x="348" y="76"/>
                    </a:cubicBezTo>
                    <a:cubicBezTo>
                      <a:pt x="347" y="87"/>
                      <a:pt x="347" y="87"/>
                      <a:pt x="347" y="87"/>
                    </a:cubicBezTo>
                    <a:cubicBezTo>
                      <a:pt x="347" y="111"/>
                      <a:pt x="337" y="134"/>
                      <a:pt x="319" y="151"/>
                    </a:cubicBezTo>
                    <a:cubicBezTo>
                      <a:pt x="301" y="170"/>
                      <a:pt x="277" y="180"/>
                      <a:pt x="251" y="180"/>
                    </a:cubicBezTo>
                    <a:cubicBezTo>
                      <a:pt x="237" y="180"/>
                      <a:pt x="237" y="180"/>
                      <a:pt x="237" y="180"/>
                    </a:cubicBezTo>
                    <a:cubicBezTo>
                      <a:pt x="231" y="180"/>
                      <a:pt x="226" y="178"/>
                      <a:pt x="222" y="175"/>
                    </a:cubicBezTo>
                    <a:cubicBezTo>
                      <a:pt x="199" y="156"/>
                      <a:pt x="199" y="156"/>
                      <a:pt x="199" y="156"/>
                    </a:cubicBezTo>
                    <a:cubicBezTo>
                      <a:pt x="192" y="149"/>
                      <a:pt x="183" y="146"/>
                      <a:pt x="174" y="146"/>
                    </a:cubicBezTo>
                    <a:cubicBezTo>
                      <a:pt x="174" y="146"/>
                      <a:pt x="174" y="146"/>
                      <a:pt x="174" y="146"/>
                    </a:cubicBezTo>
                    <a:cubicBezTo>
                      <a:pt x="165" y="146"/>
                      <a:pt x="156" y="149"/>
                      <a:pt x="149" y="156"/>
                    </a:cubicBezTo>
                    <a:cubicBezTo>
                      <a:pt x="126" y="175"/>
                      <a:pt x="126" y="175"/>
                      <a:pt x="126" y="175"/>
                    </a:cubicBezTo>
                    <a:cubicBezTo>
                      <a:pt x="122" y="178"/>
                      <a:pt x="117" y="180"/>
                      <a:pt x="111" y="180"/>
                    </a:cubicBezTo>
                    <a:cubicBezTo>
                      <a:pt x="97" y="180"/>
                      <a:pt x="97" y="180"/>
                      <a:pt x="97" y="180"/>
                    </a:cubicBezTo>
                    <a:cubicBezTo>
                      <a:pt x="71" y="180"/>
                      <a:pt x="47" y="170"/>
                      <a:pt x="29" y="151"/>
                    </a:cubicBezTo>
                    <a:cubicBezTo>
                      <a:pt x="11" y="134"/>
                      <a:pt x="1" y="111"/>
                      <a:pt x="1" y="87"/>
                    </a:cubicBezTo>
                    <a:cubicBezTo>
                      <a:pt x="0" y="76"/>
                      <a:pt x="0" y="76"/>
                      <a:pt x="0" y="76"/>
                    </a:cubicBezTo>
                    <a:cubicBezTo>
                      <a:pt x="0" y="37"/>
                      <a:pt x="0" y="37"/>
                      <a:pt x="0" y="37"/>
                    </a:cubicBezTo>
                    <a:cubicBezTo>
                      <a:pt x="0" y="31"/>
                      <a:pt x="6" y="26"/>
                      <a:pt x="6" y="26"/>
                    </a:cubicBezTo>
                    <a:cubicBezTo>
                      <a:pt x="10" y="23"/>
                      <a:pt x="14" y="21"/>
                      <a:pt x="18" y="19"/>
                    </a:cubicBezTo>
                    <a:cubicBezTo>
                      <a:pt x="49" y="7"/>
                      <a:pt x="103" y="0"/>
                      <a:pt x="174" y="0"/>
                    </a:cubicBezTo>
                    <a:close/>
                    <a:moveTo>
                      <a:pt x="191" y="48"/>
                    </a:moveTo>
                    <a:cubicBezTo>
                      <a:pt x="157" y="48"/>
                      <a:pt x="157" y="48"/>
                      <a:pt x="157" y="48"/>
                    </a:cubicBezTo>
                    <a:moveTo>
                      <a:pt x="79" y="264"/>
                    </a:moveTo>
                    <a:cubicBezTo>
                      <a:pt x="99" y="295"/>
                      <a:pt x="134" y="316"/>
                      <a:pt x="174" y="316"/>
                    </a:cubicBezTo>
                    <a:cubicBezTo>
                      <a:pt x="214" y="316"/>
                      <a:pt x="249" y="295"/>
                      <a:pt x="269" y="264"/>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92001">
                        <a:srgbClr val="0D0D0D"/>
                      </a:gs>
                      <a:gs pos="1250">
                        <a:srgbClr val="0D0D0D"/>
                      </a:gs>
                    </a:gsLst>
                    <a:lin ang="5400000" scaled="0"/>
                  </a:gradFill>
                  <a:effectLst/>
                  <a:uLnTx/>
                  <a:uFillTx/>
                  <a:latin typeface="Segoe UI Semibold"/>
                  <a:ea typeface="+mn-ea"/>
                  <a:cs typeface="+mn-cs"/>
                </a:endParaRPr>
              </a:p>
            </p:txBody>
          </p:sp>
        </p:grpSp>
      </p:grpSp>
      <p:grpSp>
        <p:nvGrpSpPr>
          <p:cNvPr id="6" name="Group 5">
            <a:extLst>
              <a:ext uri="{FF2B5EF4-FFF2-40B4-BE49-F238E27FC236}">
                <a16:creationId xmlns:a16="http://schemas.microsoft.com/office/drawing/2014/main" id="{B5BF51C8-48C0-4AD1-A505-854404338E8E}"/>
              </a:ext>
            </a:extLst>
          </p:cNvPr>
          <p:cNvGrpSpPr/>
          <p:nvPr/>
        </p:nvGrpSpPr>
        <p:grpSpPr>
          <a:xfrm>
            <a:off x="6885728" y="3012783"/>
            <a:ext cx="4990360" cy="961853"/>
            <a:chOff x="6885728" y="3012783"/>
            <a:chExt cx="4990360" cy="961853"/>
          </a:xfrm>
        </p:grpSpPr>
        <p:cxnSp>
          <p:nvCxnSpPr>
            <p:cNvPr id="156" name="Straight Connector 155">
              <a:extLst>
                <a:ext uri="{FF2B5EF4-FFF2-40B4-BE49-F238E27FC236}">
                  <a16:creationId xmlns:a16="http://schemas.microsoft.com/office/drawing/2014/main" id="{367BA47D-106A-4BEC-A57D-591FA6D5D744}"/>
                </a:ext>
              </a:extLst>
            </p:cNvPr>
            <p:cNvCxnSpPr>
              <a:cxnSpLocks/>
            </p:cNvCxnSpPr>
            <p:nvPr/>
          </p:nvCxnSpPr>
          <p:spPr>
            <a:xfrm>
              <a:off x="6885728" y="3974636"/>
              <a:ext cx="4553682" cy="0"/>
            </a:xfrm>
            <a:prstGeom prst="line">
              <a:avLst/>
            </a:prstGeom>
            <a:ln w="9525">
              <a:solidFill>
                <a:schemeClr val="accent1"/>
              </a:solidFill>
              <a:headEnd type="none"/>
              <a:tailEnd type="none"/>
            </a:ln>
          </p:spPr>
          <p:style>
            <a:lnRef idx="2">
              <a:schemeClr val="accent1"/>
            </a:lnRef>
            <a:fillRef idx="0">
              <a:schemeClr val="accent1"/>
            </a:fillRef>
            <a:effectRef idx="1">
              <a:schemeClr val="accent1"/>
            </a:effectRef>
            <a:fontRef idx="minor">
              <a:schemeClr val="tx1"/>
            </a:fontRef>
          </p:style>
        </p:cxnSp>
        <p:sp>
          <p:nvSpPr>
            <p:cNvPr id="157" name="Rectangle 156">
              <a:extLst>
                <a:ext uri="{FF2B5EF4-FFF2-40B4-BE49-F238E27FC236}">
                  <a16:creationId xmlns:a16="http://schemas.microsoft.com/office/drawing/2014/main" id="{84086BDE-B63E-4288-9E18-A9A8498C74D2}"/>
                </a:ext>
              </a:extLst>
            </p:cNvPr>
            <p:cNvSpPr/>
            <p:nvPr/>
          </p:nvSpPr>
          <p:spPr>
            <a:xfrm>
              <a:off x="7843272" y="3104072"/>
              <a:ext cx="4032816" cy="581698"/>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92001">
                        <a:srgbClr val="0D0D0D"/>
                      </a:gs>
                      <a:gs pos="1250">
                        <a:srgbClr val="0D0D0D"/>
                      </a:gs>
                    </a:gsLst>
                    <a:lin ang="5400000" scaled="0"/>
                  </a:gradFill>
                  <a:effectLst/>
                  <a:uLnTx/>
                  <a:uFillTx/>
                  <a:latin typeface="Segoe UI Semibold"/>
                  <a:ea typeface="+mn-ea"/>
                  <a:cs typeface="Segoe UI Semilight" panose="020B0402040204020203" pitchFamily="34" charset="0"/>
                </a:rPr>
                <a:t>Leverage predefined and extensible Twin Object Models to build contextually-aware solutions uniquely attuned to your industry domain</a:t>
              </a:r>
            </a:p>
          </p:txBody>
        </p:sp>
        <p:grpSp>
          <p:nvGrpSpPr>
            <p:cNvPr id="3" name="Group 2">
              <a:extLst>
                <a:ext uri="{FF2B5EF4-FFF2-40B4-BE49-F238E27FC236}">
                  <a16:creationId xmlns:a16="http://schemas.microsoft.com/office/drawing/2014/main" id="{46C6F0BB-2D1B-4415-AB53-D5CD42A83582}"/>
                </a:ext>
              </a:extLst>
            </p:cNvPr>
            <p:cNvGrpSpPr/>
            <p:nvPr/>
          </p:nvGrpSpPr>
          <p:grpSpPr>
            <a:xfrm>
              <a:off x="6924372" y="3012783"/>
              <a:ext cx="768096" cy="764276"/>
              <a:chOff x="6924372" y="3012783"/>
              <a:chExt cx="768096" cy="764276"/>
            </a:xfrm>
          </p:grpSpPr>
          <p:sp>
            <p:nvSpPr>
              <p:cNvPr id="159" name="Oval 158">
                <a:extLst>
                  <a:ext uri="{FF2B5EF4-FFF2-40B4-BE49-F238E27FC236}">
                    <a16:creationId xmlns:a16="http://schemas.microsoft.com/office/drawing/2014/main" id="{73271435-4E1B-4F93-8263-51D2836E7D6C}"/>
                  </a:ext>
                </a:extLst>
              </p:cNvPr>
              <p:cNvSpPr/>
              <p:nvPr/>
            </p:nvSpPr>
            <p:spPr bwMode="auto">
              <a:xfrm>
                <a:off x="6924372" y="3012783"/>
                <a:ext cx="76809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92001">
                        <a:srgbClr val="0D0D0D"/>
                      </a:gs>
                      <a:gs pos="1250">
                        <a:srgbClr val="0D0D0D"/>
                      </a:gs>
                    </a:gsLst>
                    <a:lin ang="5400000" scaled="0"/>
                  </a:gradFill>
                  <a:effectLst/>
                  <a:uLnTx/>
                  <a:uFillTx/>
                  <a:latin typeface="Segoe UI Semibold"/>
                  <a:ea typeface="+mn-ea"/>
                  <a:cs typeface="+mn-cs"/>
                </a:endParaRPr>
              </a:p>
            </p:txBody>
          </p:sp>
          <p:sp>
            <p:nvSpPr>
              <p:cNvPr id="186" name="binary">
                <a:extLst>
                  <a:ext uri="{FF2B5EF4-FFF2-40B4-BE49-F238E27FC236}">
                    <a16:creationId xmlns:a16="http://schemas.microsoft.com/office/drawing/2014/main" id="{C0AD8D9A-8F28-4B51-B568-352B1472C190}"/>
                  </a:ext>
                </a:extLst>
              </p:cNvPr>
              <p:cNvSpPr>
                <a:spLocks noChangeAspect="1" noEditPoints="1"/>
              </p:cNvSpPr>
              <p:nvPr/>
            </p:nvSpPr>
            <p:spPr bwMode="auto">
              <a:xfrm>
                <a:off x="7125540" y="3237005"/>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92001">
                        <a:srgbClr val="0D0D0D"/>
                      </a:gs>
                      <a:gs pos="1250">
                        <a:srgbClr val="0D0D0D"/>
                      </a:gs>
                    </a:gsLst>
                    <a:lin ang="5400000" scaled="0"/>
                  </a:gradFill>
                  <a:effectLst/>
                  <a:uLnTx/>
                  <a:uFillTx/>
                  <a:latin typeface="Segoe UI Semibold"/>
                  <a:ea typeface="+mn-ea"/>
                  <a:cs typeface="+mn-cs"/>
                </a:endParaRPr>
              </a:p>
            </p:txBody>
          </p:sp>
        </p:grpSp>
      </p:grpSp>
      <p:grpSp>
        <p:nvGrpSpPr>
          <p:cNvPr id="9" name="Group 8">
            <a:extLst>
              <a:ext uri="{FF2B5EF4-FFF2-40B4-BE49-F238E27FC236}">
                <a16:creationId xmlns:a16="http://schemas.microsoft.com/office/drawing/2014/main" id="{5D3460FD-2A36-4E1E-8FE7-28B88E7515AF}"/>
              </a:ext>
            </a:extLst>
          </p:cNvPr>
          <p:cNvGrpSpPr/>
          <p:nvPr/>
        </p:nvGrpSpPr>
        <p:grpSpPr>
          <a:xfrm>
            <a:off x="6885728" y="4172213"/>
            <a:ext cx="4990360" cy="961853"/>
            <a:chOff x="6885728" y="4172213"/>
            <a:chExt cx="4990360" cy="961853"/>
          </a:xfrm>
        </p:grpSpPr>
        <p:cxnSp>
          <p:nvCxnSpPr>
            <p:cNvPr id="179" name="Straight Connector 178">
              <a:extLst>
                <a:ext uri="{FF2B5EF4-FFF2-40B4-BE49-F238E27FC236}">
                  <a16:creationId xmlns:a16="http://schemas.microsoft.com/office/drawing/2014/main" id="{7B69DA4A-2576-4527-8A34-63B37A6775DE}"/>
                </a:ext>
              </a:extLst>
            </p:cNvPr>
            <p:cNvCxnSpPr>
              <a:cxnSpLocks/>
            </p:cNvCxnSpPr>
            <p:nvPr/>
          </p:nvCxnSpPr>
          <p:spPr>
            <a:xfrm>
              <a:off x="6885728" y="5134066"/>
              <a:ext cx="4553682" cy="0"/>
            </a:xfrm>
            <a:prstGeom prst="line">
              <a:avLst/>
            </a:prstGeom>
            <a:ln w="9525">
              <a:solidFill>
                <a:schemeClr val="accent1"/>
              </a:solidFill>
              <a:headEnd type="none"/>
              <a:tailEnd type="none"/>
            </a:ln>
          </p:spPr>
          <p:style>
            <a:lnRef idx="2">
              <a:schemeClr val="accent1"/>
            </a:lnRef>
            <a:fillRef idx="0">
              <a:schemeClr val="accent1"/>
            </a:fillRef>
            <a:effectRef idx="1">
              <a:schemeClr val="accent1"/>
            </a:effectRef>
            <a:fontRef idx="minor">
              <a:schemeClr val="tx1"/>
            </a:fontRef>
          </p:style>
        </p:cxnSp>
        <p:sp>
          <p:nvSpPr>
            <p:cNvPr id="180" name="Rectangle 179">
              <a:extLst>
                <a:ext uri="{FF2B5EF4-FFF2-40B4-BE49-F238E27FC236}">
                  <a16:creationId xmlns:a16="http://schemas.microsoft.com/office/drawing/2014/main" id="{78B17145-A2F4-4A9E-890C-5C46FA808A93}"/>
                </a:ext>
              </a:extLst>
            </p:cNvPr>
            <p:cNvSpPr/>
            <p:nvPr/>
          </p:nvSpPr>
          <p:spPr>
            <a:xfrm>
              <a:off x="7843272" y="4263503"/>
              <a:ext cx="4032816" cy="581698"/>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92001">
                        <a:srgbClr val="0D0D0D"/>
                      </a:gs>
                      <a:gs pos="1250">
                        <a:srgbClr val="0D0D0D"/>
                      </a:gs>
                    </a:gsLst>
                    <a:lin ang="5400000" scaled="0"/>
                  </a:gradFill>
                  <a:effectLst/>
                  <a:uLnTx/>
                  <a:uFillTx/>
                  <a:latin typeface="Segoe UI Semibold"/>
                  <a:ea typeface="+mn-ea"/>
                  <a:cs typeface="Segoe UI Semilight" panose="020B0402040204020203" pitchFamily="34" charset="0"/>
                </a:rPr>
                <a:t>Automate actions in a space with custom functions that send events and/or notifications </a:t>
              </a:r>
              <a:br>
                <a:rPr kumimoji="0" lang="en-US" sz="1400" b="0" i="0" u="none" strike="noStrike" kern="1200" cap="none" spc="0" normalizeH="0" baseline="0" noProof="0">
                  <a:ln>
                    <a:noFill/>
                  </a:ln>
                  <a:gradFill>
                    <a:gsLst>
                      <a:gs pos="92001">
                        <a:srgbClr val="0D0D0D"/>
                      </a:gs>
                      <a:gs pos="1250">
                        <a:srgbClr val="0D0D0D"/>
                      </a:gs>
                    </a:gsLst>
                    <a:lin ang="5400000" scaled="0"/>
                  </a:gradFill>
                  <a:effectLst/>
                  <a:uLnTx/>
                  <a:uFillTx/>
                  <a:latin typeface="Segoe UI Semibold"/>
                  <a:ea typeface="+mn-ea"/>
                  <a:cs typeface="Segoe UI Semilight" panose="020B0402040204020203" pitchFamily="34" charset="0"/>
                </a:rPr>
              </a:br>
              <a:r>
                <a:rPr kumimoji="0" lang="en-US" sz="1400" b="0" i="0" u="none" strike="noStrike" kern="1200" cap="none" spc="0" normalizeH="0" baseline="0" noProof="0">
                  <a:ln>
                    <a:noFill/>
                  </a:ln>
                  <a:gradFill>
                    <a:gsLst>
                      <a:gs pos="92001">
                        <a:srgbClr val="0D0D0D"/>
                      </a:gs>
                      <a:gs pos="1250">
                        <a:srgbClr val="0D0D0D"/>
                      </a:gs>
                    </a:gsLst>
                    <a:lin ang="5400000" scaled="0"/>
                  </a:gradFill>
                  <a:effectLst/>
                  <a:uLnTx/>
                  <a:uFillTx/>
                  <a:latin typeface="Segoe UI Semibold"/>
                  <a:ea typeface="+mn-ea"/>
                  <a:cs typeface="Segoe UI Semilight" panose="020B0402040204020203" pitchFamily="34" charset="0"/>
                </a:rPr>
                <a:t>to endpoints based on incoming telemetry</a:t>
              </a:r>
            </a:p>
          </p:txBody>
        </p:sp>
        <p:grpSp>
          <p:nvGrpSpPr>
            <p:cNvPr id="7" name="Group 6">
              <a:extLst>
                <a:ext uri="{FF2B5EF4-FFF2-40B4-BE49-F238E27FC236}">
                  <a16:creationId xmlns:a16="http://schemas.microsoft.com/office/drawing/2014/main" id="{824DED95-6D59-4BB9-B3C6-0C0344D3405C}"/>
                </a:ext>
              </a:extLst>
            </p:cNvPr>
            <p:cNvGrpSpPr/>
            <p:nvPr/>
          </p:nvGrpSpPr>
          <p:grpSpPr>
            <a:xfrm>
              <a:off x="6926671" y="4172213"/>
              <a:ext cx="764276" cy="764276"/>
              <a:chOff x="6926671" y="4172213"/>
              <a:chExt cx="764276" cy="764276"/>
            </a:xfrm>
          </p:grpSpPr>
          <p:sp>
            <p:nvSpPr>
              <p:cNvPr id="182" name="Oval 181">
                <a:extLst>
                  <a:ext uri="{FF2B5EF4-FFF2-40B4-BE49-F238E27FC236}">
                    <a16:creationId xmlns:a16="http://schemas.microsoft.com/office/drawing/2014/main" id="{82097FEB-0C72-410B-B1BA-CD6FE296DDEE}"/>
                  </a:ext>
                </a:extLst>
              </p:cNvPr>
              <p:cNvSpPr/>
              <p:nvPr/>
            </p:nvSpPr>
            <p:spPr bwMode="auto">
              <a:xfrm>
                <a:off x="6926671" y="4172213"/>
                <a:ext cx="76427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92001">
                        <a:srgbClr val="0D0D0D"/>
                      </a:gs>
                      <a:gs pos="1250">
                        <a:srgbClr val="0D0D0D"/>
                      </a:gs>
                    </a:gsLst>
                    <a:lin ang="5400000" scaled="0"/>
                  </a:gradFill>
                  <a:effectLst/>
                  <a:uLnTx/>
                  <a:uFillTx/>
                  <a:latin typeface="Segoe UI Semibold"/>
                  <a:ea typeface="+mn-ea"/>
                  <a:cs typeface="+mn-cs"/>
                </a:endParaRPr>
              </a:p>
            </p:txBody>
          </p:sp>
          <p:sp>
            <p:nvSpPr>
              <p:cNvPr id="187" name="Graphic 2">
                <a:extLst>
                  <a:ext uri="{FF2B5EF4-FFF2-40B4-BE49-F238E27FC236}">
                    <a16:creationId xmlns:a16="http://schemas.microsoft.com/office/drawing/2014/main" id="{C5A9259B-5FE2-4D17-800D-D35E84AB41C6}"/>
                  </a:ext>
                </a:extLst>
              </p:cNvPr>
              <p:cNvSpPr/>
              <p:nvPr/>
            </p:nvSpPr>
            <p:spPr>
              <a:xfrm>
                <a:off x="7121827" y="4436072"/>
                <a:ext cx="373965" cy="372875"/>
              </a:xfrm>
              <a:custGeom>
                <a:avLst/>
                <a:gdLst>
                  <a:gd name="connsiteX0" fmla="*/ 1322225 w 1450660"/>
                  <a:gd name="connsiteY0" fmla="*/ 1131060 h 1446430"/>
                  <a:gd name="connsiteX1" fmla="*/ 1314190 w 1450660"/>
                  <a:gd name="connsiteY1" fmla="*/ 1108644 h 1446430"/>
                  <a:gd name="connsiteX2" fmla="*/ 1212263 w 1450660"/>
                  <a:gd name="connsiteY2" fmla="*/ 978381 h 1446430"/>
                  <a:gd name="connsiteX3" fmla="*/ 1248635 w 1450660"/>
                  <a:gd name="connsiteY3" fmla="*/ 892525 h 1446430"/>
                  <a:gd name="connsiteX4" fmla="*/ 1424152 w 1450660"/>
                  <a:gd name="connsiteY4" fmla="*/ 865458 h 1446430"/>
                  <a:gd name="connsiteX5" fmla="*/ 1442338 w 1450660"/>
                  <a:gd name="connsiteY5" fmla="*/ 853616 h 1446430"/>
                  <a:gd name="connsiteX6" fmla="*/ 1450374 w 1450660"/>
                  <a:gd name="connsiteY6" fmla="*/ 831623 h 1446430"/>
                  <a:gd name="connsiteX7" fmla="*/ 1450374 w 1450660"/>
                  <a:gd name="connsiteY7" fmla="*/ 622271 h 1446430"/>
                  <a:gd name="connsiteX8" fmla="*/ 1442338 w 1450660"/>
                  <a:gd name="connsiteY8" fmla="*/ 600279 h 1446430"/>
                  <a:gd name="connsiteX9" fmla="*/ 1423306 w 1450660"/>
                  <a:gd name="connsiteY9" fmla="*/ 588437 h 1446430"/>
                  <a:gd name="connsiteX10" fmla="*/ 1251173 w 1450660"/>
                  <a:gd name="connsiteY10" fmla="*/ 562215 h 1446430"/>
                  <a:gd name="connsiteX11" fmla="*/ 1212686 w 1450660"/>
                  <a:gd name="connsiteY11" fmla="*/ 469592 h 1446430"/>
                  <a:gd name="connsiteX12" fmla="*/ 1263438 w 1450660"/>
                  <a:gd name="connsiteY12" fmla="*/ 401500 h 1446430"/>
                  <a:gd name="connsiteX13" fmla="*/ 1310806 w 1450660"/>
                  <a:gd name="connsiteY13" fmla="*/ 340598 h 1446430"/>
                  <a:gd name="connsiteX14" fmla="*/ 1318842 w 1450660"/>
                  <a:gd name="connsiteY14" fmla="*/ 319028 h 1446430"/>
                  <a:gd name="connsiteX15" fmla="*/ 1156013 w 1450660"/>
                  <a:gd name="connsiteY15" fmla="*/ 138013 h 1446430"/>
                  <a:gd name="connsiteX16" fmla="*/ 1132328 w 1450660"/>
                  <a:gd name="connsiteY16" fmla="*/ 129131 h 1446430"/>
                  <a:gd name="connsiteX17" fmla="*/ 1109490 w 1450660"/>
                  <a:gd name="connsiteY17" fmla="*/ 137167 h 1446430"/>
                  <a:gd name="connsiteX18" fmla="*/ 975843 w 1450660"/>
                  <a:gd name="connsiteY18" fmla="*/ 237825 h 1446430"/>
                  <a:gd name="connsiteX19" fmla="*/ 890834 w 1450660"/>
                  <a:gd name="connsiteY19" fmla="*/ 202722 h 1446430"/>
                  <a:gd name="connsiteX20" fmla="*/ 864612 w 1450660"/>
                  <a:gd name="connsiteY20" fmla="*/ 29742 h 1446430"/>
                  <a:gd name="connsiteX21" fmla="*/ 853193 w 1450660"/>
                  <a:gd name="connsiteY21" fmla="*/ 9864 h 1446430"/>
                  <a:gd name="connsiteX22" fmla="*/ 830354 w 1450660"/>
                  <a:gd name="connsiteY22" fmla="*/ 1406 h 1446430"/>
                  <a:gd name="connsiteX23" fmla="*/ 619734 w 1450660"/>
                  <a:gd name="connsiteY23" fmla="*/ 1406 h 1446430"/>
                  <a:gd name="connsiteX24" fmla="*/ 585899 w 1450660"/>
                  <a:gd name="connsiteY24" fmla="*/ 28473 h 1446430"/>
                  <a:gd name="connsiteX25" fmla="*/ 559677 w 1450660"/>
                  <a:gd name="connsiteY25" fmla="*/ 202722 h 1446430"/>
                  <a:gd name="connsiteX26" fmla="*/ 472553 w 1450660"/>
                  <a:gd name="connsiteY26" fmla="*/ 239094 h 1446430"/>
                  <a:gd name="connsiteX27" fmla="*/ 343558 w 1450660"/>
                  <a:gd name="connsiteY27" fmla="*/ 136321 h 1446430"/>
                  <a:gd name="connsiteX28" fmla="*/ 319874 w 1450660"/>
                  <a:gd name="connsiteY28" fmla="*/ 128286 h 1446430"/>
                  <a:gd name="connsiteX29" fmla="*/ 230635 w 1450660"/>
                  <a:gd name="connsiteY29" fmla="*/ 195109 h 1446430"/>
                  <a:gd name="connsiteX30" fmla="*/ 137590 w 1450660"/>
                  <a:gd name="connsiteY30" fmla="*/ 295767 h 1446430"/>
                  <a:gd name="connsiteX31" fmla="*/ 129554 w 1450660"/>
                  <a:gd name="connsiteY31" fmla="*/ 318605 h 1446430"/>
                  <a:gd name="connsiteX32" fmla="*/ 137590 w 1450660"/>
                  <a:gd name="connsiteY32" fmla="*/ 341021 h 1446430"/>
                  <a:gd name="connsiteX33" fmla="*/ 239517 w 1450660"/>
                  <a:gd name="connsiteY33" fmla="*/ 471284 h 1446430"/>
                  <a:gd name="connsiteX34" fmla="*/ 203145 w 1450660"/>
                  <a:gd name="connsiteY34" fmla="*/ 557140 h 1446430"/>
                  <a:gd name="connsiteX35" fmla="*/ 27628 w 1450660"/>
                  <a:gd name="connsiteY35" fmla="*/ 584207 h 1446430"/>
                  <a:gd name="connsiteX36" fmla="*/ 9441 w 1450660"/>
                  <a:gd name="connsiteY36" fmla="*/ 596049 h 1446430"/>
                  <a:gd name="connsiteX37" fmla="*/ 1406 w 1450660"/>
                  <a:gd name="connsiteY37" fmla="*/ 618042 h 1446430"/>
                  <a:gd name="connsiteX38" fmla="*/ 1406 w 1450660"/>
                  <a:gd name="connsiteY38" fmla="*/ 827394 h 1446430"/>
                  <a:gd name="connsiteX39" fmla="*/ 9441 w 1450660"/>
                  <a:gd name="connsiteY39" fmla="*/ 849386 h 1446430"/>
                  <a:gd name="connsiteX40" fmla="*/ 28896 w 1450660"/>
                  <a:gd name="connsiteY40" fmla="*/ 859960 h 1446430"/>
                  <a:gd name="connsiteX41" fmla="*/ 201030 w 1450660"/>
                  <a:gd name="connsiteY41" fmla="*/ 887027 h 1446430"/>
                  <a:gd name="connsiteX42" fmla="*/ 240786 w 1450660"/>
                  <a:gd name="connsiteY42" fmla="*/ 979650 h 1446430"/>
                  <a:gd name="connsiteX43" fmla="*/ 187496 w 1450660"/>
                  <a:gd name="connsiteY43" fmla="*/ 1048588 h 1446430"/>
                  <a:gd name="connsiteX44" fmla="*/ 140974 w 1450660"/>
                  <a:gd name="connsiteY44" fmla="*/ 1108644 h 1446430"/>
                  <a:gd name="connsiteX45" fmla="*/ 132938 w 1450660"/>
                  <a:gd name="connsiteY45" fmla="*/ 1130214 h 1446430"/>
                  <a:gd name="connsiteX46" fmla="*/ 295767 w 1450660"/>
                  <a:gd name="connsiteY46" fmla="*/ 1311229 h 1446430"/>
                  <a:gd name="connsiteX47" fmla="*/ 319451 w 1450660"/>
                  <a:gd name="connsiteY47" fmla="*/ 1320111 h 1446430"/>
                  <a:gd name="connsiteX48" fmla="*/ 341867 w 1450660"/>
                  <a:gd name="connsiteY48" fmla="*/ 1312075 h 1446430"/>
                  <a:gd name="connsiteX49" fmla="*/ 475514 w 1450660"/>
                  <a:gd name="connsiteY49" fmla="*/ 1211417 h 1446430"/>
                  <a:gd name="connsiteX50" fmla="*/ 560523 w 1450660"/>
                  <a:gd name="connsiteY50" fmla="*/ 1246520 h 1446430"/>
                  <a:gd name="connsiteX51" fmla="*/ 586745 w 1450660"/>
                  <a:gd name="connsiteY51" fmla="*/ 1419500 h 1446430"/>
                  <a:gd name="connsiteX52" fmla="*/ 598164 w 1450660"/>
                  <a:gd name="connsiteY52" fmla="*/ 1439378 h 1446430"/>
                  <a:gd name="connsiteX53" fmla="*/ 621002 w 1450660"/>
                  <a:gd name="connsiteY53" fmla="*/ 1447836 h 1446430"/>
                  <a:gd name="connsiteX54" fmla="*/ 831623 w 1450660"/>
                  <a:gd name="connsiteY54" fmla="*/ 1447836 h 1446430"/>
                  <a:gd name="connsiteX55" fmla="*/ 865458 w 1450660"/>
                  <a:gd name="connsiteY55" fmla="*/ 1420769 h 1446430"/>
                  <a:gd name="connsiteX56" fmla="*/ 891680 w 1450660"/>
                  <a:gd name="connsiteY56" fmla="*/ 1245251 h 1446430"/>
                  <a:gd name="connsiteX57" fmla="*/ 978804 w 1450660"/>
                  <a:gd name="connsiteY57" fmla="*/ 1210148 h 1446430"/>
                  <a:gd name="connsiteX58" fmla="*/ 1109067 w 1450660"/>
                  <a:gd name="connsiteY58" fmla="*/ 1312075 h 1446430"/>
                  <a:gd name="connsiteX59" fmla="*/ 1132751 w 1450660"/>
                  <a:gd name="connsiteY59" fmla="*/ 1320111 h 1446430"/>
                  <a:gd name="connsiteX60" fmla="*/ 1221567 w 1450660"/>
                  <a:gd name="connsiteY60" fmla="*/ 1252864 h 1446430"/>
                  <a:gd name="connsiteX61" fmla="*/ 1315035 w 1450660"/>
                  <a:gd name="connsiteY61" fmla="*/ 1151783 h 1446430"/>
                  <a:gd name="connsiteX62" fmla="*/ 1322225 w 1450660"/>
                  <a:gd name="connsiteY62" fmla="*/ 1131060 h 1446430"/>
                  <a:gd name="connsiteX63" fmla="*/ 930589 w 1450660"/>
                  <a:gd name="connsiteY63" fmla="*/ 929321 h 1446430"/>
                  <a:gd name="connsiteX64" fmla="*/ 725890 w 1450660"/>
                  <a:gd name="connsiteY64" fmla="*/ 1014330 h 1446430"/>
                  <a:gd name="connsiteX65" fmla="*/ 521190 w 1450660"/>
                  <a:gd name="connsiteY65" fmla="*/ 929321 h 1446430"/>
                  <a:gd name="connsiteX66" fmla="*/ 436181 w 1450660"/>
                  <a:gd name="connsiteY66" fmla="*/ 724621 h 1446430"/>
                  <a:gd name="connsiteX67" fmla="*/ 521190 w 1450660"/>
                  <a:gd name="connsiteY67" fmla="*/ 519921 h 1446430"/>
                  <a:gd name="connsiteX68" fmla="*/ 725890 w 1450660"/>
                  <a:gd name="connsiteY68" fmla="*/ 434912 h 1446430"/>
                  <a:gd name="connsiteX69" fmla="*/ 930589 w 1450660"/>
                  <a:gd name="connsiteY69" fmla="*/ 519921 h 1446430"/>
                  <a:gd name="connsiteX70" fmla="*/ 1015599 w 1450660"/>
                  <a:gd name="connsiteY70" fmla="*/ 724621 h 1446430"/>
                  <a:gd name="connsiteX71" fmla="*/ 930589 w 1450660"/>
                  <a:gd name="connsiteY71" fmla="*/ 929321 h 1446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450660" h="1446430">
                    <a:moveTo>
                      <a:pt x="1322225" y="1131060"/>
                    </a:moveTo>
                    <a:cubicBezTo>
                      <a:pt x="1322225" y="1123447"/>
                      <a:pt x="1319688" y="1115834"/>
                      <a:pt x="1314190" y="1108644"/>
                    </a:cubicBezTo>
                    <a:cubicBezTo>
                      <a:pt x="1271896" y="1057892"/>
                      <a:pt x="1238062" y="1014753"/>
                      <a:pt x="1212263" y="978381"/>
                    </a:cubicBezTo>
                    <a:cubicBezTo>
                      <a:pt x="1227911" y="947507"/>
                      <a:pt x="1240176" y="918747"/>
                      <a:pt x="1248635" y="892525"/>
                    </a:cubicBezTo>
                    <a:lnTo>
                      <a:pt x="1424152" y="865458"/>
                    </a:lnTo>
                    <a:cubicBezTo>
                      <a:pt x="1430919" y="864612"/>
                      <a:pt x="1436840" y="860805"/>
                      <a:pt x="1442338" y="853616"/>
                    </a:cubicBezTo>
                    <a:cubicBezTo>
                      <a:pt x="1447413" y="846426"/>
                      <a:pt x="1450374" y="839236"/>
                      <a:pt x="1450374" y="831623"/>
                    </a:cubicBezTo>
                    <a:lnTo>
                      <a:pt x="1450374" y="622271"/>
                    </a:lnTo>
                    <a:cubicBezTo>
                      <a:pt x="1450374" y="613813"/>
                      <a:pt x="1447836" y="606623"/>
                      <a:pt x="1442338" y="600279"/>
                    </a:cubicBezTo>
                    <a:cubicBezTo>
                      <a:pt x="1437263" y="593935"/>
                      <a:pt x="1430496" y="589705"/>
                      <a:pt x="1423306" y="588437"/>
                    </a:cubicBezTo>
                    <a:lnTo>
                      <a:pt x="1251173" y="562215"/>
                    </a:lnTo>
                    <a:cubicBezTo>
                      <a:pt x="1242714" y="536416"/>
                      <a:pt x="1230026" y="505542"/>
                      <a:pt x="1212686" y="469592"/>
                    </a:cubicBezTo>
                    <a:cubicBezTo>
                      <a:pt x="1224105" y="453098"/>
                      <a:pt x="1241022" y="430260"/>
                      <a:pt x="1263438" y="401500"/>
                    </a:cubicBezTo>
                    <a:cubicBezTo>
                      <a:pt x="1285853" y="372741"/>
                      <a:pt x="1301925" y="352440"/>
                      <a:pt x="1310806" y="340598"/>
                    </a:cubicBezTo>
                    <a:cubicBezTo>
                      <a:pt x="1315881" y="332985"/>
                      <a:pt x="1318842" y="325795"/>
                      <a:pt x="1318842" y="319028"/>
                    </a:cubicBezTo>
                    <a:cubicBezTo>
                      <a:pt x="1318842" y="298728"/>
                      <a:pt x="1264706" y="238248"/>
                      <a:pt x="1156013" y="138013"/>
                    </a:cubicBezTo>
                    <a:cubicBezTo>
                      <a:pt x="1148400" y="132092"/>
                      <a:pt x="1140364" y="129131"/>
                      <a:pt x="1132328" y="129131"/>
                    </a:cubicBezTo>
                    <a:cubicBezTo>
                      <a:pt x="1123447" y="129131"/>
                      <a:pt x="1115834" y="131669"/>
                      <a:pt x="1109490" y="137167"/>
                    </a:cubicBezTo>
                    <a:lnTo>
                      <a:pt x="975843" y="237825"/>
                    </a:lnTo>
                    <a:cubicBezTo>
                      <a:pt x="944969" y="222177"/>
                      <a:pt x="916633" y="210335"/>
                      <a:pt x="890834" y="202722"/>
                    </a:cubicBezTo>
                    <a:lnTo>
                      <a:pt x="864612" y="29742"/>
                    </a:lnTo>
                    <a:cubicBezTo>
                      <a:pt x="863766" y="22129"/>
                      <a:pt x="859960" y="15785"/>
                      <a:pt x="853193" y="9864"/>
                    </a:cubicBezTo>
                    <a:cubicBezTo>
                      <a:pt x="846426" y="4366"/>
                      <a:pt x="838813" y="1406"/>
                      <a:pt x="830354" y="1406"/>
                    </a:cubicBezTo>
                    <a:lnTo>
                      <a:pt x="619734" y="1406"/>
                    </a:lnTo>
                    <a:cubicBezTo>
                      <a:pt x="602393" y="1406"/>
                      <a:pt x="590974" y="10287"/>
                      <a:pt x="585899" y="28473"/>
                    </a:cubicBezTo>
                    <a:cubicBezTo>
                      <a:pt x="577017" y="63154"/>
                      <a:pt x="568136" y="121096"/>
                      <a:pt x="559677" y="202722"/>
                    </a:cubicBezTo>
                    <a:cubicBezTo>
                      <a:pt x="527111" y="213295"/>
                      <a:pt x="498352" y="225137"/>
                      <a:pt x="472553" y="239094"/>
                    </a:cubicBezTo>
                    <a:lnTo>
                      <a:pt x="343558" y="136321"/>
                    </a:lnTo>
                    <a:cubicBezTo>
                      <a:pt x="335946" y="130823"/>
                      <a:pt x="327910" y="128286"/>
                      <a:pt x="319874" y="128286"/>
                    </a:cubicBezTo>
                    <a:cubicBezTo>
                      <a:pt x="305494" y="128286"/>
                      <a:pt x="275889" y="150701"/>
                      <a:pt x="230635" y="195109"/>
                    </a:cubicBezTo>
                    <a:cubicBezTo>
                      <a:pt x="184959" y="239517"/>
                      <a:pt x="154084" y="273352"/>
                      <a:pt x="137590" y="295767"/>
                    </a:cubicBezTo>
                    <a:cubicBezTo>
                      <a:pt x="132092" y="301688"/>
                      <a:pt x="129554" y="309301"/>
                      <a:pt x="129554" y="318605"/>
                    </a:cubicBezTo>
                    <a:cubicBezTo>
                      <a:pt x="129554" y="325372"/>
                      <a:pt x="132092" y="332985"/>
                      <a:pt x="137590" y="341021"/>
                    </a:cubicBezTo>
                    <a:cubicBezTo>
                      <a:pt x="179883" y="391773"/>
                      <a:pt x="213718" y="434912"/>
                      <a:pt x="239517" y="471284"/>
                    </a:cubicBezTo>
                    <a:cubicBezTo>
                      <a:pt x="223868" y="502158"/>
                      <a:pt x="211603" y="530918"/>
                      <a:pt x="203145" y="557140"/>
                    </a:cubicBezTo>
                    <a:lnTo>
                      <a:pt x="27628" y="584207"/>
                    </a:lnTo>
                    <a:cubicBezTo>
                      <a:pt x="20861" y="585053"/>
                      <a:pt x="14940" y="588860"/>
                      <a:pt x="9441" y="596049"/>
                    </a:cubicBezTo>
                    <a:cubicBezTo>
                      <a:pt x="4366" y="603239"/>
                      <a:pt x="1406" y="610429"/>
                      <a:pt x="1406" y="618042"/>
                    </a:cubicBezTo>
                    <a:lnTo>
                      <a:pt x="1406" y="827394"/>
                    </a:lnTo>
                    <a:cubicBezTo>
                      <a:pt x="1406" y="835852"/>
                      <a:pt x="3943" y="843042"/>
                      <a:pt x="9441" y="849386"/>
                    </a:cubicBezTo>
                    <a:cubicBezTo>
                      <a:pt x="14940" y="855730"/>
                      <a:pt x="21284" y="859537"/>
                      <a:pt x="28896" y="859960"/>
                    </a:cubicBezTo>
                    <a:lnTo>
                      <a:pt x="201030" y="887027"/>
                    </a:lnTo>
                    <a:cubicBezTo>
                      <a:pt x="209912" y="915787"/>
                      <a:pt x="223445" y="946661"/>
                      <a:pt x="240786" y="979650"/>
                    </a:cubicBezTo>
                    <a:cubicBezTo>
                      <a:pt x="228521" y="996144"/>
                      <a:pt x="211180" y="1019405"/>
                      <a:pt x="187496" y="1048588"/>
                    </a:cubicBezTo>
                    <a:cubicBezTo>
                      <a:pt x="164235" y="1078193"/>
                      <a:pt x="148586" y="1098071"/>
                      <a:pt x="140974" y="1108644"/>
                    </a:cubicBezTo>
                    <a:cubicBezTo>
                      <a:pt x="135898" y="1116257"/>
                      <a:pt x="132938" y="1123447"/>
                      <a:pt x="132938" y="1130214"/>
                    </a:cubicBezTo>
                    <a:cubicBezTo>
                      <a:pt x="132938" y="1150515"/>
                      <a:pt x="187073" y="1210994"/>
                      <a:pt x="295767" y="1311229"/>
                    </a:cubicBezTo>
                    <a:cubicBezTo>
                      <a:pt x="303380" y="1317150"/>
                      <a:pt x="311416" y="1320111"/>
                      <a:pt x="319451" y="1320111"/>
                    </a:cubicBezTo>
                    <a:cubicBezTo>
                      <a:pt x="329179" y="1320111"/>
                      <a:pt x="336791" y="1317573"/>
                      <a:pt x="341867" y="1312075"/>
                    </a:cubicBezTo>
                    <a:lnTo>
                      <a:pt x="475514" y="1211417"/>
                    </a:lnTo>
                    <a:cubicBezTo>
                      <a:pt x="506388" y="1227065"/>
                      <a:pt x="534724" y="1238907"/>
                      <a:pt x="560523" y="1246520"/>
                    </a:cubicBezTo>
                    <a:lnTo>
                      <a:pt x="586745" y="1419500"/>
                    </a:lnTo>
                    <a:cubicBezTo>
                      <a:pt x="587591" y="1427113"/>
                      <a:pt x="591397" y="1433457"/>
                      <a:pt x="598164" y="1439378"/>
                    </a:cubicBezTo>
                    <a:cubicBezTo>
                      <a:pt x="604931" y="1444876"/>
                      <a:pt x="612544" y="1447836"/>
                      <a:pt x="621002" y="1447836"/>
                    </a:cubicBezTo>
                    <a:lnTo>
                      <a:pt x="831623" y="1447836"/>
                    </a:lnTo>
                    <a:cubicBezTo>
                      <a:pt x="848963" y="1447836"/>
                      <a:pt x="860383" y="1438955"/>
                      <a:pt x="865458" y="1420769"/>
                    </a:cubicBezTo>
                    <a:cubicBezTo>
                      <a:pt x="874339" y="1385242"/>
                      <a:pt x="883221" y="1326878"/>
                      <a:pt x="891680" y="1245251"/>
                    </a:cubicBezTo>
                    <a:cubicBezTo>
                      <a:pt x="921708" y="1236370"/>
                      <a:pt x="950890" y="1224528"/>
                      <a:pt x="978804" y="1210148"/>
                    </a:cubicBezTo>
                    <a:lnTo>
                      <a:pt x="1109067" y="1312075"/>
                    </a:lnTo>
                    <a:cubicBezTo>
                      <a:pt x="1116680" y="1317573"/>
                      <a:pt x="1124716" y="1320111"/>
                      <a:pt x="1132751" y="1320111"/>
                    </a:cubicBezTo>
                    <a:cubicBezTo>
                      <a:pt x="1147131" y="1320111"/>
                      <a:pt x="1176736" y="1297695"/>
                      <a:pt x="1221567" y="1252864"/>
                    </a:cubicBezTo>
                    <a:cubicBezTo>
                      <a:pt x="1266398" y="1208033"/>
                      <a:pt x="1297695" y="1174199"/>
                      <a:pt x="1315035" y="1151783"/>
                    </a:cubicBezTo>
                    <a:cubicBezTo>
                      <a:pt x="1319688" y="1147131"/>
                      <a:pt x="1322225" y="1139941"/>
                      <a:pt x="1322225" y="1131060"/>
                    </a:cubicBezTo>
                    <a:close/>
                    <a:moveTo>
                      <a:pt x="930589" y="929321"/>
                    </a:moveTo>
                    <a:cubicBezTo>
                      <a:pt x="873916" y="985994"/>
                      <a:pt x="805824" y="1014330"/>
                      <a:pt x="725890" y="1014330"/>
                    </a:cubicBezTo>
                    <a:cubicBezTo>
                      <a:pt x="645956" y="1014330"/>
                      <a:pt x="577440" y="985994"/>
                      <a:pt x="521190" y="929321"/>
                    </a:cubicBezTo>
                    <a:cubicBezTo>
                      <a:pt x="464517" y="872648"/>
                      <a:pt x="436181" y="804555"/>
                      <a:pt x="436181" y="724621"/>
                    </a:cubicBezTo>
                    <a:cubicBezTo>
                      <a:pt x="436181" y="644687"/>
                      <a:pt x="464517" y="576594"/>
                      <a:pt x="521190" y="519921"/>
                    </a:cubicBezTo>
                    <a:cubicBezTo>
                      <a:pt x="577863" y="463248"/>
                      <a:pt x="645956" y="434912"/>
                      <a:pt x="725890" y="434912"/>
                    </a:cubicBezTo>
                    <a:cubicBezTo>
                      <a:pt x="805824" y="434912"/>
                      <a:pt x="873916" y="463248"/>
                      <a:pt x="930589" y="519921"/>
                    </a:cubicBezTo>
                    <a:cubicBezTo>
                      <a:pt x="987262" y="576594"/>
                      <a:pt x="1015599" y="644687"/>
                      <a:pt x="1015599" y="724621"/>
                    </a:cubicBezTo>
                    <a:cubicBezTo>
                      <a:pt x="1015599" y="804555"/>
                      <a:pt x="987262" y="873071"/>
                      <a:pt x="930589" y="929321"/>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92001">
                        <a:srgbClr val="0D0D0D"/>
                      </a:gs>
                      <a:gs pos="1250">
                        <a:srgbClr val="0D0D0D"/>
                      </a:gs>
                    </a:gsLst>
                    <a:lin ang="5400000" scaled="0"/>
                  </a:gradFill>
                  <a:effectLst/>
                  <a:uLnTx/>
                  <a:uFillTx/>
                  <a:latin typeface="Segoe UI Semibold"/>
                  <a:ea typeface="+mn-ea"/>
                  <a:cs typeface="+mn-cs"/>
                </a:endParaRPr>
              </a:p>
            </p:txBody>
          </p:sp>
          <p:sp>
            <p:nvSpPr>
              <p:cNvPr id="189" name="Freeform: Shape 188">
                <a:extLst>
                  <a:ext uri="{FF2B5EF4-FFF2-40B4-BE49-F238E27FC236}">
                    <a16:creationId xmlns:a16="http://schemas.microsoft.com/office/drawing/2014/main" id="{A7C535C4-7E63-44E0-8E06-7C5A21521887}"/>
                  </a:ext>
                </a:extLst>
              </p:cNvPr>
              <p:cNvSpPr/>
              <p:nvPr/>
            </p:nvSpPr>
            <p:spPr>
              <a:xfrm>
                <a:off x="7189472" y="4276409"/>
                <a:ext cx="237896" cy="42538"/>
              </a:xfrm>
              <a:custGeom>
                <a:avLst/>
                <a:gdLst>
                  <a:gd name="connsiteX0" fmla="*/ 7144 w 1438275"/>
                  <a:gd name="connsiteY0" fmla="*/ 254794 h 257175"/>
                  <a:gd name="connsiteX1" fmla="*/ 1435894 w 1438275"/>
                  <a:gd name="connsiteY1" fmla="*/ 254794 h 257175"/>
                </a:gdLst>
                <a:ahLst/>
                <a:cxnLst>
                  <a:cxn ang="0">
                    <a:pos x="connsiteX0" y="connsiteY0"/>
                  </a:cxn>
                  <a:cxn ang="0">
                    <a:pos x="connsiteX1" y="connsiteY1"/>
                  </a:cxn>
                </a:cxnLst>
                <a:rect l="l" t="t" r="r" b="b"/>
                <a:pathLst>
                  <a:path w="1438275" h="257175">
                    <a:moveTo>
                      <a:pt x="7144" y="254794"/>
                    </a:moveTo>
                    <a:cubicBezTo>
                      <a:pt x="7144" y="254794"/>
                      <a:pt x="692944" y="-302419"/>
                      <a:pt x="1435894" y="254794"/>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92001">
                        <a:srgbClr val="0D0D0D"/>
                      </a:gs>
                      <a:gs pos="1250">
                        <a:srgbClr val="0D0D0D"/>
                      </a:gs>
                    </a:gsLst>
                    <a:lin ang="5400000" scaled="0"/>
                  </a:gradFill>
                  <a:effectLst/>
                  <a:uLnTx/>
                  <a:uFillTx/>
                  <a:latin typeface="Segoe UI Semibold"/>
                  <a:ea typeface="+mn-ea"/>
                  <a:cs typeface="+mn-cs"/>
                </a:endParaRPr>
              </a:p>
            </p:txBody>
          </p:sp>
          <p:sp>
            <p:nvSpPr>
              <p:cNvPr id="190" name="Freeform: Shape 189">
                <a:extLst>
                  <a:ext uri="{FF2B5EF4-FFF2-40B4-BE49-F238E27FC236}">
                    <a16:creationId xmlns:a16="http://schemas.microsoft.com/office/drawing/2014/main" id="{C71F2703-7EFD-487C-A93C-6D85BCEA34A2}"/>
                  </a:ext>
                </a:extLst>
              </p:cNvPr>
              <p:cNvSpPr/>
              <p:nvPr/>
            </p:nvSpPr>
            <p:spPr>
              <a:xfrm>
                <a:off x="7209795" y="4326537"/>
                <a:ext cx="196934" cy="36236"/>
              </a:xfrm>
              <a:custGeom>
                <a:avLst/>
                <a:gdLst>
                  <a:gd name="connsiteX0" fmla="*/ 7144 w 1190625"/>
                  <a:gd name="connsiteY0" fmla="*/ 212037 h 219075"/>
                  <a:gd name="connsiteX1" fmla="*/ 1190149 w 1190625"/>
                  <a:gd name="connsiteY1" fmla="*/ 212037 h 219075"/>
                </a:gdLst>
                <a:ahLst/>
                <a:cxnLst>
                  <a:cxn ang="0">
                    <a:pos x="connsiteX0" y="connsiteY0"/>
                  </a:cxn>
                  <a:cxn ang="0">
                    <a:pos x="connsiteX1" y="connsiteY1"/>
                  </a:cxn>
                </a:cxnLst>
                <a:rect l="l" t="t" r="r" b="b"/>
                <a:pathLst>
                  <a:path w="1190625" h="219075">
                    <a:moveTo>
                      <a:pt x="7144" y="212037"/>
                    </a:moveTo>
                    <a:cubicBezTo>
                      <a:pt x="7144" y="212037"/>
                      <a:pt x="574834" y="-248973"/>
                      <a:pt x="1190149" y="212037"/>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92001">
                        <a:srgbClr val="0D0D0D"/>
                      </a:gs>
                      <a:gs pos="1250">
                        <a:srgbClr val="0D0D0D"/>
                      </a:gs>
                    </a:gsLst>
                    <a:lin ang="5400000" scaled="0"/>
                  </a:gradFill>
                  <a:effectLst/>
                  <a:uLnTx/>
                  <a:uFillTx/>
                  <a:latin typeface="Segoe UI Semibold"/>
                  <a:ea typeface="+mn-ea"/>
                  <a:cs typeface="+mn-cs"/>
                </a:endParaRPr>
              </a:p>
            </p:txBody>
          </p:sp>
          <p:sp>
            <p:nvSpPr>
              <p:cNvPr id="191" name="Freeform: Shape 190">
                <a:extLst>
                  <a:ext uri="{FF2B5EF4-FFF2-40B4-BE49-F238E27FC236}">
                    <a16:creationId xmlns:a16="http://schemas.microsoft.com/office/drawing/2014/main" id="{BAE5C01E-0B86-4F88-A50A-55DA153ED13D}"/>
                  </a:ext>
                </a:extLst>
              </p:cNvPr>
              <p:cNvSpPr/>
              <p:nvPr/>
            </p:nvSpPr>
            <p:spPr>
              <a:xfrm>
                <a:off x="7229331" y="4375124"/>
                <a:ext cx="157547" cy="28358"/>
              </a:xfrm>
              <a:custGeom>
                <a:avLst/>
                <a:gdLst>
                  <a:gd name="connsiteX0" fmla="*/ 7144 w 952500"/>
                  <a:gd name="connsiteY0" fmla="*/ 171397 h 171450"/>
                  <a:gd name="connsiteX1" fmla="*/ 953929 w 952500"/>
                  <a:gd name="connsiteY1" fmla="*/ 171397 h 171450"/>
                </a:gdLst>
                <a:ahLst/>
                <a:cxnLst>
                  <a:cxn ang="0">
                    <a:pos x="connsiteX0" y="connsiteY0"/>
                  </a:cxn>
                  <a:cxn ang="0">
                    <a:pos x="connsiteX1" y="connsiteY1"/>
                  </a:cxn>
                </a:cxnLst>
                <a:rect l="l" t="t" r="r" b="b"/>
                <a:pathLst>
                  <a:path w="952500" h="171450">
                    <a:moveTo>
                      <a:pt x="7144" y="171397"/>
                    </a:moveTo>
                    <a:cubicBezTo>
                      <a:pt x="7144" y="171397"/>
                      <a:pt x="461486" y="-198173"/>
                      <a:pt x="953929" y="171397"/>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92001">
                        <a:srgbClr val="0D0D0D"/>
                      </a:gs>
                      <a:gs pos="1250">
                        <a:srgbClr val="0D0D0D"/>
                      </a:gs>
                    </a:gsLst>
                    <a:lin ang="5400000" scaled="0"/>
                  </a:gradFill>
                  <a:effectLst/>
                  <a:uLnTx/>
                  <a:uFillTx/>
                  <a:latin typeface="Segoe UI Semibold"/>
                  <a:ea typeface="+mn-ea"/>
                  <a:cs typeface="+mn-cs"/>
                </a:endParaRPr>
              </a:p>
            </p:txBody>
          </p:sp>
        </p:grpSp>
      </p:grpSp>
      <p:grpSp>
        <p:nvGrpSpPr>
          <p:cNvPr id="10" name="Group 9">
            <a:extLst>
              <a:ext uri="{FF2B5EF4-FFF2-40B4-BE49-F238E27FC236}">
                <a16:creationId xmlns:a16="http://schemas.microsoft.com/office/drawing/2014/main" id="{287179EA-4FB6-4D4C-8343-E316144D4E60}"/>
              </a:ext>
            </a:extLst>
          </p:cNvPr>
          <p:cNvGrpSpPr/>
          <p:nvPr/>
        </p:nvGrpSpPr>
        <p:grpSpPr>
          <a:xfrm>
            <a:off x="6926672" y="5331644"/>
            <a:ext cx="4949417" cy="764276"/>
            <a:chOff x="6926672" y="5331644"/>
            <a:chExt cx="4949417" cy="764276"/>
          </a:xfrm>
        </p:grpSpPr>
        <p:sp>
          <p:nvSpPr>
            <p:cNvPr id="174" name="Rectangle 173">
              <a:extLst>
                <a:ext uri="{FF2B5EF4-FFF2-40B4-BE49-F238E27FC236}">
                  <a16:creationId xmlns:a16="http://schemas.microsoft.com/office/drawing/2014/main" id="{379A624D-FD57-481E-972E-BBC9F4D15715}"/>
                </a:ext>
              </a:extLst>
            </p:cNvPr>
            <p:cNvSpPr/>
            <p:nvPr/>
          </p:nvSpPr>
          <p:spPr>
            <a:xfrm>
              <a:off x="7843273" y="5422934"/>
              <a:ext cx="4032816" cy="581698"/>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92001">
                        <a:srgbClr val="0D0D0D"/>
                      </a:gs>
                      <a:gs pos="1250">
                        <a:srgbClr val="0D0D0D"/>
                      </a:gs>
                    </a:gsLst>
                    <a:lin ang="5400000" scaled="0"/>
                  </a:gradFill>
                  <a:effectLst/>
                  <a:uLnTx/>
                  <a:uFillTx/>
                  <a:latin typeface="Segoe UI Semibold"/>
                  <a:ea typeface="+mn-ea"/>
                  <a:cs typeface="Segoe UI Semilight" panose="020B0402040204020203" pitchFamily="34" charset="0"/>
                </a:rPr>
                <a:t>Securely replicate solutions across multiple tenants through built-in multi and </a:t>
              </a:r>
              <a:br>
                <a:rPr kumimoji="0" lang="en-US" sz="1400" b="0" i="0" u="none" strike="noStrike" kern="1200" cap="none" spc="0" normalizeH="0" baseline="0" noProof="0">
                  <a:ln>
                    <a:noFill/>
                  </a:ln>
                  <a:gradFill>
                    <a:gsLst>
                      <a:gs pos="92001">
                        <a:srgbClr val="0D0D0D"/>
                      </a:gs>
                      <a:gs pos="1250">
                        <a:srgbClr val="0D0D0D"/>
                      </a:gs>
                    </a:gsLst>
                    <a:lin ang="5400000" scaled="0"/>
                  </a:gradFill>
                  <a:effectLst/>
                  <a:uLnTx/>
                  <a:uFillTx/>
                  <a:latin typeface="Segoe UI Semibold"/>
                  <a:ea typeface="+mn-ea"/>
                  <a:cs typeface="Segoe UI Semilight" panose="020B0402040204020203" pitchFamily="34" charset="0"/>
                </a:rPr>
              </a:br>
              <a:r>
                <a:rPr kumimoji="0" lang="en-US" sz="1400" b="0" i="0" u="none" strike="noStrike" kern="1200" cap="none" spc="0" normalizeH="0" baseline="0" noProof="0">
                  <a:ln>
                    <a:noFill/>
                  </a:ln>
                  <a:gradFill>
                    <a:gsLst>
                      <a:gs pos="92001">
                        <a:srgbClr val="0D0D0D"/>
                      </a:gs>
                      <a:gs pos="1250">
                        <a:srgbClr val="0D0D0D"/>
                      </a:gs>
                    </a:gsLst>
                    <a:lin ang="5400000" scaled="0"/>
                  </a:gradFill>
                  <a:effectLst/>
                  <a:uLnTx/>
                  <a:uFillTx/>
                  <a:latin typeface="Segoe UI Semibold"/>
                  <a:ea typeface="+mn-ea"/>
                  <a:cs typeface="Segoe UI Semilight" panose="020B0402040204020203" pitchFamily="34" charset="0"/>
                </a:rPr>
                <a:t>nested-tenancy</a:t>
              </a:r>
            </a:p>
          </p:txBody>
        </p:sp>
        <p:grpSp>
          <p:nvGrpSpPr>
            <p:cNvPr id="8" name="Group 7">
              <a:extLst>
                <a:ext uri="{FF2B5EF4-FFF2-40B4-BE49-F238E27FC236}">
                  <a16:creationId xmlns:a16="http://schemas.microsoft.com/office/drawing/2014/main" id="{910C3237-3C08-48E8-AE5B-2958D9F20C2E}"/>
                </a:ext>
              </a:extLst>
            </p:cNvPr>
            <p:cNvGrpSpPr/>
            <p:nvPr/>
          </p:nvGrpSpPr>
          <p:grpSpPr>
            <a:xfrm>
              <a:off x="6926672" y="5331644"/>
              <a:ext cx="764276" cy="764276"/>
              <a:chOff x="6926672" y="5331644"/>
              <a:chExt cx="764276" cy="764276"/>
            </a:xfrm>
          </p:grpSpPr>
          <p:sp>
            <p:nvSpPr>
              <p:cNvPr id="176" name="Oval 175">
                <a:extLst>
                  <a:ext uri="{FF2B5EF4-FFF2-40B4-BE49-F238E27FC236}">
                    <a16:creationId xmlns:a16="http://schemas.microsoft.com/office/drawing/2014/main" id="{568D842C-C67A-4E92-8986-FC36C6371079}"/>
                  </a:ext>
                </a:extLst>
              </p:cNvPr>
              <p:cNvSpPr/>
              <p:nvPr/>
            </p:nvSpPr>
            <p:spPr bwMode="auto">
              <a:xfrm>
                <a:off x="6926672" y="5331644"/>
                <a:ext cx="76427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92001">
                        <a:srgbClr val="0D0D0D"/>
                      </a:gs>
                      <a:gs pos="1250">
                        <a:srgbClr val="0D0D0D"/>
                      </a:gs>
                    </a:gsLst>
                    <a:lin ang="5400000" scaled="0"/>
                  </a:gradFill>
                  <a:effectLst/>
                  <a:uLnTx/>
                  <a:uFillTx/>
                  <a:latin typeface="Segoe UI Semibold"/>
                  <a:ea typeface="+mn-ea"/>
                  <a:cs typeface="+mn-cs"/>
                </a:endParaRPr>
              </a:p>
            </p:txBody>
          </p:sp>
          <p:sp>
            <p:nvSpPr>
              <p:cNvPr id="192" name="Relationship_F003">
                <a:extLst>
                  <a:ext uri="{FF2B5EF4-FFF2-40B4-BE49-F238E27FC236}">
                    <a16:creationId xmlns:a16="http://schemas.microsoft.com/office/drawing/2014/main" id="{1A6D46D9-8D3D-49F1-92F2-0C6C2B00F1D4}"/>
                  </a:ext>
                </a:extLst>
              </p:cNvPr>
              <p:cNvSpPr>
                <a:spLocks noChangeAspect="1" noEditPoints="1"/>
              </p:cNvSpPr>
              <p:nvPr/>
            </p:nvSpPr>
            <p:spPr bwMode="auto">
              <a:xfrm>
                <a:off x="7113283" y="5530902"/>
                <a:ext cx="391055" cy="365760"/>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92001">
                        <a:srgbClr val="0D0D0D"/>
                      </a:gs>
                      <a:gs pos="1250">
                        <a:srgbClr val="0D0D0D"/>
                      </a:gs>
                    </a:gsLst>
                    <a:lin ang="5400000" scaled="0"/>
                  </a:gradFill>
                  <a:effectLst/>
                  <a:uLnTx/>
                  <a:uFillTx/>
                  <a:latin typeface="Segoe UI Semibold"/>
                  <a:ea typeface="+mn-ea"/>
                  <a:cs typeface="+mn-cs"/>
                </a:endParaRPr>
              </a:p>
            </p:txBody>
          </p:sp>
        </p:grpSp>
      </p:grpSp>
    </p:spTree>
    <p:extLst>
      <p:ext uri="{BB962C8B-B14F-4D97-AF65-F5344CB8AC3E}">
        <p14:creationId xmlns:p14="http://schemas.microsoft.com/office/powerpoint/2010/main" val="1554051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0-#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59"/>
                                        </p:tgtEl>
                                        <p:attrNameLst>
                                          <p:attrName>style.visibility</p:attrName>
                                        </p:attrNameLst>
                                      </p:cBhvr>
                                      <p:to>
                                        <p:strVal val="visible"/>
                                      </p:to>
                                    </p:set>
                                    <p:anim calcmode="lin" valueType="num">
                                      <p:cBhvr additive="base">
                                        <p:cTn id="11" dur="750" fill="hold"/>
                                        <p:tgtEl>
                                          <p:spTgt spid="59"/>
                                        </p:tgtEl>
                                        <p:attrNameLst>
                                          <p:attrName>ppt_x</p:attrName>
                                        </p:attrNameLst>
                                      </p:cBhvr>
                                      <p:tavLst>
                                        <p:tav tm="0">
                                          <p:val>
                                            <p:strVal val="0-#ppt_w/2"/>
                                          </p:val>
                                        </p:tav>
                                        <p:tav tm="100000">
                                          <p:val>
                                            <p:strVal val="#ppt_x"/>
                                          </p:val>
                                        </p:tav>
                                      </p:tavLst>
                                    </p:anim>
                                    <p:anim calcmode="lin" valueType="num">
                                      <p:cBhvr additive="base">
                                        <p:cTn id="12" dur="750" fill="hold"/>
                                        <p:tgtEl>
                                          <p:spTgt spid="59"/>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500"/>
                                  </p:stCondLst>
                                  <p:childTnLst>
                                    <p:set>
                                      <p:cBhvr>
                                        <p:cTn id="14" dur="1" fill="hold">
                                          <p:stCondLst>
                                            <p:cond delay="0"/>
                                          </p:stCondLst>
                                        </p:cTn>
                                        <p:tgtEl>
                                          <p:spTgt spid="152"/>
                                        </p:tgtEl>
                                        <p:attrNameLst>
                                          <p:attrName>style.visibility</p:attrName>
                                        </p:attrNameLst>
                                      </p:cBhvr>
                                      <p:to>
                                        <p:strVal val="visible"/>
                                      </p:to>
                                    </p:set>
                                    <p:animEffect transition="in" filter="fade">
                                      <p:cBhvr>
                                        <p:cTn id="15" dur="750"/>
                                        <p:tgtEl>
                                          <p:spTgt spid="152"/>
                                        </p:tgtEl>
                                      </p:cBhvr>
                                    </p:animEffect>
                                  </p:childTnLst>
                                </p:cTn>
                              </p:par>
                              <p:par>
                                <p:cTn id="16" presetID="64" presetClass="path" presetSubtype="0" decel="100000" fill="hold" nodeType="withEffect">
                                  <p:stCondLst>
                                    <p:cond delay="500"/>
                                  </p:stCondLst>
                                  <p:childTnLst>
                                    <p:animMotion origin="layout" path="M -3.33333E-6 7.40741E-7 L -0.10117 -0.17801 " pathEditMode="relative" rAng="0" ptsTypes="AA">
                                      <p:cBhvr>
                                        <p:cTn id="17" dur="750" spd="-100000" fill="hold"/>
                                        <p:tgtEl>
                                          <p:spTgt spid="152"/>
                                        </p:tgtEl>
                                        <p:attrNameLst>
                                          <p:attrName>ppt_x</p:attrName>
                                          <p:attrName>ppt_y</p:attrName>
                                        </p:attrNameLst>
                                      </p:cBhvr>
                                      <p:rCtr x="-5065" y="-8912"/>
                                    </p:animMotion>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650"/>
                                        <p:tgtEl>
                                          <p:spTgt spid="4"/>
                                        </p:tgtEl>
                                      </p:cBhvr>
                                    </p:animEffect>
                                  </p:childTnLst>
                                </p:cTn>
                              </p:par>
                              <p:par>
                                <p:cTn id="22" presetID="63" presetClass="path" presetSubtype="0" decel="100000" fill="hold" nodeType="withEffect">
                                  <p:stCondLst>
                                    <p:cond delay="0"/>
                                  </p:stCondLst>
                                  <p:childTnLst>
                                    <p:animMotion origin="layout" path="M -2.70833E-6 -3.7037E-6 L 0.01472 -3.7037E-6 " pathEditMode="relative" rAng="0" ptsTypes="AA">
                                      <p:cBhvr>
                                        <p:cTn id="23" dur="650" spd="-100000" fill="hold"/>
                                        <p:tgtEl>
                                          <p:spTgt spid="4"/>
                                        </p:tgtEl>
                                        <p:attrNameLst>
                                          <p:attrName>ppt_x</p:attrName>
                                          <p:attrName>ppt_y</p:attrName>
                                        </p:attrNameLst>
                                      </p:cBhvr>
                                      <p:rCtr x="729" y="0"/>
                                    </p:animMotion>
                                  </p:childTnLst>
                                </p:cTn>
                              </p:par>
                              <p:par>
                                <p:cTn id="24" presetID="10" presetClass="entr" presetSubtype="0" fill="hold" nodeType="withEffect">
                                  <p:stCondLst>
                                    <p:cond delay="10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650"/>
                                        <p:tgtEl>
                                          <p:spTgt spid="5"/>
                                        </p:tgtEl>
                                      </p:cBhvr>
                                    </p:animEffect>
                                  </p:childTnLst>
                                </p:cTn>
                              </p:par>
                              <p:par>
                                <p:cTn id="27" presetID="63" presetClass="path" presetSubtype="0" decel="100000" fill="hold" nodeType="withEffect">
                                  <p:stCondLst>
                                    <p:cond delay="100"/>
                                  </p:stCondLst>
                                  <p:childTnLst>
                                    <p:animMotion origin="layout" path="M -2.70833E-6 -3.7037E-6 L 0.01472 -3.7037E-6 " pathEditMode="relative" rAng="0" ptsTypes="AA">
                                      <p:cBhvr>
                                        <p:cTn id="28" dur="650" spd="-100000" fill="hold"/>
                                        <p:tgtEl>
                                          <p:spTgt spid="5"/>
                                        </p:tgtEl>
                                        <p:attrNameLst>
                                          <p:attrName>ppt_x</p:attrName>
                                          <p:attrName>ppt_y</p:attrName>
                                        </p:attrNameLst>
                                      </p:cBhvr>
                                      <p:rCtr x="729" y="0"/>
                                    </p:animMotion>
                                  </p:childTnLst>
                                </p:cTn>
                              </p:par>
                              <p:par>
                                <p:cTn id="29" presetID="10" presetClass="entr" presetSubtype="0" fill="hold" nodeType="withEffect">
                                  <p:stCondLst>
                                    <p:cond delay="20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650"/>
                                        <p:tgtEl>
                                          <p:spTgt spid="6"/>
                                        </p:tgtEl>
                                      </p:cBhvr>
                                    </p:animEffect>
                                  </p:childTnLst>
                                </p:cTn>
                              </p:par>
                              <p:par>
                                <p:cTn id="32" presetID="63" presetClass="path" presetSubtype="0" decel="100000" fill="hold" nodeType="withEffect">
                                  <p:stCondLst>
                                    <p:cond delay="200"/>
                                  </p:stCondLst>
                                  <p:childTnLst>
                                    <p:animMotion origin="layout" path="M -2.70833E-6 -3.7037E-6 L 0.01472 -3.7037E-6 " pathEditMode="relative" rAng="0" ptsTypes="AA">
                                      <p:cBhvr>
                                        <p:cTn id="33" dur="650" spd="-100000" fill="hold"/>
                                        <p:tgtEl>
                                          <p:spTgt spid="6"/>
                                        </p:tgtEl>
                                        <p:attrNameLst>
                                          <p:attrName>ppt_x</p:attrName>
                                          <p:attrName>ppt_y</p:attrName>
                                        </p:attrNameLst>
                                      </p:cBhvr>
                                      <p:rCtr x="729" y="0"/>
                                    </p:animMotion>
                                  </p:childTnLst>
                                </p:cTn>
                              </p:par>
                              <p:par>
                                <p:cTn id="34" presetID="10" presetClass="entr" presetSubtype="0" fill="hold" nodeType="withEffect">
                                  <p:stCondLst>
                                    <p:cond delay="300"/>
                                  </p:stCondLst>
                                  <p:childTnLst>
                                    <p:set>
                                      <p:cBhvr>
                                        <p:cTn id="35" dur="1" fill="hold">
                                          <p:stCondLst>
                                            <p:cond delay="0"/>
                                          </p:stCondLst>
                                        </p:cTn>
                                        <p:tgtEl>
                                          <p:spTgt spid="9"/>
                                        </p:tgtEl>
                                        <p:attrNameLst>
                                          <p:attrName>style.visibility</p:attrName>
                                        </p:attrNameLst>
                                      </p:cBhvr>
                                      <p:to>
                                        <p:strVal val="visible"/>
                                      </p:to>
                                    </p:set>
                                    <p:animEffect transition="in" filter="fade">
                                      <p:cBhvr>
                                        <p:cTn id="36" dur="650"/>
                                        <p:tgtEl>
                                          <p:spTgt spid="9"/>
                                        </p:tgtEl>
                                      </p:cBhvr>
                                    </p:animEffect>
                                  </p:childTnLst>
                                </p:cTn>
                              </p:par>
                              <p:par>
                                <p:cTn id="37" presetID="63" presetClass="path" presetSubtype="0" decel="100000" fill="hold" nodeType="withEffect">
                                  <p:stCondLst>
                                    <p:cond delay="300"/>
                                  </p:stCondLst>
                                  <p:childTnLst>
                                    <p:animMotion origin="layout" path="M -2.70833E-6 -3.7037E-6 L 0.01472 -3.7037E-6 " pathEditMode="relative" rAng="0" ptsTypes="AA">
                                      <p:cBhvr>
                                        <p:cTn id="38" dur="650" spd="-100000" fill="hold"/>
                                        <p:tgtEl>
                                          <p:spTgt spid="9"/>
                                        </p:tgtEl>
                                        <p:attrNameLst>
                                          <p:attrName>ppt_x</p:attrName>
                                          <p:attrName>ppt_y</p:attrName>
                                        </p:attrNameLst>
                                      </p:cBhvr>
                                      <p:rCtr x="729" y="0"/>
                                    </p:animMotion>
                                  </p:childTnLst>
                                </p:cTn>
                              </p:par>
                              <p:par>
                                <p:cTn id="39" presetID="10" presetClass="entr" presetSubtype="0" fill="hold" nodeType="withEffect">
                                  <p:stCondLst>
                                    <p:cond delay="40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650"/>
                                        <p:tgtEl>
                                          <p:spTgt spid="10"/>
                                        </p:tgtEl>
                                      </p:cBhvr>
                                    </p:animEffect>
                                  </p:childTnLst>
                                </p:cTn>
                              </p:par>
                              <p:par>
                                <p:cTn id="42" presetID="63" presetClass="path" presetSubtype="0" decel="100000" fill="hold" nodeType="withEffect">
                                  <p:stCondLst>
                                    <p:cond delay="400"/>
                                  </p:stCondLst>
                                  <p:childTnLst>
                                    <p:animMotion origin="layout" path="M -2.70833E-6 -3.7037E-6 L 0.01472 -3.7037E-6 " pathEditMode="relative" rAng="0" ptsTypes="AA">
                                      <p:cBhvr>
                                        <p:cTn id="43" dur="650" spd="-100000" fill="hold"/>
                                        <p:tgtEl>
                                          <p:spTgt spid="10"/>
                                        </p:tgtEl>
                                        <p:attrNameLst>
                                          <p:attrName>ppt_x</p:attrName>
                                          <p:attrName>ppt_y</p:attrName>
                                        </p:attrNameLst>
                                      </p:cBhvr>
                                      <p:rCtr x="7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pSp>
        <p:nvGrpSpPr>
          <p:cNvPr id="298" name="Group 297">
            <a:extLst>
              <a:ext uri="{FF2B5EF4-FFF2-40B4-BE49-F238E27FC236}">
                <a16:creationId xmlns:a16="http://schemas.microsoft.com/office/drawing/2014/main" id="{8F5AC5C9-A723-45FD-87E7-C5147022E4BC}"/>
              </a:ext>
            </a:extLst>
          </p:cNvPr>
          <p:cNvGrpSpPr/>
          <p:nvPr/>
        </p:nvGrpSpPr>
        <p:grpSpPr>
          <a:xfrm>
            <a:off x="8040894" y="4342896"/>
            <a:ext cx="110617" cy="314800"/>
            <a:chOff x="4990745" y="2685821"/>
            <a:chExt cx="144221" cy="410434"/>
          </a:xfrm>
        </p:grpSpPr>
        <p:sp>
          <p:nvSpPr>
            <p:cNvPr id="299" name="Freeform 5">
              <a:extLst>
                <a:ext uri="{FF2B5EF4-FFF2-40B4-BE49-F238E27FC236}">
                  <a16:creationId xmlns:a16="http://schemas.microsoft.com/office/drawing/2014/main" id="{4803B02E-F86B-480A-8F59-2BCBF947383E}"/>
                </a:ext>
              </a:extLst>
            </p:cNvPr>
            <p:cNvSpPr>
              <a:spLocks noEditPoints="1"/>
            </p:cNvSpPr>
            <p:nvPr/>
          </p:nvSpPr>
          <p:spPr bwMode="auto">
            <a:xfrm>
              <a:off x="5001398" y="2802730"/>
              <a:ext cx="122914" cy="293525"/>
            </a:xfrm>
            <a:custGeom>
              <a:avLst/>
              <a:gdLst>
                <a:gd name="T0" fmla="*/ 470 w 540"/>
                <a:gd name="T1" fmla="*/ 84 h 1296"/>
                <a:gd name="T2" fmla="*/ 266 w 540"/>
                <a:gd name="T3" fmla="*/ 154 h 1296"/>
                <a:gd name="T4" fmla="*/ 62 w 540"/>
                <a:gd name="T5" fmla="*/ 84 h 1296"/>
                <a:gd name="T6" fmla="*/ 266 w 540"/>
                <a:gd name="T7" fmla="*/ 14 h 1296"/>
                <a:gd name="T8" fmla="*/ 470 w 540"/>
                <a:gd name="T9" fmla="*/ 84 h 1296"/>
                <a:gd name="T10" fmla="*/ 266 w 540"/>
                <a:gd name="T11" fmla="*/ 0 h 1296"/>
                <a:gd name="T12" fmla="*/ 36 w 540"/>
                <a:gd name="T13" fmla="*/ 82 h 1296"/>
                <a:gd name="T14" fmla="*/ 266 w 540"/>
                <a:gd name="T15" fmla="*/ 164 h 1296"/>
                <a:gd name="T16" fmla="*/ 496 w 540"/>
                <a:gd name="T17" fmla="*/ 82 h 1296"/>
                <a:gd name="T18" fmla="*/ 266 w 540"/>
                <a:gd name="T19" fmla="*/ 0 h 1296"/>
                <a:gd name="T20" fmla="*/ 36 w 540"/>
                <a:gd name="T21" fmla="*/ 80 h 1296"/>
                <a:gd name="T22" fmla="*/ 36 w 540"/>
                <a:gd name="T23" fmla="*/ 708 h 1296"/>
                <a:gd name="T24" fmla="*/ 0 w 540"/>
                <a:gd name="T25" fmla="*/ 1170 h 1296"/>
                <a:gd name="T26" fmla="*/ 270 w 540"/>
                <a:gd name="T27" fmla="*/ 1296 h 1296"/>
                <a:gd name="T28" fmla="*/ 540 w 540"/>
                <a:gd name="T29" fmla="*/ 1170 h 1296"/>
                <a:gd name="T30" fmla="*/ 504 w 540"/>
                <a:gd name="T31" fmla="*/ 652 h 1296"/>
                <a:gd name="T32" fmla="*/ 496 w 540"/>
                <a:gd name="T33" fmla="*/ 80 h 1296"/>
                <a:gd name="T34" fmla="*/ 10 w 540"/>
                <a:gd name="T35" fmla="*/ 1040 h 1296"/>
                <a:gd name="T36" fmla="*/ 267 w 540"/>
                <a:gd name="T37" fmla="*/ 1164 h 1296"/>
                <a:gd name="T38" fmla="*/ 524 w 540"/>
                <a:gd name="T39" fmla="*/ 1040 h 1296"/>
                <a:gd name="T40" fmla="*/ 38 w 540"/>
                <a:gd name="T41" fmla="*/ 164 h 1296"/>
                <a:gd name="T42" fmla="*/ 267 w 540"/>
                <a:gd name="T43" fmla="*/ 250 h 1296"/>
                <a:gd name="T44" fmla="*/ 496 w 540"/>
                <a:gd name="T45" fmla="*/ 164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0" h="1296">
                  <a:moveTo>
                    <a:pt x="470" y="84"/>
                  </a:moveTo>
                  <a:cubicBezTo>
                    <a:pt x="470" y="123"/>
                    <a:pt x="379" y="154"/>
                    <a:pt x="266" y="154"/>
                  </a:cubicBezTo>
                  <a:cubicBezTo>
                    <a:pt x="153" y="154"/>
                    <a:pt x="62" y="123"/>
                    <a:pt x="62" y="84"/>
                  </a:cubicBezTo>
                  <a:cubicBezTo>
                    <a:pt x="62" y="45"/>
                    <a:pt x="153" y="14"/>
                    <a:pt x="266" y="14"/>
                  </a:cubicBezTo>
                  <a:cubicBezTo>
                    <a:pt x="379" y="14"/>
                    <a:pt x="470" y="45"/>
                    <a:pt x="470" y="84"/>
                  </a:cubicBezTo>
                  <a:close/>
                  <a:moveTo>
                    <a:pt x="266" y="0"/>
                  </a:moveTo>
                  <a:cubicBezTo>
                    <a:pt x="139" y="0"/>
                    <a:pt x="36" y="37"/>
                    <a:pt x="36" y="82"/>
                  </a:cubicBezTo>
                  <a:cubicBezTo>
                    <a:pt x="36" y="127"/>
                    <a:pt x="139" y="164"/>
                    <a:pt x="266" y="164"/>
                  </a:cubicBezTo>
                  <a:cubicBezTo>
                    <a:pt x="393" y="164"/>
                    <a:pt x="496" y="127"/>
                    <a:pt x="496" y="82"/>
                  </a:cubicBezTo>
                  <a:cubicBezTo>
                    <a:pt x="496" y="37"/>
                    <a:pt x="393" y="0"/>
                    <a:pt x="266" y="0"/>
                  </a:cubicBezTo>
                  <a:close/>
                  <a:moveTo>
                    <a:pt x="36" y="80"/>
                  </a:moveTo>
                  <a:cubicBezTo>
                    <a:pt x="36" y="80"/>
                    <a:pt x="40" y="640"/>
                    <a:pt x="36" y="708"/>
                  </a:cubicBezTo>
                  <a:cubicBezTo>
                    <a:pt x="32" y="776"/>
                    <a:pt x="0" y="1170"/>
                    <a:pt x="0" y="1170"/>
                  </a:cubicBezTo>
                  <a:cubicBezTo>
                    <a:pt x="0" y="1240"/>
                    <a:pt x="121" y="1296"/>
                    <a:pt x="270" y="1296"/>
                  </a:cubicBezTo>
                  <a:cubicBezTo>
                    <a:pt x="419" y="1296"/>
                    <a:pt x="540" y="1240"/>
                    <a:pt x="540" y="1170"/>
                  </a:cubicBezTo>
                  <a:cubicBezTo>
                    <a:pt x="540" y="1170"/>
                    <a:pt x="504" y="748"/>
                    <a:pt x="504" y="652"/>
                  </a:cubicBezTo>
                  <a:cubicBezTo>
                    <a:pt x="504" y="556"/>
                    <a:pt x="496" y="80"/>
                    <a:pt x="496" y="80"/>
                  </a:cubicBezTo>
                  <a:moveTo>
                    <a:pt x="10" y="1040"/>
                  </a:moveTo>
                  <a:cubicBezTo>
                    <a:pt x="10" y="1108"/>
                    <a:pt x="125" y="1164"/>
                    <a:pt x="267" y="1164"/>
                  </a:cubicBezTo>
                  <a:cubicBezTo>
                    <a:pt x="409" y="1164"/>
                    <a:pt x="524" y="1108"/>
                    <a:pt x="524" y="1040"/>
                  </a:cubicBezTo>
                  <a:moveTo>
                    <a:pt x="38" y="164"/>
                  </a:moveTo>
                  <a:cubicBezTo>
                    <a:pt x="38" y="211"/>
                    <a:pt x="141" y="250"/>
                    <a:pt x="267" y="250"/>
                  </a:cubicBezTo>
                  <a:cubicBezTo>
                    <a:pt x="393" y="250"/>
                    <a:pt x="496" y="211"/>
                    <a:pt x="496" y="164"/>
                  </a:cubicBezTo>
                </a:path>
              </a:pathLst>
            </a:custGeom>
            <a:noFill/>
            <a:ln w="1270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58" tIns="99726" rIns="124658" bIns="99726" numCol="1" spcCol="0" rtlCol="0" fromWordArt="0" anchor="t" anchorCtr="0" forceAA="0" compatLnSpc="1">
              <a:prstTxWarp prst="textNoShape">
                <a:avLst/>
              </a:prstTxWarp>
              <a:noAutofit/>
            </a:bodyPr>
            <a:lstStyle/>
            <a:p>
              <a:pPr marL="0" marR="0" lvl="0" indent="0" algn="l" defTabSz="635573" rtl="0" eaLnBrk="1" fontAlgn="base" latinLnBrk="0" hangingPunct="1">
                <a:lnSpc>
                  <a:spcPct val="100000"/>
                </a:lnSpc>
                <a:spcBef>
                  <a:spcPct val="0"/>
                </a:spcBef>
                <a:spcAft>
                  <a:spcPct val="0"/>
                </a:spcAft>
                <a:buClrTx/>
                <a:buSzTx/>
                <a:buFontTx/>
                <a:buNone/>
                <a:tabLst/>
                <a:defRPr/>
              </a:pPr>
              <a:endParaRPr kumimoji="0" lang="en-US" sz="163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00" name="Group 299">
              <a:extLst>
                <a:ext uri="{FF2B5EF4-FFF2-40B4-BE49-F238E27FC236}">
                  <a16:creationId xmlns:a16="http://schemas.microsoft.com/office/drawing/2014/main" id="{088B161C-88FD-49ED-99B1-A5B5225B240A}"/>
                </a:ext>
              </a:extLst>
            </p:cNvPr>
            <p:cNvGrpSpPr/>
            <p:nvPr/>
          </p:nvGrpSpPr>
          <p:grpSpPr>
            <a:xfrm rot="16200000">
              <a:off x="5024487" y="2652079"/>
              <a:ext cx="76737" cy="144221"/>
              <a:chOff x="2866921" y="3947319"/>
              <a:chExt cx="103684" cy="194866"/>
            </a:xfrm>
          </p:grpSpPr>
          <p:sp>
            <p:nvSpPr>
              <p:cNvPr id="301" name="Oval 5">
                <a:extLst>
                  <a:ext uri="{FF2B5EF4-FFF2-40B4-BE49-F238E27FC236}">
                    <a16:creationId xmlns:a16="http://schemas.microsoft.com/office/drawing/2014/main" id="{3C8930D7-AF5C-4294-914C-63BFA5CB3FA9}"/>
                  </a:ext>
                </a:extLst>
              </p:cNvPr>
              <p:cNvSpPr/>
              <p:nvPr/>
            </p:nvSpPr>
            <p:spPr bwMode="auto">
              <a:xfrm>
                <a:off x="2904207" y="3947319"/>
                <a:ext cx="66398" cy="194866"/>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302" name="Oval 5">
                <a:extLst>
                  <a:ext uri="{FF2B5EF4-FFF2-40B4-BE49-F238E27FC236}">
                    <a16:creationId xmlns:a16="http://schemas.microsoft.com/office/drawing/2014/main" id="{B6385304-AC04-49B4-9115-4AF6100F9E02}"/>
                  </a:ext>
                </a:extLst>
              </p:cNvPr>
              <p:cNvSpPr/>
              <p:nvPr/>
            </p:nvSpPr>
            <p:spPr bwMode="auto">
              <a:xfrm>
                <a:off x="2866921" y="3977662"/>
                <a:ext cx="45720" cy="134180"/>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solidFill>
                    <a:srgbClr val="505050"/>
                  </a:solidFill>
                  <a:effectLst/>
                  <a:uLnTx/>
                  <a:uFillTx/>
                  <a:latin typeface="Segoe UI Semilight"/>
                  <a:ea typeface="+mn-ea"/>
                  <a:cs typeface="+mn-cs"/>
                </a:endParaRPr>
              </a:p>
            </p:txBody>
          </p:sp>
        </p:grpSp>
      </p:grpSp>
      <p:grpSp>
        <p:nvGrpSpPr>
          <p:cNvPr id="303" name="Group 4">
            <a:extLst>
              <a:ext uri="{FF2B5EF4-FFF2-40B4-BE49-F238E27FC236}">
                <a16:creationId xmlns:a16="http://schemas.microsoft.com/office/drawing/2014/main" id="{7D129B4B-AA47-490A-B309-DD5A13508AE6}"/>
              </a:ext>
            </a:extLst>
          </p:cNvPr>
          <p:cNvGrpSpPr>
            <a:grpSpLocks noChangeAspect="1"/>
          </p:cNvGrpSpPr>
          <p:nvPr/>
        </p:nvGrpSpPr>
        <p:grpSpPr bwMode="auto">
          <a:xfrm>
            <a:off x="3546884" y="3499500"/>
            <a:ext cx="318220" cy="195827"/>
            <a:chOff x="5597" y="3096"/>
            <a:chExt cx="546" cy="336"/>
          </a:xfrm>
        </p:grpSpPr>
        <p:sp>
          <p:nvSpPr>
            <p:cNvPr id="304" name="Rectangle 5">
              <a:extLst>
                <a:ext uri="{FF2B5EF4-FFF2-40B4-BE49-F238E27FC236}">
                  <a16:creationId xmlns:a16="http://schemas.microsoft.com/office/drawing/2014/main" id="{C1A882AB-8880-414F-B951-9F2AF01229DB}"/>
                </a:ext>
              </a:extLst>
            </p:cNvPr>
            <p:cNvSpPr>
              <a:spLocks noChangeArrowheads="1"/>
            </p:cNvSpPr>
            <p:nvPr/>
          </p:nvSpPr>
          <p:spPr bwMode="auto">
            <a:xfrm>
              <a:off x="5597" y="3096"/>
              <a:ext cx="169" cy="336"/>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5" name="Freeform 6">
              <a:extLst>
                <a:ext uri="{FF2B5EF4-FFF2-40B4-BE49-F238E27FC236}">
                  <a16:creationId xmlns:a16="http://schemas.microsoft.com/office/drawing/2014/main" id="{13EBF31C-8381-42DC-9A79-528AAEF2921F}"/>
                </a:ext>
              </a:extLst>
            </p:cNvPr>
            <p:cNvSpPr>
              <a:spLocks/>
            </p:cNvSpPr>
            <p:nvPr/>
          </p:nvSpPr>
          <p:spPr bwMode="auto">
            <a:xfrm>
              <a:off x="5766" y="3337"/>
              <a:ext cx="80" cy="95"/>
            </a:xfrm>
            <a:custGeom>
              <a:avLst/>
              <a:gdLst>
                <a:gd name="T0" fmla="*/ 80 w 80"/>
                <a:gd name="T1" fmla="*/ 0 h 95"/>
                <a:gd name="T2" fmla="*/ 80 w 80"/>
                <a:gd name="T3" fmla="*/ 26 h 95"/>
                <a:gd name="T4" fmla="*/ 0 w 80"/>
                <a:gd name="T5" fmla="*/ 95 h 95"/>
              </a:gdLst>
              <a:ahLst/>
              <a:cxnLst>
                <a:cxn ang="0">
                  <a:pos x="T0" y="T1"/>
                </a:cxn>
                <a:cxn ang="0">
                  <a:pos x="T2" y="T3"/>
                </a:cxn>
                <a:cxn ang="0">
                  <a:pos x="T4" y="T5"/>
                </a:cxn>
              </a:cxnLst>
              <a:rect l="0" t="0" r="r" b="b"/>
              <a:pathLst>
                <a:path w="80" h="95">
                  <a:moveTo>
                    <a:pt x="80" y="0"/>
                  </a:moveTo>
                  <a:lnTo>
                    <a:pt x="80" y="26"/>
                  </a:lnTo>
                  <a:lnTo>
                    <a:pt x="0" y="95"/>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6" name="Freeform 7">
              <a:extLst>
                <a:ext uri="{FF2B5EF4-FFF2-40B4-BE49-F238E27FC236}">
                  <a16:creationId xmlns:a16="http://schemas.microsoft.com/office/drawing/2014/main" id="{DBD8E07B-74F1-43D0-8E2F-CF67BE106686}"/>
                </a:ext>
              </a:extLst>
            </p:cNvPr>
            <p:cNvSpPr>
              <a:spLocks/>
            </p:cNvSpPr>
            <p:nvPr/>
          </p:nvSpPr>
          <p:spPr bwMode="auto">
            <a:xfrm>
              <a:off x="5766" y="3096"/>
              <a:ext cx="80" cy="96"/>
            </a:xfrm>
            <a:custGeom>
              <a:avLst/>
              <a:gdLst>
                <a:gd name="T0" fmla="*/ 0 w 80"/>
                <a:gd name="T1" fmla="*/ 0 h 96"/>
                <a:gd name="T2" fmla="*/ 80 w 80"/>
                <a:gd name="T3" fmla="*/ 74 h 96"/>
                <a:gd name="T4" fmla="*/ 80 w 80"/>
                <a:gd name="T5" fmla="*/ 96 h 96"/>
              </a:gdLst>
              <a:ahLst/>
              <a:cxnLst>
                <a:cxn ang="0">
                  <a:pos x="T0" y="T1"/>
                </a:cxn>
                <a:cxn ang="0">
                  <a:pos x="T2" y="T3"/>
                </a:cxn>
                <a:cxn ang="0">
                  <a:pos x="T4" y="T5"/>
                </a:cxn>
              </a:cxnLst>
              <a:rect l="0" t="0" r="r" b="b"/>
              <a:pathLst>
                <a:path w="80" h="96">
                  <a:moveTo>
                    <a:pt x="0" y="0"/>
                  </a:moveTo>
                  <a:lnTo>
                    <a:pt x="80" y="74"/>
                  </a:lnTo>
                  <a:lnTo>
                    <a:pt x="80" y="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7" name="Line 8">
              <a:extLst>
                <a:ext uri="{FF2B5EF4-FFF2-40B4-BE49-F238E27FC236}">
                  <a16:creationId xmlns:a16="http://schemas.microsoft.com/office/drawing/2014/main" id="{62EE034B-B359-4A43-9114-7AC4447FAC6A}"/>
                </a:ext>
              </a:extLst>
            </p:cNvPr>
            <p:cNvSpPr>
              <a:spLocks noChangeShapeType="1"/>
            </p:cNvSpPr>
            <p:nvPr/>
          </p:nvSpPr>
          <p:spPr bwMode="auto">
            <a:xfrm>
              <a:off x="5597" y="3205"/>
              <a:ext cx="169"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8" name="Line 9">
              <a:extLst>
                <a:ext uri="{FF2B5EF4-FFF2-40B4-BE49-F238E27FC236}">
                  <a16:creationId xmlns:a16="http://schemas.microsoft.com/office/drawing/2014/main" id="{ACC89365-CF40-4175-A0B3-C262927F370D}"/>
                </a:ext>
              </a:extLst>
            </p:cNvPr>
            <p:cNvSpPr>
              <a:spLocks noChangeShapeType="1"/>
            </p:cNvSpPr>
            <p:nvPr/>
          </p:nvSpPr>
          <p:spPr bwMode="auto">
            <a:xfrm>
              <a:off x="5597" y="3325"/>
              <a:ext cx="169"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9" name="Rectangle 10">
              <a:extLst>
                <a:ext uri="{FF2B5EF4-FFF2-40B4-BE49-F238E27FC236}">
                  <a16:creationId xmlns:a16="http://schemas.microsoft.com/office/drawing/2014/main" id="{D68F4266-C021-44B5-90BD-F30EEC92AA54}"/>
                </a:ext>
              </a:extLst>
            </p:cNvPr>
            <p:cNvSpPr>
              <a:spLocks noChangeArrowheads="1"/>
            </p:cNvSpPr>
            <p:nvPr/>
          </p:nvSpPr>
          <p:spPr bwMode="auto">
            <a:xfrm>
              <a:off x="5974" y="3096"/>
              <a:ext cx="169" cy="336"/>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0" name="Freeform 11">
              <a:extLst>
                <a:ext uri="{FF2B5EF4-FFF2-40B4-BE49-F238E27FC236}">
                  <a16:creationId xmlns:a16="http://schemas.microsoft.com/office/drawing/2014/main" id="{7B3A32F1-032F-415F-BCAB-DCE56C0E7806}"/>
                </a:ext>
              </a:extLst>
            </p:cNvPr>
            <p:cNvSpPr>
              <a:spLocks/>
            </p:cNvSpPr>
            <p:nvPr/>
          </p:nvSpPr>
          <p:spPr bwMode="auto">
            <a:xfrm>
              <a:off x="5894" y="3336"/>
              <a:ext cx="80" cy="96"/>
            </a:xfrm>
            <a:custGeom>
              <a:avLst/>
              <a:gdLst>
                <a:gd name="T0" fmla="*/ 0 w 80"/>
                <a:gd name="T1" fmla="*/ 0 h 96"/>
                <a:gd name="T2" fmla="*/ 0 w 80"/>
                <a:gd name="T3" fmla="*/ 27 h 96"/>
                <a:gd name="T4" fmla="*/ 80 w 80"/>
                <a:gd name="T5" fmla="*/ 96 h 96"/>
              </a:gdLst>
              <a:ahLst/>
              <a:cxnLst>
                <a:cxn ang="0">
                  <a:pos x="T0" y="T1"/>
                </a:cxn>
                <a:cxn ang="0">
                  <a:pos x="T2" y="T3"/>
                </a:cxn>
                <a:cxn ang="0">
                  <a:pos x="T4" y="T5"/>
                </a:cxn>
              </a:cxnLst>
              <a:rect l="0" t="0" r="r" b="b"/>
              <a:pathLst>
                <a:path w="80" h="96">
                  <a:moveTo>
                    <a:pt x="0" y="0"/>
                  </a:moveTo>
                  <a:lnTo>
                    <a:pt x="0" y="27"/>
                  </a:lnTo>
                  <a:lnTo>
                    <a:pt x="80" y="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1" name="Freeform 12">
              <a:extLst>
                <a:ext uri="{FF2B5EF4-FFF2-40B4-BE49-F238E27FC236}">
                  <a16:creationId xmlns:a16="http://schemas.microsoft.com/office/drawing/2014/main" id="{0E59B789-B9DE-40EA-9933-2D072832F0D1}"/>
                </a:ext>
              </a:extLst>
            </p:cNvPr>
            <p:cNvSpPr>
              <a:spLocks/>
            </p:cNvSpPr>
            <p:nvPr/>
          </p:nvSpPr>
          <p:spPr bwMode="auto">
            <a:xfrm>
              <a:off x="5894" y="3096"/>
              <a:ext cx="80" cy="94"/>
            </a:xfrm>
            <a:custGeom>
              <a:avLst/>
              <a:gdLst>
                <a:gd name="T0" fmla="*/ 80 w 80"/>
                <a:gd name="T1" fmla="*/ 0 h 94"/>
                <a:gd name="T2" fmla="*/ 0 w 80"/>
                <a:gd name="T3" fmla="*/ 74 h 94"/>
                <a:gd name="T4" fmla="*/ 0 w 80"/>
                <a:gd name="T5" fmla="*/ 94 h 94"/>
              </a:gdLst>
              <a:ahLst/>
              <a:cxnLst>
                <a:cxn ang="0">
                  <a:pos x="T0" y="T1"/>
                </a:cxn>
                <a:cxn ang="0">
                  <a:pos x="T2" y="T3"/>
                </a:cxn>
                <a:cxn ang="0">
                  <a:pos x="T4" y="T5"/>
                </a:cxn>
              </a:cxnLst>
              <a:rect l="0" t="0" r="r" b="b"/>
              <a:pathLst>
                <a:path w="80" h="94">
                  <a:moveTo>
                    <a:pt x="80" y="0"/>
                  </a:moveTo>
                  <a:lnTo>
                    <a:pt x="0" y="74"/>
                  </a:lnTo>
                  <a:lnTo>
                    <a:pt x="0" y="94"/>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2" name="Line 13">
              <a:extLst>
                <a:ext uri="{FF2B5EF4-FFF2-40B4-BE49-F238E27FC236}">
                  <a16:creationId xmlns:a16="http://schemas.microsoft.com/office/drawing/2014/main" id="{A0B657C4-78A0-4476-A013-5C6F562F750E}"/>
                </a:ext>
              </a:extLst>
            </p:cNvPr>
            <p:cNvSpPr>
              <a:spLocks noChangeShapeType="1"/>
            </p:cNvSpPr>
            <p:nvPr/>
          </p:nvSpPr>
          <p:spPr bwMode="auto">
            <a:xfrm flipH="1">
              <a:off x="5974" y="3205"/>
              <a:ext cx="169"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3" name="Line 14">
              <a:extLst>
                <a:ext uri="{FF2B5EF4-FFF2-40B4-BE49-F238E27FC236}">
                  <a16:creationId xmlns:a16="http://schemas.microsoft.com/office/drawing/2014/main" id="{E3E9304D-43E2-4AE7-AA4B-7FA891006854}"/>
                </a:ext>
              </a:extLst>
            </p:cNvPr>
            <p:cNvSpPr>
              <a:spLocks noChangeShapeType="1"/>
            </p:cNvSpPr>
            <p:nvPr/>
          </p:nvSpPr>
          <p:spPr bwMode="auto">
            <a:xfrm flipH="1">
              <a:off x="5974" y="3325"/>
              <a:ext cx="169"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4" name="Freeform 15">
              <a:extLst>
                <a:ext uri="{FF2B5EF4-FFF2-40B4-BE49-F238E27FC236}">
                  <a16:creationId xmlns:a16="http://schemas.microsoft.com/office/drawing/2014/main" id="{70A701B8-0654-49DC-9D22-0C07CC2749C9}"/>
                </a:ext>
              </a:extLst>
            </p:cNvPr>
            <p:cNvSpPr>
              <a:spLocks noEditPoints="1"/>
            </p:cNvSpPr>
            <p:nvPr/>
          </p:nvSpPr>
          <p:spPr bwMode="auto">
            <a:xfrm>
              <a:off x="5797" y="3207"/>
              <a:ext cx="146" cy="47"/>
            </a:xfrm>
            <a:custGeom>
              <a:avLst/>
              <a:gdLst>
                <a:gd name="T0" fmla="*/ 0 w 196"/>
                <a:gd name="T1" fmla="*/ 0 h 63"/>
                <a:gd name="T2" fmla="*/ 0 w 196"/>
                <a:gd name="T3" fmla="*/ 63 h 63"/>
                <a:gd name="T4" fmla="*/ 118 w 196"/>
                <a:gd name="T5" fmla="*/ 0 h 63"/>
                <a:gd name="T6" fmla="*/ 118 w 196"/>
                <a:gd name="T7" fmla="*/ 63 h 63"/>
                <a:gd name="T8" fmla="*/ 79 w 196"/>
                <a:gd name="T9" fmla="*/ 42 h 63"/>
                <a:gd name="T10" fmla="*/ 79 w 196"/>
                <a:gd name="T11" fmla="*/ 20 h 63"/>
                <a:gd name="T12" fmla="*/ 59 w 196"/>
                <a:gd name="T13" fmla="*/ 0 h 63"/>
                <a:gd name="T14" fmla="*/ 59 w 196"/>
                <a:gd name="T15" fmla="*/ 0 h 63"/>
                <a:gd name="T16" fmla="*/ 38 w 196"/>
                <a:gd name="T17" fmla="*/ 20 h 63"/>
                <a:gd name="T18" fmla="*/ 38 w 196"/>
                <a:gd name="T19" fmla="*/ 42 h 63"/>
                <a:gd name="T20" fmla="*/ 59 w 196"/>
                <a:gd name="T21" fmla="*/ 63 h 63"/>
                <a:gd name="T22" fmla="*/ 59 w 196"/>
                <a:gd name="T23" fmla="*/ 63 h 63"/>
                <a:gd name="T24" fmla="*/ 79 w 196"/>
                <a:gd name="T25" fmla="*/ 42 h 63"/>
                <a:gd name="T26" fmla="*/ 196 w 196"/>
                <a:gd name="T27" fmla="*/ 42 h 63"/>
                <a:gd name="T28" fmla="*/ 196 w 196"/>
                <a:gd name="T29" fmla="*/ 20 h 63"/>
                <a:gd name="T30" fmla="*/ 175 w 196"/>
                <a:gd name="T31" fmla="*/ 0 h 63"/>
                <a:gd name="T32" fmla="*/ 175 w 196"/>
                <a:gd name="T33" fmla="*/ 0 h 63"/>
                <a:gd name="T34" fmla="*/ 156 w 196"/>
                <a:gd name="T35" fmla="*/ 20 h 63"/>
                <a:gd name="T36" fmla="*/ 156 w 196"/>
                <a:gd name="T37" fmla="*/ 42 h 63"/>
                <a:gd name="T38" fmla="*/ 175 w 196"/>
                <a:gd name="T39" fmla="*/ 63 h 63"/>
                <a:gd name="T40" fmla="*/ 175 w 196"/>
                <a:gd name="T41" fmla="*/ 63 h 63"/>
                <a:gd name="T42" fmla="*/ 196 w 196"/>
                <a:gd name="T43" fmla="*/ 4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3">
                  <a:moveTo>
                    <a:pt x="0" y="0"/>
                  </a:moveTo>
                  <a:cubicBezTo>
                    <a:pt x="0" y="63"/>
                    <a:pt x="0" y="63"/>
                    <a:pt x="0" y="63"/>
                  </a:cubicBezTo>
                  <a:moveTo>
                    <a:pt x="118" y="0"/>
                  </a:moveTo>
                  <a:cubicBezTo>
                    <a:pt x="118" y="63"/>
                    <a:pt x="118" y="63"/>
                    <a:pt x="118" y="63"/>
                  </a:cubicBezTo>
                  <a:moveTo>
                    <a:pt x="79" y="42"/>
                  </a:moveTo>
                  <a:cubicBezTo>
                    <a:pt x="79" y="20"/>
                    <a:pt x="79" y="20"/>
                    <a:pt x="79" y="20"/>
                  </a:cubicBezTo>
                  <a:cubicBezTo>
                    <a:pt x="79" y="9"/>
                    <a:pt x="70" y="0"/>
                    <a:pt x="59" y="0"/>
                  </a:cubicBezTo>
                  <a:cubicBezTo>
                    <a:pt x="59" y="0"/>
                    <a:pt x="59" y="0"/>
                    <a:pt x="59" y="0"/>
                  </a:cubicBezTo>
                  <a:cubicBezTo>
                    <a:pt x="47" y="0"/>
                    <a:pt x="38" y="9"/>
                    <a:pt x="38" y="20"/>
                  </a:cubicBezTo>
                  <a:cubicBezTo>
                    <a:pt x="38" y="42"/>
                    <a:pt x="38" y="42"/>
                    <a:pt x="38" y="42"/>
                  </a:cubicBezTo>
                  <a:cubicBezTo>
                    <a:pt x="38" y="54"/>
                    <a:pt x="47" y="63"/>
                    <a:pt x="59" y="63"/>
                  </a:cubicBezTo>
                  <a:cubicBezTo>
                    <a:pt x="59" y="63"/>
                    <a:pt x="59" y="63"/>
                    <a:pt x="59" y="63"/>
                  </a:cubicBezTo>
                  <a:cubicBezTo>
                    <a:pt x="70" y="63"/>
                    <a:pt x="79" y="54"/>
                    <a:pt x="79" y="42"/>
                  </a:cubicBezTo>
                  <a:close/>
                  <a:moveTo>
                    <a:pt x="196" y="42"/>
                  </a:moveTo>
                  <a:cubicBezTo>
                    <a:pt x="196" y="20"/>
                    <a:pt x="196" y="20"/>
                    <a:pt x="196" y="20"/>
                  </a:cubicBezTo>
                  <a:cubicBezTo>
                    <a:pt x="196" y="9"/>
                    <a:pt x="187" y="0"/>
                    <a:pt x="175" y="0"/>
                  </a:cubicBezTo>
                  <a:cubicBezTo>
                    <a:pt x="175" y="0"/>
                    <a:pt x="175" y="0"/>
                    <a:pt x="175" y="0"/>
                  </a:cubicBezTo>
                  <a:cubicBezTo>
                    <a:pt x="165" y="0"/>
                    <a:pt x="156" y="9"/>
                    <a:pt x="156" y="20"/>
                  </a:cubicBezTo>
                  <a:cubicBezTo>
                    <a:pt x="156" y="42"/>
                    <a:pt x="156" y="42"/>
                    <a:pt x="156" y="42"/>
                  </a:cubicBezTo>
                  <a:cubicBezTo>
                    <a:pt x="156" y="54"/>
                    <a:pt x="165" y="63"/>
                    <a:pt x="175" y="63"/>
                  </a:cubicBezTo>
                  <a:cubicBezTo>
                    <a:pt x="175" y="63"/>
                    <a:pt x="175" y="63"/>
                    <a:pt x="175" y="63"/>
                  </a:cubicBezTo>
                  <a:cubicBezTo>
                    <a:pt x="187" y="63"/>
                    <a:pt x="196" y="54"/>
                    <a:pt x="196" y="42"/>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15" name="Freeform 16">
              <a:extLst>
                <a:ext uri="{FF2B5EF4-FFF2-40B4-BE49-F238E27FC236}">
                  <a16:creationId xmlns:a16="http://schemas.microsoft.com/office/drawing/2014/main" id="{7598C943-7A24-4084-9FD8-19A067553CB2}"/>
                </a:ext>
              </a:extLst>
            </p:cNvPr>
            <p:cNvSpPr>
              <a:spLocks noEditPoints="1"/>
            </p:cNvSpPr>
            <p:nvPr/>
          </p:nvSpPr>
          <p:spPr bwMode="auto">
            <a:xfrm>
              <a:off x="5797" y="3278"/>
              <a:ext cx="146" cy="48"/>
            </a:xfrm>
            <a:custGeom>
              <a:avLst/>
              <a:gdLst>
                <a:gd name="T0" fmla="*/ 196 w 196"/>
                <a:gd name="T1" fmla="*/ 64 h 64"/>
                <a:gd name="T2" fmla="*/ 196 w 196"/>
                <a:gd name="T3" fmla="*/ 0 h 64"/>
                <a:gd name="T4" fmla="*/ 79 w 196"/>
                <a:gd name="T5" fmla="*/ 64 h 64"/>
                <a:gd name="T6" fmla="*/ 79 w 196"/>
                <a:gd name="T7" fmla="*/ 0 h 64"/>
                <a:gd name="T8" fmla="*/ 118 w 196"/>
                <a:gd name="T9" fmla="*/ 43 h 64"/>
                <a:gd name="T10" fmla="*/ 138 w 196"/>
                <a:gd name="T11" fmla="*/ 64 h 64"/>
                <a:gd name="T12" fmla="*/ 138 w 196"/>
                <a:gd name="T13" fmla="*/ 64 h 64"/>
                <a:gd name="T14" fmla="*/ 158 w 196"/>
                <a:gd name="T15" fmla="*/ 43 h 64"/>
                <a:gd name="T16" fmla="*/ 158 w 196"/>
                <a:gd name="T17" fmla="*/ 21 h 64"/>
                <a:gd name="T18" fmla="*/ 138 w 196"/>
                <a:gd name="T19" fmla="*/ 0 h 64"/>
                <a:gd name="T20" fmla="*/ 138 w 196"/>
                <a:gd name="T21" fmla="*/ 0 h 64"/>
                <a:gd name="T22" fmla="*/ 118 w 196"/>
                <a:gd name="T23" fmla="*/ 21 h 64"/>
                <a:gd name="T24" fmla="*/ 118 w 196"/>
                <a:gd name="T25" fmla="*/ 43 h 64"/>
                <a:gd name="T26" fmla="*/ 0 w 196"/>
                <a:gd name="T27" fmla="*/ 43 h 64"/>
                <a:gd name="T28" fmla="*/ 20 w 196"/>
                <a:gd name="T29" fmla="*/ 64 h 64"/>
                <a:gd name="T30" fmla="*/ 20 w 196"/>
                <a:gd name="T31" fmla="*/ 64 h 64"/>
                <a:gd name="T32" fmla="*/ 41 w 196"/>
                <a:gd name="T33" fmla="*/ 43 h 64"/>
                <a:gd name="T34" fmla="*/ 41 w 196"/>
                <a:gd name="T35" fmla="*/ 21 h 64"/>
                <a:gd name="T36" fmla="*/ 20 w 196"/>
                <a:gd name="T37" fmla="*/ 0 h 64"/>
                <a:gd name="T38" fmla="*/ 20 w 196"/>
                <a:gd name="T39" fmla="*/ 0 h 64"/>
                <a:gd name="T40" fmla="*/ 0 w 196"/>
                <a:gd name="T41" fmla="*/ 21 h 64"/>
                <a:gd name="T42" fmla="*/ 0 w 196"/>
                <a:gd name="T43"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4">
                  <a:moveTo>
                    <a:pt x="196" y="64"/>
                  </a:moveTo>
                  <a:cubicBezTo>
                    <a:pt x="196" y="64"/>
                    <a:pt x="196" y="64"/>
                    <a:pt x="196" y="0"/>
                  </a:cubicBezTo>
                  <a:moveTo>
                    <a:pt x="79" y="64"/>
                  </a:moveTo>
                  <a:cubicBezTo>
                    <a:pt x="79" y="64"/>
                    <a:pt x="79" y="64"/>
                    <a:pt x="79" y="0"/>
                  </a:cubicBezTo>
                  <a:moveTo>
                    <a:pt x="118" y="43"/>
                  </a:moveTo>
                  <a:cubicBezTo>
                    <a:pt x="118" y="54"/>
                    <a:pt x="127" y="64"/>
                    <a:pt x="138" y="64"/>
                  </a:cubicBezTo>
                  <a:cubicBezTo>
                    <a:pt x="138" y="64"/>
                    <a:pt x="138" y="64"/>
                    <a:pt x="138" y="64"/>
                  </a:cubicBezTo>
                  <a:cubicBezTo>
                    <a:pt x="149" y="64"/>
                    <a:pt x="158" y="54"/>
                    <a:pt x="158" y="43"/>
                  </a:cubicBezTo>
                  <a:cubicBezTo>
                    <a:pt x="158" y="43"/>
                    <a:pt x="158" y="43"/>
                    <a:pt x="158" y="21"/>
                  </a:cubicBezTo>
                  <a:cubicBezTo>
                    <a:pt x="158" y="9"/>
                    <a:pt x="149" y="0"/>
                    <a:pt x="138" y="0"/>
                  </a:cubicBezTo>
                  <a:cubicBezTo>
                    <a:pt x="138" y="0"/>
                    <a:pt x="138" y="0"/>
                    <a:pt x="138" y="0"/>
                  </a:cubicBezTo>
                  <a:cubicBezTo>
                    <a:pt x="127" y="0"/>
                    <a:pt x="118" y="9"/>
                    <a:pt x="118" y="21"/>
                  </a:cubicBezTo>
                  <a:cubicBezTo>
                    <a:pt x="118" y="21"/>
                    <a:pt x="118" y="21"/>
                    <a:pt x="118" y="43"/>
                  </a:cubicBezTo>
                  <a:close/>
                  <a:moveTo>
                    <a:pt x="0" y="43"/>
                  </a:moveTo>
                  <a:cubicBezTo>
                    <a:pt x="0" y="54"/>
                    <a:pt x="10" y="64"/>
                    <a:pt x="20" y="64"/>
                  </a:cubicBezTo>
                  <a:cubicBezTo>
                    <a:pt x="20" y="64"/>
                    <a:pt x="20" y="64"/>
                    <a:pt x="20" y="64"/>
                  </a:cubicBezTo>
                  <a:cubicBezTo>
                    <a:pt x="32" y="64"/>
                    <a:pt x="41" y="54"/>
                    <a:pt x="41" y="43"/>
                  </a:cubicBezTo>
                  <a:cubicBezTo>
                    <a:pt x="41" y="43"/>
                    <a:pt x="41" y="43"/>
                    <a:pt x="41" y="21"/>
                  </a:cubicBezTo>
                  <a:cubicBezTo>
                    <a:pt x="41" y="9"/>
                    <a:pt x="32" y="0"/>
                    <a:pt x="20" y="0"/>
                  </a:cubicBezTo>
                  <a:cubicBezTo>
                    <a:pt x="20" y="0"/>
                    <a:pt x="20" y="0"/>
                    <a:pt x="20" y="0"/>
                  </a:cubicBezTo>
                  <a:cubicBezTo>
                    <a:pt x="10" y="0"/>
                    <a:pt x="0" y="9"/>
                    <a:pt x="0" y="21"/>
                  </a:cubicBezTo>
                  <a:cubicBezTo>
                    <a:pt x="0" y="21"/>
                    <a:pt x="0" y="21"/>
                    <a:pt x="0" y="43"/>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94" name="Group 293">
            <a:extLst>
              <a:ext uri="{FF2B5EF4-FFF2-40B4-BE49-F238E27FC236}">
                <a16:creationId xmlns:a16="http://schemas.microsoft.com/office/drawing/2014/main" id="{C642A970-0DD7-4812-A299-4C963BFBAC11}"/>
              </a:ext>
            </a:extLst>
          </p:cNvPr>
          <p:cNvGrpSpPr/>
          <p:nvPr/>
        </p:nvGrpSpPr>
        <p:grpSpPr>
          <a:xfrm>
            <a:off x="5876874" y="1014413"/>
            <a:ext cx="397535" cy="250015"/>
            <a:chOff x="5955969" y="1176009"/>
            <a:chExt cx="285776" cy="179728"/>
          </a:xfrm>
          <a:noFill/>
        </p:grpSpPr>
        <p:sp>
          <p:nvSpPr>
            <p:cNvPr id="295" name="mobility">
              <a:extLst>
                <a:ext uri="{FF2B5EF4-FFF2-40B4-BE49-F238E27FC236}">
                  <a16:creationId xmlns:a16="http://schemas.microsoft.com/office/drawing/2014/main" id="{5F41EE6B-084B-4890-A313-AAECB2321AED}"/>
                </a:ext>
              </a:extLst>
            </p:cNvPr>
            <p:cNvSpPr>
              <a:spLocks noChangeAspect="1" noEditPoints="1"/>
            </p:cNvSpPr>
            <p:nvPr/>
          </p:nvSpPr>
          <p:spPr bwMode="auto">
            <a:xfrm>
              <a:off x="6066453" y="1176009"/>
              <a:ext cx="175292" cy="179728"/>
            </a:xfrm>
            <a:custGeom>
              <a:avLst/>
              <a:gdLst>
                <a:gd name="T0" fmla="*/ 152 w 237"/>
                <a:gd name="T1" fmla="*/ 141 h 243"/>
                <a:gd name="T2" fmla="*/ 0 w 237"/>
                <a:gd name="T3" fmla="*/ 141 h 243"/>
                <a:gd name="T4" fmla="*/ 0 w 237"/>
                <a:gd name="T5" fmla="*/ 0 h 243"/>
                <a:gd name="T6" fmla="*/ 188 w 237"/>
                <a:gd name="T7" fmla="*/ 0 h 243"/>
                <a:gd name="T8" fmla="*/ 188 w 237"/>
                <a:gd name="T9" fmla="*/ 102 h 243"/>
                <a:gd name="T10" fmla="*/ 90 w 237"/>
                <a:gd name="T11" fmla="*/ 116 h 243"/>
                <a:gd name="T12" fmla="*/ 102 w 237"/>
                <a:gd name="T13" fmla="*/ 116 h 243"/>
                <a:gd name="T14" fmla="*/ 152 w 237"/>
                <a:gd name="T15" fmla="*/ 120 h 243"/>
                <a:gd name="T16" fmla="*/ 237 w 237"/>
                <a:gd name="T17" fmla="*/ 120 h 243"/>
                <a:gd name="T18" fmla="*/ 152 w 237"/>
                <a:gd name="T19" fmla="*/ 205 h 243"/>
                <a:gd name="T20" fmla="*/ 237 w 237"/>
                <a:gd name="T21" fmla="*/ 205 h 243"/>
                <a:gd name="T22" fmla="*/ 189 w 237"/>
                <a:gd name="T23" fmla="*/ 225 h 243"/>
                <a:gd name="T24" fmla="*/ 200 w 237"/>
                <a:gd name="T25" fmla="*/ 225 h 243"/>
                <a:gd name="T26" fmla="*/ 237 w 237"/>
                <a:gd name="T27" fmla="*/ 170 h 243"/>
                <a:gd name="T28" fmla="*/ 237 w 237"/>
                <a:gd name="T29" fmla="*/ 102 h 243"/>
                <a:gd name="T30" fmla="*/ 152 w 237"/>
                <a:gd name="T31" fmla="*/ 102 h 243"/>
                <a:gd name="T32" fmla="*/ 152 w 237"/>
                <a:gd name="T33" fmla="*/ 243 h 243"/>
                <a:gd name="T34" fmla="*/ 237 w 237"/>
                <a:gd name="T35" fmla="*/ 243 h 243"/>
                <a:gd name="T36" fmla="*/ 237 w 237"/>
                <a:gd name="T37" fmla="*/ 17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243">
                  <a:moveTo>
                    <a:pt x="152" y="141"/>
                  </a:moveTo>
                  <a:lnTo>
                    <a:pt x="0" y="141"/>
                  </a:lnTo>
                  <a:lnTo>
                    <a:pt x="0" y="0"/>
                  </a:lnTo>
                  <a:lnTo>
                    <a:pt x="188" y="0"/>
                  </a:lnTo>
                  <a:lnTo>
                    <a:pt x="188" y="102"/>
                  </a:lnTo>
                  <a:moveTo>
                    <a:pt x="90" y="116"/>
                  </a:moveTo>
                  <a:lnTo>
                    <a:pt x="102" y="116"/>
                  </a:lnTo>
                  <a:moveTo>
                    <a:pt x="152" y="120"/>
                  </a:moveTo>
                  <a:lnTo>
                    <a:pt x="237" y="120"/>
                  </a:lnTo>
                  <a:moveTo>
                    <a:pt x="152" y="205"/>
                  </a:moveTo>
                  <a:lnTo>
                    <a:pt x="237" y="205"/>
                  </a:lnTo>
                  <a:moveTo>
                    <a:pt x="189" y="225"/>
                  </a:moveTo>
                  <a:lnTo>
                    <a:pt x="200" y="225"/>
                  </a:lnTo>
                  <a:moveTo>
                    <a:pt x="237" y="170"/>
                  </a:moveTo>
                  <a:lnTo>
                    <a:pt x="237" y="102"/>
                  </a:lnTo>
                  <a:lnTo>
                    <a:pt x="152" y="102"/>
                  </a:lnTo>
                  <a:lnTo>
                    <a:pt x="152" y="243"/>
                  </a:lnTo>
                  <a:lnTo>
                    <a:pt x="237" y="243"/>
                  </a:lnTo>
                  <a:lnTo>
                    <a:pt x="237" y="170"/>
                  </a:lnTo>
                </a:path>
              </a:pathLst>
            </a:custGeom>
            <a:grpFill/>
            <a:ln w="12700" cap="flat">
              <a:solidFill>
                <a:schemeClr val="bg1"/>
              </a:solid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6" name="Rectangle 295">
              <a:extLst>
                <a:ext uri="{FF2B5EF4-FFF2-40B4-BE49-F238E27FC236}">
                  <a16:creationId xmlns:a16="http://schemas.microsoft.com/office/drawing/2014/main" id="{A8EED192-531D-4492-ADEE-FACA2A52B7EA}"/>
                </a:ext>
              </a:extLst>
            </p:cNvPr>
            <p:cNvSpPr/>
            <p:nvPr/>
          </p:nvSpPr>
          <p:spPr bwMode="auto">
            <a:xfrm>
              <a:off x="6039077" y="1238860"/>
              <a:ext cx="74330" cy="68334"/>
            </a:xfrm>
            <a:prstGeom prst="rect">
              <a:avLst/>
            </a:prstGeom>
            <a:solidFill>
              <a:schemeClr val="bg2"/>
            </a:solidFill>
            <a:ln w="12700" cap="flat">
              <a:solidFill>
                <a:schemeClr val="bg1"/>
              </a:solid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297" name="laptop">
              <a:extLst>
                <a:ext uri="{FF2B5EF4-FFF2-40B4-BE49-F238E27FC236}">
                  <a16:creationId xmlns:a16="http://schemas.microsoft.com/office/drawing/2014/main" id="{C36D922D-3EEC-47CA-A251-7C64E3913712}"/>
                </a:ext>
              </a:extLst>
            </p:cNvPr>
            <p:cNvSpPr>
              <a:spLocks noChangeAspect="1" noEditPoints="1"/>
            </p:cNvSpPr>
            <p:nvPr/>
          </p:nvSpPr>
          <p:spPr bwMode="auto">
            <a:xfrm>
              <a:off x="5955969" y="1241246"/>
              <a:ext cx="190085" cy="113163"/>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grpFill/>
            <a:ln w="12700" cap="flat">
              <a:solidFill>
                <a:schemeClr val="bg1"/>
              </a:solid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293" name="car" title="Icon of a car">
            <a:extLst>
              <a:ext uri="{FF2B5EF4-FFF2-40B4-BE49-F238E27FC236}">
                <a16:creationId xmlns:a16="http://schemas.microsoft.com/office/drawing/2014/main" id="{09A837AE-80B4-4CD3-861E-F22E13C2D7F8}"/>
              </a:ext>
            </a:extLst>
          </p:cNvPr>
          <p:cNvSpPr>
            <a:spLocks noChangeAspect="1" noEditPoints="1"/>
          </p:cNvSpPr>
          <p:nvPr/>
        </p:nvSpPr>
        <p:spPr bwMode="auto">
          <a:xfrm>
            <a:off x="3974103" y="1651153"/>
            <a:ext cx="268882" cy="206040"/>
          </a:xfrm>
          <a:custGeom>
            <a:avLst/>
            <a:gdLst>
              <a:gd name="T0" fmla="*/ 349 w 360"/>
              <a:gd name="T1" fmla="*/ 148 h 276"/>
              <a:gd name="T2" fmla="*/ 349 w 360"/>
              <a:gd name="T3" fmla="*/ 252 h 276"/>
              <a:gd name="T4" fmla="*/ 14 w 360"/>
              <a:gd name="T5" fmla="*/ 252 h 276"/>
              <a:gd name="T6" fmla="*/ 14 w 360"/>
              <a:gd name="T7" fmla="*/ 149 h 276"/>
              <a:gd name="T8" fmla="*/ 51 w 360"/>
              <a:gd name="T9" fmla="*/ 43 h 276"/>
              <a:gd name="T10" fmla="*/ 94 w 360"/>
              <a:gd name="T11" fmla="*/ 0 h 276"/>
              <a:gd name="T12" fmla="*/ 268 w 360"/>
              <a:gd name="T13" fmla="*/ 0 h 276"/>
              <a:gd name="T14" fmla="*/ 311 w 360"/>
              <a:gd name="T15" fmla="*/ 43 h 276"/>
              <a:gd name="T16" fmla="*/ 349 w 360"/>
              <a:gd name="T17" fmla="*/ 148 h 276"/>
              <a:gd name="T18" fmla="*/ 77 w 360"/>
              <a:gd name="T19" fmla="*/ 174 h 276"/>
              <a:gd name="T20" fmla="*/ 91 w 360"/>
              <a:gd name="T21" fmla="*/ 160 h 276"/>
              <a:gd name="T22" fmla="*/ 77 w 360"/>
              <a:gd name="T23" fmla="*/ 145 h 276"/>
              <a:gd name="T24" fmla="*/ 63 w 360"/>
              <a:gd name="T25" fmla="*/ 160 h 276"/>
              <a:gd name="T26" fmla="*/ 77 w 360"/>
              <a:gd name="T27" fmla="*/ 174 h 276"/>
              <a:gd name="T28" fmla="*/ 14 w 360"/>
              <a:gd name="T29" fmla="*/ 252 h 276"/>
              <a:gd name="T30" fmla="*/ 14 w 360"/>
              <a:gd name="T31" fmla="*/ 260 h 276"/>
              <a:gd name="T32" fmla="*/ 30 w 360"/>
              <a:gd name="T33" fmla="*/ 276 h 276"/>
              <a:gd name="T34" fmla="*/ 50 w 360"/>
              <a:gd name="T35" fmla="*/ 276 h 276"/>
              <a:gd name="T36" fmla="*/ 67 w 360"/>
              <a:gd name="T37" fmla="*/ 260 h 276"/>
              <a:gd name="T38" fmla="*/ 67 w 360"/>
              <a:gd name="T39" fmla="*/ 252 h 276"/>
              <a:gd name="T40" fmla="*/ 295 w 360"/>
              <a:gd name="T41" fmla="*/ 252 h 276"/>
              <a:gd name="T42" fmla="*/ 295 w 360"/>
              <a:gd name="T43" fmla="*/ 260 h 276"/>
              <a:gd name="T44" fmla="*/ 312 w 360"/>
              <a:gd name="T45" fmla="*/ 276 h 276"/>
              <a:gd name="T46" fmla="*/ 332 w 360"/>
              <a:gd name="T47" fmla="*/ 276 h 276"/>
              <a:gd name="T48" fmla="*/ 349 w 360"/>
              <a:gd name="T49" fmla="*/ 260 h 276"/>
              <a:gd name="T50" fmla="*/ 349 w 360"/>
              <a:gd name="T51" fmla="*/ 252 h 276"/>
              <a:gd name="T52" fmla="*/ 283 w 360"/>
              <a:gd name="T53" fmla="*/ 174 h 276"/>
              <a:gd name="T54" fmla="*/ 297 w 360"/>
              <a:gd name="T55" fmla="*/ 160 h 276"/>
              <a:gd name="T56" fmla="*/ 283 w 360"/>
              <a:gd name="T57" fmla="*/ 145 h 276"/>
              <a:gd name="T58" fmla="*/ 268 w 360"/>
              <a:gd name="T59" fmla="*/ 160 h 276"/>
              <a:gd name="T60" fmla="*/ 283 w 360"/>
              <a:gd name="T61" fmla="*/ 174 h 276"/>
              <a:gd name="T62" fmla="*/ 245 w 360"/>
              <a:gd name="T63" fmla="*/ 252 h 276"/>
              <a:gd name="T64" fmla="*/ 245 w 360"/>
              <a:gd name="T65" fmla="*/ 222 h 276"/>
              <a:gd name="T66" fmla="*/ 229 w 360"/>
              <a:gd name="T67" fmla="*/ 197 h 276"/>
              <a:gd name="T68" fmla="*/ 133 w 360"/>
              <a:gd name="T69" fmla="*/ 197 h 276"/>
              <a:gd name="T70" fmla="*/ 117 w 360"/>
              <a:gd name="T71" fmla="*/ 222 h 276"/>
              <a:gd name="T72" fmla="*/ 117 w 360"/>
              <a:gd name="T73" fmla="*/ 252 h 276"/>
              <a:gd name="T74" fmla="*/ 0 w 360"/>
              <a:gd name="T75" fmla="*/ 75 h 276"/>
              <a:gd name="T76" fmla="*/ 16 w 360"/>
              <a:gd name="T77" fmla="*/ 75 h 276"/>
              <a:gd name="T78" fmla="*/ 32 w 360"/>
              <a:gd name="T79" fmla="*/ 96 h 276"/>
              <a:gd name="T80" fmla="*/ 330 w 360"/>
              <a:gd name="T81" fmla="*/ 96 h 276"/>
              <a:gd name="T82" fmla="*/ 345 w 360"/>
              <a:gd name="T83" fmla="*/ 75 h 276"/>
              <a:gd name="T84" fmla="*/ 360 w 360"/>
              <a:gd name="T85" fmla="*/ 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276">
                <a:moveTo>
                  <a:pt x="349" y="148"/>
                </a:moveTo>
                <a:cubicBezTo>
                  <a:pt x="349" y="252"/>
                  <a:pt x="349" y="252"/>
                  <a:pt x="349" y="252"/>
                </a:cubicBezTo>
                <a:cubicBezTo>
                  <a:pt x="14" y="252"/>
                  <a:pt x="14" y="252"/>
                  <a:pt x="14" y="252"/>
                </a:cubicBezTo>
                <a:cubicBezTo>
                  <a:pt x="14" y="149"/>
                  <a:pt x="14" y="149"/>
                  <a:pt x="14" y="149"/>
                </a:cubicBezTo>
                <a:cubicBezTo>
                  <a:pt x="51" y="43"/>
                  <a:pt x="51" y="43"/>
                  <a:pt x="51" y="43"/>
                </a:cubicBezTo>
                <a:cubicBezTo>
                  <a:pt x="59" y="19"/>
                  <a:pt x="70" y="0"/>
                  <a:pt x="94" y="0"/>
                </a:cubicBezTo>
                <a:cubicBezTo>
                  <a:pt x="268" y="0"/>
                  <a:pt x="268" y="0"/>
                  <a:pt x="268" y="0"/>
                </a:cubicBezTo>
                <a:cubicBezTo>
                  <a:pt x="292" y="0"/>
                  <a:pt x="304" y="19"/>
                  <a:pt x="311" y="43"/>
                </a:cubicBezTo>
                <a:lnTo>
                  <a:pt x="349" y="148"/>
                </a:lnTo>
                <a:close/>
                <a:moveTo>
                  <a:pt x="77" y="174"/>
                </a:moveTo>
                <a:cubicBezTo>
                  <a:pt x="85" y="174"/>
                  <a:pt x="91" y="167"/>
                  <a:pt x="91" y="160"/>
                </a:cubicBezTo>
                <a:cubicBezTo>
                  <a:pt x="91" y="152"/>
                  <a:pt x="85" y="145"/>
                  <a:pt x="77" y="145"/>
                </a:cubicBezTo>
                <a:cubicBezTo>
                  <a:pt x="69" y="145"/>
                  <a:pt x="63" y="152"/>
                  <a:pt x="63" y="160"/>
                </a:cubicBezTo>
                <a:cubicBezTo>
                  <a:pt x="63" y="167"/>
                  <a:pt x="69" y="174"/>
                  <a:pt x="77" y="174"/>
                </a:cubicBezTo>
                <a:close/>
                <a:moveTo>
                  <a:pt x="14" y="252"/>
                </a:moveTo>
                <a:cubicBezTo>
                  <a:pt x="14" y="260"/>
                  <a:pt x="14" y="260"/>
                  <a:pt x="14" y="260"/>
                </a:cubicBezTo>
                <a:cubicBezTo>
                  <a:pt x="14" y="269"/>
                  <a:pt x="21" y="276"/>
                  <a:pt x="30" y="276"/>
                </a:cubicBezTo>
                <a:cubicBezTo>
                  <a:pt x="50" y="276"/>
                  <a:pt x="50" y="276"/>
                  <a:pt x="50" y="276"/>
                </a:cubicBezTo>
                <a:cubicBezTo>
                  <a:pt x="59" y="276"/>
                  <a:pt x="67" y="269"/>
                  <a:pt x="67" y="260"/>
                </a:cubicBezTo>
                <a:cubicBezTo>
                  <a:pt x="67" y="252"/>
                  <a:pt x="67" y="252"/>
                  <a:pt x="67" y="252"/>
                </a:cubicBezTo>
                <a:moveTo>
                  <a:pt x="295" y="252"/>
                </a:moveTo>
                <a:cubicBezTo>
                  <a:pt x="295" y="260"/>
                  <a:pt x="295" y="260"/>
                  <a:pt x="295" y="260"/>
                </a:cubicBezTo>
                <a:cubicBezTo>
                  <a:pt x="295" y="269"/>
                  <a:pt x="303" y="276"/>
                  <a:pt x="312" y="276"/>
                </a:cubicBezTo>
                <a:cubicBezTo>
                  <a:pt x="332" y="276"/>
                  <a:pt x="332" y="276"/>
                  <a:pt x="332" y="276"/>
                </a:cubicBezTo>
                <a:cubicBezTo>
                  <a:pt x="341" y="276"/>
                  <a:pt x="349" y="269"/>
                  <a:pt x="349" y="260"/>
                </a:cubicBezTo>
                <a:cubicBezTo>
                  <a:pt x="349" y="252"/>
                  <a:pt x="349" y="252"/>
                  <a:pt x="349" y="252"/>
                </a:cubicBezTo>
                <a:moveTo>
                  <a:pt x="283" y="174"/>
                </a:moveTo>
                <a:cubicBezTo>
                  <a:pt x="290" y="174"/>
                  <a:pt x="297" y="167"/>
                  <a:pt x="297" y="160"/>
                </a:cubicBezTo>
                <a:cubicBezTo>
                  <a:pt x="297" y="152"/>
                  <a:pt x="290" y="145"/>
                  <a:pt x="283" y="145"/>
                </a:cubicBezTo>
                <a:cubicBezTo>
                  <a:pt x="275" y="145"/>
                  <a:pt x="268" y="152"/>
                  <a:pt x="268" y="160"/>
                </a:cubicBezTo>
                <a:cubicBezTo>
                  <a:pt x="268" y="167"/>
                  <a:pt x="275" y="174"/>
                  <a:pt x="283" y="174"/>
                </a:cubicBezTo>
                <a:close/>
                <a:moveTo>
                  <a:pt x="245" y="252"/>
                </a:moveTo>
                <a:cubicBezTo>
                  <a:pt x="245" y="222"/>
                  <a:pt x="245" y="222"/>
                  <a:pt x="245" y="222"/>
                </a:cubicBezTo>
                <a:cubicBezTo>
                  <a:pt x="229" y="197"/>
                  <a:pt x="229" y="197"/>
                  <a:pt x="229" y="197"/>
                </a:cubicBezTo>
                <a:cubicBezTo>
                  <a:pt x="133" y="197"/>
                  <a:pt x="133" y="197"/>
                  <a:pt x="133" y="197"/>
                </a:cubicBezTo>
                <a:cubicBezTo>
                  <a:pt x="117" y="222"/>
                  <a:pt x="117" y="222"/>
                  <a:pt x="117" y="222"/>
                </a:cubicBezTo>
                <a:cubicBezTo>
                  <a:pt x="117" y="252"/>
                  <a:pt x="117" y="252"/>
                  <a:pt x="117" y="252"/>
                </a:cubicBezTo>
                <a:moveTo>
                  <a:pt x="0" y="75"/>
                </a:moveTo>
                <a:cubicBezTo>
                  <a:pt x="16" y="75"/>
                  <a:pt x="16" y="75"/>
                  <a:pt x="16" y="75"/>
                </a:cubicBezTo>
                <a:cubicBezTo>
                  <a:pt x="32" y="96"/>
                  <a:pt x="32" y="96"/>
                  <a:pt x="32" y="96"/>
                </a:cubicBezTo>
                <a:cubicBezTo>
                  <a:pt x="330" y="96"/>
                  <a:pt x="330" y="96"/>
                  <a:pt x="330" y="96"/>
                </a:cubicBezTo>
                <a:cubicBezTo>
                  <a:pt x="345" y="75"/>
                  <a:pt x="345" y="75"/>
                  <a:pt x="345" y="75"/>
                </a:cubicBezTo>
                <a:cubicBezTo>
                  <a:pt x="360" y="75"/>
                  <a:pt x="360" y="75"/>
                  <a:pt x="360" y="75"/>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6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16" name="eye_2">
            <a:extLst>
              <a:ext uri="{FF2B5EF4-FFF2-40B4-BE49-F238E27FC236}">
                <a16:creationId xmlns:a16="http://schemas.microsoft.com/office/drawing/2014/main" id="{E44B6D1F-05CC-4590-B5E5-0C209E70DE0A}"/>
              </a:ext>
            </a:extLst>
          </p:cNvPr>
          <p:cNvSpPr>
            <a:spLocks noChangeAspect="1" noEditPoints="1"/>
          </p:cNvSpPr>
          <p:nvPr/>
        </p:nvSpPr>
        <p:spPr bwMode="auto">
          <a:xfrm>
            <a:off x="7754906" y="2305487"/>
            <a:ext cx="271201" cy="150476"/>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2700" cap="flat">
            <a:solidFill>
              <a:schemeClr val="bg1"/>
            </a:solid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6" name="Oval 275">
            <a:extLst>
              <a:ext uri="{FF2B5EF4-FFF2-40B4-BE49-F238E27FC236}">
                <a16:creationId xmlns:a16="http://schemas.microsoft.com/office/drawing/2014/main" id="{B75DEA73-F3D8-4DCA-B557-92C39B6F2F9C}"/>
              </a:ext>
            </a:extLst>
          </p:cNvPr>
          <p:cNvSpPr/>
          <p:nvPr/>
        </p:nvSpPr>
        <p:spPr bwMode="auto">
          <a:xfrm>
            <a:off x="4130183" y="1161844"/>
            <a:ext cx="3929873" cy="3929873"/>
          </a:xfrm>
          <a:prstGeom prst="ellipse">
            <a:avLst/>
          </a:prstGeom>
          <a:ln>
            <a:solidFill>
              <a:schemeClr val="tx1"/>
            </a:solidFill>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7" name="Freeform 5">
            <a:extLst>
              <a:ext uri="{FF2B5EF4-FFF2-40B4-BE49-F238E27FC236}">
                <a16:creationId xmlns:a16="http://schemas.microsoft.com/office/drawing/2014/main" id="{05EC8C74-410C-4A6E-AF6E-6C2541C9031E}"/>
              </a:ext>
            </a:extLst>
          </p:cNvPr>
          <p:cNvSpPr>
            <a:spLocks/>
          </p:cNvSpPr>
          <p:nvPr/>
        </p:nvSpPr>
        <p:spPr bwMode="auto">
          <a:xfrm>
            <a:off x="3721444" y="750216"/>
            <a:ext cx="4746984" cy="4754522"/>
          </a:xfrm>
          <a:custGeom>
            <a:avLst/>
            <a:gdLst>
              <a:gd name="T0" fmla="*/ 150 w 1259"/>
              <a:gd name="T1" fmla="*/ 428 h 1261"/>
              <a:gd name="T2" fmla="*/ 105 w 1259"/>
              <a:gd name="T3" fmla="*/ 262 h 1261"/>
              <a:gd name="T4" fmla="*/ 261 w 1259"/>
              <a:gd name="T5" fmla="*/ 263 h 1261"/>
              <a:gd name="T6" fmla="*/ 281 w 1259"/>
              <a:gd name="T7" fmla="*/ 94 h 1261"/>
              <a:gd name="T8" fmla="*/ 434 w 1259"/>
              <a:gd name="T9" fmla="*/ 148 h 1261"/>
              <a:gd name="T10" fmla="*/ 519 w 1259"/>
              <a:gd name="T11" fmla="*/ 0 h 1261"/>
              <a:gd name="T12" fmla="*/ 630 w 1259"/>
              <a:gd name="T13" fmla="*/ 111 h 1261"/>
              <a:gd name="T14" fmla="*/ 762 w 1259"/>
              <a:gd name="T15" fmla="*/ 2 h 1261"/>
              <a:gd name="T16" fmla="*/ 825 w 1259"/>
              <a:gd name="T17" fmla="*/ 149 h 1261"/>
              <a:gd name="T18" fmla="*/ 987 w 1259"/>
              <a:gd name="T19" fmla="*/ 99 h 1261"/>
              <a:gd name="T20" fmla="*/ 999 w 1259"/>
              <a:gd name="T21" fmla="*/ 262 h 1261"/>
              <a:gd name="T22" fmla="*/ 1167 w 1259"/>
              <a:gd name="T23" fmla="*/ 282 h 1261"/>
              <a:gd name="T24" fmla="*/ 1109 w 1259"/>
              <a:gd name="T25" fmla="*/ 428 h 1261"/>
              <a:gd name="T26" fmla="*/ 1259 w 1259"/>
              <a:gd name="T27" fmla="*/ 507 h 1261"/>
              <a:gd name="T28" fmla="*/ 1150 w 1259"/>
              <a:gd name="T29" fmla="*/ 630 h 1261"/>
              <a:gd name="T30" fmla="*/ 1256 w 1259"/>
              <a:gd name="T31" fmla="*/ 764 h 1261"/>
              <a:gd name="T32" fmla="*/ 1109 w 1259"/>
              <a:gd name="T33" fmla="*/ 834 h 1261"/>
              <a:gd name="T34" fmla="*/ 1155 w 1259"/>
              <a:gd name="T35" fmla="*/ 996 h 1261"/>
              <a:gd name="T36" fmla="*/ 997 w 1259"/>
              <a:gd name="T37" fmla="*/ 999 h 1261"/>
              <a:gd name="T38" fmla="*/ 979 w 1259"/>
              <a:gd name="T39" fmla="*/ 1168 h 1261"/>
              <a:gd name="T40" fmla="*/ 824 w 1259"/>
              <a:gd name="T41" fmla="*/ 1112 h 1261"/>
              <a:gd name="T42" fmla="*/ 742 w 1259"/>
              <a:gd name="T43" fmla="*/ 1261 h 1261"/>
              <a:gd name="T44" fmla="*/ 629 w 1259"/>
              <a:gd name="T45" fmla="*/ 1150 h 1261"/>
              <a:gd name="T46" fmla="*/ 495 w 1259"/>
              <a:gd name="T47" fmla="*/ 1257 h 1261"/>
              <a:gd name="T48" fmla="*/ 433 w 1259"/>
              <a:gd name="T49" fmla="*/ 1110 h 1261"/>
              <a:gd name="T50" fmla="*/ 272 w 1259"/>
              <a:gd name="T51" fmla="*/ 1162 h 1261"/>
              <a:gd name="T52" fmla="*/ 261 w 1259"/>
              <a:gd name="T53" fmla="*/ 996 h 1261"/>
              <a:gd name="T54" fmla="*/ 92 w 1259"/>
              <a:gd name="T55" fmla="*/ 978 h 1261"/>
              <a:gd name="T56" fmla="*/ 151 w 1259"/>
              <a:gd name="T57" fmla="*/ 833 h 1261"/>
              <a:gd name="T58" fmla="*/ 0 w 1259"/>
              <a:gd name="T59" fmla="*/ 753 h 1261"/>
              <a:gd name="T60" fmla="*/ 110 w 1259"/>
              <a:gd name="T61" fmla="*/ 629 h 1261"/>
              <a:gd name="T62" fmla="*/ 4 w 1259"/>
              <a:gd name="T63" fmla="*/ 497 h 1261"/>
              <a:gd name="T64" fmla="*/ 150 w 1259"/>
              <a:gd name="T65" fmla="*/ 428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59" h="1261">
                <a:moveTo>
                  <a:pt x="150" y="428"/>
                </a:moveTo>
                <a:lnTo>
                  <a:pt x="105" y="262"/>
                </a:lnTo>
                <a:lnTo>
                  <a:pt x="261" y="263"/>
                </a:lnTo>
                <a:lnTo>
                  <a:pt x="281" y="94"/>
                </a:lnTo>
                <a:lnTo>
                  <a:pt x="434" y="148"/>
                </a:lnTo>
                <a:lnTo>
                  <a:pt x="519" y="0"/>
                </a:lnTo>
                <a:lnTo>
                  <a:pt x="630" y="111"/>
                </a:lnTo>
                <a:lnTo>
                  <a:pt x="762" y="2"/>
                </a:lnTo>
                <a:lnTo>
                  <a:pt x="825" y="149"/>
                </a:lnTo>
                <a:lnTo>
                  <a:pt x="987" y="99"/>
                </a:lnTo>
                <a:lnTo>
                  <a:pt x="999" y="262"/>
                </a:lnTo>
                <a:lnTo>
                  <a:pt x="1167" y="282"/>
                </a:lnTo>
                <a:lnTo>
                  <a:pt x="1109" y="428"/>
                </a:lnTo>
                <a:lnTo>
                  <a:pt x="1259" y="507"/>
                </a:lnTo>
                <a:lnTo>
                  <a:pt x="1150" y="630"/>
                </a:lnTo>
                <a:lnTo>
                  <a:pt x="1256" y="764"/>
                </a:lnTo>
                <a:lnTo>
                  <a:pt x="1109" y="834"/>
                </a:lnTo>
                <a:lnTo>
                  <a:pt x="1155" y="996"/>
                </a:lnTo>
                <a:lnTo>
                  <a:pt x="997" y="999"/>
                </a:lnTo>
                <a:lnTo>
                  <a:pt x="979" y="1168"/>
                </a:lnTo>
                <a:lnTo>
                  <a:pt x="824" y="1112"/>
                </a:lnTo>
                <a:lnTo>
                  <a:pt x="742" y="1261"/>
                </a:lnTo>
                <a:lnTo>
                  <a:pt x="629" y="1150"/>
                </a:lnTo>
                <a:lnTo>
                  <a:pt x="495" y="1257"/>
                </a:lnTo>
                <a:lnTo>
                  <a:pt x="433" y="1110"/>
                </a:lnTo>
                <a:lnTo>
                  <a:pt x="272" y="1162"/>
                </a:lnTo>
                <a:lnTo>
                  <a:pt x="261" y="996"/>
                </a:lnTo>
                <a:lnTo>
                  <a:pt x="92" y="978"/>
                </a:lnTo>
                <a:lnTo>
                  <a:pt x="151" y="833"/>
                </a:lnTo>
                <a:lnTo>
                  <a:pt x="0" y="753"/>
                </a:lnTo>
                <a:lnTo>
                  <a:pt x="110" y="629"/>
                </a:lnTo>
                <a:lnTo>
                  <a:pt x="4" y="497"/>
                </a:lnTo>
                <a:lnTo>
                  <a:pt x="150" y="428"/>
                </a:lnTo>
                <a:close/>
              </a:path>
            </a:pathLst>
          </a:custGeom>
          <a:ln>
            <a:solidFill>
              <a:schemeClr val="tx1"/>
            </a:solidFill>
            <a:headEnd type="none" w="sm" len="sm"/>
            <a:tailEnd type="triangle" w="sm" len="sm"/>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9" name="Oval 138">
            <a:extLst>
              <a:ext uri="{FF2B5EF4-FFF2-40B4-BE49-F238E27FC236}">
                <a16:creationId xmlns:a16="http://schemas.microsoft.com/office/drawing/2014/main" id="{C872AF2C-8AFE-4533-A2A4-A9BE23BFBFFC}"/>
              </a:ext>
            </a:extLst>
          </p:cNvPr>
          <p:cNvSpPr/>
          <p:nvPr/>
        </p:nvSpPr>
        <p:spPr bwMode="auto">
          <a:xfrm>
            <a:off x="3677087" y="709629"/>
            <a:ext cx="4834305" cy="4834304"/>
          </a:xfrm>
          <a:prstGeom prst="ellipse">
            <a:avLst/>
          </a:prstGeom>
          <a:ln>
            <a:solidFill>
              <a:schemeClr val="tx1"/>
            </a:solidFill>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72" name="Oval 271">
            <a:extLst>
              <a:ext uri="{FF2B5EF4-FFF2-40B4-BE49-F238E27FC236}">
                <a16:creationId xmlns:a16="http://schemas.microsoft.com/office/drawing/2014/main" id="{5A16C9F5-4338-4CAD-9253-5CDB717D7F29}"/>
              </a:ext>
            </a:extLst>
          </p:cNvPr>
          <p:cNvSpPr/>
          <p:nvPr/>
        </p:nvSpPr>
        <p:spPr bwMode="auto">
          <a:xfrm rot="21000000" flipH="1">
            <a:off x="6284753" y="5277842"/>
            <a:ext cx="458367" cy="458367"/>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273" name="Fingerprint_E928">
            <a:extLst>
              <a:ext uri="{FF2B5EF4-FFF2-40B4-BE49-F238E27FC236}">
                <a16:creationId xmlns:a16="http://schemas.microsoft.com/office/drawing/2014/main" id="{68C4D046-0B59-4DD3-AA64-3DB26BBD3D9F}"/>
              </a:ext>
            </a:extLst>
          </p:cNvPr>
          <p:cNvSpPr>
            <a:spLocks noChangeAspect="1" noEditPoints="1"/>
          </p:cNvSpPr>
          <p:nvPr/>
        </p:nvSpPr>
        <p:spPr bwMode="auto">
          <a:xfrm>
            <a:off x="6407001" y="5363212"/>
            <a:ext cx="213878" cy="287626"/>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70" name="Oval 269">
            <a:extLst>
              <a:ext uri="{FF2B5EF4-FFF2-40B4-BE49-F238E27FC236}">
                <a16:creationId xmlns:a16="http://schemas.microsoft.com/office/drawing/2014/main" id="{406445A6-3319-4E5E-8656-E5F8163FE6F5}"/>
              </a:ext>
            </a:extLst>
          </p:cNvPr>
          <p:cNvSpPr/>
          <p:nvPr/>
        </p:nvSpPr>
        <p:spPr bwMode="auto">
          <a:xfrm rot="21000000" flipH="1">
            <a:off x="5445354" y="517355"/>
            <a:ext cx="458367" cy="458367"/>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271" name="key">
            <a:extLst>
              <a:ext uri="{FF2B5EF4-FFF2-40B4-BE49-F238E27FC236}">
                <a16:creationId xmlns:a16="http://schemas.microsoft.com/office/drawing/2014/main" id="{548421F3-39C3-44D0-A6E4-93B17B47A84F}"/>
              </a:ext>
            </a:extLst>
          </p:cNvPr>
          <p:cNvSpPr>
            <a:spLocks noChangeAspect="1" noEditPoints="1"/>
          </p:cNvSpPr>
          <p:nvPr/>
        </p:nvSpPr>
        <p:spPr bwMode="auto">
          <a:xfrm>
            <a:off x="5545252" y="617916"/>
            <a:ext cx="258571" cy="257244"/>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68" name="Oval 267">
            <a:extLst>
              <a:ext uri="{FF2B5EF4-FFF2-40B4-BE49-F238E27FC236}">
                <a16:creationId xmlns:a16="http://schemas.microsoft.com/office/drawing/2014/main" id="{80E4A367-1223-49CE-A636-E52BD23AECC0}"/>
              </a:ext>
            </a:extLst>
          </p:cNvPr>
          <p:cNvSpPr/>
          <p:nvPr/>
        </p:nvSpPr>
        <p:spPr bwMode="auto">
          <a:xfrm rot="19620000" flipH="1">
            <a:off x="4548683" y="870563"/>
            <a:ext cx="458367" cy="458367"/>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269" name="Temperature_med">
            <a:extLst>
              <a:ext uri="{FF2B5EF4-FFF2-40B4-BE49-F238E27FC236}">
                <a16:creationId xmlns:a16="http://schemas.microsoft.com/office/drawing/2014/main" id="{78D71E4E-9F88-4B30-B9BB-0736FA12BAA6}"/>
              </a:ext>
            </a:extLst>
          </p:cNvPr>
          <p:cNvSpPr>
            <a:spLocks noChangeAspect="1" noEditPoints="1"/>
          </p:cNvSpPr>
          <p:nvPr/>
        </p:nvSpPr>
        <p:spPr bwMode="auto">
          <a:xfrm>
            <a:off x="4714946" y="942407"/>
            <a:ext cx="125843" cy="314678"/>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137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1371"/>
                </a:moveTo>
                <a:cubicBezTo>
                  <a:pt x="748" y="2716"/>
                  <a:pt x="748" y="2716"/>
                  <a:pt x="748" y="2716"/>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66" name="Oval 265">
            <a:extLst>
              <a:ext uri="{FF2B5EF4-FFF2-40B4-BE49-F238E27FC236}">
                <a16:creationId xmlns:a16="http://schemas.microsoft.com/office/drawing/2014/main" id="{7756272C-C78B-4751-A7BE-F4AAE22DFF01}"/>
              </a:ext>
            </a:extLst>
          </p:cNvPr>
          <p:cNvSpPr/>
          <p:nvPr/>
        </p:nvSpPr>
        <p:spPr bwMode="auto">
          <a:xfrm rot="18300000" flipH="1">
            <a:off x="3885195" y="1511285"/>
            <a:ext cx="458367" cy="458367"/>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267" name="News_E900">
            <a:extLst>
              <a:ext uri="{FF2B5EF4-FFF2-40B4-BE49-F238E27FC236}">
                <a16:creationId xmlns:a16="http://schemas.microsoft.com/office/drawing/2014/main" id="{29763E0A-94A3-4E24-B077-78FB99114B82}"/>
              </a:ext>
            </a:extLst>
          </p:cNvPr>
          <p:cNvSpPr>
            <a:spLocks noChangeAspect="1" noEditPoints="1"/>
          </p:cNvSpPr>
          <p:nvPr/>
        </p:nvSpPr>
        <p:spPr bwMode="auto">
          <a:xfrm>
            <a:off x="3970122" y="1644178"/>
            <a:ext cx="288514" cy="192583"/>
          </a:xfrm>
          <a:custGeom>
            <a:avLst/>
            <a:gdLst>
              <a:gd name="T0" fmla="*/ 3240 w 3738"/>
              <a:gd name="T1" fmla="*/ 0 h 2493"/>
              <a:gd name="T2" fmla="*/ 3240 w 3738"/>
              <a:gd name="T3" fmla="*/ 499 h 2493"/>
              <a:gd name="T4" fmla="*/ 3738 w 3738"/>
              <a:gd name="T5" fmla="*/ 499 h 2493"/>
              <a:gd name="T6" fmla="*/ 3738 w 3738"/>
              <a:gd name="T7" fmla="*/ 2119 h 2493"/>
              <a:gd name="T8" fmla="*/ 3365 w 3738"/>
              <a:gd name="T9" fmla="*/ 2493 h 2493"/>
              <a:gd name="T10" fmla="*/ 361 w 3738"/>
              <a:gd name="T11" fmla="*/ 2493 h 2493"/>
              <a:gd name="T12" fmla="*/ 0 w 3738"/>
              <a:gd name="T13" fmla="*/ 2132 h 2493"/>
              <a:gd name="T14" fmla="*/ 0 w 3738"/>
              <a:gd name="T15" fmla="*/ 0 h 2493"/>
              <a:gd name="T16" fmla="*/ 3240 w 3738"/>
              <a:gd name="T17" fmla="*/ 0 h 2493"/>
              <a:gd name="T18" fmla="*/ 3240 w 3738"/>
              <a:gd name="T19" fmla="*/ 499 h 2493"/>
              <a:gd name="T20" fmla="*/ 3240 w 3738"/>
              <a:gd name="T21" fmla="*/ 1994 h 2493"/>
              <a:gd name="T22" fmla="*/ 2866 w 3738"/>
              <a:gd name="T23" fmla="*/ 499 h 2493"/>
              <a:gd name="T24" fmla="*/ 374 w 3738"/>
              <a:gd name="T25" fmla="*/ 499 h 2493"/>
              <a:gd name="T26" fmla="*/ 2866 w 3738"/>
              <a:gd name="T27" fmla="*/ 1994 h 2493"/>
              <a:gd name="T28" fmla="*/ 1869 w 3738"/>
              <a:gd name="T29" fmla="*/ 1994 h 2493"/>
              <a:gd name="T30" fmla="*/ 2866 w 3738"/>
              <a:gd name="T31" fmla="*/ 1496 h 2493"/>
              <a:gd name="T32" fmla="*/ 1869 w 3738"/>
              <a:gd name="T33" fmla="*/ 1496 h 2493"/>
              <a:gd name="T34" fmla="*/ 2866 w 3738"/>
              <a:gd name="T35" fmla="*/ 997 h 2493"/>
              <a:gd name="T36" fmla="*/ 1869 w 3738"/>
              <a:gd name="T37" fmla="*/ 997 h 2493"/>
              <a:gd name="T38" fmla="*/ 498 w 3738"/>
              <a:gd name="T39" fmla="*/ 1994 h 2493"/>
              <a:gd name="T40" fmla="*/ 1495 w 3738"/>
              <a:gd name="T41" fmla="*/ 1994 h 2493"/>
              <a:gd name="T42" fmla="*/ 1495 w 3738"/>
              <a:gd name="T43" fmla="*/ 992 h 2493"/>
              <a:gd name="T44" fmla="*/ 498 w 3738"/>
              <a:gd name="T45" fmla="*/ 992 h 2493"/>
              <a:gd name="T46" fmla="*/ 498 w 3738"/>
              <a:gd name="T47" fmla="*/ 1994 h 2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38" h="2493">
                <a:moveTo>
                  <a:pt x="3240" y="0"/>
                </a:moveTo>
                <a:cubicBezTo>
                  <a:pt x="3240" y="499"/>
                  <a:pt x="3240" y="499"/>
                  <a:pt x="3240" y="499"/>
                </a:cubicBezTo>
                <a:cubicBezTo>
                  <a:pt x="3738" y="499"/>
                  <a:pt x="3738" y="499"/>
                  <a:pt x="3738" y="499"/>
                </a:cubicBezTo>
                <a:cubicBezTo>
                  <a:pt x="3738" y="2119"/>
                  <a:pt x="3738" y="2119"/>
                  <a:pt x="3738" y="2119"/>
                </a:cubicBezTo>
                <a:cubicBezTo>
                  <a:pt x="3738" y="2325"/>
                  <a:pt x="3571" y="2493"/>
                  <a:pt x="3365" y="2493"/>
                </a:cubicBezTo>
                <a:cubicBezTo>
                  <a:pt x="361" y="2493"/>
                  <a:pt x="361" y="2493"/>
                  <a:pt x="361" y="2493"/>
                </a:cubicBezTo>
                <a:cubicBezTo>
                  <a:pt x="161" y="2493"/>
                  <a:pt x="0" y="2331"/>
                  <a:pt x="0" y="2132"/>
                </a:cubicBezTo>
                <a:cubicBezTo>
                  <a:pt x="0" y="0"/>
                  <a:pt x="0" y="0"/>
                  <a:pt x="0" y="0"/>
                </a:cubicBezTo>
                <a:lnTo>
                  <a:pt x="3240" y="0"/>
                </a:lnTo>
                <a:close/>
                <a:moveTo>
                  <a:pt x="3240" y="499"/>
                </a:moveTo>
                <a:cubicBezTo>
                  <a:pt x="3240" y="1994"/>
                  <a:pt x="3240" y="1994"/>
                  <a:pt x="3240" y="1994"/>
                </a:cubicBezTo>
                <a:moveTo>
                  <a:pt x="2866" y="499"/>
                </a:moveTo>
                <a:cubicBezTo>
                  <a:pt x="374" y="499"/>
                  <a:pt x="374" y="499"/>
                  <a:pt x="374" y="499"/>
                </a:cubicBezTo>
                <a:moveTo>
                  <a:pt x="2866" y="1994"/>
                </a:moveTo>
                <a:cubicBezTo>
                  <a:pt x="1869" y="1994"/>
                  <a:pt x="1869" y="1994"/>
                  <a:pt x="1869" y="1994"/>
                </a:cubicBezTo>
                <a:moveTo>
                  <a:pt x="2866" y="1496"/>
                </a:moveTo>
                <a:cubicBezTo>
                  <a:pt x="1869" y="1496"/>
                  <a:pt x="1869" y="1496"/>
                  <a:pt x="1869" y="1496"/>
                </a:cubicBezTo>
                <a:moveTo>
                  <a:pt x="2866" y="997"/>
                </a:moveTo>
                <a:cubicBezTo>
                  <a:pt x="1869" y="997"/>
                  <a:pt x="1869" y="997"/>
                  <a:pt x="1869" y="997"/>
                </a:cubicBezTo>
                <a:moveTo>
                  <a:pt x="498" y="1994"/>
                </a:moveTo>
                <a:cubicBezTo>
                  <a:pt x="1495" y="1994"/>
                  <a:pt x="1495" y="1994"/>
                  <a:pt x="1495" y="1994"/>
                </a:cubicBezTo>
                <a:cubicBezTo>
                  <a:pt x="1495" y="992"/>
                  <a:pt x="1495" y="992"/>
                  <a:pt x="1495" y="992"/>
                </a:cubicBezTo>
                <a:cubicBezTo>
                  <a:pt x="498" y="992"/>
                  <a:pt x="498" y="992"/>
                  <a:pt x="498" y="992"/>
                </a:cubicBezTo>
                <a:lnTo>
                  <a:pt x="498" y="199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64" name="Oval 263">
            <a:extLst>
              <a:ext uri="{FF2B5EF4-FFF2-40B4-BE49-F238E27FC236}">
                <a16:creationId xmlns:a16="http://schemas.microsoft.com/office/drawing/2014/main" id="{758977CF-105F-42DF-9A55-6BCBFE78E45A}"/>
              </a:ext>
            </a:extLst>
          </p:cNvPr>
          <p:cNvSpPr/>
          <p:nvPr/>
        </p:nvSpPr>
        <p:spPr bwMode="auto">
          <a:xfrm rot="3420000">
            <a:off x="3838021" y="4213971"/>
            <a:ext cx="458367" cy="458367"/>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265" name="ShoppingCart_E7BF">
            <a:extLst>
              <a:ext uri="{FF2B5EF4-FFF2-40B4-BE49-F238E27FC236}">
                <a16:creationId xmlns:a16="http://schemas.microsoft.com/office/drawing/2014/main" id="{DAA0099C-2878-4DA1-9752-997A0AB13DB9}"/>
              </a:ext>
            </a:extLst>
          </p:cNvPr>
          <p:cNvSpPr>
            <a:spLocks noChangeAspect="1" noEditPoints="1"/>
          </p:cNvSpPr>
          <p:nvPr/>
        </p:nvSpPr>
        <p:spPr bwMode="auto">
          <a:xfrm>
            <a:off x="3924489" y="4321796"/>
            <a:ext cx="285431" cy="242718"/>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62" name="Oval 261">
            <a:extLst>
              <a:ext uri="{FF2B5EF4-FFF2-40B4-BE49-F238E27FC236}">
                <a16:creationId xmlns:a16="http://schemas.microsoft.com/office/drawing/2014/main" id="{E58E810B-EA3D-4058-ACA6-3AB4DC0E10DD}"/>
              </a:ext>
            </a:extLst>
          </p:cNvPr>
          <p:cNvSpPr/>
          <p:nvPr/>
        </p:nvSpPr>
        <p:spPr bwMode="auto">
          <a:xfrm rot="18900000" flipH="1">
            <a:off x="7252309" y="4284850"/>
            <a:ext cx="461888" cy="46188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263" name="building_11">
            <a:extLst>
              <a:ext uri="{FF2B5EF4-FFF2-40B4-BE49-F238E27FC236}">
                <a16:creationId xmlns:a16="http://schemas.microsoft.com/office/drawing/2014/main" id="{0B00982C-972E-44BB-B384-96BBF70C2031}"/>
              </a:ext>
            </a:extLst>
          </p:cNvPr>
          <p:cNvSpPr>
            <a:spLocks noChangeAspect="1" noEditPoints="1"/>
          </p:cNvSpPr>
          <p:nvPr/>
        </p:nvSpPr>
        <p:spPr bwMode="auto">
          <a:xfrm>
            <a:off x="7303370" y="4418962"/>
            <a:ext cx="359766" cy="193664"/>
          </a:xfrm>
          <a:custGeom>
            <a:avLst/>
            <a:gdLst>
              <a:gd name="T0" fmla="*/ 164 w 361"/>
              <a:gd name="T1" fmla="*/ 94 h 193"/>
              <a:gd name="T2" fmla="*/ 66 w 361"/>
              <a:gd name="T3" fmla="*/ 193 h 193"/>
              <a:gd name="T4" fmla="*/ 98 w 361"/>
              <a:gd name="T5" fmla="*/ 124 h 193"/>
              <a:gd name="T6" fmla="*/ 93 w 361"/>
              <a:gd name="T7" fmla="*/ 129 h 193"/>
              <a:gd name="T8" fmla="*/ 98 w 361"/>
              <a:gd name="T9" fmla="*/ 124 h 193"/>
              <a:gd name="T10" fmla="*/ 93 w 361"/>
              <a:gd name="T11" fmla="*/ 160 h 193"/>
              <a:gd name="T12" fmla="*/ 98 w 361"/>
              <a:gd name="T13" fmla="*/ 165 h 193"/>
              <a:gd name="T14" fmla="*/ 135 w 361"/>
              <a:gd name="T15" fmla="*/ 124 h 193"/>
              <a:gd name="T16" fmla="*/ 130 w 361"/>
              <a:gd name="T17" fmla="*/ 129 h 193"/>
              <a:gd name="T18" fmla="*/ 135 w 361"/>
              <a:gd name="T19" fmla="*/ 124 h 193"/>
              <a:gd name="T20" fmla="*/ 130 w 361"/>
              <a:gd name="T21" fmla="*/ 160 h 193"/>
              <a:gd name="T22" fmla="*/ 135 w 361"/>
              <a:gd name="T23" fmla="*/ 165 h 193"/>
              <a:gd name="T24" fmla="*/ 295 w 361"/>
              <a:gd name="T25" fmla="*/ 124 h 193"/>
              <a:gd name="T26" fmla="*/ 291 w 361"/>
              <a:gd name="T27" fmla="*/ 129 h 193"/>
              <a:gd name="T28" fmla="*/ 295 w 361"/>
              <a:gd name="T29" fmla="*/ 124 h 193"/>
              <a:gd name="T30" fmla="*/ 291 w 361"/>
              <a:gd name="T31" fmla="*/ 160 h 193"/>
              <a:gd name="T32" fmla="*/ 295 w 361"/>
              <a:gd name="T33" fmla="*/ 165 h 193"/>
              <a:gd name="T34" fmla="*/ 333 w 361"/>
              <a:gd name="T35" fmla="*/ 124 h 193"/>
              <a:gd name="T36" fmla="*/ 328 w 361"/>
              <a:gd name="T37" fmla="*/ 129 h 193"/>
              <a:gd name="T38" fmla="*/ 333 w 361"/>
              <a:gd name="T39" fmla="*/ 124 h 193"/>
              <a:gd name="T40" fmla="*/ 328 w 361"/>
              <a:gd name="T41" fmla="*/ 160 h 193"/>
              <a:gd name="T42" fmla="*/ 333 w 361"/>
              <a:gd name="T43" fmla="*/ 165 h 193"/>
              <a:gd name="T44" fmla="*/ 263 w 361"/>
              <a:gd name="T45" fmla="*/ 193 h 193"/>
              <a:gd name="T46" fmla="*/ 361 w 361"/>
              <a:gd name="T47" fmla="*/ 94 h 193"/>
              <a:gd name="T48" fmla="*/ 263 w 361"/>
              <a:gd name="T49" fmla="*/ 193 h 193"/>
              <a:gd name="T50" fmla="*/ 164 w 361"/>
              <a:gd name="T51" fmla="*/ 45 h 193"/>
              <a:gd name="T52" fmla="*/ 263 w 361"/>
              <a:gd name="T53" fmla="*/ 193 h 193"/>
              <a:gd name="T54" fmla="*/ 214 w 361"/>
              <a:gd name="T55" fmla="*/ 0 h 193"/>
              <a:gd name="T56" fmla="*/ 185 w 361"/>
              <a:gd name="T57" fmla="*/ 58 h 193"/>
              <a:gd name="T58" fmla="*/ 241 w 361"/>
              <a:gd name="T59" fmla="*/ 84 h 193"/>
              <a:gd name="T60" fmla="*/ 241 w 361"/>
              <a:gd name="T61" fmla="*/ 193 h 193"/>
              <a:gd name="T62" fmla="*/ 213 w 361"/>
              <a:gd name="T63" fmla="*/ 144 h 193"/>
              <a:gd name="T64" fmla="*/ 213 w 361"/>
              <a:gd name="T65" fmla="*/ 144 h 193"/>
              <a:gd name="T66" fmla="*/ 185 w 361"/>
              <a:gd name="T67" fmla="*/ 193 h 193"/>
              <a:gd name="T68" fmla="*/ 207 w 361"/>
              <a:gd name="T69" fmla="*/ 115 h 193"/>
              <a:gd name="T70" fmla="*/ 219 w 361"/>
              <a:gd name="T71" fmla="*/ 115 h 193"/>
              <a:gd name="T72" fmla="*/ 19 w 361"/>
              <a:gd name="T73" fmla="*/ 75 h 193"/>
              <a:gd name="T74" fmla="*/ 19 w 361"/>
              <a:gd name="T75" fmla="*/ 45 h 193"/>
              <a:gd name="T76" fmla="*/ 0 w 361"/>
              <a:gd name="T7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193">
                <a:moveTo>
                  <a:pt x="66" y="94"/>
                </a:moveTo>
                <a:cubicBezTo>
                  <a:pt x="164" y="94"/>
                  <a:pt x="164" y="94"/>
                  <a:pt x="164" y="94"/>
                </a:cubicBezTo>
                <a:cubicBezTo>
                  <a:pt x="164" y="193"/>
                  <a:pt x="164" y="193"/>
                  <a:pt x="164" y="193"/>
                </a:cubicBezTo>
                <a:cubicBezTo>
                  <a:pt x="66" y="193"/>
                  <a:pt x="66" y="193"/>
                  <a:pt x="66" y="193"/>
                </a:cubicBezTo>
                <a:lnTo>
                  <a:pt x="66" y="94"/>
                </a:lnTo>
                <a:close/>
                <a:moveTo>
                  <a:pt x="98" y="124"/>
                </a:moveTo>
                <a:cubicBezTo>
                  <a:pt x="93" y="124"/>
                  <a:pt x="93" y="124"/>
                  <a:pt x="93" y="124"/>
                </a:cubicBezTo>
                <a:cubicBezTo>
                  <a:pt x="93" y="129"/>
                  <a:pt x="93" y="129"/>
                  <a:pt x="93" y="129"/>
                </a:cubicBezTo>
                <a:cubicBezTo>
                  <a:pt x="98" y="129"/>
                  <a:pt x="98" y="129"/>
                  <a:pt x="98" y="129"/>
                </a:cubicBezTo>
                <a:lnTo>
                  <a:pt x="98" y="124"/>
                </a:lnTo>
                <a:close/>
                <a:moveTo>
                  <a:pt x="98" y="160"/>
                </a:moveTo>
                <a:cubicBezTo>
                  <a:pt x="93" y="160"/>
                  <a:pt x="93" y="160"/>
                  <a:pt x="93" y="160"/>
                </a:cubicBezTo>
                <a:cubicBezTo>
                  <a:pt x="93" y="165"/>
                  <a:pt x="93" y="165"/>
                  <a:pt x="93" y="165"/>
                </a:cubicBezTo>
                <a:cubicBezTo>
                  <a:pt x="98" y="165"/>
                  <a:pt x="98" y="165"/>
                  <a:pt x="98" y="165"/>
                </a:cubicBezTo>
                <a:lnTo>
                  <a:pt x="98" y="160"/>
                </a:lnTo>
                <a:close/>
                <a:moveTo>
                  <a:pt x="135" y="124"/>
                </a:moveTo>
                <a:cubicBezTo>
                  <a:pt x="130" y="124"/>
                  <a:pt x="130" y="124"/>
                  <a:pt x="130" y="124"/>
                </a:cubicBezTo>
                <a:cubicBezTo>
                  <a:pt x="130" y="129"/>
                  <a:pt x="130" y="129"/>
                  <a:pt x="130" y="129"/>
                </a:cubicBezTo>
                <a:cubicBezTo>
                  <a:pt x="135" y="129"/>
                  <a:pt x="135" y="129"/>
                  <a:pt x="135" y="129"/>
                </a:cubicBezTo>
                <a:lnTo>
                  <a:pt x="135" y="124"/>
                </a:lnTo>
                <a:close/>
                <a:moveTo>
                  <a:pt x="135" y="160"/>
                </a:moveTo>
                <a:cubicBezTo>
                  <a:pt x="130" y="160"/>
                  <a:pt x="130" y="160"/>
                  <a:pt x="130" y="160"/>
                </a:cubicBezTo>
                <a:cubicBezTo>
                  <a:pt x="130" y="165"/>
                  <a:pt x="130" y="165"/>
                  <a:pt x="130" y="165"/>
                </a:cubicBezTo>
                <a:cubicBezTo>
                  <a:pt x="135" y="165"/>
                  <a:pt x="135" y="165"/>
                  <a:pt x="135" y="165"/>
                </a:cubicBezTo>
                <a:lnTo>
                  <a:pt x="135" y="160"/>
                </a:lnTo>
                <a:close/>
                <a:moveTo>
                  <a:pt x="295" y="124"/>
                </a:moveTo>
                <a:cubicBezTo>
                  <a:pt x="291" y="124"/>
                  <a:pt x="291" y="124"/>
                  <a:pt x="291" y="124"/>
                </a:cubicBezTo>
                <a:cubicBezTo>
                  <a:pt x="291" y="129"/>
                  <a:pt x="291" y="129"/>
                  <a:pt x="291" y="129"/>
                </a:cubicBezTo>
                <a:cubicBezTo>
                  <a:pt x="295" y="129"/>
                  <a:pt x="295" y="129"/>
                  <a:pt x="295" y="129"/>
                </a:cubicBezTo>
                <a:lnTo>
                  <a:pt x="295" y="124"/>
                </a:lnTo>
                <a:close/>
                <a:moveTo>
                  <a:pt x="295" y="160"/>
                </a:moveTo>
                <a:cubicBezTo>
                  <a:pt x="291" y="160"/>
                  <a:pt x="291" y="160"/>
                  <a:pt x="291" y="160"/>
                </a:cubicBezTo>
                <a:cubicBezTo>
                  <a:pt x="291" y="165"/>
                  <a:pt x="291" y="165"/>
                  <a:pt x="291" y="165"/>
                </a:cubicBezTo>
                <a:cubicBezTo>
                  <a:pt x="295" y="165"/>
                  <a:pt x="295" y="165"/>
                  <a:pt x="295" y="165"/>
                </a:cubicBezTo>
                <a:lnTo>
                  <a:pt x="295" y="160"/>
                </a:lnTo>
                <a:close/>
                <a:moveTo>
                  <a:pt x="333" y="124"/>
                </a:moveTo>
                <a:cubicBezTo>
                  <a:pt x="328" y="124"/>
                  <a:pt x="328" y="124"/>
                  <a:pt x="328" y="124"/>
                </a:cubicBezTo>
                <a:cubicBezTo>
                  <a:pt x="328" y="129"/>
                  <a:pt x="328" y="129"/>
                  <a:pt x="328" y="129"/>
                </a:cubicBezTo>
                <a:cubicBezTo>
                  <a:pt x="333" y="129"/>
                  <a:pt x="333" y="129"/>
                  <a:pt x="333" y="129"/>
                </a:cubicBezTo>
                <a:lnTo>
                  <a:pt x="333" y="124"/>
                </a:lnTo>
                <a:close/>
                <a:moveTo>
                  <a:pt x="333" y="160"/>
                </a:moveTo>
                <a:cubicBezTo>
                  <a:pt x="328" y="160"/>
                  <a:pt x="328" y="160"/>
                  <a:pt x="328" y="160"/>
                </a:cubicBezTo>
                <a:cubicBezTo>
                  <a:pt x="328" y="165"/>
                  <a:pt x="328" y="165"/>
                  <a:pt x="328" y="165"/>
                </a:cubicBezTo>
                <a:cubicBezTo>
                  <a:pt x="333" y="165"/>
                  <a:pt x="333" y="165"/>
                  <a:pt x="333" y="165"/>
                </a:cubicBezTo>
                <a:lnTo>
                  <a:pt x="333" y="160"/>
                </a:lnTo>
                <a:close/>
                <a:moveTo>
                  <a:pt x="263" y="193"/>
                </a:moveTo>
                <a:cubicBezTo>
                  <a:pt x="361" y="193"/>
                  <a:pt x="361" y="193"/>
                  <a:pt x="361" y="193"/>
                </a:cubicBezTo>
                <a:cubicBezTo>
                  <a:pt x="361" y="94"/>
                  <a:pt x="361" y="94"/>
                  <a:pt x="361" y="94"/>
                </a:cubicBezTo>
                <a:cubicBezTo>
                  <a:pt x="263" y="94"/>
                  <a:pt x="263" y="94"/>
                  <a:pt x="263" y="94"/>
                </a:cubicBezTo>
                <a:lnTo>
                  <a:pt x="263" y="193"/>
                </a:lnTo>
                <a:close/>
                <a:moveTo>
                  <a:pt x="214" y="0"/>
                </a:moveTo>
                <a:cubicBezTo>
                  <a:pt x="164" y="45"/>
                  <a:pt x="164" y="45"/>
                  <a:pt x="164" y="45"/>
                </a:cubicBezTo>
                <a:cubicBezTo>
                  <a:pt x="164" y="193"/>
                  <a:pt x="164" y="193"/>
                  <a:pt x="164" y="193"/>
                </a:cubicBezTo>
                <a:cubicBezTo>
                  <a:pt x="263" y="193"/>
                  <a:pt x="263" y="193"/>
                  <a:pt x="263" y="193"/>
                </a:cubicBezTo>
                <a:cubicBezTo>
                  <a:pt x="263" y="45"/>
                  <a:pt x="263" y="45"/>
                  <a:pt x="263" y="45"/>
                </a:cubicBezTo>
                <a:lnTo>
                  <a:pt x="214" y="0"/>
                </a:lnTo>
                <a:close/>
                <a:moveTo>
                  <a:pt x="241" y="58"/>
                </a:moveTo>
                <a:cubicBezTo>
                  <a:pt x="185" y="58"/>
                  <a:pt x="185" y="58"/>
                  <a:pt x="185" y="58"/>
                </a:cubicBezTo>
                <a:cubicBezTo>
                  <a:pt x="185" y="84"/>
                  <a:pt x="185" y="84"/>
                  <a:pt x="185" y="84"/>
                </a:cubicBezTo>
                <a:cubicBezTo>
                  <a:pt x="241" y="84"/>
                  <a:pt x="241" y="84"/>
                  <a:pt x="241" y="84"/>
                </a:cubicBezTo>
                <a:lnTo>
                  <a:pt x="241" y="58"/>
                </a:lnTo>
                <a:close/>
                <a:moveTo>
                  <a:pt x="241" y="193"/>
                </a:moveTo>
                <a:cubicBezTo>
                  <a:pt x="241" y="144"/>
                  <a:pt x="241" y="144"/>
                  <a:pt x="241" y="144"/>
                </a:cubicBezTo>
                <a:cubicBezTo>
                  <a:pt x="213" y="144"/>
                  <a:pt x="213" y="144"/>
                  <a:pt x="213" y="144"/>
                </a:cubicBezTo>
                <a:cubicBezTo>
                  <a:pt x="213" y="193"/>
                  <a:pt x="213" y="193"/>
                  <a:pt x="213" y="193"/>
                </a:cubicBezTo>
                <a:moveTo>
                  <a:pt x="213" y="144"/>
                </a:moveTo>
                <a:cubicBezTo>
                  <a:pt x="185" y="144"/>
                  <a:pt x="185" y="144"/>
                  <a:pt x="185" y="144"/>
                </a:cubicBezTo>
                <a:cubicBezTo>
                  <a:pt x="185" y="193"/>
                  <a:pt x="185" y="193"/>
                  <a:pt x="185" y="193"/>
                </a:cubicBezTo>
                <a:moveTo>
                  <a:pt x="213" y="109"/>
                </a:moveTo>
                <a:cubicBezTo>
                  <a:pt x="210" y="109"/>
                  <a:pt x="207" y="112"/>
                  <a:pt x="207" y="115"/>
                </a:cubicBezTo>
                <a:cubicBezTo>
                  <a:pt x="207" y="119"/>
                  <a:pt x="210" y="122"/>
                  <a:pt x="213" y="122"/>
                </a:cubicBezTo>
                <a:cubicBezTo>
                  <a:pt x="217" y="122"/>
                  <a:pt x="219" y="119"/>
                  <a:pt x="219" y="115"/>
                </a:cubicBezTo>
                <a:cubicBezTo>
                  <a:pt x="219" y="112"/>
                  <a:pt x="217" y="109"/>
                  <a:pt x="213" y="109"/>
                </a:cubicBezTo>
                <a:close/>
                <a:moveTo>
                  <a:pt x="19" y="75"/>
                </a:moveTo>
                <a:cubicBezTo>
                  <a:pt x="50" y="62"/>
                  <a:pt x="50" y="62"/>
                  <a:pt x="50" y="62"/>
                </a:cubicBezTo>
                <a:cubicBezTo>
                  <a:pt x="19" y="45"/>
                  <a:pt x="19" y="45"/>
                  <a:pt x="19" y="45"/>
                </a:cubicBezTo>
                <a:cubicBezTo>
                  <a:pt x="19" y="193"/>
                  <a:pt x="19" y="193"/>
                  <a:pt x="19" y="193"/>
                </a:cubicBezTo>
                <a:moveTo>
                  <a:pt x="0" y="193"/>
                </a:moveTo>
                <a:cubicBezTo>
                  <a:pt x="38" y="193"/>
                  <a:pt x="38" y="193"/>
                  <a:pt x="38" y="193"/>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60" name="Oval 259">
            <a:extLst>
              <a:ext uri="{FF2B5EF4-FFF2-40B4-BE49-F238E27FC236}">
                <a16:creationId xmlns:a16="http://schemas.microsoft.com/office/drawing/2014/main" id="{3C60A535-7CC4-49AE-A771-A8F7BB757E99}"/>
              </a:ext>
            </a:extLst>
          </p:cNvPr>
          <p:cNvSpPr/>
          <p:nvPr/>
        </p:nvSpPr>
        <p:spPr bwMode="auto">
          <a:xfrm rot="720000" flipH="1">
            <a:off x="5362540" y="5261744"/>
            <a:ext cx="458367" cy="458367"/>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261" name="TagLegacy_E1CB">
            <a:extLst>
              <a:ext uri="{FF2B5EF4-FFF2-40B4-BE49-F238E27FC236}">
                <a16:creationId xmlns:a16="http://schemas.microsoft.com/office/drawing/2014/main" id="{768ACBE9-2253-41EC-8C28-0B1802032E9D}"/>
              </a:ext>
            </a:extLst>
          </p:cNvPr>
          <p:cNvSpPr>
            <a:spLocks noChangeAspect="1" noEditPoints="1"/>
          </p:cNvSpPr>
          <p:nvPr/>
        </p:nvSpPr>
        <p:spPr bwMode="auto">
          <a:xfrm>
            <a:off x="5448324" y="5376464"/>
            <a:ext cx="286800" cy="228926"/>
          </a:xfrm>
          <a:custGeom>
            <a:avLst/>
            <a:gdLst>
              <a:gd name="T0" fmla="*/ 2950 w 3700"/>
              <a:gd name="T1" fmla="*/ 1330 h 2952"/>
              <a:gd name="T2" fmla="*/ 1328 w 3700"/>
              <a:gd name="T3" fmla="*/ 2952 h 2952"/>
              <a:gd name="T4" fmla="*/ 0 w 3700"/>
              <a:gd name="T5" fmla="*/ 1620 h 2952"/>
              <a:gd name="T6" fmla="*/ 1620 w 3700"/>
              <a:gd name="T7" fmla="*/ 0 h 2952"/>
              <a:gd name="T8" fmla="*/ 2951 w 3700"/>
              <a:gd name="T9" fmla="*/ 1 h 2952"/>
              <a:gd name="T10" fmla="*/ 2950 w 3700"/>
              <a:gd name="T11" fmla="*/ 1330 h 2952"/>
              <a:gd name="T12" fmla="*/ 1820 w 3700"/>
              <a:gd name="T13" fmla="*/ 2460 h 2952"/>
              <a:gd name="T14" fmla="*/ 2576 w 3700"/>
              <a:gd name="T15" fmla="*/ 2753 h 2952"/>
              <a:gd name="T16" fmla="*/ 3700 w 3700"/>
              <a:gd name="T17" fmla="*/ 1629 h 2952"/>
              <a:gd name="T18" fmla="*/ 2576 w 3700"/>
              <a:gd name="T19" fmla="*/ 505 h 2952"/>
              <a:gd name="T20" fmla="*/ 2421 w 3700"/>
              <a:gd name="T21" fmla="*/ 505 h 2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0" h="2952">
                <a:moveTo>
                  <a:pt x="2950" y="1330"/>
                </a:moveTo>
                <a:cubicBezTo>
                  <a:pt x="1328" y="2952"/>
                  <a:pt x="1328" y="2952"/>
                  <a:pt x="1328" y="2952"/>
                </a:cubicBezTo>
                <a:cubicBezTo>
                  <a:pt x="0" y="1620"/>
                  <a:pt x="0" y="1620"/>
                  <a:pt x="0" y="1620"/>
                </a:cubicBezTo>
                <a:cubicBezTo>
                  <a:pt x="1620" y="0"/>
                  <a:pt x="1620" y="0"/>
                  <a:pt x="1620" y="0"/>
                </a:cubicBezTo>
                <a:cubicBezTo>
                  <a:pt x="2951" y="1"/>
                  <a:pt x="2951" y="1"/>
                  <a:pt x="2951" y="1"/>
                </a:cubicBezTo>
                <a:lnTo>
                  <a:pt x="2950" y="1330"/>
                </a:lnTo>
                <a:close/>
                <a:moveTo>
                  <a:pt x="1820" y="2460"/>
                </a:moveTo>
                <a:cubicBezTo>
                  <a:pt x="2020" y="2642"/>
                  <a:pt x="2285" y="2753"/>
                  <a:pt x="2576" y="2753"/>
                </a:cubicBezTo>
                <a:cubicBezTo>
                  <a:pt x="3197" y="2753"/>
                  <a:pt x="3700" y="2249"/>
                  <a:pt x="3700" y="1629"/>
                </a:cubicBezTo>
                <a:cubicBezTo>
                  <a:pt x="3700" y="1008"/>
                  <a:pt x="3198" y="505"/>
                  <a:pt x="2576" y="505"/>
                </a:cubicBezTo>
                <a:cubicBezTo>
                  <a:pt x="2421" y="505"/>
                  <a:pt x="2421" y="505"/>
                  <a:pt x="2421" y="505"/>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58" name="Oval 257">
            <a:extLst>
              <a:ext uri="{FF2B5EF4-FFF2-40B4-BE49-F238E27FC236}">
                <a16:creationId xmlns:a16="http://schemas.microsoft.com/office/drawing/2014/main" id="{BA88B545-F69F-4AF7-84ED-F5EF8C4A1F12}"/>
              </a:ext>
            </a:extLst>
          </p:cNvPr>
          <p:cNvSpPr/>
          <p:nvPr/>
        </p:nvSpPr>
        <p:spPr bwMode="auto">
          <a:xfrm rot="16920000" flipH="1">
            <a:off x="3500909" y="2395084"/>
            <a:ext cx="458367" cy="458367"/>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259" name="Freeform 13">
            <a:extLst>
              <a:ext uri="{FF2B5EF4-FFF2-40B4-BE49-F238E27FC236}">
                <a16:creationId xmlns:a16="http://schemas.microsoft.com/office/drawing/2014/main" id="{568DF333-C4B1-44E9-95D5-C1D2871207F7}"/>
              </a:ext>
            </a:extLst>
          </p:cNvPr>
          <p:cNvSpPr>
            <a:spLocks noEditPoints="1"/>
          </p:cNvSpPr>
          <p:nvPr/>
        </p:nvSpPr>
        <p:spPr bwMode="auto">
          <a:xfrm>
            <a:off x="3590618" y="2494755"/>
            <a:ext cx="278950" cy="259024"/>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56" name="Oval 255">
            <a:extLst>
              <a:ext uri="{FF2B5EF4-FFF2-40B4-BE49-F238E27FC236}">
                <a16:creationId xmlns:a16="http://schemas.microsoft.com/office/drawing/2014/main" id="{C3FE27BB-83A4-49B8-B677-80A0A4D0B863}"/>
              </a:ext>
            </a:extLst>
          </p:cNvPr>
          <p:cNvSpPr/>
          <p:nvPr/>
        </p:nvSpPr>
        <p:spPr bwMode="auto">
          <a:xfrm rot="720000" flipH="1">
            <a:off x="6367570" y="533452"/>
            <a:ext cx="458367" cy="458367"/>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257" name="Freeform 33">
            <a:extLst>
              <a:ext uri="{FF2B5EF4-FFF2-40B4-BE49-F238E27FC236}">
                <a16:creationId xmlns:a16="http://schemas.microsoft.com/office/drawing/2014/main" id="{6408F757-A4B7-45FA-B8AB-7F63D635040F}"/>
              </a:ext>
            </a:extLst>
          </p:cNvPr>
          <p:cNvSpPr>
            <a:spLocks/>
          </p:cNvSpPr>
          <p:nvPr/>
        </p:nvSpPr>
        <p:spPr bwMode="auto">
          <a:xfrm>
            <a:off x="6457902" y="645043"/>
            <a:ext cx="277704" cy="235185"/>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54" name="Oval 253">
            <a:extLst>
              <a:ext uri="{FF2B5EF4-FFF2-40B4-BE49-F238E27FC236}">
                <a16:creationId xmlns:a16="http://schemas.microsoft.com/office/drawing/2014/main" id="{4EE845C2-A487-4042-BF91-A0443C959691}"/>
              </a:ext>
            </a:extLst>
          </p:cNvPr>
          <p:cNvSpPr/>
          <p:nvPr/>
        </p:nvSpPr>
        <p:spPr bwMode="auto">
          <a:xfrm rot="4740000">
            <a:off x="3492500" y="3358776"/>
            <a:ext cx="458367" cy="458367"/>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255" name="Freeform 17">
            <a:extLst>
              <a:ext uri="{FF2B5EF4-FFF2-40B4-BE49-F238E27FC236}">
                <a16:creationId xmlns:a16="http://schemas.microsoft.com/office/drawing/2014/main" id="{4CC789A7-6C71-4B43-978A-A12CB8342861}"/>
              </a:ext>
            </a:extLst>
          </p:cNvPr>
          <p:cNvSpPr>
            <a:spLocks noEditPoints="1"/>
          </p:cNvSpPr>
          <p:nvPr/>
        </p:nvSpPr>
        <p:spPr bwMode="auto">
          <a:xfrm>
            <a:off x="3570815" y="3448785"/>
            <a:ext cx="301738" cy="27835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49" name="Oval 248">
            <a:extLst>
              <a:ext uri="{FF2B5EF4-FFF2-40B4-BE49-F238E27FC236}">
                <a16:creationId xmlns:a16="http://schemas.microsoft.com/office/drawing/2014/main" id="{2612782C-C504-49A3-9324-064BCDBAF06B}"/>
              </a:ext>
            </a:extLst>
          </p:cNvPr>
          <p:cNvSpPr/>
          <p:nvPr/>
        </p:nvSpPr>
        <p:spPr bwMode="auto">
          <a:xfrm rot="2700000">
            <a:off x="7252310" y="1506824"/>
            <a:ext cx="461888" cy="46188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250" name="Group 249">
            <a:extLst>
              <a:ext uri="{FF2B5EF4-FFF2-40B4-BE49-F238E27FC236}">
                <a16:creationId xmlns:a16="http://schemas.microsoft.com/office/drawing/2014/main" id="{5F0C400D-CAD1-4FFE-892D-557195148630}"/>
              </a:ext>
            </a:extLst>
          </p:cNvPr>
          <p:cNvGrpSpPr/>
          <p:nvPr/>
        </p:nvGrpSpPr>
        <p:grpSpPr>
          <a:xfrm>
            <a:off x="7333146" y="1677479"/>
            <a:ext cx="300219" cy="120577"/>
            <a:chOff x="11103157" y="4417749"/>
            <a:chExt cx="347337" cy="139502"/>
          </a:xfrm>
        </p:grpSpPr>
        <p:sp>
          <p:nvSpPr>
            <p:cNvPr id="251" name="Rectangle 250">
              <a:extLst>
                <a:ext uri="{FF2B5EF4-FFF2-40B4-BE49-F238E27FC236}">
                  <a16:creationId xmlns:a16="http://schemas.microsoft.com/office/drawing/2014/main" id="{F72F9EAB-1902-4CBC-9466-F890E9B377F4}"/>
                </a:ext>
              </a:extLst>
            </p:cNvPr>
            <p:cNvSpPr>
              <a:spLocks noChangeArrowheads="1"/>
            </p:cNvSpPr>
            <p:nvPr/>
          </p:nvSpPr>
          <p:spPr bwMode="auto">
            <a:xfrm>
              <a:off x="11103157" y="4417749"/>
              <a:ext cx="347337" cy="139502"/>
            </a:xfrm>
            <a:prstGeom prst="rect">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52" name="Line 277">
              <a:extLst>
                <a:ext uri="{FF2B5EF4-FFF2-40B4-BE49-F238E27FC236}">
                  <a16:creationId xmlns:a16="http://schemas.microsoft.com/office/drawing/2014/main" id="{60F10317-528D-4885-B2F1-28DD687DBE8D}"/>
                </a:ext>
              </a:extLst>
            </p:cNvPr>
            <p:cNvSpPr>
              <a:spLocks noChangeShapeType="1"/>
            </p:cNvSpPr>
            <p:nvPr/>
          </p:nvSpPr>
          <p:spPr bwMode="auto">
            <a:xfrm flipH="1">
              <a:off x="11103157" y="4488923"/>
              <a:ext cx="14946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53" name="Oval 252">
              <a:extLst>
                <a:ext uri="{FF2B5EF4-FFF2-40B4-BE49-F238E27FC236}">
                  <a16:creationId xmlns:a16="http://schemas.microsoft.com/office/drawing/2014/main" id="{E1975158-6D88-4B77-80C8-40BD72213A3A}"/>
                </a:ext>
              </a:extLst>
            </p:cNvPr>
            <p:cNvSpPr>
              <a:spLocks noChangeArrowheads="1"/>
            </p:cNvSpPr>
            <p:nvPr/>
          </p:nvSpPr>
          <p:spPr bwMode="auto">
            <a:xfrm>
              <a:off x="11373624" y="4480383"/>
              <a:ext cx="12812" cy="14235"/>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247" name="Oval 246">
            <a:extLst>
              <a:ext uri="{FF2B5EF4-FFF2-40B4-BE49-F238E27FC236}">
                <a16:creationId xmlns:a16="http://schemas.microsoft.com/office/drawing/2014/main" id="{21C95066-5160-48B9-B36A-E5CD3A4D7CDB}"/>
              </a:ext>
            </a:extLst>
          </p:cNvPr>
          <p:cNvSpPr/>
          <p:nvPr/>
        </p:nvSpPr>
        <p:spPr bwMode="auto">
          <a:xfrm rot="17580000" flipH="1">
            <a:off x="7671501" y="3663376"/>
            <a:ext cx="461886" cy="461886"/>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248" name="bus">
            <a:extLst>
              <a:ext uri="{FF2B5EF4-FFF2-40B4-BE49-F238E27FC236}">
                <a16:creationId xmlns:a16="http://schemas.microsoft.com/office/drawing/2014/main" id="{0D10854B-B042-4E6B-B073-DFAFE23CB6F1}"/>
              </a:ext>
            </a:extLst>
          </p:cNvPr>
          <p:cNvSpPr>
            <a:spLocks noChangeAspect="1" noEditPoints="1"/>
          </p:cNvSpPr>
          <p:nvPr/>
        </p:nvSpPr>
        <p:spPr bwMode="auto">
          <a:xfrm>
            <a:off x="7796333" y="3788209"/>
            <a:ext cx="212224" cy="212222"/>
          </a:xfrm>
          <a:custGeom>
            <a:avLst/>
            <a:gdLst>
              <a:gd name="T0" fmla="*/ 290 w 344"/>
              <a:gd name="T1" fmla="*/ 0 h 343"/>
              <a:gd name="T2" fmla="*/ 318 w 344"/>
              <a:gd name="T3" fmla="*/ 28 h 343"/>
              <a:gd name="T4" fmla="*/ 318 w 344"/>
              <a:gd name="T5" fmla="*/ 314 h 343"/>
              <a:gd name="T6" fmla="*/ 25 w 344"/>
              <a:gd name="T7" fmla="*/ 314 h 343"/>
              <a:gd name="T8" fmla="*/ 25 w 344"/>
              <a:gd name="T9" fmla="*/ 28 h 343"/>
              <a:gd name="T10" fmla="*/ 54 w 344"/>
              <a:gd name="T11" fmla="*/ 0 h 343"/>
              <a:gd name="T12" fmla="*/ 290 w 344"/>
              <a:gd name="T13" fmla="*/ 0 h 343"/>
              <a:gd name="T14" fmla="*/ 104 w 344"/>
              <a:gd name="T15" fmla="*/ 46 h 343"/>
              <a:gd name="T16" fmla="*/ 237 w 344"/>
              <a:gd name="T17" fmla="*/ 46 h 343"/>
              <a:gd name="T18" fmla="*/ 60 w 344"/>
              <a:gd name="T19" fmla="*/ 224 h 343"/>
              <a:gd name="T20" fmla="*/ 104 w 344"/>
              <a:gd name="T21" fmla="*/ 224 h 343"/>
              <a:gd name="T22" fmla="*/ 237 w 344"/>
              <a:gd name="T23" fmla="*/ 224 h 343"/>
              <a:gd name="T24" fmla="*/ 281 w 344"/>
              <a:gd name="T25" fmla="*/ 224 h 343"/>
              <a:gd name="T26" fmla="*/ 25 w 344"/>
              <a:gd name="T27" fmla="*/ 92 h 343"/>
              <a:gd name="T28" fmla="*/ 318 w 344"/>
              <a:gd name="T29" fmla="*/ 92 h 343"/>
              <a:gd name="T30" fmla="*/ 25 w 344"/>
              <a:gd name="T31" fmla="*/ 179 h 343"/>
              <a:gd name="T32" fmla="*/ 318 w 344"/>
              <a:gd name="T33" fmla="*/ 179 h 343"/>
              <a:gd name="T34" fmla="*/ 25 w 344"/>
              <a:gd name="T35" fmla="*/ 268 h 343"/>
              <a:gd name="T36" fmla="*/ 318 w 344"/>
              <a:gd name="T37" fmla="*/ 268 h 343"/>
              <a:gd name="T38" fmla="*/ 172 w 344"/>
              <a:gd name="T39" fmla="*/ 92 h 343"/>
              <a:gd name="T40" fmla="*/ 172 w 344"/>
              <a:gd name="T41" fmla="*/ 179 h 343"/>
              <a:gd name="T42" fmla="*/ 318 w 344"/>
              <a:gd name="T43" fmla="*/ 124 h 343"/>
              <a:gd name="T44" fmla="*/ 344 w 344"/>
              <a:gd name="T45" fmla="*/ 124 h 343"/>
              <a:gd name="T46" fmla="*/ 344 w 344"/>
              <a:gd name="T47" fmla="*/ 83 h 343"/>
              <a:gd name="T48" fmla="*/ 318 w 344"/>
              <a:gd name="T49" fmla="*/ 83 h 343"/>
              <a:gd name="T50" fmla="*/ 240 w 344"/>
              <a:gd name="T51" fmla="*/ 314 h 343"/>
              <a:gd name="T52" fmla="*/ 240 w 344"/>
              <a:gd name="T53" fmla="*/ 343 h 343"/>
              <a:gd name="T54" fmla="*/ 301 w 344"/>
              <a:gd name="T55" fmla="*/ 343 h 343"/>
              <a:gd name="T56" fmla="*/ 301 w 344"/>
              <a:gd name="T57" fmla="*/ 314 h 343"/>
              <a:gd name="T58" fmla="*/ 38 w 344"/>
              <a:gd name="T59" fmla="*/ 314 h 343"/>
              <a:gd name="T60" fmla="*/ 38 w 344"/>
              <a:gd name="T61" fmla="*/ 343 h 343"/>
              <a:gd name="T62" fmla="*/ 98 w 344"/>
              <a:gd name="T63" fmla="*/ 343 h 343"/>
              <a:gd name="T64" fmla="*/ 98 w 344"/>
              <a:gd name="T65" fmla="*/ 314 h 343"/>
              <a:gd name="T66" fmla="*/ 25 w 344"/>
              <a:gd name="T67" fmla="*/ 83 h 343"/>
              <a:gd name="T68" fmla="*/ 0 w 344"/>
              <a:gd name="T69" fmla="*/ 83 h 343"/>
              <a:gd name="T70" fmla="*/ 0 w 344"/>
              <a:gd name="T71" fmla="*/ 124 h 343"/>
              <a:gd name="T72" fmla="*/ 25 w 344"/>
              <a:gd name="T73" fmla="*/ 12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4" h="343">
                <a:moveTo>
                  <a:pt x="290" y="0"/>
                </a:moveTo>
                <a:cubicBezTo>
                  <a:pt x="305" y="0"/>
                  <a:pt x="318" y="12"/>
                  <a:pt x="318" y="28"/>
                </a:cubicBezTo>
                <a:cubicBezTo>
                  <a:pt x="318" y="314"/>
                  <a:pt x="318" y="314"/>
                  <a:pt x="318" y="314"/>
                </a:cubicBezTo>
                <a:cubicBezTo>
                  <a:pt x="25" y="314"/>
                  <a:pt x="25" y="314"/>
                  <a:pt x="25" y="314"/>
                </a:cubicBezTo>
                <a:cubicBezTo>
                  <a:pt x="25" y="28"/>
                  <a:pt x="25" y="28"/>
                  <a:pt x="25" y="28"/>
                </a:cubicBezTo>
                <a:cubicBezTo>
                  <a:pt x="25" y="12"/>
                  <a:pt x="38" y="0"/>
                  <a:pt x="54" y="0"/>
                </a:cubicBezTo>
                <a:lnTo>
                  <a:pt x="290" y="0"/>
                </a:lnTo>
                <a:close/>
                <a:moveTo>
                  <a:pt x="104" y="46"/>
                </a:moveTo>
                <a:cubicBezTo>
                  <a:pt x="237" y="46"/>
                  <a:pt x="237" y="46"/>
                  <a:pt x="237" y="46"/>
                </a:cubicBezTo>
                <a:moveTo>
                  <a:pt x="60" y="224"/>
                </a:moveTo>
                <a:cubicBezTo>
                  <a:pt x="104" y="224"/>
                  <a:pt x="104" y="224"/>
                  <a:pt x="104" y="224"/>
                </a:cubicBezTo>
                <a:moveTo>
                  <a:pt x="237" y="224"/>
                </a:moveTo>
                <a:cubicBezTo>
                  <a:pt x="281" y="224"/>
                  <a:pt x="281" y="224"/>
                  <a:pt x="281" y="224"/>
                </a:cubicBezTo>
                <a:moveTo>
                  <a:pt x="25" y="92"/>
                </a:moveTo>
                <a:cubicBezTo>
                  <a:pt x="318" y="92"/>
                  <a:pt x="318" y="92"/>
                  <a:pt x="318" y="92"/>
                </a:cubicBezTo>
                <a:moveTo>
                  <a:pt x="25" y="179"/>
                </a:moveTo>
                <a:cubicBezTo>
                  <a:pt x="318" y="179"/>
                  <a:pt x="318" y="179"/>
                  <a:pt x="318" y="179"/>
                </a:cubicBezTo>
                <a:moveTo>
                  <a:pt x="25" y="268"/>
                </a:moveTo>
                <a:cubicBezTo>
                  <a:pt x="318" y="268"/>
                  <a:pt x="318" y="268"/>
                  <a:pt x="318" y="268"/>
                </a:cubicBezTo>
                <a:moveTo>
                  <a:pt x="172" y="92"/>
                </a:moveTo>
                <a:cubicBezTo>
                  <a:pt x="172" y="179"/>
                  <a:pt x="172" y="179"/>
                  <a:pt x="172" y="179"/>
                </a:cubicBezTo>
                <a:moveTo>
                  <a:pt x="318" y="124"/>
                </a:moveTo>
                <a:cubicBezTo>
                  <a:pt x="344" y="124"/>
                  <a:pt x="344" y="124"/>
                  <a:pt x="344" y="124"/>
                </a:cubicBezTo>
                <a:cubicBezTo>
                  <a:pt x="344" y="83"/>
                  <a:pt x="344" y="83"/>
                  <a:pt x="344" y="83"/>
                </a:cubicBezTo>
                <a:cubicBezTo>
                  <a:pt x="318" y="83"/>
                  <a:pt x="318" y="83"/>
                  <a:pt x="318" y="83"/>
                </a:cubicBezTo>
                <a:moveTo>
                  <a:pt x="240" y="314"/>
                </a:moveTo>
                <a:cubicBezTo>
                  <a:pt x="240" y="343"/>
                  <a:pt x="240" y="343"/>
                  <a:pt x="240" y="343"/>
                </a:cubicBezTo>
                <a:cubicBezTo>
                  <a:pt x="301" y="343"/>
                  <a:pt x="301" y="343"/>
                  <a:pt x="301" y="343"/>
                </a:cubicBezTo>
                <a:cubicBezTo>
                  <a:pt x="301" y="314"/>
                  <a:pt x="301" y="314"/>
                  <a:pt x="301" y="314"/>
                </a:cubicBezTo>
                <a:moveTo>
                  <a:pt x="38" y="314"/>
                </a:moveTo>
                <a:cubicBezTo>
                  <a:pt x="38" y="343"/>
                  <a:pt x="38" y="343"/>
                  <a:pt x="38" y="343"/>
                </a:cubicBezTo>
                <a:cubicBezTo>
                  <a:pt x="98" y="343"/>
                  <a:pt x="98" y="343"/>
                  <a:pt x="98" y="343"/>
                </a:cubicBezTo>
                <a:cubicBezTo>
                  <a:pt x="98" y="314"/>
                  <a:pt x="98" y="314"/>
                  <a:pt x="98" y="314"/>
                </a:cubicBezTo>
                <a:moveTo>
                  <a:pt x="25" y="83"/>
                </a:moveTo>
                <a:cubicBezTo>
                  <a:pt x="0" y="83"/>
                  <a:pt x="0" y="83"/>
                  <a:pt x="0" y="83"/>
                </a:cubicBezTo>
                <a:cubicBezTo>
                  <a:pt x="0" y="124"/>
                  <a:pt x="0" y="124"/>
                  <a:pt x="0" y="124"/>
                </a:cubicBezTo>
                <a:cubicBezTo>
                  <a:pt x="25" y="124"/>
                  <a:pt x="25" y="124"/>
                  <a:pt x="25" y="124"/>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45" name="Oval 244">
            <a:extLst>
              <a:ext uri="{FF2B5EF4-FFF2-40B4-BE49-F238E27FC236}">
                <a16:creationId xmlns:a16="http://schemas.microsoft.com/office/drawing/2014/main" id="{4DA7082C-4FC4-41C7-82D7-6B492197860B}"/>
              </a:ext>
            </a:extLst>
          </p:cNvPr>
          <p:cNvSpPr/>
          <p:nvPr/>
        </p:nvSpPr>
        <p:spPr bwMode="auto">
          <a:xfrm rot="2040000">
            <a:off x="4513508" y="4901351"/>
            <a:ext cx="458367" cy="458367"/>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246" name="Freeform 25">
            <a:extLst>
              <a:ext uri="{FF2B5EF4-FFF2-40B4-BE49-F238E27FC236}">
                <a16:creationId xmlns:a16="http://schemas.microsoft.com/office/drawing/2014/main" id="{C7377ED0-2A4A-40AF-9E40-49F143612E55}"/>
              </a:ext>
            </a:extLst>
          </p:cNvPr>
          <p:cNvSpPr>
            <a:spLocks noEditPoints="1"/>
          </p:cNvSpPr>
          <p:nvPr/>
        </p:nvSpPr>
        <p:spPr bwMode="auto">
          <a:xfrm>
            <a:off x="4609781" y="5000674"/>
            <a:ext cx="265822" cy="259723"/>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43" name="Oval 242">
            <a:extLst>
              <a:ext uri="{FF2B5EF4-FFF2-40B4-BE49-F238E27FC236}">
                <a16:creationId xmlns:a16="http://schemas.microsoft.com/office/drawing/2014/main" id="{3BF57BB5-FA0A-4C1E-8BAD-0405267E9FFE}"/>
              </a:ext>
            </a:extLst>
          </p:cNvPr>
          <p:cNvSpPr/>
          <p:nvPr/>
        </p:nvSpPr>
        <p:spPr bwMode="auto">
          <a:xfrm rot="18300000" flipH="1">
            <a:off x="7844915" y="4283911"/>
            <a:ext cx="458367" cy="458367"/>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244" name="speedometer_2">
            <a:extLst>
              <a:ext uri="{FF2B5EF4-FFF2-40B4-BE49-F238E27FC236}">
                <a16:creationId xmlns:a16="http://schemas.microsoft.com/office/drawing/2014/main" id="{D1875B05-B666-44D6-BAC2-84D79F8D3345}"/>
              </a:ext>
            </a:extLst>
          </p:cNvPr>
          <p:cNvSpPr>
            <a:spLocks noChangeAspect="1" noEditPoints="1"/>
          </p:cNvSpPr>
          <p:nvPr/>
        </p:nvSpPr>
        <p:spPr bwMode="auto">
          <a:xfrm>
            <a:off x="7945329" y="4384325"/>
            <a:ext cx="257540" cy="25754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41" name="Oval 240">
            <a:extLst>
              <a:ext uri="{FF2B5EF4-FFF2-40B4-BE49-F238E27FC236}">
                <a16:creationId xmlns:a16="http://schemas.microsoft.com/office/drawing/2014/main" id="{F34B55A9-D3AC-4D29-982D-D5F99D0D9EDD}"/>
              </a:ext>
            </a:extLst>
          </p:cNvPr>
          <p:cNvSpPr/>
          <p:nvPr/>
        </p:nvSpPr>
        <p:spPr bwMode="auto">
          <a:xfrm rot="19620000" flipH="1">
            <a:off x="7181427" y="4924634"/>
            <a:ext cx="458367" cy="458367"/>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242" name="document_6">
            <a:extLst>
              <a:ext uri="{FF2B5EF4-FFF2-40B4-BE49-F238E27FC236}">
                <a16:creationId xmlns:a16="http://schemas.microsoft.com/office/drawing/2014/main" id="{D20A78A8-CEB0-4B27-B5C7-FE70B4318984}"/>
              </a:ext>
            </a:extLst>
          </p:cNvPr>
          <p:cNvSpPr>
            <a:spLocks noChangeAspect="1" noEditPoints="1"/>
          </p:cNvSpPr>
          <p:nvPr/>
        </p:nvSpPr>
        <p:spPr bwMode="auto">
          <a:xfrm>
            <a:off x="7311930" y="5030467"/>
            <a:ext cx="197361" cy="246702"/>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55" name="Oval 154">
            <a:extLst>
              <a:ext uri="{FF2B5EF4-FFF2-40B4-BE49-F238E27FC236}">
                <a16:creationId xmlns:a16="http://schemas.microsoft.com/office/drawing/2014/main" id="{16CA845A-1A58-498A-A57F-612F89F664AE}"/>
              </a:ext>
            </a:extLst>
          </p:cNvPr>
          <p:cNvSpPr/>
          <p:nvPr/>
        </p:nvSpPr>
        <p:spPr bwMode="auto">
          <a:xfrm flipH="1">
            <a:off x="5863295" y="931475"/>
            <a:ext cx="461888" cy="46188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56" name="Oval 155">
            <a:extLst>
              <a:ext uri="{FF2B5EF4-FFF2-40B4-BE49-F238E27FC236}">
                <a16:creationId xmlns:a16="http://schemas.microsoft.com/office/drawing/2014/main" id="{53B111A0-DB8C-453D-978F-355C32481746}"/>
              </a:ext>
            </a:extLst>
          </p:cNvPr>
          <p:cNvSpPr/>
          <p:nvPr/>
        </p:nvSpPr>
        <p:spPr bwMode="auto">
          <a:xfrm rot="1320000">
            <a:off x="6599158" y="1074513"/>
            <a:ext cx="461888" cy="46188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57" name="Oval 156">
            <a:extLst>
              <a:ext uri="{FF2B5EF4-FFF2-40B4-BE49-F238E27FC236}">
                <a16:creationId xmlns:a16="http://schemas.microsoft.com/office/drawing/2014/main" id="{C622E7E4-C066-4842-B663-26961D2865F5}"/>
              </a:ext>
            </a:extLst>
          </p:cNvPr>
          <p:cNvSpPr/>
          <p:nvPr/>
        </p:nvSpPr>
        <p:spPr bwMode="auto">
          <a:xfrm rot="20280000" flipH="1">
            <a:off x="5127433" y="1074513"/>
            <a:ext cx="461888" cy="46188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239" name="Freeform 9">
            <a:extLst>
              <a:ext uri="{FF2B5EF4-FFF2-40B4-BE49-F238E27FC236}">
                <a16:creationId xmlns:a16="http://schemas.microsoft.com/office/drawing/2014/main" id="{5F956586-ACED-4B05-A0AB-2FE111843FFF}"/>
              </a:ext>
            </a:extLst>
          </p:cNvPr>
          <p:cNvSpPr>
            <a:spLocks noEditPoints="1"/>
          </p:cNvSpPr>
          <p:nvPr/>
        </p:nvSpPr>
        <p:spPr bwMode="auto">
          <a:xfrm>
            <a:off x="5229748" y="1211111"/>
            <a:ext cx="257258" cy="188691"/>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40" name="Rectangle 239">
            <a:extLst>
              <a:ext uri="{FF2B5EF4-FFF2-40B4-BE49-F238E27FC236}">
                <a16:creationId xmlns:a16="http://schemas.microsoft.com/office/drawing/2014/main" id="{CE546E2E-CC3D-4908-B702-75DD3190A69D}"/>
              </a:ext>
            </a:extLst>
          </p:cNvPr>
          <p:cNvSpPr/>
          <p:nvPr/>
        </p:nvSpPr>
        <p:spPr bwMode="auto">
          <a:xfrm>
            <a:off x="5313544" y="1254233"/>
            <a:ext cx="47652" cy="47651"/>
          </a:xfrm>
          <a:prstGeom prst="rect">
            <a:avLst/>
          </a:prstGeom>
          <a:noFill/>
          <a:ln>
            <a:no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7" name="Freeform 5">
            <a:extLst>
              <a:ext uri="{FF2B5EF4-FFF2-40B4-BE49-F238E27FC236}">
                <a16:creationId xmlns:a16="http://schemas.microsoft.com/office/drawing/2014/main" id="{C40984CB-C384-4678-B332-C12BA0621ECB}"/>
              </a:ext>
            </a:extLst>
          </p:cNvPr>
          <p:cNvSpPr>
            <a:spLocks noEditPoints="1"/>
          </p:cNvSpPr>
          <p:nvPr/>
        </p:nvSpPr>
        <p:spPr bwMode="auto">
          <a:xfrm>
            <a:off x="5943705" y="1062045"/>
            <a:ext cx="301069" cy="2007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38" name="Isosceles Triangle 305">
            <a:extLst>
              <a:ext uri="{FF2B5EF4-FFF2-40B4-BE49-F238E27FC236}">
                <a16:creationId xmlns:a16="http://schemas.microsoft.com/office/drawing/2014/main" id="{AF0E8E92-59A4-436B-A578-7D8297459C78}"/>
              </a:ext>
            </a:extLst>
          </p:cNvPr>
          <p:cNvSpPr/>
          <p:nvPr/>
        </p:nvSpPr>
        <p:spPr bwMode="auto">
          <a:xfrm>
            <a:off x="6036119" y="1106615"/>
            <a:ext cx="59677" cy="51446"/>
          </a:xfrm>
          <a:prstGeom prst="triangl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5" name="Freeform 5">
            <a:extLst>
              <a:ext uri="{FF2B5EF4-FFF2-40B4-BE49-F238E27FC236}">
                <a16:creationId xmlns:a16="http://schemas.microsoft.com/office/drawing/2014/main" id="{3781A4F0-72CB-46D5-BF27-13724816862A}"/>
              </a:ext>
            </a:extLst>
          </p:cNvPr>
          <p:cNvSpPr>
            <a:spLocks noEditPoints="1"/>
          </p:cNvSpPr>
          <p:nvPr/>
        </p:nvSpPr>
        <p:spPr bwMode="auto">
          <a:xfrm>
            <a:off x="6754004" y="1178894"/>
            <a:ext cx="152196" cy="253127"/>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36" name="Oval 235">
            <a:extLst>
              <a:ext uri="{FF2B5EF4-FFF2-40B4-BE49-F238E27FC236}">
                <a16:creationId xmlns:a16="http://schemas.microsoft.com/office/drawing/2014/main" id="{561262F3-2AC6-4FCE-9EE0-9A7A42A4A56B}"/>
              </a:ext>
            </a:extLst>
          </p:cNvPr>
          <p:cNvSpPr/>
          <p:nvPr/>
        </p:nvSpPr>
        <p:spPr bwMode="auto">
          <a:xfrm>
            <a:off x="6786751" y="1239753"/>
            <a:ext cx="72921" cy="72921"/>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3" name="Oval 232">
            <a:extLst>
              <a:ext uri="{FF2B5EF4-FFF2-40B4-BE49-F238E27FC236}">
                <a16:creationId xmlns:a16="http://schemas.microsoft.com/office/drawing/2014/main" id="{A1112203-99CF-4B37-B0FC-B32527E16208}"/>
              </a:ext>
            </a:extLst>
          </p:cNvPr>
          <p:cNvSpPr/>
          <p:nvPr/>
        </p:nvSpPr>
        <p:spPr bwMode="auto">
          <a:xfrm rot="4020000">
            <a:off x="7827659" y="2895838"/>
            <a:ext cx="461888" cy="46188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234" name="Freeform 5">
            <a:extLst>
              <a:ext uri="{FF2B5EF4-FFF2-40B4-BE49-F238E27FC236}">
                <a16:creationId xmlns:a16="http://schemas.microsoft.com/office/drawing/2014/main" id="{876BE0C1-3B8C-43AA-BDFA-103EC294770D}"/>
              </a:ext>
            </a:extLst>
          </p:cNvPr>
          <p:cNvSpPr>
            <a:spLocks noEditPoints="1"/>
          </p:cNvSpPr>
          <p:nvPr/>
        </p:nvSpPr>
        <p:spPr bwMode="auto">
          <a:xfrm>
            <a:off x="7952006" y="2989214"/>
            <a:ext cx="213194" cy="275136"/>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31" name="Oval 230">
            <a:extLst>
              <a:ext uri="{FF2B5EF4-FFF2-40B4-BE49-F238E27FC236}">
                <a16:creationId xmlns:a16="http://schemas.microsoft.com/office/drawing/2014/main" id="{F08D15F9-2583-472D-AD87-969B6887BEFC}"/>
              </a:ext>
            </a:extLst>
          </p:cNvPr>
          <p:cNvSpPr/>
          <p:nvPr/>
        </p:nvSpPr>
        <p:spPr bwMode="auto">
          <a:xfrm rot="4740000">
            <a:off x="4055091" y="3666896"/>
            <a:ext cx="458367" cy="458367"/>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232" name="plant_3">
            <a:extLst>
              <a:ext uri="{FF2B5EF4-FFF2-40B4-BE49-F238E27FC236}">
                <a16:creationId xmlns:a16="http://schemas.microsoft.com/office/drawing/2014/main" id="{0772E680-2CE3-421D-B83D-5079E0C8CC8C}"/>
              </a:ext>
            </a:extLst>
          </p:cNvPr>
          <p:cNvSpPr>
            <a:spLocks noChangeAspect="1" noEditPoints="1"/>
          </p:cNvSpPr>
          <p:nvPr/>
        </p:nvSpPr>
        <p:spPr bwMode="auto">
          <a:xfrm>
            <a:off x="4200323" y="3752803"/>
            <a:ext cx="167905" cy="286555"/>
          </a:xfrm>
          <a:custGeom>
            <a:avLst/>
            <a:gdLst>
              <a:gd name="T0" fmla="*/ 130 w 205"/>
              <a:gd name="T1" fmla="*/ 78 h 355"/>
              <a:gd name="T2" fmla="*/ 102 w 205"/>
              <a:gd name="T3" fmla="*/ 106 h 355"/>
              <a:gd name="T4" fmla="*/ 73 w 205"/>
              <a:gd name="T5" fmla="*/ 77 h 355"/>
              <a:gd name="T6" fmla="*/ 73 w 205"/>
              <a:gd name="T7" fmla="*/ 47 h 355"/>
              <a:gd name="T8" fmla="*/ 102 w 205"/>
              <a:gd name="T9" fmla="*/ 76 h 355"/>
              <a:gd name="T10" fmla="*/ 130 w 205"/>
              <a:gd name="T11" fmla="*/ 48 h 355"/>
              <a:gd name="T12" fmla="*/ 73 w 205"/>
              <a:gd name="T13" fmla="*/ 17 h 355"/>
              <a:gd name="T14" fmla="*/ 102 w 205"/>
              <a:gd name="T15" fmla="*/ 46 h 355"/>
              <a:gd name="T16" fmla="*/ 130 w 205"/>
              <a:gd name="T17" fmla="*/ 18 h 355"/>
              <a:gd name="T18" fmla="*/ 102 w 205"/>
              <a:gd name="T19" fmla="*/ 0 h 355"/>
              <a:gd name="T20" fmla="*/ 102 w 205"/>
              <a:gd name="T21" fmla="*/ 46 h 355"/>
              <a:gd name="T22" fmla="*/ 146 w 205"/>
              <a:gd name="T23" fmla="*/ 137 h 355"/>
              <a:gd name="T24" fmla="*/ 174 w 205"/>
              <a:gd name="T25" fmla="*/ 166 h 355"/>
              <a:gd name="T26" fmla="*/ 202 w 205"/>
              <a:gd name="T27" fmla="*/ 138 h 355"/>
              <a:gd name="T28" fmla="*/ 146 w 205"/>
              <a:gd name="T29" fmla="*/ 107 h 355"/>
              <a:gd name="T30" fmla="*/ 174 w 205"/>
              <a:gd name="T31" fmla="*/ 136 h 355"/>
              <a:gd name="T32" fmla="*/ 202 w 205"/>
              <a:gd name="T33" fmla="*/ 108 h 355"/>
              <a:gd name="T34" fmla="*/ 146 w 205"/>
              <a:gd name="T35" fmla="*/ 77 h 355"/>
              <a:gd name="T36" fmla="*/ 174 w 205"/>
              <a:gd name="T37" fmla="*/ 106 h 355"/>
              <a:gd name="T38" fmla="*/ 202 w 205"/>
              <a:gd name="T39" fmla="*/ 78 h 355"/>
              <a:gd name="T40" fmla="*/ 174 w 205"/>
              <a:gd name="T41" fmla="*/ 60 h 355"/>
              <a:gd name="T42" fmla="*/ 174 w 205"/>
              <a:gd name="T43" fmla="*/ 106 h 355"/>
              <a:gd name="T44" fmla="*/ 5 w 205"/>
              <a:gd name="T45" fmla="*/ 137 h 355"/>
              <a:gd name="T46" fmla="*/ 34 w 205"/>
              <a:gd name="T47" fmla="*/ 166 h 355"/>
              <a:gd name="T48" fmla="*/ 62 w 205"/>
              <a:gd name="T49" fmla="*/ 138 h 355"/>
              <a:gd name="T50" fmla="*/ 5 w 205"/>
              <a:gd name="T51" fmla="*/ 107 h 355"/>
              <a:gd name="T52" fmla="*/ 34 w 205"/>
              <a:gd name="T53" fmla="*/ 136 h 355"/>
              <a:gd name="T54" fmla="*/ 62 w 205"/>
              <a:gd name="T55" fmla="*/ 108 h 355"/>
              <a:gd name="T56" fmla="*/ 5 w 205"/>
              <a:gd name="T57" fmla="*/ 77 h 355"/>
              <a:gd name="T58" fmla="*/ 34 w 205"/>
              <a:gd name="T59" fmla="*/ 106 h 355"/>
              <a:gd name="T60" fmla="*/ 62 w 205"/>
              <a:gd name="T61" fmla="*/ 78 h 355"/>
              <a:gd name="T62" fmla="*/ 34 w 205"/>
              <a:gd name="T63" fmla="*/ 60 h 355"/>
              <a:gd name="T64" fmla="*/ 34 w 205"/>
              <a:gd name="T65" fmla="*/ 106 h 355"/>
              <a:gd name="T66" fmla="*/ 34 w 205"/>
              <a:gd name="T67" fmla="*/ 208 h 355"/>
              <a:gd name="T68" fmla="*/ 34 w 205"/>
              <a:gd name="T69" fmla="*/ 166 h 355"/>
              <a:gd name="T70" fmla="*/ 102 w 205"/>
              <a:gd name="T71" fmla="*/ 106 h 355"/>
              <a:gd name="T72" fmla="*/ 102 w 205"/>
              <a:gd name="T73" fmla="*/ 252 h 355"/>
              <a:gd name="T74" fmla="*/ 174 w 205"/>
              <a:gd name="T75" fmla="*/ 166 h 355"/>
              <a:gd name="T76" fmla="*/ 174 w 205"/>
              <a:gd name="T77" fmla="*/ 204 h 355"/>
              <a:gd name="T78" fmla="*/ 31 w 205"/>
              <a:gd name="T79" fmla="*/ 294 h 355"/>
              <a:gd name="T80" fmla="*/ 88 w 205"/>
              <a:gd name="T81" fmla="*/ 349 h 355"/>
              <a:gd name="T82" fmla="*/ 78 w 205"/>
              <a:gd name="T83" fmla="*/ 270 h 355"/>
              <a:gd name="T84" fmla="*/ 2 w 205"/>
              <a:gd name="T85" fmla="*/ 173 h 355"/>
              <a:gd name="T86" fmla="*/ 31 w 205"/>
              <a:gd name="T87" fmla="*/ 294 h 355"/>
              <a:gd name="T88" fmla="*/ 174 w 205"/>
              <a:gd name="T89" fmla="*/ 294 h 355"/>
              <a:gd name="T90" fmla="*/ 203 w 205"/>
              <a:gd name="T91" fmla="*/ 173 h 355"/>
              <a:gd name="T92" fmla="*/ 127 w 205"/>
              <a:gd name="T93" fmla="*/ 270 h 355"/>
              <a:gd name="T94" fmla="*/ 117 w 205"/>
              <a:gd name="T95" fmla="*/ 349 h 355"/>
              <a:gd name="T96" fmla="*/ 174 w 205"/>
              <a:gd name="T97" fmla="*/ 294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5" h="355">
                <a:moveTo>
                  <a:pt x="130" y="78"/>
                </a:moveTo>
                <a:cubicBezTo>
                  <a:pt x="102" y="106"/>
                  <a:pt x="102" y="106"/>
                  <a:pt x="102" y="106"/>
                </a:cubicBezTo>
                <a:cubicBezTo>
                  <a:pt x="73" y="77"/>
                  <a:pt x="73" y="77"/>
                  <a:pt x="73" y="77"/>
                </a:cubicBezTo>
                <a:moveTo>
                  <a:pt x="73" y="47"/>
                </a:moveTo>
                <a:cubicBezTo>
                  <a:pt x="102" y="76"/>
                  <a:pt x="102" y="76"/>
                  <a:pt x="102" y="76"/>
                </a:cubicBezTo>
                <a:cubicBezTo>
                  <a:pt x="130" y="48"/>
                  <a:pt x="130" y="48"/>
                  <a:pt x="130" y="48"/>
                </a:cubicBezTo>
                <a:moveTo>
                  <a:pt x="73" y="17"/>
                </a:moveTo>
                <a:cubicBezTo>
                  <a:pt x="102" y="46"/>
                  <a:pt x="102" y="46"/>
                  <a:pt x="102" y="46"/>
                </a:cubicBezTo>
                <a:cubicBezTo>
                  <a:pt x="130" y="18"/>
                  <a:pt x="130" y="18"/>
                  <a:pt x="130" y="18"/>
                </a:cubicBezTo>
                <a:moveTo>
                  <a:pt x="102" y="0"/>
                </a:moveTo>
                <a:cubicBezTo>
                  <a:pt x="102" y="46"/>
                  <a:pt x="102" y="46"/>
                  <a:pt x="102" y="46"/>
                </a:cubicBezTo>
                <a:moveTo>
                  <a:pt x="146" y="137"/>
                </a:moveTo>
                <a:cubicBezTo>
                  <a:pt x="174" y="166"/>
                  <a:pt x="174" y="166"/>
                  <a:pt x="174" y="166"/>
                </a:cubicBezTo>
                <a:cubicBezTo>
                  <a:pt x="202" y="138"/>
                  <a:pt x="202" y="138"/>
                  <a:pt x="202" y="138"/>
                </a:cubicBezTo>
                <a:moveTo>
                  <a:pt x="146" y="107"/>
                </a:moveTo>
                <a:cubicBezTo>
                  <a:pt x="174" y="136"/>
                  <a:pt x="174" y="136"/>
                  <a:pt x="174" y="136"/>
                </a:cubicBezTo>
                <a:cubicBezTo>
                  <a:pt x="202" y="108"/>
                  <a:pt x="202" y="108"/>
                  <a:pt x="202" y="108"/>
                </a:cubicBezTo>
                <a:moveTo>
                  <a:pt x="146" y="77"/>
                </a:moveTo>
                <a:cubicBezTo>
                  <a:pt x="174" y="106"/>
                  <a:pt x="174" y="106"/>
                  <a:pt x="174" y="106"/>
                </a:cubicBezTo>
                <a:cubicBezTo>
                  <a:pt x="202" y="78"/>
                  <a:pt x="202" y="78"/>
                  <a:pt x="202" y="78"/>
                </a:cubicBezTo>
                <a:moveTo>
                  <a:pt x="174" y="60"/>
                </a:moveTo>
                <a:cubicBezTo>
                  <a:pt x="174" y="106"/>
                  <a:pt x="174" y="106"/>
                  <a:pt x="174" y="106"/>
                </a:cubicBezTo>
                <a:moveTo>
                  <a:pt x="5" y="137"/>
                </a:moveTo>
                <a:cubicBezTo>
                  <a:pt x="34" y="166"/>
                  <a:pt x="34" y="166"/>
                  <a:pt x="34" y="166"/>
                </a:cubicBezTo>
                <a:cubicBezTo>
                  <a:pt x="62" y="138"/>
                  <a:pt x="62" y="138"/>
                  <a:pt x="62" y="138"/>
                </a:cubicBezTo>
                <a:moveTo>
                  <a:pt x="5" y="107"/>
                </a:moveTo>
                <a:cubicBezTo>
                  <a:pt x="34" y="136"/>
                  <a:pt x="34" y="136"/>
                  <a:pt x="34" y="136"/>
                </a:cubicBezTo>
                <a:cubicBezTo>
                  <a:pt x="62" y="108"/>
                  <a:pt x="62" y="108"/>
                  <a:pt x="62" y="108"/>
                </a:cubicBezTo>
                <a:moveTo>
                  <a:pt x="5" y="77"/>
                </a:moveTo>
                <a:cubicBezTo>
                  <a:pt x="34" y="106"/>
                  <a:pt x="34" y="106"/>
                  <a:pt x="34" y="106"/>
                </a:cubicBezTo>
                <a:cubicBezTo>
                  <a:pt x="62" y="78"/>
                  <a:pt x="62" y="78"/>
                  <a:pt x="62" y="78"/>
                </a:cubicBezTo>
                <a:moveTo>
                  <a:pt x="34" y="60"/>
                </a:moveTo>
                <a:cubicBezTo>
                  <a:pt x="34" y="106"/>
                  <a:pt x="34" y="106"/>
                  <a:pt x="34" y="106"/>
                </a:cubicBezTo>
                <a:moveTo>
                  <a:pt x="34" y="208"/>
                </a:moveTo>
                <a:cubicBezTo>
                  <a:pt x="34" y="166"/>
                  <a:pt x="34" y="166"/>
                  <a:pt x="34" y="166"/>
                </a:cubicBezTo>
                <a:moveTo>
                  <a:pt x="102" y="106"/>
                </a:moveTo>
                <a:cubicBezTo>
                  <a:pt x="102" y="252"/>
                  <a:pt x="102" y="252"/>
                  <a:pt x="102" y="252"/>
                </a:cubicBezTo>
                <a:moveTo>
                  <a:pt x="174" y="166"/>
                </a:moveTo>
                <a:cubicBezTo>
                  <a:pt x="174" y="204"/>
                  <a:pt x="174" y="204"/>
                  <a:pt x="174" y="204"/>
                </a:cubicBezTo>
                <a:moveTo>
                  <a:pt x="31" y="294"/>
                </a:moveTo>
                <a:cubicBezTo>
                  <a:pt x="45" y="323"/>
                  <a:pt x="75" y="355"/>
                  <a:pt x="88" y="349"/>
                </a:cubicBezTo>
                <a:cubicBezTo>
                  <a:pt x="101" y="342"/>
                  <a:pt x="97" y="307"/>
                  <a:pt x="78" y="270"/>
                </a:cubicBezTo>
                <a:cubicBezTo>
                  <a:pt x="60" y="233"/>
                  <a:pt x="3" y="173"/>
                  <a:pt x="2" y="173"/>
                </a:cubicBezTo>
                <a:cubicBezTo>
                  <a:pt x="0" y="172"/>
                  <a:pt x="17" y="264"/>
                  <a:pt x="31" y="294"/>
                </a:cubicBezTo>
                <a:close/>
                <a:moveTo>
                  <a:pt x="174" y="294"/>
                </a:moveTo>
                <a:cubicBezTo>
                  <a:pt x="189" y="264"/>
                  <a:pt x="205" y="172"/>
                  <a:pt x="203" y="173"/>
                </a:cubicBezTo>
                <a:cubicBezTo>
                  <a:pt x="202" y="173"/>
                  <a:pt x="145" y="233"/>
                  <a:pt x="127" y="270"/>
                </a:cubicBezTo>
                <a:cubicBezTo>
                  <a:pt x="109" y="307"/>
                  <a:pt x="104" y="342"/>
                  <a:pt x="117" y="349"/>
                </a:cubicBezTo>
                <a:cubicBezTo>
                  <a:pt x="130" y="355"/>
                  <a:pt x="160" y="323"/>
                  <a:pt x="174" y="294"/>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22" name="Oval 221">
            <a:extLst>
              <a:ext uri="{FF2B5EF4-FFF2-40B4-BE49-F238E27FC236}">
                <a16:creationId xmlns:a16="http://schemas.microsoft.com/office/drawing/2014/main" id="{0FCB27CC-AFF0-48EF-90F0-30715DA8AF88}"/>
              </a:ext>
            </a:extLst>
          </p:cNvPr>
          <p:cNvSpPr/>
          <p:nvPr/>
        </p:nvSpPr>
        <p:spPr bwMode="auto">
          <a:xfrm>
            <a:off x="8237612" y="2432900"/>
            <a:ext cx="461888" cy="46188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203" name="Oval 202">
            <a:extLst>
              <a:ext uri="{FF2B5EF4-FFF2-40B4-BE49-F238E27FC236}">
                <a16:creationId xmlns:a16="http://schemas.microsoft.com/office/drawing/2014/main" id="{08B7DE9B-1DD7-4F32-B176-6B57A0F858E0}"/>
              </a:ext>
            </a:extLst>
          </p:cNvPr>
          <p:cNvSpPr/>
          <p:nvPr/>
        </p:nvSpPr>
        <p:spPr bwMode="auto">
          <a:xfrm rot="1320000">
            <a:off x="7892092" y="1577707"/>
            <a:ext cx="461888" cy="46188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204" name="Group 4">
            <a:extLst>
              <a:ext uri="{FF2B5EF4-FFF2-40B4-BE49-F238E27FC236}">
                <a16:creationId xmlns:a16="http://schemas.microsoft.com/office/drawing/2014/main" id="{932AF9E9-9655-468E-8CF3-567D18878280}"/>
              </a:ext>
            </a:extLst>
          </p:cNvPr>
          <p:cNvGrpSpPr>
            <a:grpSpLocks noChangeAspect="1"/>
          </p:cNvGrpSpPr>
          <p:nvPr/>
        </p:nvGrpSpPr>
        <p:grpSpPr bwMode="auto">
          <a:xfrm>
            <a:off x="7967453" y="1720173"/>
            <a:ext cx="311165" cy="176956"/>
            <a:chOff x="4568" y="3459"/>
            <a:chExt cx="313" cy="178"/>
          </a:xfrm>
        </p:grpSpPr>
        <p:sp>
          <p:nvSpPr>
            <p:cNvPr id="205" name="Freeform 5">
              <a:extLst>
                <a:ext uri="{FF2B5EF4-FFF2-40B4-BE49-F238E27FC236}">
                  <a16:creationId xmlns:a16="http://schemas.microsoft.com/office/drawing/2014/main" id="{9C932022-0D3C-4EB8-8849-B8879CA98227}"/>
                </a:ext>
              </a:extLst>
            </p:cNvPr>
            <p:cNvSpPr>
              <a:spLocks/>
            </p:cNvSpPr>
            <p:nvPr/>
          </p:nvSpPr>
          <p:spPr bwMode="auto">
            <a:xfrm>
              <a:off x="4645" y="3512"/>
              <a:ext cx="159" cy="63"/>
            </a:xfrm>
            <a:custGeom>
              <a:avLst/>
              <a:gdLst>
                <a:gd name="T0" fmla="*/ 220 w 220"/>
                <a:gd name="T1" fmla="*/ 67 h 87"/>
                <a:gd name="T2" fmla="*/ 199 w 220"/>
                <a:gd name="T3" fmla="*/ 87 h 87"/>
                <a:gd name="T4" fmla="*/ 21 w 220"/>
                <a:gd name="T5" fmla="*/ 87 h 87"/>
                <a:gd name="T6" fmla="*/ 0 w 220"/>
                <a:gd name="T7" fmla="*/ 67 h 87"/>
                <a:gd name="T8" fmla="*/ 0 w 220"/>
                <a:gd name="T9" fmla="*/ 21 h 87"/>
                <a:gd name="T10" fmla="*/ 21 w 220"/>
                <a:gd name="T11" fmla="*/ 0 h 87"/>
                <a:gd name="T12" fmla="*/ 199 w 220"/>
                <a:gd name="T13" fmla="*/ 0 h 87"/>
                <a:gd name="T14" fmla="*/ 220 w 220"/>
                <a:gd name="T15" fmla="*/ 21 h 87"/>
                <a:gd name="T16" fmla="*/ 220 w 220"/>
                <a:gd name="T17" fmla="*/ 6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87">
                  <a:moveTo>
                    <a:pt x="220" y="67"/>
                  </a:moveTo>
                  <a:cubicBezTo>
                    <a:pt x="220" y="78"/>
                    <a:pt x="210" y="87"/>
                    <a:pt x="199" y="87"/>
                  </a:cubicBezTo>
                  <a:cubicBezTo>
                    <a:pt x="21" y="87"/>
                    <a:pt x="21" y="87"/>
                    <a:pt x="21" y="87"/>
                  </a:cubicBezTo>
                  <a:cubicBezTo>
                    <a:pt x="10" y="87"/>
                    <a:pt x="0" y="78"/>
                    <a:pt x="0" y="67"/>
                  </a:cubicBezTo>
                  <a:cubicBezTo>
                    <a:pt x="0" y="21"/>
                    <a:pt x="0" y="21"/>
                    <a:pt x="0" y="21"/>
                  </a:cubicBezTo>
                  <a:cubicBezTo>
                    <a:pt x="0" y="10"/>
                    <a:pt x="10" y="0"/>
                    <a:pt x="21" y="0"/>
                  </a:cubicBezTo>
                  <a:cubicBezTo>
                    <a:pt x="199" y="0"/>
                    <a:pt x="199" y="0"/>
                    <a:pt x="199" y="0"/>
                  </a:cubicBezTo>
                  <a:cubicBezTo>
                    <a:pt x="210" y="0"/>
                    <a:pt x="220" y="10"/>
                    <a:pt x="220" y="21"/>
                  </a:cubicBezTo>
                  <a:lnTo>
                    <a:pt x="220" y="67"/>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06" name="Freeform 6">
              <a:extLst>
                <a:ext uri="{FF2B5EF4-FFF2-40B4-BE49-F238E27FC236}">
                  <a16:creationId xmlns:a16="http://schemas.microsoft.com/office/drawing/2014/main" id="{E0DBF5EB-4AAF-4855-99AF-BB78971A5615}"/>
                </a:ext>
              </a:extLst>
            </p:cNvPr>
            <p:cNvSpPr>
              <a:spLocks/>
            </p:cNvSpPr>
            <p:nvPr/>
          </p:nvSpPr>
          <p:spPr bwMode="auto">
            <a:xfrm>
              <a:off x="4603" y="3511"/>
              <a:ext cx="24" cy="65"/>
            </a:xfrm>
            <a:custGeom>
              <a:avLst/>
              <a:gdLst>
                <a:gd name="T0" fmla="*/ 33 w 33"/>
                <a:gd name="T1" fmla="*/ 72 h 89"/>
                <a:gd name="T2" fmla="*/ 17 w 33"/>
                <a:gd name="T3" fmla="*/ 89 h 89"/>
                <a:gd name="T4" fmla="*/ 0 w 33"/>
                <a:gd name="T5" fmla="*/ 72 h 89"/>
                <a:gd name="T6" fmla="*/ 0 w 33"/>
                <a:gd name="T7" fmla="*/ 17 h 89"/>
                <a:gd name="T8" fmla="*/ 17 w 33"/>
                <a:gd name="T9" fmla="*/ 0 h 89"/>
                <a:gd name="T10" fmla="*/ 33 w 33"/>
                <a:gd name="T11" fmla="*/ 17 h 89"/>
                <a:gd name="T12" fmla="*/ 33 w 33"/>
                <a:gd name="T13" fmla="*/ 72 h 89"/>
              </a:gdLst>
              <a:ahLst/>
              <a:cxnLst>
                <a:cxn ang="0">
                  <a:pos x="T0" y="T1"/>
                </a:cxn>
                <a:cxn ang="0">
                  <a:pos x="T2" y="T3"/>
                </a:cxn>
                <a:cxn ang="0">
                  <a:pos x="T4" y="T5"/>
                </a:cxn>
                <a:cxn ang="0">
                  <a:pos x="T6" y="T7"/>
                </a:cxn>
                <a:cxn ang="0">
                  <a:pos x="T8" y="T9"/>
                </a:cxn>
                <a:cxn ang="0">
                  <a:pos x="T10" y="T11"/>
                </a:cxn>
                <a:cxn ang="0">
                  <a:pos x="T12" y="T13"/>
                </a:cxn>
              </a:cxnLst>
              <a:rect l="0" t="0" r="r" b="b"/>
              <a:pathLst>
                <a:path w="33" h="89">
                  <a:moveTo>
                    <a:pt x="33" y="72"/>
                  </a:moveTo>
                  <a:cubicBezTo>
                    <a:pt x="33" y="82"/>
                    <a:pt x="26" y="89"/>
                    <a:pt x="17" y="89"/>
                  </a:cubicBezTo>
                  <a:cubicBezTo>
                    <a:pt x="7" y="89"/>
                    <a:pt x="0" y="82"/>
                    <a:pt x="0" y="72"/>
                  </a:cubicBezTo>
                  <a:cubicBezTo>
                    <a:pt x="0" y="17"/>
                    <a:pt x="0" y="17"/>
                    <a:pt x="0" y="17"/>
                  </a:cubicBezTo>
                  <a:cubicBezTo>
                    <a:pt x="0" y="7"/>
                    <a:pt x="7" y="0"/>
                    <a:pt x="17" y="0"/>
                  </a:cubicBezTo>
                  <a:cubicBezTo>
                    <a:pt x="26" y="0"/>
                    <a:pt x="33" y="7"/>
                    <a:pt x="33" y="17"/>
                  </a:cubicBezTo>
                  <a:lnTo>
                    <a:pt x="33" y="72"/>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07" name="Line 7">
              <a:extLst>
                <a:ext uri="{FF2B5EF4-FFF2-40B4-BE49-F238E27FC236}">
                  <a16:creationId xmlns:a16="http://schemas.microsoft.com/office/drawing/2014/main" id="{DAF45C17-23AD-4907-B42B-219B00AE8026}"/>
                </a:ext>
              </a:extLst>
            </p:cNvPr>
            <p:cNvSpPr>
              <a:spLocks noChangeShapeType="1"/>
            </p:cNvSpPr>
            <p:nvPr/>
          </p:nvSpPr>
          <p:spPr bwMode="auto">
            <a:xfrm>
              <a:off x="4568" y="3479"/>
              <a:ext cx="92"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08" name="Line 8">
              <a:extLst>
                <a:ext uri="{FF2B5EF4-FFF2-40B4-BE49-F238E27FC236}">
                  <a16:creationId xmlns:a16="http://schemas.microsoft.com/office/drawing/2014/main" id="{F03F664E-2AB7-4C47-9964-C0DC6AF93038}"/>
                </a:ext>
              </a:extLst>
            </p:cNvPr>
            <p:cNvSpPr>
              <a:spLocks noChangeShapeType="1"/>
            </p:cNvSpPr>
            <p:nvPr/>
          </p:nvSpPr>
          <p:spPr bwMode="auto">
            <a:xfrm>
              <a:off x="4614" y="3479"/>
              <a:ext cx="0" cy="32"/>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09" name="Freeform 9">
              <a:extLst>
                <a:ext uri="{FF2B5EF4-FFF2-40B4-BE49-F238E27FC236}">
                  <a16:creationId xmlns:a16="http://schemas.microsoft.com/office/drawing/2014/main" id="{347F8E9C-920F-41E8-A14F-4EC8560AE400}"/>
                </a:ext>
              </a:extLst>
            </p:cNvPr>
            <p:cNvSpPr>
              <a:spLocks/>
            </p:cNvSpPr>
            <p:nvPr/>
          </p:nvSpPr>
          <p:spPr bwMode="auto">
            <a:xfrm>
              <a:off x="4605" y="3459"/>
              <a:ext cx="19" cy="20"/>
            </a:xfrm>
            <a:custGeom>
              <a:avLst/>
              <a:gdLst>
                <a:gd name="T0" fmla="*/ 26 w 26"/>
                <a:gd name="T1" fmla="*/ 27 h 28"/>
                <a:gd name="T2" fmla="*/ 26 w 26"/>
                <a:gd name="T3" fmla="*/ 8 h 28"/>
                <a:gd name="T4" fmla="*/ 18 w 26"/>
                <a:gd name="T5" fmla="*/ 0 h 28"/>
                <a:gd name="T6" fmla="*/ 8 w 26"/>
                <a:gd name="T7" fmla="*/ 0 h 28"/>
                <a:gd name="T8" fmla="*/ 0 w 26"/>
                <a:gd name="T9" fmla="*/ 8 h 28"/>
                <a:gd name="T10" fmla="*/ 0 w 26"/>
                <a:gd name="T11" fmla="*/ 28 h 28"/>
              </a:gdLst>
              <a:ahLst/>
              <a:cxnLst>
                <a:cxn ang="0">
                  <a:pos x="T0" y="T1"/>
                </a:cxn>
                <a:cxn ang="0">
                  <a:pos x="T2" y="T3"/>
                </a:cxn>
                <a:cxn ang="0">
                  <a:pos x="T4" y="T5"/>
                </a:cxn>
                <a:cxn ang="0">
                  <a:pos x="T6" y="T7"/>
                </a:cxn>
                <a:cxn ang="0">
                  <a:pos x="T8" y="T9"/>
                </a:cxn>
                <a:cxn ang="0">
                  <a:pos x="T10" y="T11"/>
                </a:cxn>
              </a:cxnLst>
              <a:rect l="0" t="0" r="r" b="b"/>
              <a:pathLst>
                <a:path w="26" h="28">
                  <a:moveTo>
                    <a:pt x="26" y="27"/>
                  </a:moveTo>
                  <a:cubicBezTo>
                    <a:pt x="26" y="8"/>
                    <a:pt x="26" y="8"/>
                    <a:pt x="26" y="8"/>
                  </a:cubicBezTo>
                  <a:cubicBezTo>
                    <a:pt x="26" y="4"/>
                    <a:pt x="23" y="0"/>
                    <a:pt x="18" y="0"/>
                  </a:cubicBezTo>
                  <a:cubicBezTo>
                    <a:pt x="8" y="0"/>
                    <a:pt x="8" y="0"/>
                    <a:pt x="8" y="0"/>
                  </a:cubicBezTo>
                  <a:cubicBezTo>
                    <a:pt x="3" y="0"/>
                    <a:pt x="0" y="4"/>
                    <a:pt x="0" y="8"/>
                  </a:cubicBezTo>
                  <a:cubicBezTo>
                    <a:pt x="0" y="28"/>
                    <a:pt x="0" y="28"/>
                    <a:pt x="0" y="28"/>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10" name="Line 10">
              <a:extLst>
                <a:ext uri="{FF2B5EF4-FFF2-40B4-BE49-F238E27FC236}">
                  <a16:creationId xmlns:a16="http://schemas.microsoft.com/office/drawing/2014/main" id="{77B7CE37-D42F-4BD1-AD90-CA6F9AB70D76}"/>
                </a:ext>
              </a:extLst>
            </p:cNvPr>
            <p:cNvSpPr>
              <a:spLocks noChangeShapeType="1"/>
            </p:cNvSpPr>
            <p:nvPr/>
          </p:nvSpPr>
          <p:spPr bwMode="auto">
            <a:xfrm>
              <a:off x="4627" y="3526"/>
              <a:ext cx="18"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11" name="Line 11">
              <a:extLst>
                <a:ext uri="{FF2B5EF4-FFF2-40B4-BE49-F238E27FC236}">
                  <a16:creationId xmlns:a16="http://schemas.microsoft.com/office/drawing/2014/main" id="{D1B26330-94FE-4EC2-9047-A3376340F6F2}"/>
                </a:ext>
              </a:extLst>
            </p:cNvPr>
            <p:cNvSpPr>
              <a:spLocks noChangeShapeType="1"/>
            </p:cNvSpPr>
            <p:nvPr/>
          </p:nvSpPr>
          <p:spPr bwMode="auto">
            <a:xfrm>
              <a:off x="4627" y="3558"/>
              <a:ext cx="18"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12" name="Freeform 12">
              <a:extLst>
                <a:ext uri="{FF2B5EF4-FFF2-40B4-BE49-F238E27FC236}">
                  <a16:creationId xmlns:a16="http://schemas.microsoft.com/office/drawing/2014/main" id="{66971780-91E3-4320-B381-CD4CB0883A4D}"/>
                </a:ext>
              </a:extLst>
            </p:cNvPr>
            <p:cNvSpPr>
              <a:spLocks/>
            </p:cNvSpPr>
            <p:nvPr/>
          </p:nvSpPr>
          <p:spPr bwMode="auto">
            <a:xfrm>
              <a:off x="4822" y="3511"/>
              <a:ext cx="24" cy="65"/>
            </a:xfrm>
            <a:custGeom>
              <a:avLst/>
              <a:gdLst>
                <a:gd name="T0" fmla="*/ 0 w 33"/>
                <a:gd name="T1" fmla="*/ 72 h 89"/>
                <a:gd name="T2" fmla="*/ 17 w 33"/>
                <a:gd name="T3" fmla="*/ 89 h 89"/>
                <a:gd name="T4" fmla="*/ 33 w 33"/>
                <a:gd name="T5" fmla="*/ 72 h 89"/>
                <a:gd name="T6" fmla="*/ 33 w 33"/>
                <a:gd name="T7" fmla="*/ 17 h 89"/>
                <a:gd name="T8" fmla="*/ 17 w 33"/>
                <a:gd name="T9" fmla="*/ 0 h 89"/>
                <a:gd name="T10" fmla="*/ 0 w 33"/>
                <a:gd name="T11" fmla="*/ 17 h 89"/>
                <a:gd name="T12" fmla="*/ 0 w 33"/>
                <a:gd name="T13" fmla="*/ 72 h 89"/>
              </a:gdLst>
              <a:ahLst/>
              <a:cxnLst>
                <a:cxn ang="0">
                  <a:pos x="T0" y="T1"/>
                </a:cxn>
                <a:cxn ang="0">
                  <a:pos x="T2" y="T3"/>
                </a:cxn>
                <a:cxn ang="0">
                  <a:pos x="T4" y="T5"/>
                </a:cxn>
                <a:cxn ang="0">
                  <a:pos x="T6" y="T7"/>
                </a:cxn>
                <a:cxn ang="0">
                  <a:pos x="T8" y="T9"/>
                </a:cxn>
                <a:cxn ang="0">
                  <a:pos x="T10" y="T11"/>
                </a:cxn>
                <a:cxn ang="0">
                  <a:pos x="T12" y="T13"/>
                </a:cxn>
              </a:cxnLst>
              <a:rect l="0" t="0" r="r" b="b"/>
              <a:pathLst>
                <a:path w="33" h="89">
                  <a:moveTo>
                    <a:pt x="0" y="72"/>
                  </a:moveTo>
                  <a:cubicBezTo>
                    <a:pt x="0" y="82"/>
                    <a:pt x="8" y="89"/>
                    <a:pt x="17" y="89"/>
                  </a:cubicBezTo>
                  <a:cubicBezTo>
                    <a:pt x="26" y="89"/>
                    <a:pt x="33" y="82"/>
                    <a:pt x="33" y="72"/>
                  </a:cubicBezTo>
                  <a:cubicBezTo>
                    <a:pt x="33" y="17"/>
                    <a:pt x="33" y="17"/>
                    <a:pt x="33" y="17"/>
                  </a:cubicBezTo>
                  <a:cubicBezTo>
                    <a:pt x="33" y="7"/>
                    <a:pt x="26" y="0"/>
                    <a:pt x="17" y="0"/>
                  </a:cubicBezTo>
                  <a:cubicBezTo>
                    <a:pt x="8" y="0"/>
                    <a:pt x="0" y="7"/>
                    <a:pt x="0" y="17"/>
                  </a:cubicBezTo>
                  <a:lnTo>
                    <a:pt x="0" y="72"/>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13" name="Line 13">
              <a:extLst>
                <a:ext uri="{FF2B5EF4-FFF2-40B4-BE49-F238E27FC236}">
                  <a16:creationId xmlns:a16="http://schemas.microsoft.com/office/drawing/2014/main" id="{14478DC9-3FB2-4DBF-8D72-D8D27A9202FD}"/>
                </a:ext>
              </a:extLst>
            </p:cNvPr>
            <p:cNvSpPr>
              <a:spLocks noChangeShapeType="1"/>
            </p:cNvSpPr>
            <p:nvPr/>
          </p:nvSpPr>
          <p:spPr bwMode="auto">
            <a:xfrm flipH="1">
              <a:off x="4789" y="3479"/>
              <a:ext cx="92"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14" name="Line 14">
              <a:extLst>
                <a:ext uri="{FF2B5EF4-FFF2-40B4-BE49-F238E27FC236}">
                  <a16:creationId xmlns:a16="http://schemas.microsoft.com/office/drawing/2014/main" id="{2C619B6D-8394-4D5E-AA58-3F52EA7CC510}"/>
                </a:ext>
              </a:extLst>
            </p:cNvPr>
            <p:cNvSpPr>
              <a:spLocks noChangeShapeType="1"/>
            </p:cNvSpPr>
            <p:nvPr/>
          </p:nvSpPr>
          <p:spPr bwMode="auto">
            <a:xfrm>
              <a:off x="4835" y="3479"/>
              <a:ext cx="0" cy="32"/>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15" name="Freeform 15">
              <a:extLst>
                <a:ext uri="{FF2B5EF4-FFF2-40B4-BE49-F238E27FC236}">
                  <a16:creationId xmlns:a16="http://schemas.microsoft.com/office/drawing/2014/main" id="{FEED797D-99DC-4D89-9BF6-BF02665677C2}"/>
                </a:ext>
              </a:extLst>
            </p:cNvPr>
            <p:cNvSpPr>
              <a:spLocks/>
            </p:cNvSpPr>
            <p:nvPr/>
          </p:nvSpPr>
          <p:spPr bwMode="auto">
            <a:xfrm>
              <a:off x="4825" y="3459"/>
              <a:ext cx="19" cy="20"/>
            </a:xfrm>
            <a:custGeom>
              <a:avLst/>
              <a:gdLst>
                <a:gd name="T0" fmla="*/ 0 w 27"/>
                <a:gd name="T1" fmla="*/ 27 h 28"/>
                <a:gd name="T2" fmla="*/ 0 w 27"/>
                <a:gd name="T3" fmla="*/ 8 h 28"/>
                <a:gd name="T4" fmla="*/ 8 w 27"/>
                <a:gd name="T5" fmla="*/ 0 h 28"/>
                <a:gd name="T6" fmla="*/ 19 w 27"/>
                <a:gd name="T7" fmla="*/ 0 h 28"/>
                <a:gd name="T8" fmla="*/ 27 w 27"/>
                <a:gd name="T9" fmla="*/ 8 h 28"/>
                <a:gd name="T10" fmla="*/ 27 w 27"/>
                <a:gd name="T11" fmla="*/ 28 h 28"/>
              </a:gdLst>
              <a:ahLst/>
              <a:cxnLst>
                <a:cxn ang="0">
                  <a:pos x="T0" y="T1"/>
                </a:cxn>
                <a:cxn ang="0">
                  <a:pos x="T2" y="T3"/>
                </a:cxn>
                <a:cxn ang="0">
                  <a:pos x="T4" y="T5"/>
                </a:cxn>
                <a:cxn ang="0">
                  <a:pos x="T6" y="T7"/>
                </a:cxn>
                <a:cxn ang="0">
                  <a:pos x="T8" y="T9"/>
                </a:cxn>
                <a:cxn ang="0">
                  <a:pos x="T10" y="T11"/>
                </a:cxn>
              </a:cxnLst>
              <a:rect l="0" t="0" r="r" b="b"/>
              <a:pathLst>
                <a:path w="27" h="28">
                  <a:moveTo>
                    <a:pt x="0" y="27"/>
                  </a:moveTo>
                  <a:cubicBezTo>
                    <a:pt x="0" y="8"/>
                    <a:pt x="0" y="8"/>
                    <a:pt x="0" y="8"/>
                  </a:cubicBezTo>
                  <a:cubicBezTo>
                    <a:pt x="0" y="4"/>
                    <a:pt x="4" y="0"/>
                    <a:pt x="8" y="0"/>
                  </a:cubicBezTo>
                  <a:cubicBezTo>
                    <a:pt x="19" y="0"/>
                    <a:pt x="19" y="0"/>
                    <a:pt x="19" y="0"/>
                  </a:cubicBezTo>
                  <a:cubicBezTo>
                    <a:pt x="23" y="0"/>
                    <a:pt x="27" y="4"/>
                    <a:pt x="27" y="8"/>
                  </a:cubicBezTo>
                  <a:cubicBezTo>
                    <a:pt x="27" y="28"/>
                    <a:pt x="27" y="28"/>
                    <a:pt x="27" y="28"/>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16" name="Line 16">
              <a:extLst>
                <a:ext uri="{FF2B5EF4-FFF2-40B4-BE49-F238E27FC236}">
                  <a16:creationId xmlns:a16="http://schemas.microsoft.com/office/drawing/2014/main" id="{59F8E84D-2663-42FB-961C-0897DCA14CD3}"/>
                </a:ext>
              </a:extLst>
            </p:cNvPr>
            <p:cNvSpPr>
              <a:spLocks noChangeShapeType="1"/>
            </p:cNvSpPr>
            <p:nvPr/>
          </p:nvSpPr>
          <p:spPr bwMode="auto">
            <a:xfrm flipH="1">
              <a:off x="4804" y="3526"/>
              <a:ext cx="18"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17" name="Line 17">
              <a:extLst>
                <a:ext uri="{FF2B5EF4-FFF2-40B4-BE49-F238E27FC236}">
                  <a16:creationId xmlns:a16="http://schemas.microsoft.com/office/drawing/2014/main" id="{C8880D94-BEC7-42E4-8560-CEE2A4A62124}"/>
                </a:ext>
              </a:extLst>
            </p:cNvPr>
            <p:cNvSpPr>
              <a:spLocks noChangeShapeType="1"/>
            </p:cNvSpPr>
            <p:nvPr/>
          </p:nvSpPr>
          <p:spPr bwMode="auto">
            <a:xfrm flipH="1">
              <a:off x="4804" y="3558"/>
              <a:ext cx="18"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18" name="Line 18">
              <a:extLst>
                <a:ext uri="{FF2B5EF4-FFF2-40B4-BE49-F238E27FC236}">
                  <a16:creationId xmlns:a16="http://schemas.microsoft.com/office/drawing/2014/main" id="{29A84A97-8570-4CE9-B48D-70776E4C468E}"/>
                </a:ext>
              </a:extLst>
            </p:cNvPr>
            <p:cNvSpPr>
              <a:spLocks noChangeShapeType="1"/>
            </p:cNvSpPr>
            <p:nvPr/>
          </p:nvSpPr>
          <p:spPr bwMode="auto">
            <a:xfrm flipH="1">
              <a:off x="4638" y="3573"/>
              <a:ext cx="33" cy="64"/>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19" name="Line 19">
              <a:extLst>
                <a:ext uri="{FF2B5EF4-FFF2-40B4-BE49-F238E27FC236}">
                  <a16:creationId xmlns:a16="http://schemas.microsoft.com/office/drawing/2014/main" id="{A3EE03C7-9945-4568-81C5-A3F8EB79E269}"/>
                </a:ext>
              </a:extLst>
            </p:cNvPr>
            <p:cNvSpPr>
              <a:spLocks noChangeShapeType="1"/>
            </p:cNvSpPr>
            <p:nvPr/>
          </p:nvSpPr>
          <p:spPr bwMode="auto">
            <a:xfrm>
              <a:off x="4777" y="3573"/>
              <a:ext cx="33" cy="64"/>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20" name="Line 20">
              <a:extLst>
                <a:ext uri="{FF2B5EF4-FFF2-40B4-BE49-F238E27FC236}">
                  <a16:creationId xmlns:a16="http://schemas.microsoft.com/office/drawing/2014/main" id="{EC45CF8E-0FF0-49D8-A59F-41065290AE81}"/>
                </a:ext>
              </a:extLst>
            </p:cNvPr>
            <p:cNvSpPr>
              <a:spLocks noChangeShapeType="1"/>
            </p:cNvSpPr>
            <p:nvPr/>
          </p:nvSpPr>
          <p:spPr bwMode="auto">
            <a:xfrm>
              <a:off x="4683" y="3552"/>
              <a:ext cx="83"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21" name="Freeform 21">
              <a:extLst>
                <a:ext uri="{FF2B5EF4-FFF2-40B4-BE49-F238E27FC236}">
                  <a16:creationId xmlns:a16="http://schemas.microsoft.com/office/drawing/2014/main" id="{45E70F7B-70D1-4EB8-8B5C-29B9DA26F5A6}"/>
                </a:ext>
              </a:extLst>
            </p:cNvPr>
            <p:cNvSpPr>
              <a:spLocks/>
            </p:cNvSpPr>
            <p:nvPr/>
          </p:nvSpPr>
          <p:spPr bwMode="auto">
            <a:xfrm>
              <a:off x="4686" y="3512"/>
              <a:ext cx="76" cy="20"/>
            </a:xfrm>
            <a:custGeom>
              <a:avLst/>
              <a:gdLst>
                <a:gd name="T0" fmla="*/ 0 w 76"/>
                <a:gd name="T1" fmla="*/ 0 h 20"/>
                <a:gd name="T2" fmla="*/ 12 w 76"/>
                <a:gd name="T3" fmla="*/ 20 h 20"/>
                <a:gd name="T4" fmla="*/ 64 w 76"/>
                <a:gd name="T5" fmla="*/ 20 h 20"/>
                <a:gd name="T6" fmla="*/ 76 w 76"/>
                <a:gd name="T7" fmla="*/ 0 h 20"/>
              </a:gdLst>
              <a:ahLst/>
              <a:cxnLst>
                <a:cxn ang="0">
                  <a:pos x="T0" y="T1"/>
                </a:cxn>
                <a:cxn ang="0">
                  <a:pos x="T2" y="T3"/>
                </a:cxn>
                <a:cxn ang="0">
                  <a:pos x="T4" y="T5"/>
                </a:cxn>
                <a:cxn ang="0">
                  <a:pos x="T6" y="T7"/>
                </a:cxn>
              </a:cxnLst>
              <a:rect l="0" t="0" r="r" b="b"/>
              <a:pathLst>
                <a:path w="76" h="20">
                  <a:moveTo>
                    <a:pt x="0" y="0"/>
                  </a:moveTo>
                  <a:lnTo>
                    <a:pt x="12" y="20"/>
                  </a:lnTo>
                  <a:lnTo>
                    <a:pt x="64" y="20"/>
                  </a:lnTo>
                  <a:lnTo>
                    <a:pt x="76"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99" name="Oval 198">
            <a:extLst>
              <a:ext uri="{FF2B5EF4-FFF2-40B4-BE49-F238E27FC236}">
                <a16:creationId xmlns:a16="http://schemas.microsoft.com/office/drawing/2014/main" id="{C65DE35C-B246-455C-A65D-0BD381F09D6F}"/>
              </a:ext>
            </a:extLst>
          </p:cNvPr>
          <p:cNvSpPr/>
          <p:nvPr/>
        </p:nvSpPr>
        <p:spPr bwMode="auto">
          <a:xfrm rot="20280000" flipH="1">
            <a:off x="8229202" y="3396592"/>
            <a:ext cx="461888" cy="46188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95" name="Oval 194">
            <a:extLst>
              <a:ext uri="{FF2B5EF4-FFF2-40B4-BE49-F238E27FC236}">
                <a16:creationId xmlns:a16="http://schemas.microsoft.com/office/drawing/2014/main" id="{F653FE1A-D9F3-4533-B038-800F1A300176}"/>
              </a:ext>
            </a:extLst>
          </p:cNvPr>
          <p:cNvSpPr/>
          <p:nvPr/>
        </p:nvSpPr>
        <p:spPr bwMode="auto">
          <a:xfrm rot="16920000" flipH="1">
            <a:off x="6599157" y="4720682"/>
            <a:ext cx="458367" cy="458367"/>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93" name="Oval 192">
            <a:extLst>
              <a:ext uri="{FF2B5EF4-FFF2-40B4-BE49-F238E27FC236}">
                <a16:creationId xmlns:a16="http://schemas.microsoft.com/office/drawing/2014/main" id="{2931AB33-7156-4AD8-BC4A-FD8C29E3AA96}"/>
              </a:ext>
            </a:extLst>
          </p:cNvPr>
          <p:cNvSpPr/>
          <p:nvPr/>
        </p:nvSpPr>
        <p:spPr bwMode="auto">
          <a:xfrm rot="4020000">
            <a:off x="5863296" y="4860199"/>
            <a:ext cx="461888" cy="46188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87" name="Oval 186">
            <a:extLst>
              <a:ext uri="{FF2B5EF4-FFF2-40B4-BE49-F238E27FC236}">
                <a16:creationId xmlns:a16="http://schemas.microsoft.com/office/drawing/2014/main" id="{BA631D42-2AE9-485E-9110-26263DE12F8F}"/>
              </a:ext>
            </a:extLst>
          </p:cNvPr>
          <p:cNvSpPr/>
          <p:nvPr/>
        </p:nvSpPr>
        <p:spPr bwMode="auto">
          <a:xfrm rot="2700000">
            <a:off x="4470761" y="1503304"/>
            <a:ext cx="461888" cy="46188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188" name="Group 4">
            <a:extLst>
              <a:ext uri="{FF2B5EF4-FFF2-40B4-BE49-F238E27FC236}">
                <a16:creationId xmlns:a16="http://schemas.microsoft.com/office/drawing/2014/main" id="{663D507D-3205-4659-898B-18795C478F9E}"/>
              </a:ext>
            </a:extLst>
          </p:cNvPr>
          <p:cNvGrpSpPr>
            <a:grpSpLocks noChangeAspect="1"/>
          </p:cNvGrpSpPr>
          <p:nvPr/>
        </p:nvGrpSpPr>
        <p:grpSpPr bwMode="auto">
          <a:xfrm>
            <a:off x="4581380" y="1615888"/>
            <a:ext cx="240650" cy="236720"/>
            <a:chOff x="3794" y="2083"/>
            <a:chExt cx="245" cy="241"/>
          </a:xfrm>
        </p:grpSpPr>
        <p:sp>
          <p:nvSpPr>
            <p:cNvPr id="189" name="Rectangle 188">
              <a:extLst>
                <a:ext uri="{FF2B5EF4-FFF2-40B4-BE49-F238E27FC236}">
                  <a16:creationId xmlns:a16="http://schemas.microsoft.com/office/drawing/2014/main" id="{EF6F3427-B0C7-4BAD-AA28-EE29634DE29D}"/>
                </a:ext>
              </a:extLst>
            </p:cNvPr>
            <p:cNvSpPr>
              <a:spLocks noChangeArrowheads="1"/>
            </p:cNvSpPr>
            <p:nvPr/>
          </p:nvSpPr>
          <p:spPr bwMode="auto">
            <a:xfrm>
              <a:off x="3794" y="2083"/>
              <a:ext cx="245" cy="138"/>
            </a:xfrm>
            <a:prstGeom prst="rect">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90" name="Freeform 6">
              <a:extLst>
                <a:ext uri="{FF2B5EF4-FFF2-40B4-BE49-F238E27FC236}">
                  <a16:creationId xmlns:a16="http://schemas.microsoft.com/office/drawing/2014/main" id="{616D02AA-B5C4-4FB6-B8D4-8A951D3D740C}"/>
                </a:ext>
              </a:extLst>
            </p:cNvPr>
            <p:cNvSpPr>
              <a:spLocks/>
            </p:cNvSpPr>
            <p:nvPr/>
          </p:nvSpPr>
          <p:spPr bwMode="auto">
            <a:xfrm>
              <a:off x="3801" y="2287"/>
              <a:ext cx="231" cy="37"/>
            </a:xfrm>
            <a:custGeom>
              <a:avLst/>
              <a:gdLst>
                <a:gd name="T0" fmla="*/ 26 w 231"/>
                <a:gd name="T1" fmla="*/ 0 h 37"/>
                <a:gd name="T2" fmla="*/ 205 w 231"/>
                <a:gd name="T3" fmla="*/ 0 h 37"/>
                <a:gd name="T4" fmla="*/ 231 w 231"/>
                <a:gd name="T5" fmla="*/ 37 h 37"/>
                <a:gd name="T6" fmla="*/ 0 w 231"/>
                <a:gd name="T7" fmla="*/ 37 h 37"/>
                <a:gd name="T8" fmla="*/ 26 w 231"/>
                <a:gd name="T9" fmla="*/ 0 h 37"/>
              </a:gdLst>
              <a:ahLst/>
              <a:cxnLst>
                <a:cxn ang="0">
                  <a:pos x="T0" y="T1"/>
                </a:cxn>
                <a:cxn ang="0">
                  <a:pos x="T2" y="T3"/>
                </a:cxn>
                <a:cxn ang="0">
                  <a:pos x="T4" y="T5"/>
                </a:cxn>
                <a:cxn ang="0">
                  <a:pos x="T6" y="T7"/>
                </a:cxn>
                <a:cxn ang="0">
                  <a:pos x="T8" y="T9"/>
                </a:cxn>
              </a:cxnLst>
              <a:rect l="0" t="0" r="r" b="b"/>
              <a:pathLst>
                <a:path w="231" h="37">
                  <a:moveTo>
                    <a:pt x="26" y="0"/>
                  </a:moveTo>
                  <a:lnTo>
                    <a:pt x="205" y="0"/>
                  </a:lnTo>
                  <a:lnTo>
                    <a:pt x="231" y="37"/>
                  </a:lnTo>
                  <a:lnTo>
                    <a:pt x="0" y="37"/>
                  </a:lnTo>
                  <a:lnTo>
                    <a:pt x="26" y="0"/>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91" name="Line 7">
              <a:extLst>
                <a:ext uri="{FF2B5EF4-FFF2-40B4-BE49-F238E27FC236}">
                  <a16:creationId xmlns:a16="http://schemas.microsoft.com/office/drawing/2014/main" id="{3E8307C2-D8B4-48A6-913F-85FC75907248}"/>
                </a:ext>
              </a:extLst>
            </p:cNvPr>
            <p:cNvSpPr>
              <a:spLocks noChangeShapeType="1"/>
            </p:cNvSpPr>
            <p:nvPr/>
          </p:nvSpPr>
          <p:spPr bwMode="auto">
            <a:xfrm>
              <a:off x="3917" y="2221"/>
              <a:ext cx="0" cy="36"/>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92" name="Line 8">
              <a:extLst>
                <a:ext uri="{FF2B5EF4-FFF2-40B4-BE49-F238E27FC236}">
                  <a16:creationId xmlns:a16="http://schemas.microsoft.com/office/drawing/2014/main" id="{61E540B2-02C0-4EB2-BE53-354AEB49BC86}"/>
                </a:ext>
              </a:extLst>
            </p:cNvPr>
            <p:cNvSpPr>
              <a:spLocks noChangeShapeType="1"/>
            </p:cNvSpPr>
            <p:nvPr/>
          </p:nvSpPr>
          <p:spPr bwMode="auto">
            <a:xfrm>
              <a:off x="3873" y="2255"/>
              <a:ext cx="86"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85" name="Oval 184">
            <a:extLst>
              <a:ext uri="{FF2B5EF4-FFF2-40B4-BE49-F238E27FC236}">
                <a16:creationId xmlns:a16="http://schemas.microsoft.com/office/drawing/2014/main" id="{2AB87CBB-6889-4214-B738-6293089DC3FD}"/>
              </a:ext>
            </a:extLst>
          </p:cNvPr>
          <p:cNvSpPr/>
          <p:nvPr/>
        </p:nvSpPr>
        <p:spPr bwMode="auto">
          <a:xfrm rot="2040000">
            <a:off x="4477803" y="4284850"/>
            <a:ext cx="458367" cy="458367"/>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86" name="Freeform 5">
            <a:extLst>
              <a:ext uri="{FF2B5EF4-FFF2-40B4-BE49-F238E27FC236}">
                <a16:creationId xmlns:a16="http://schemas.microsoft.com/office/drawing/2014/main" id="{5959E192-8A22-4512-BAF5-EA86C713B7B0}"/>
              </a:ext>
            </a:extLst>
          </p:cNvPr>
          <p:cNvSpPr>
            <a:spLocks noEditPoints="1"/>
          </p:cNvSpPr>
          <p:nvPr/>
        </p:nvSpPr>
        <p:spPr bwMode="auto">
          <a:xfrm>
            <a:off x="4621862" y="4377878"/>
            <a:ext cx="170249" cy="272313"/>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83" name="Oval 182">
            <a:extLst>
              <a:ext uri="{FF2B5EF4-FFF2-40B4-BE49-F238E27FC236}">
                <a16:creationId xmlns:a16="http://schemas.microsoft.com/office/drawing/2014/main" id="{0BE94C6B-17B0-4313-BF00-2C7358EA5D51}"/>
              </a:ext>
            </a:extLst>
          </p:cNvPr>
          <p:cNvSpPr/>
          <p:nvPr/>
        </p:nvSpPr>
        <p:spPr bwMode="auto">
          <a:xfrm rot="17580000" flipH="1">
            <a:off x="4055091" y="2128300"/>
            <a:ext cx="461886" cy="461886"/>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81" name="Oval 180">
            <a:extLst>
              <a:ext uri="{FF2B5EF4-FFF2-40B4-BE49-F238E27FC236}">
                <a16:creationId xmlns:a16="http://schemas.microsoft.com/office/drawing/2014/main" id="{E76E500D-7F8F-42DF-A1CC-FB5799A0DDAE}"/>
              </a:ext>
            </a:extLst>
          </p:cNvPr>
          <p:cNvSpPr/>
          <p:nvPr/>
        </p:nvSpPr>
        <p:spPr bwMode="auto">
          <a:xfrm rot="3420000">
            <a:off x="5130952" y="4717164"/>
            <a:ext cx="458367" cy="458367"/>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82" name="Freeform 5">
            <a:extLst>
              <a:ext uri="{FF2B5EF4-FFF2-40B4-BE49-F238E27FC236}">
                <a16:creationId xmlns:a16="http://schemas.microsoft.com/office/drawing/2014/main" id="{4C1F62ED-1C15-4886-B0C9-9AE7C7B14F7C}"/>
              </a:ext>
            </a:extLst>
          </p:cNvPr>
          <p:cNvSpPr>
            <a:spLocks noEditPoints="1"/>
          </p:cNvSpPr>
          <p:nvPr/>
        </p:nvSpPr>
        <p:spPr bwMode="auto">
          <a:xfrm>
            <a:off x="5272793" y="4848759"/>
            <a:ext cx="174685" cy="19517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79" name="Oval 178">
            <a:extLst>
              <a:ext uri="{FF2B5EF4-FFF2-40B4-BE49-F238E27FC236}">
                <a16:creationId xmlns:a16="http://schemas.microsoft.com/office/drawing/2014/main" id="{49CE077E-AC2E-495F-BE88-0B910178FD25}"/>
              </a:ext>
            </a:extLst>
          </p:cNvPr>
          <p:cNvSpPr/>
          <p:nvPr/>
        </p:nvSpPr>
        <p:spPr bwMode="auto">
          <a:xfrm rot="5400000">
            <a:off x="7216604" y="890326"/>
            <a:ext cx="461888" cy="46188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80" name="DeveloperTools_EC7A">
            <a:extLst>
              <a:ext uri="{FF2B5EF4-FFF2-40B4-BE49-F238E27FC236}">
                <a16:creationId xmlns:a16="http://schemas.microsoft.com/office/drawing/2014/main" id="{3D7C44D3-9AF7-462B-8C42-73AEE1DF3311}"/>
              </a:ext>
            </a:extLst>
          </p:cNvPr>
          <p:cNvSpPr>
            <a:spLocks noChangeAspect="1" noEditPoints="1"/>
          </p:cNvSpPr>
          <p:nvPr/>
        </p:nvSpPr>
        <p:spPr bwMode="auto">
          <a:xfrm>
            <a:off x="7358990" y="981733"/>
            <a:ext cx="177117" cy="279075"/>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77" name="Oval 176">
            <a:extLst>
              <a:ext uri="{FF2B5EF4-FFF2-40B4-BE49-F238E27FC236}">
                <a16:creationId xmlns:a16="http://schemas.microsoft.com/office/drawing/2014/main" id="{FB911786-29B0-49A0-9601-9B5080242FE8}"/>
              </a:ext>
            </a:extLst>
          </p:cNvPr>
          <p:cNvSpPr/>
          <p:nvPr/>
        </p:nvSpPr>
        <p:spPr bwMode="auto">
          <a:xfrm rot="18900000" flipH="1">
            <a:off x="7671501" y="2128299"/>
            <a:ext cx="461888" cy="46188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78" name="Freeform 5">
            <a:extLst>
              <a:ext uri="{FF2B5EF4-FFF2-40B4-BE49-F238E27FC236}">
                <a16:creationId xmlns:a16="http://schemas.microsoft.com/office/drawing/2014/main" id="{66DF2BB6-B0A8-4672-8D90-4D730D22023E}"/>
              </a:ext>
            </a:extLst>
          </p:cNvPr>
          <p:cNvSpPr>
            <a:spLocks noEditPoints="1"/>
          </p:cNvSpPr>
          <p:nvPr/>
        </p:nvSpPr>
        <p:spPr bwMode="auto">
          <a:xfrm>
            <a:off x="7764848" y="2276462"/>
            <a:ext cx="275193" cy="165563"/>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75" name="Oval 174">
            <a:extLst>
              <a:ext uri="{FF2B5EF4-FFF2-40B4-BE49-F238E27FC236}">
                <a16:creationId xmlns:a16="http://schemas.microsoft.com/office/drawing/2014/main" id="{917C4D8A-8924-4978-9D2E-D5E15B369305}"/>
              </a:ext>
            </a:extLst>
          </p:cNvPr>
          <p:cNvSpPr/>
          <p:nvPr/>
        </p:nvSpPr>
        <p:spPr bwMode="auto">
          <a:xfrm rot="5400000">
            <a:off x="3898935" y="2895838"/>
            <a:ext cx="461888" cy="46188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76" name="Airplane_E709">
            <a:extLst>
              <a:ext uri="{FF2B5EF4-FFF2-40B4-BE49-F238E27FC236}">
                <a16:creationId xmlns:a16="http://schemas.microsoft.com/office/drawing/2014/main" id="{87BDD291-F7F9-4003-AC3C-B07A838A03A7}"/>
              </a:ext>
            </a:extLst>
          </p:cNvPr>
          <p:cNvSpPr>
            <a:spLocks noChangeAspect="1"/>
          </p:cNvSpPr>
          <p:nvPr/>
        </p:nvSpPr>
        <p:spPr bwMode="auto">
          <a:xfrm>
            <a:off x="4005080" y="3000333"/>
            <a:ext cx="249599" cy="252899"/>
          </a:xfrm>
          <a:custGeom>
            <a:avLst/>
            <a:gdLst>
              <a:gd name="T0" fmla="*/ 1002 w 3707"/>
              <a:gd name="T1" fmla="*/ 3755 h 3755"/>
              <a:gd name="T2" fmla="*/ 1502 w 3707"/>
              <a:gd name="T3" fmla="*/ 2253 h 3755"/>
              <a:gd name="T4" fmla="*/ 751 w 3707"/>
              <a:gd name="T5" fmla="*/ 2253 h 3755"/>
              <a:gd name="T6" fmla="*/ 625 w 3707"/>
              <a:gd name="T7" fmla="*/ 2503 h 3755"/>
              <a:gd name="T8" fmla="*/ 0 w 3707"/>
              <a:gd name="T9" fmla="*/ 2503 h 3755"/>
              <a:gd name="T10" fmla="*/ 209 w 3707"/>
              <a:gd name="T11" fmla="*/ 1877 h 3755"/>
              <a:gd name="T12" fmla="*/ 0 w 3707"/>
              <a:gd name="T13" fmla="*/ 1251 h 3755"/>
              <a:gd name="T14" fmla="*/ 625 w 3707"/>
              <a:gd name="T15" fmla="*/ 1251 h 3755"/>
              <a:gd name="T16" fmla="*/ 751 w 3707"/>
              <a:gd name="T17" fmla="*/ 1502 h 3755"/>
              <a:gd name="T18" fmla="*/ 1502 w 3707"/>
              <a:gd name="T19" fmla="*/ 1502 h 3755"/>
              <a:gd name="T20" fmla="*/ 1002 w 3707"/>
              <a:gd name="T21" fmla="*/ 0 h 3755"/>
              <a:gd name="T22" fmla="*/ 1627 w 3707"/>
              <a:gd name="T23" fmla="*/ 0 h 3755"/>
              <a:gd name="T24" fmla="*/ 2378 w 3707"/>
              <a:gd name="T25" fmla="*/ 1502 h 3755"/>
              <a:gd name="T26" fmla="*/ 3331 w 3707"/>
              <a:gd name="T27" fmla="*/ 1502 h 3755"/>
              <a:gd name="T28" fmla="*/ 3707 w 3707"/>
              <a:gd name="T29" fmla="*/ 1877 h 3755"/>
              <a:gd name="T30" fmla="*/ 3331 w 3707"/>
              <a:gd name="T31" fmla="*/ 2253 h 3755"/>
              <a:gd name="T32" fmla="*/ 2378 w 3707"/>
              <a:gd name="T33" fmla="*/ 2253 h 3755"/>
              <a:gd name="T34" fmla="*/ 1627 w 3707"/>
              <a:gd name="T35" fmla="*/ 3755 h 3755"/>
              <a:gd name="T36" fmla="*/ 1002 w 3707"/>
              <a:gd name="T37" fmla="*/ 3755 h 3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07" h="3755">
                <a:moveTo>
                  <a:pt x="1002" y="3755"/>
                </a:moveTo>
                <a:cubicBezTo>
                  <a:pt x="1502" y="2253"/>
                  <a:pt x="1502" y="2253"/>
                  <a:pt x="1502" y="2253"/>
                </a:cubicBezTo>
                <a:cubicBezTo>
                  <a:pt x="751" y="2253"/>
                  <a:pt x="751" y="2253"/>
                  <a:pt x="751" y="2253"/>
                </a:cubicBezTo>
                <a:cubicBezTo>
                  <a:pt x="625" y="2503"/>
                  <a:pt x="625" y="2503"/>
                  <a:pt x="625" y="2503"/>
                </a:cubicBezTo>
                <a:cubicBezTo>
                  <a:pt x="0" y="2503"/>
                  <a:pt x="0" y="2503"/>
                  <a:pt x="0" y="2503"/>
                </a:cubicBezTo>
                <a:cubicBezTo>
                  <a:pt x="209" y="1877"/>
                  <a:pt x="209" y="1877"/>
                  <a:pt x="209" y="1877"/>
                </a:cubicBezTo>
                <a:cubicBezTo>
                  <a:pt x="0" y="1251"/>
                  <a:pt x="0" y="1251"/>
                  <a:pt x="0" y="1251"/>
                </a:cubicBezTo>
                <a:cubicBezTo>
                  <a:pt x="625" y="1251"/>
                  <a:pt x="625" y="1251"/>
                  <a:pt x="625" y="1251"/>
                </a:cubicBezTo>
                <a:cubicBezTo>
                  <a:pt x="751" y="1502"/>
                  <a:pt x="751" y="1502"/>
                  <a:pt x="751" y="1502"/>
                </a:cubicBezTo>
                <a:cubicBezTo>
                  <a:pt x="1502" y="1502"/>
                  <a:pt x="1502" y="1502"/>
                  <a:pt x="1502" y="1502"/>
                </a:cubicBezTo>
                <a:cubicBezTo>
                  <a:pt x="1002" y="0"/>
                  <a:pt x="1002" y="0"/>
                  <a:pt x="1002" y="0"/>
                </a:cubicBezTo>
                <a:cubicBezTo>
                  <a:pt x="1627" y="0"/>
                  <a:pt x="1627" y="0"/>
                  <a:pt x="1627" y="0"/>
                </a:cubicBezTo>
                <a:cubicBezTo>
                  <a:pt x="2378" y="1502"/>
                  <a:pt x="2378" y="1502"/>
                  <a:pt x="2378" y="1502"/>
                </a:cubicBezTo>
                <a:cubicBezTo>
                  <a:pt x="3331" y="1502"/>
                  <a:pt x="3331" y="1502"/>
                  <a:pt x="3331" y="1502"/>
                </a:cubicBezTo>
                <a:cubicBezTo>
                  <a:pt x="3538" y="1502"/>
                  <a:pt x="3707" y="1670"/>
                  <a:pt x="3707" y="1877"/>
                </a:cubicBezTo>
                <a:cubicBezTo>
                  <a:pt x="3707" y="2084"/>
                  <a:pt x="3538" y="2253"/>
                  <a:pt x="3331" y="2253"/>
                </a:cubicBezTo>
                <a:cubicBezTo>
                  <a:pt x="2378" y="2253"/>
                  <a:pt x="2378" y="2253"/>
                  <a:pt x="2378" y="2253"/>
                </a:cubicBezTo>
                <a:cubicBezTo>
                  <a:pt x="1627" y="3755"/>
                  <a:pt x="1627" y="3755"/>
                  <a:pt x="1627" y="3755"/>
                </a:cubicBezTo>
                <a:lnTo>
                  <a:pt x="1002" y="3755"/>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74" name="Intelligent Cloud">
            <a:extLst>
              <a:ext uri="{FF2B5EF4-FFF2-40B4-BE49-F238E27FC236}">
                <a16:creationId xmlns:a16="http://schemas.microsoft.com/office/drawing/2014/main" id="{FACAA568-DE5D-4BC3-A36D-44685E6AE324}"/>
              </a:ext>
            </a:extLst>
          </p:cNvPr>
          <p:cNvSpPr txBox="1"/>
          <p:nvPr/>
        </p:nvSpPr>
        <p:spPr>
          <a:xfrm>
            <a:off x="4604080" y="3468815"/>
            <a:ext cx="2983841" cy="683224"/>
          </a:xfrm>
          <a:prstGeom prst="rect">
            <a:avLst/>
          </a:prstGeom>
          <a:noFill/>
        </p:spPr>
        <p:txBody>
          <a:bodyPr wrap="none" lIns="182854" tIns="146284" rIns="182854" bIns="146284" rtlCol="0">
            <a:spAutoFit/>
          </a:bodyPr>
          <a:lstStyle/>
          <a:p>
            <a:pPr marL="0" marR="0" lvl="0" indent="0" algn="l" defTabSz="932742" rtl="0" eaLnBrk="1" fontAlgn="auto" latinLnBrk="0" hangingPunct="1">
              <a:lnSpc>
                <a:spcPct val="90000"/>
              </a:lnSpc>
              <a:spcBef>
                <a:spcPct val="0"/>
              </a:spcBef>
              <a:spcAft>
                <a:spcPts val="600"/>
              </a:spcAft>
              <a:buClrTx/>
              <a:buSzTx/>
              <a:buFontTx/>
              <a:buNone/>
              <a:tabLst/>
              <a:defRPr/>
            </a:pPr>
            <a:r>
              <a:rPr kumimoji="0" lang="en-US" sz="2800" b="1" i="0" u="none" strike="noStrike" kern="1200" cap="none" spc="-49"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Intelligent Cloud</a:t>
            </a:r>
          </a:p>
        </p:txBody>
      </p:sp>
      <p:sp>
        <p:nvSpPr>
          <p:cNvPr id="275" name="Intelligent Cloud">
            <a:extLst>
              <a:ext uri="{FF2B5EF4-FFF2-40B4-BE49-F238E27FC236}">
                <a16:creationId xmlns:a16="http://schemas.microsoft.com/office/drawing/2014/main" id="{B32277EC-726D-4CD2-A9E9-7C98DAAF6A9B}"/>
              </a:ext>
            </a:extLst>
          </p:cNvPr>
          <p:cNvSpPr txBox="1"/>
          <p:nvPr/>
        </p:nvSpPr>
        <p:spPr>
          <a:xfrm>
            <a:off x="4675477" y="5846700"/>
            <a:ext cx="2841046" cy="683224"/>
          </a:xfrm>
          <a:prstGeom prst="rect">
            <a:avLst/>
          </a:prstGeom>
          <a:noFill/>
        </p:spPr>
        <p:txBody>
          <a:bodyPr wrap="none" lIns="182854" tIns="146284" rIns="182854" bIns="146284" rtlCol="0">
            <a:spAutoFit/>
          </a:bodyPr>
          <a:lstStyle/>
          <a:p>
            <a:pPr marL="0" marR="0" lvl="0" indent="0" algn="l" defTabSz="932742" rtl="0" eaLnBrk="1" fontAlgn="auto" latinLnBrk="0" hangingPunct="1">
              <a:lnSpc>
                <a:spcPct val="90000"/>
              </a:lnSpc>
              <a:spcBef>
                <a:spcPct val="0"/>
              </a:spcBef>
              <a:spcAft>
                <a:spcPts val="600"/>
              </a:spcAft>
              <a:buClrTx/>
              <a:buSzTx/>
              <a:buFontTx/>
              <a:buNone/>
              <a:tabLst/>
              <a:defRPr/>
            </a:pPr>
            <a:r>
              <a:rPr kumimoji="0" lang="en-US" sz="2800" b="1" i="0" u="none" strike="noStrike" kern="1200" cap="none" spc="-49"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Intelligent Edge</a:t>
            </a:r>
          </a:p>
        </p:txBody>
      </p:sp>
      <p:grpSp>
        <p:nvGrpSpPr>
          <p:cNvPr id="277" name="Group 196">
            <a:extLst>
              <a:ext uri="{FF2B5EF4-FFF2-40B4-BE49-F238E27FC236}">
                <a16:creationId xmlns:a16="http://schemas.microsoft.com/office/drawing/2014/main" id="{13E7A750-F3A3-47BE-974D-97531895E60D}"/>
              </a:ext>
            </a:extLst>
          </p:cNvPr>
          <p:cNvGrpSpPr>
            <a:grpSpLocks noChangeAspect="1"/>
          </p:cNvGrpSpPr>
          <p:nvPr/>
        </p:nvGrpSpPr>
        <p:grpSpPr bwMode="auto">
          <a:xfrm>
            <a:off x="8390109" y="2509005"/>
            <a:ext cx="160648" cy="306118"/>
            <a:chOff x="7261" y="805"/>
            <a:chExt cx="127" cy="242"/>
          </a:xfrm>
        </p:grpSpPr>
        <p:sp>
          <p:nvSpPr>
            <p:cNvPr id="278" name="Freeform 197">
              <a:extLst>
                <a:ext uri="{FF2B5EF4-FFF2-40B4-BE49-F238E27FC236}">
                  <a16:creationId xmlns:a16="http://schemas.microsoft.com/office/drawing/2014/main" id="{B568260A-9231-4E6E-AA8C-75075C47B229}"/>
                </a:ext>
              </a:extLst>
            </p:cNvPr>
            <p:cNvSpPr>
              <a:spLocks/>
            </p:cNvSpPr>
            <p:nvPr/>
          </p:nvSpPr>
          <p:spPr bwMode="auto">
            <a:xfrm>
              <a:off x="7323" y="805"/>
              <a:ext cx="65" cy="194"/>
            </a:xfrm>
            <a:custGeom>
              <a:avLst/>
              <a:gdLst>
                <a:gd name="T0" fmla="*/ 90 w 90"/>
                <a:gd name="T1" fmla="*/ 166 h 268"/>
                <a:gd name="T2" fmla="*/ 90 w 90"/>
                <a:gd name="T3" fmla="*/ 46 h 268"/>
                <a:gd name="T4" fmla="*/ 45 w 90"/>
                <a:gd name="T5" fmla="*/ 0 h 268"/>
                <a:gd name="T6" fmla="*/ 0 w 90"/>
                <a:gd name="T7" fmla="*/ 46 h 268"/>
                <a:gd name="T8" fmla="*/ 0 w 90"/>
                <a:gd name="T9" fmla="*/ 268 h 268"/>
              </a:gdLst>
              <a:ahLst/>
              <a:cxnLst>
                <a:cxn ang="0">
                  <a:pos x="T0" y="T1"/>
                </a:cxn>
                <a:cxn ang="0">
                  <a:pos x="T2" y="T3"/>
                </a:cxn>
                <a:cxn ang="0">
                  <a:pos x="T4" y="T5"/>
                </a:cxn>
                <a:cxn ang="0">
                  <a:pos x="T6" y="T7"/>
                </a:cxn>
                <a:cxn ang="0">
                  <a:pos x="T8" y="T9"/>
                </a:cxn>
              </a:cxnLst>
              <a:rect l="0" t="0" r="r" b="b"/>
              <a:pathLst>
                <a:path w="90" h="268">
                  <a:moveTo>
                    <a:pt x="90" y="166"/>
                  </a:moveTo>
                  <a:cubicBezTo>
                    <a:pt x="90" y="46"/>
                    <a:pt x="90" y="46"/>
                    <a:pt x="90" y="46"/>
                  </a:cubicBezTo>
                  <a:cubicBezTo>
                    <a:pt x="90" y="20"/>
                    <a:pt x="70" y="0"/>
                    <a:pt x="45" y="0"/>
                  </a:cubicBezTo>
                  <a:cubicBezTo>
                    <a:pt x="20" y="0"/>
                    <a:pt x="0" y="20"/>
                    <a:pt x="0" y="46"/>
                  </a:cubicBezTo>
                  <a:cubicBezTo>
                    <a:pt x="0" y="268"/>
                    <a:pt x="0" y="268"/>
                    <a:pt x="0" y="268"/>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279" name="Freeform 198">
              <a:extLst>
                <a:ext uri="{FF2B5EF4-FFF2-40B4-BE49-F238E27FC236}">
                  <a16:creationId xmlns:a16="http://schemas.microsoft.com/office/drawing/2014/main" id="{1060B5B0-4502-4F99-9527-D43B24B09AFD}"/>
                </a:ext>
              </a:extLst>
            </p:cNvPr>
            <p:cNvSpPr>
              <a:spLocks/>
            </p:cNvSpPr>
            <p:nvPr/>
          </p:nvSpPr>
          <p:spPr bwMode="auto">
            <a:xfrm>
              <a:off x="7261" y="805"/>
              <a:ext cx="95" cy="194"/>
            </a:xfrm>
            <a:custGeom>
              <a:avLst/>
              <a:gdLst>
                <a:gd name="T0" fmla="*/ 131 w 131"/>
                <a:gd name="T1" fmla="*/ 0 h 268"/>
                <a:gd name="T2" fmla="*/ 45 w 131"/>
                <a:gd name="T3" fmla="*/ 0 h 268"/>
                <a:gd name="T4" fmla="*/ 0 w 131"/>
                <a:gd name="T5" fmla="*/ 46 h 268"/>
                <a:gd name="T6" fmla="*/ 0 w 131"/>
                <a:gd name="T7" fmla="*/ 268 h 268"/>
              </a:gdLst>
              <a:ahLst/>
              <a:cxnLst>
                <a:cxn ang="0">
                  <a:pos x="T0" y="T1"/>
                </a:cxn>
                <a:cxn ang="0">
                  <a:pos x="T2" y="T3"/>
                </a:cxn>
                <a:cxn ang="0">
                  <a:pos x="T4" y="T5"/>
                </a:cxn>
                <a:cxn ang="0">
                  <a:pos x="T6" y="T7"/>
                </a:cxn>
              </a:cxnLst>
              <a:rect l="0" t="0" r="r" b="b"/>
              <a:pathLst>
                <a:path w="131" h="268">
                  <a:moveTo>
                    <a:pt x="131" y="0"/>
                  </a:moveTo>
                  <a:cubicBezTo>
                    <a:pt x="45" y="0"/>
                    <a:pt x="45" y="0"/>
                    <a:pt x="45" y="0"/>
                  </a:cubicBezTo>
                  <a:cubicBezTo>
                    <a:pt x="20" y="0"/>
                    <a:pt x="0" y="20"/>
                    <a:pt x="0" y="46"/>
                  </a:cubicBezTo>
                  <a:cubicBezTo>
                    <a:pt x="0" y="268"/>
                    <a:pt x="0" y="268"/>
                    <a:pt x="0" y="268"/>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280" name="Freeform 199">
              <a:extLst>
                <a:ext uri="{FF2B5EF4-FFF2-40B4-BE49-F238E27FC236}">
                  <a16:creationId xmlns:a16="http://schemas.microsoft.com/office/drawing/2014/main" id="{70924A26-0AB9-4904-BAD6-9524B6706423}"/>
                </a:ext>
              </a:extLst>
            </p:cNvPr>
            <p:cNvSpPr>
              <a:spLocks/>
            </p:cNvSpPr>
            <p:nvPr/>
          </p:nvSpPr>
          <p:spPr bwMode="auto">
            <a:xfrm>
              <a:off x="7322" y="992"/>
              <a:ext cx="66" cy="55"/>
            </a:xfrm>
            <a:custGeom>
              <a:avLst/>
              <a:gdLst>
                <a:gd name="T0" fmla="*/ 91 w 91"/>
                <a:gd name="T1" fmla="*/ 0 h 77"/>
                <a:gd name="T2" fmla="*/ 91 w 91"/>
                <a:gd name="T3" fmla="*/ 32 h 77"/>
                <a:gd name="T4" fmla="*/ 46 w 91"/>
                <a:gd name="T5" fmla="*/ 77 h 77"/>
                <a:gd name="T6" fmla="*/ 0 w 91"/>
                <a:gd name="T7" fmla="*/ 32 h 77"/>
                <a:gd name="T8" fmla="*/ 0 w 91"/>
                <a:gd name="T9" fmla="*/ 6 h 77"/>
              </a:gdLst>
              <a:ahLst/>
              <a:cxnLst>
                <a:cxn ang="0">
                  <a:pos x="T0" y="T1"/>
                </a:cxn>
                <a:cxn ang="0">
                  <a:pos x="T2" y="T3"/>
                </a:cxn>
                <a:cxn ang="0">
                  <a:pos x="T4" y="T5"/>
                </a:cxn>
                <a:cxn ang="0">
                  <a:pos x="T6" y="T7"/>
                </a:cxn>
                <a:cxn ang="0">
                  <a:pos x="T8" y="T9"/>
                </a:cxn>
              </a:cxnLst>
              <a:rect l="0" t="0" r="r" b="b"/>
              <a:pathLst>
                <a:path w="91" h="77">
                  <a:moveTo>
                    <a:pt x="91" y="0"/>
                  </a:moveTo>
                  <a:cubicBezTo>
                    <a:pt x="91" y="32"/>
                    <a:pt x="91" y="32"/>
                    <a:pt x="91" y="32"/>
                  </a:cubicBezTo>
                  <a:cubicBezTo>
                    <a:pt x="91" y="57"/>
                    <a:pt x="71" y="77"/>
                    <a:pt x="46" y="77"/>
                  </a:cubicBezTo>
                  <a:cubicBezTo>
                    <a:pt x="21" y="77"/>
                    <a:pt x="0" y="57"/>
                    <a:pt x="0" y="32"/>
                  </a:cubicBezTo>
                  <a:cubicBezTo>
                    <a:pt x="0" y="6"/>
                    <a:pt x="0" y="6"/>
                    <a:pt x="0" y="6"/>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281" name="Freeform 200">
              <a:extLst>
                <a:ext uri="{FF2B5EF4-FFF2-40B4-BE49-F238E27FC236}">
                  <a16:creationId xmlns:a16="http://schemas.microsoft.com/office/drawing/2014/main" id="{6FAEBB07-DCC4-4699-B9DE-8BE8CB4DFE87}"/>
                </a:ext>
              </a:extLst>
            </p:cNvPr>
            <p:cNvSpPr>
              <a:spLocks/>
            </p:cNvSpPr>
            <p:nvPr/>
          </p:nvSpPr>
          <p:spPr bwMode="auto">
            <a:xfrm>
              <a:off x="7261" y="996"/>
              <a:ext cx="95" cy="51"/>
            </a:xfrm>
            <a:custGeom>
              <a:avLst/>
              <a:gdLst>
                <a:gd name="T0" fmla="*/ 131 w 131"/>
                <a:gd name="T1" fmla="*/ 71 h 71"/>
                <a:gd name="T2" fmla="*/ 45 w 131"/>
                <a:gd name="T3" fmla="*/ 71 h 71"/>
                <a:gd name="T4" fmla="*/ 0 w 131"/>
                <a:gd name="T5" fmla="*/ 26 h 71"/>
                <a:gd name="T6" fmla="*/ 0 w 131"/>
                <a:gd name="T7" fmla="*/ 0 h 71"/>
              </a:gdLst>
              <a:ahLst/>
              <a:cxnLst>
                <a:cxn ang="0">
                  <a:pos x="T0" y="T1"/>
                </a:cxn>
                <a:cxn ang="0">
                  <a:pos x="T2" y="T3"/>
                </a:cxn>
                <a:cxn ang="0">
                  <a:pos x="T4" y="T5"/>
                </a:cxn>
                <a:cxn ang="0">
                  <a:pos x="T6" y="T7"/>
                </a:cxn>
              </a:cxnLst>
              <a:rect l="0" t="0" r="r" b="b"/>
              <a:pathLst>
                <a:path w="131" h="71">
                  <a:moveTo>
                    <a:pt x="131" y="71"/>
                  </a:moveTo>
                  <a:cubicBezTo>
                    <a:pt x="45" y="71"/>
                    <a:pt x="45" y="71"/>
                    <a:pt x="45" y="71"/>
                  </a:cubicBezTo>
                  <a:cubicBezTo>
                    <a:pt x="20" y="71"/>
                    <a:pt x="0" y="51"/>
                    <a:pt x="0" y="26"/>
                  </a:cubicBezTo>
                  <a:cubicBezTo>
                    <a:pt x="0" y="0"/>
                    <a:pt x="0" y="0"/>
                    <a:pt x="0" y="0"/>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282" name="Oval 201">
              <a:extLst>
                <a:ext uri="{FF2B5EF4-FFF2-40B4-BE49-F238E27FC236}">
                  <a16:creationId xmlns:a16="http://schemas.microsoft.com/office/drawing/2014/main" id="{02C5B65A-7F1F-4449-8DCC-56FA027CBE05}"/>
                </a:ext>
              </a:extLst>
            </p:cNvPr>
            <p:cNvSpPr>
              <a:spLocks noChangeArrowheads="1"/>
            </p:cNvSpPr>
            <p:nvPr/>
          </p:nvSpPr>
          <p:spPr bwMode="auto">
            <a:xfrm>
              <a:off x="7287" y="878"/>
              <a:ext cx="9" cy="8"/>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283" name="Oval 202">
              <a:extLst>
                <a:ext uri="{FF2B5EF4-FFF2-40B4-BE49-F238E27FC236}">
                  <a16:creationId xmlns:a16="http://schemas.microsoft.com/office/drawing/2014/main" id="{717ABA36-9C89-4AEF-9406-A7A26EC23DB0}"/>
                </a:ext>
              </a:extLst>
            </p:cNvPr>
            <p:cNvSpPr>
              <a:spLocks noChangeArrowheads="1"/>
            </p:cNvSpPr>
            <p:nvPr/>
          </p:nvSpPr>
          <p:spPr bwMode="auto">
            <a:xfrm>
              <a:off x="7287" y="923"/>
              <a:ext cx="9" cy="8"/>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284" name="Oval 203">
              <a:extLst>
                <a:ext uri="{FF2B5EF4-FFF2-40B4-BE49-F238E27FC236}">
                  <a16:creationId xmlns:a16="http://schemas.microsoft.com/office/drawing/2014/main" id="{CC40A5E5-B5DB-4C5A-8E95-99ADFA29986F}"/>
                </a:ext>
              </a:extLst>
            </p:cNvPr>
            <p:cNvSpPr>
              <a:spLocks noChangeArrowheads="1"/>
            </p:cNvSpPr>
            <p:nvPr/>
          </p:nvSpPr>
          <p:spPr bwMode="auto">
            <a:xfrm>
              <a:off x="7287" y="967"/>
              <a:ext cx="9" cy="8"/>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285" name="Freeform 5">
            <a:extLst>
              <a:ext uri="{FF2B5EF4-FFF2-40B4-BE49-F238E27FC236}">
                <a16:creationId xmlns:a16="http://schemas.microsoft.com/office/drawing/2014/main" id="{DE0D13D4-4BC7-47A7-BCD3-E88EF6F0ECE3}"/>
              </a:ext>
            </a:extLst>
          </p:cNvPr>
          <p:cNvSpPr>
            <a:spLocks noEditPoints="1"/>
          </p:cNvSpPr>
          <p:nvPr/>
        </p:nvSpPr>
        <p:spPr bwMode="auto">
          <a:xfrm>
            <a:off x="4128152" y="2280514"/>
            <a:ext cx="319937" cy="166742"/>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6" name="Freeform 41">
            <a:extLst>
              <a:ext uri="{FF2B5EF4-FFF2-40B4-BE49-F238E27FC236}">
                <a16:creationId xmlns:a16="http://schemas.microsoft.com/office/drawing/2014/main" id="{BE26D241-6466-46CA-9708-BAAB155A008D}"/>
              </a:ext>
            </a:extLst>
          </p:cNvPr>
          <p:cNvSpPr>
            <a:spLocks noEditPoints="1"/>
          </p:cNvSpPr>
          <p:nvPr/>
        </p:nvSpPr>
        <p:spPr bwMode="auto">
          <a:xfrm>
            <a:off x="5961149" y="4995215"/>
            <a:ext cx="295178" cy="184487"/>
          </a:xfrm>
          <a:custGeom>
            <a:avLst/>
            <a:gdLst>
              <a:gd name="T0" fmla="*/ 208 w 208"/>
              <a:gd name="T1" fmla="*/ 54 h 130"/>
              <a:gd name="T2" fmla="*/ 208 w 208"/>
              <a:gd name="T3" fmla="*/ 130 h 130"/>
              <a:gd name="T4" fmla="*/ 0 w 208"/>
              <a:gd name="T5" fmla="*/ 130 h 130"/>
              <a:gd name="T6" fmla="*/ 0 w 208"/>
              <a:gd name="T7" fmla="*/ 54 h 130"/>
              <a:gd name="T8" fmla="*/ 40 w 208"/>
              <a:gd name="T9" fmla="*/ 24 h 130"/>
              <a:gd name="T10" fmla="*/ 40 w 208"/>
              <a:gd name="T11" fmla="*/ 54 h 130"/>
              <a:gd name="T12" fmla="*/ 85 w 208"/>
              <a:gd name="T13" fmla="*/ 24 h 130"/>
              <a:gd name="T14" fmla="*/ 85 w 208"/>
              <a:gd name="T15" fmla="*/ 54 h 130"/>
              <a:gd name="T16" fmla="*/ 208 w 208"/>
              <a:gd name="T17" fmla="*/ 54 h 130"/>
              <a:gd name="T18" fmla="*/ 163 w 208"/>
              <a:gd name="T19" fmla="*/ 54 h 130"/>
              <a:gd name="T20" fmla="*/ 153 w 208"/>
              <a:gd name="T21" fmla="*/ 0 h 130"/>
              <a:gd name="T22" fmla="*/ 144 w 208"/>
              <a:gd name="T23" fmla="*/ 0 h 130"/>
              <a:gd name="T24" fmla="*/ 136 w 208"/>
              <a:gd name="T25" fmla="*/ 54 h 130"/>
              <a:gd name="T26" fmla="*/ 200 w 208"/>
              <a:gd name="T27" fmla="*/ 54 h 130"/>
              <a:gd name="T28" fmla="*/ 189 w 208"/>
              <a:gd name="T29" fmla="*/ 0 h 130"/>
              <a:gd name="T30" fmla="*/ 180 w 208"/>
              <a:gd name="T31" fmla="*/ 0 h 130"/>
              <a:gd name="T32" fmla="*/ 171 w 208"/>
              <a:gd name="T33" fmla="*/ 54 h 130"/>
              <a:gd name="T34" fmla="*/ 30 w 208"/>
              <a:gd name="T35" fmla="*/ 77 h 130"/>
              <a:gd name="T36" fmla="*/ 19 w 208"/>
              <a:gd name="T37" fmla="*/ 77 h 130"/>
              <a:gd name="T38" fmla="*/ 19 w 208"/>
              <a:gd name="T39" fmla="*/ 88 h 130"/>
              <a:gd name="T40" fmla="*/ 30 w 208"/>
              <a:gd name="T41" fmla="*/ 88 h 130"/>
              <a:gd name="T42" fmla="*/ 30 w 208"/>
              <a:gd name="T43" fmla="*/ 77 h 130"/>
              <a:gd name="T44" fmla="*/ 69 w 208"/>
              <a:gd name="T45" fmla="*/ 77 h 130"/>
              <a:gd name="T46" fmla="*/ 59 w 208"/>
              <a:gd name="T47" fmla="*/ 77 h 130"/>
              <a:gd name="T48" fmla="*/ 59 w 208"/>
              <a:gd name="T49" fmla="*/ 88 h 130"/>
              <a:gd name="T50" fmla="*/ 69 w 208"/>
              <a:gd name="T51" fmla="*/ 88 h 130"/>
              <a:gd name="T52" fmla="*/ 69 w 208"/>
              <a:gd name="T53" fmla="*/ 77 h 130"/>
              <a:gd name="T54" fmla="*/ 109 w 208"/>
              <a:gd name="T55" fmla="*/ 77 h 130"/>
              <a:gd name="T56" fmla="*/ 99 w 208"/>
              <a:gd name="T57" fmla="*/ 77 h 130"/>
              <a:gd name="T58" fmla="*/ 99 w 208"/>
              <a:gd name="T59" fmla="*/ 88 h 130"/>
              <a:gd name="T60" fmla="*/ 109 w 208"/>
              <a:gd name="T61" fmla="*/ 88 h 130"/>
              <a:gd name="T62" fmla="*/ 109 w 208"/>
              <a:gd name="T63" fmla="*/ 77 h 130"/>
              <a:gd name="T64" fmla="*/ 149 w 208"/>
              <a:gd name="T65" fmla="*/ 77 h 130"/>
              <a:gd name="T66" fmla="*/ 139 w 208"/>
              <a:gd name="T67" fmla="*/ 77 h 130"/>
              <a:gd name="T68" fmla="*/ 139 w 208"/>
              <a:gd name="T69" fmla="*/ 88 h 130"/>
              <a:gd name="T70" fmla="*/ 149 w 208"/>
              <a:gd name="T71" fmla="*/ 88 h 130"/>
              <a:gd name="T72" fmla="*/ 149 w 208"/>
              <a:gd name="T73" fmla="*/ 77 h 130"/>
              <a:gd name="T74" fmla="*/ 189 w 208"/>
              <a:gd name="T75" fmla="*/ 77 h 130"/>
              <a:gd name="T76" fmla="*/ 179 w 208"/>
              <a:gd name="T77" fmla="*/ 77 h 130"/>
              <a:gd name="T78" fmla="*/ 179 w 208"/>
              <a:gd name="T79" fmla="*/ 88 h 130"/>
              <a:gd name="T80" fmla="*/ 189 w 208"/>
              <a:gd name="T81" fmla="*/ 88 h 130"/>
              <a:gd name="T82" fmla="*/ 189 w 208"/>
              <a:gd name="T83" fmla="*/ 7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 h="130">
                <a:moveTo>
                  <a:pt x="208" y="54"/>
                </a:moveTo>
                <a:lnTo>
                  <a:pt x="208" y="130"/>
                </a:lnTo>
                <a:lnTo>
                  <a:pt x="0" y="130"/>
                </a:lnTo>
                <a:lnTo>
                  <a:pt x="0" y="54"/>
                </a:lnTo>
                <a:lnTo>
                  <a:pt x="40" y="24"/>
                </a:lnTo>
                <a:lnTo>
                  <a:pt x="40" y="54"/>
                </a:lnTo>
                <a:lnTo>
                  <a:pt x="85" y="24"/>
                </a:lnTo>
                <a:lnTo>
                  <a:pt x="85" y="54"/>
                </a:lnTo>
                <a:lnTo>
                  <a:pt x="208" y="54"/>
                </a:lnTo>
                <a:moveTo>
                  <a:pt x="163" y="54"/>
                </a:moveTo>
                <a:lnTo>
                  <a:pt x="153" y="0"/>
                </a:lnTo>
                <a:lnTo>
                  <a:pt x="144" y="0"/>
                </a:lnTo>
                <a:lnTo>
                  <a:pt x="136" y="54"/>
                </a:lnTo>
                <a:moveTo>
                  <a:pt x="200" y="54"/>
                </a:moveTo>
                <a:lnTo>
                  <a:pt x="189" y="0"/>
                </a:lnTo>
                <a:lnTo>
                  <a:pt x="180" y="0"/>
                </a:lnTo>
                <a:lnTo>
                  <a:pt x="171" y="54"/>
                </a:lnTo>
                <a:moveTo>
                  <a:pt x="30" y="77"/>
                </a:moveTo>
                <a:lnTo>
                  <a:pt x="19" y="77"/>
                </a:lnTo>
                <a:lnTo>
                  <a:pt x="19" y="88"/>
                </a:lnTo>
                <a:lnTo>
                  <a:pt x="30" y="88"/>
                </a:lnTo>
                <a:lnTo>
                  <a:pt x="30" y="77"/>
                </a:lnTo>
                <a:moveTo>
                  <a:pt x="69" y="77"/>
                </a:moveTo>
                <a:lnTo>
                  <a:pt x="59" y="77"/>
                </a:lnTo>
                <a:lnTo>
                  <a:pt x="59" y="88"/>
                </a:lnTo>
                <a:lnTo>
                  <a:pt x="69" y="88"/>
                </a:lnTo>
                <a:lnTo>
                  <a:pt x="69" y="77"/>
                </a:lnTo>
                <a:moveTo>
                  <a:pt x="109" y="77"/>
                </a:moveTo>
                <a:lnTo>
                  <a:pt x="99" y="77"/>
                </a:lnTo>
                <a:lnTo>
                  <a:pt x="99" y="88"/>
                </a:lnTo>
                <a:lnTo>
                  <a:pt x="109" y="88"/>
                </a:lnTo>
                <a:lnTo>
                  <a:pt x="109" y="77"/>
                </a:lnTo>
                <a:moveTo>
                  <a:pt x="149" y="77"/>
                </a:moveTo>
                <a:lnTo>
                  <a:pt x="139" y="77"/>
                </a:lnTo>
                <a:lnTo>
                  <a:pt x="139" y="88"/>
                </a:lnTo>
                <a:lnTo>
                  <a:pt x="149" y="88"/>
                </a:lnTo>
                <a:lnTo>
                  <a:pt x="149" y="77"/>
                </a:lnTo>
                <a:moveTo>
                  <a:pt x="189" y="77"/>
                </a:moveTo>
                <a:lnTo>
                  <a:pt x="179" y="77"/>
                </a:lnTo>
                <a:lnTo>
                  <a:pt x="179" y="88"/>
                </a:lnTo>
                <a:lnTo>
                  <a:pt x="189" y="88"/>
                </a:lnTo>
                <a:lnTo>
                  <a:pt x="189" y="77"/>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6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287" name="Group 8">
            <a:extLst>
              <a:ext uri="{FF2B5EF4-FFF2-40B4-BE49-F238E27FC236}">
                <a16:creationId xmlns:a16="http://schemas.microsoft.com/office/drawing/2014/main" id="{B4744042-FF7A-47B4-B18F-533E22E23BC0}"/>
              </a:ext>
            </a:extLst>
          </p:cNvPr>
          <p:cNvGrpSpPr>
            <a:grpSpLocks noChangeAspect="1"/>
          </p:cNvGrpSpPr>
          <p:nvPr/>
        </p:nvGrpSpPr>
        <p:grpSpPr bwMode="auto">
          <a:xfrm>
            <a:off x="8294256" y="3455129"/>
            <a:ext cx="326966" cy="265660"/>
            <a:chOff x="5458" y="3157"/>
            <a:chExt cx="304" cy="247"/>
          </a:xfrm>
        </p:grpSpPr>
        <p:sp>
          <p:nvSpPr>
            <p:cNvPr id="288" name="Freeform 9">
              <a:extLst>
                <a:ext uri="{FF2B5EF4-FFF2-40B4-BE49-F238E27FC236}">
                  <a16:creationId xmlns:a16="http://schemas.microsoft.com/office/drawing/2014/main" id="{BB6CB84A-4F11-44AB-A20B-8CEE7B7A308B}"/>
                </a:ext>
              </a:extLst>
            </p:cNvPr>
            <p:cNvSpPr>
              <a:spLocks noEditPoints="1"/>
            </p:cNvSpPr>
            <p:nvPr/>
          </p:nvSpPr>
          <p:spPr bwMode="auto">
            <a:xfrm>
              <a:off x="5521" y="3157"/>
              <a:ext cx="241" cy="247"/>
            </a:xfrm>
            <a:custGeom>
              <a:avLst/>
              <a:gdLst>
                <a:gd name="T0" fmla="*/ 35 w 334"/>
                <a:gd name="T1" fmla="*/ 160 h 341"/>
                <a:gd name="T2" fmla="*/ 35 w 334"/>
                <a:gd name="T3" fmla="*/ 61 h 341"/>
                <a:gd name="T4" fmla="*/ 60 w 334"/>
                <a:gd name="T5" fmla="*/ 36 h 341"/>
                <a:gd name="T6" fmla="*/ 266 w 334"/>
                <a:gd name="T7" fmla="*/ 36 h 341"/>
                <a:gd name="T8" fmla="*/ 291 w 334"/>
                <a:gd name="T9" fmla="*/ 61 h 341"/>
                <a:gd name="T10" fmla="*/ 291 w 334"/>
                <a:gd name="T11" fmla="*/ 273 h 341"/>
                <a:gd name="T12" fmla="*/ 266 w 334"/>
                <a:gd name="T13" fmla="*/ 298 h 341"/>
                <a:gd name="T14" fmla="*/ 266 w 334"/>
                <a:gd name="T15" fmla="*/ 298 h 341"/>
                <a:gd name="T16" fmla="*/ 84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5 w 334"/>
                <a:gd name="T35" fmla="*/ 0 h 341"/>
                <a:gd name="T36" fmla="*/ 255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5 w 334"/>
                <a:gd name="T59" fmla="*/ 78 h 341"/>
                <a:gd name="T60" fmla="*/ 0 w 334"/>
                <a:gd name="T61" fmla="*/ 78 h 341"/>
                <a:gd name="T62" fmla="*/ 35 w 334"/>
                <a:gd name="T63" fmla="*/ 121 h 341"/>
                <a:gd name="T64" fmla="*/ 0 w 334"/>
                <a:gd name="T65" fmla="*/ 121 h 341"/>
                <a:gd name="T66" fmla="*/ 35 w 334"/>
                <a:gd name="T67" fmla="*/ 163 h 341"/>
                <a:gd name="T68" fmla="*/ 0 w 334"/>
                <a:gd name="T69" fmla="*/ 163 h 341"/>
                <a:gd name="T70" fmla="*/ 121 w 334"/>
                <a:gd name="T71" fmla="*/ 298 h 341"/>
                <a:gd name="T72" fmla="*/ 121 w 334"/>
                <a:gd name="T73" fmla="*/ 341 h 341"/>
                <a:gd name="T74" fmla="*/ 163 w 334"/>
                <a:gd name="T75" fmla="*/ 341 h 341"/>
                <a:gd name="T76" fmla="*/ 163 w 334"/>
                <a:gd name="T77" fmla="*/ 298 h 341"/>
                <a:gd name="T78" fmla="*/ 206 w 334"/>
                <a:gd name="T79" fmla="*/ 298 h 341"/>
                <a:gd name="T80" fmla="*/ 206 w 334"/>
                <a:gd name="T81" fmla="*/ 341 h 341"/>
                <a:gd name="T82" fmla="*/ 255 w 334"/>
                <a:gd name="T83" fmla="*/ 298 h 341"/>
                <a:gd name="T84" fmla="*/ 255 w 334"/>
                <a:gd name="T8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341">
                  <a:moveTo>
                    <a:pt x="35" y="160"/>
                  </a:moveTo>
                  <a:cubicBezTo>
                    <a:pt x="35" y="65"/>
                    <a:pt x="35" y="61"/>
                    <a:pt x="35" y="61"/>
                  </a:cubicBezTo>
                  <a:cubicBezTo>
                    <a:pt x="35" y="45"/>
                    <a:pt x="48" y="36"/>
                    <a:pt x="60" y="36"/>
                  </a:cubicBezTo>
                  <a:cubicBezTo>
                    <a:pt x="266" y="36"/>
                    <a:pt x="266" y="36"/>
                    <a:pt x="266" y="36"/>
                  </a:cubicBezTo>
                  <a:cubicBezTo>
                    <a:pt x="282" y="36"/>
                    <a:pt x="291" y="45"/>
                    <a:pt x="291" y="61"/>
                  </a:cubicBezTo>
                  <a:cubicBezTo>
                    <a:pt x="291" y="273"/>
                    <a:pt x="291" y="273"/>
                    <a:pt x="291" y="273"/>
                  </a:cubicBezTo>
                  <a:cubicBezTo>
                    <a:pt x="291" y="286"/>
                    <a:pt x="282" y="298"/>
                    <a:pt x="266" y="298"/>
                  </a:cubicBezTo>
                  <a:cubicBezTo>
                    <a:pt x="266" y="298"/>
                    <a:pt x="266" y="298"/>
                    <a:pt x="266" y="298"/>
                  </a:cubicBezTo>
                  <a:cubicBezTo>
                    <a:pt x="161" y="298"/>
                    <a:pt x="110" y="298"/>
                    <a:pt x="84" y="298"/>
                  </a:cubicBezTo>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5" y="0"/>
                  </a:moveTo>
                  <a:cubicBezTo>
                    <a:pt x="255" y="36"/>
                    <a:pt x="255" y="36"/>
                    <a:pt x="255"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5" y="78"/>
                  </a:moveTo>
                  <a:cubicBezTo>
                    <a:pt x="0" y="78"/>
                    <a:pt x="0" y="78"/>
                    <a:pt x="0" y="78"/>
                  </a:cubicBezTo>
                  <a:moveTo>
                    <a:pt x="35" y="121"/>
                  </a:moveTo>
                  <a:cubicBezTo>
                    <a:pt x="0" y="121"/>
                    <a:pt x="0" y="121"/>
                    <a:pt x="0" y="121"/>
                  </a:cubicBezTo>
                  <a:moveTo>
                    <a:pt x="35" y="163"/>
                  </a:moveTo>
                  <a:cubicBezTo>
                    <a:pt x="0" y="163"/>
                    <a:pt x="0" y="163"/>
                    <a:pt x="0" y="163"/>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5" y="298"/>
                  </a:moveTo>
                  <a:cubicBezTo>
                    <a:pt x="255" y="341"/>
                    <a:pt x="255" y="341"/>
                    <a:pt x="255" y="3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6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89" name="Freeform 10">
              <a:extLst>
                <a:ext uri="{FF2B5EF4-FFF2-40B4-BE49-F238E27FC236}">
                  <a16:creationId xmlns:a16="http://schemas.microsoft.com/office/drawing/2014/main" id="{93745E37-8F2A-43D8-B545-72BD5F1B65A3}"/>
                </a:ext>
              </a:extLst>
            </p:cNvPr>
            <p:cNvSpPr>
              <a:spLocks noEditPoints="1"/>
            </p:cNvSpPr>
            <p:nvPr/>
          </p:nvSpPr>
          <p:spPr bwMode="auto">
            <a:xfrm>
              <a:off x="5458" y="3262"/>
              <a:ext cx="138" cy="141"/>
            </a:xfrm>
            <a:custGeom>
              <a:avLst/>
              <a:gdLst>
                <a:gd name="T0" fmla="*/ 153 w 191"/>
                <a:gd name="T1" fmla="*/ 171 h 195"/>
                <a:gd name="T2" fmla="*/ 35 w 191"/>
                <a:gd name="T3" fmla="*/ 171 h 195"/>
                <a:gd name="T4" fmla="*/ 21 w 191"/>
                <a:gd name="T5" fmla="*/ 156 h 195"/>
                <a:gd name="T6" fmla="*/ 21 w 191"/>
                <a:gd name="T7" fmla="*/ 35 h 195"/>
                <a:gd name="T8" fmla="*/ 35 w 191"/>
                <a:gd name="T9" fmla="*/ 20 h 195"/>
                <a:gd name="T10" fmla="*/ 153 w 191"/>
                <a:gd name="T11" fmla="*/ 20 h 195"/>
                <a:gd name="T12" fmla="*/ 167 w 191"/>
                <a:gd name="T13" fmla="*/ 35 h 195"/>
                <a:gd name="T14" fmla="*/ 167 w 191"/>
                <a:gd name="T15" fmla="*/ 156 h 195"/>
                <a:gd name="T16" fmla="*/ 153 w 191"/>
                <a:gd name="T17" fmla="*/ 171 h 195"/>
                <a:gd name="T18" fmla="*/ 45 w 191"/>
                <a:gd name="T19" fmla="*/ 20 h 195"/>
                <a:gd name="T20" fmla="*/ 45 w 191"/>
                <a:gd name="T21" fmla="*/ 0 h 195"/>
                <a:gd name="T22" fmla="*/ 69 w 191"/>
                <a:gd name="T23" fmla="*/ 20 h 195"/>
                <a:gd name="T24" fmla="*/ 69 w 191"/>
                <a:gd name="T25" fmla="*/ 0 h 195"/>
                <a:gd name="T26" fmla="*/ 94 w 191"/>
                <a:gd name="T27" fmla="*/ 0 h 195"/>
                <a:gd name="T28" fmla="*/ 94 w 191"/>
                <a:gd name="T29" fmla="*/ 20 h 195"/>
                <a:gd name="T30" fmla="*/ 118 w 191"/>
                <a:gd name="T31" fmla="*/ 0 h 195"/>
                <a:gd name="T32" fmla="*/ 118 w 191"/>
                <a:gd name="T33" fmla="*/ 20 h 195"/>
                <a:gd name="T34" fmla="*/ 146 w 191"/>
                <a:gd name="T35" fmla="*/ 0 h 195"/>
                <a:gd name="T36" fmla="*/ 146 w 191"/>
                <a:gd name="T37" fmla="*/ 20 h 195"/>
                <a:gd name="T38" fmla="*/ 191 w 191"/>
                <a:gd name="T39" fmla="*/ 45 h 195"/>
                <a:gd name="T40" fmla="*/ 167 w 191"/>
                <a:gd name="T41" fmla="*/ 45 h 195"/>
                <a:gd name="T42" fmla="*/ 191 w 191"/>
                <a:gd name="T43" fmla="*/ 69 h 195"/>
                <a:gd name="T44" fmla="*/ 167 w 191"/>
                <a:gd name="T45" fmla="*/ 69 h 195"/>
                <a:gd name="T46" fmla="*/ 191 w 191"/>
                <a:gd name="T47" fmla="*/ 93 h 195"/>
                <a:gd name="T48" fmla="*/ 167 w 191"/>
                <a:gd name="T49" fmla="*/ 93 h 195"/>
                <a:gd name="T50" fmla="*/ 191 w 191"/>
                <a:gd name="T51" fmla="*/ 122 h 195"/>
                <a:gd name="T52" fmla="*/ 167 w 191"/>
                <a:gd name="T53" fmla="*/ 122 h 195"/>
                <a:gd name="T54" fmla="*/ 191 w 191"/>
                <a:gd name="T55" fmla="*/ 146 h 195"/>
                <a:gd name="T56" fmla="*/ 167 w 191"/>
                <a:gd name="T57" fmla="*/ 146 h 195"/>
                <a:gd name="T58" fmla="*/ 21 w 191"/>
                <a:gd name="T59" fmla="*/ 45 h 195"/>
                <a:gd name="T60" fmla="*/ 0 w 191"/>
                <a:gd name="T61" fmla="*/ 45 h 195"/>
                <a:gd name="T62" fmla="*/ 21 w 191"/>
                <a:gd name="T63" fmla="*/ 69 h 195"/>
                <a:gd name="T64" fmla="*/ 0 w 191"/>
                <a:gd name="T65" fmla="*/ 69 h 195"/>
                <a:gd name="T66" fmla="*/ 21 w 191"/>
                <a:gd name="T67" fmla="*/ 93 h 195"/>
                <a:gd name="T68" fmla="*/ 0 w 191"/>
                <a:gd name="T69" fmla="*/ 93 h 195"/>
                <a:gd name="T70" fmla="*/ 21 w 191"/>
                <a:gd name="T71" fmla="*/ 122 h 195"/>
                <a:gd name="T72" fmla="*/ 0 w 191"/>
                <a:gd name="T73" fmla="*/ 122 h 195"/>
                <a:gd name="T74" fmla="*/ 21 w 191"/>
                <a:gd name="T75" fmla="*/ 146 h 195"/>
                <a:gd name="T76" fmla="*/ 0 w 191"/>
                <a:gd name="T77" fmla="*/ 146 h 195"/>
                <a:gd name="T78" fmla="*/ 45 w 191"/>
                <a:gd name="T79" fmla="*/ 171 h 195"/>
                <a:gd name="T80" fmla="*/ 45 w 191"/>
                <a:gd name="T81" fmla="*/ 195 h 195"/>
                <a:gd name="T82" fmla="*/ 69 w 191"/>
                <a:gd name="T83" fmla="*/ 171 h 195"/>
                <a:gd name="T84" fmla="*/ 69 w 191"/>
                <a:gd name="T85" fmla="*/ 195 h 195"/>
                <a:gd name="T86" fmla="*/ 94 w 191"/>
                <a:gd name="T87" fmla="*/ 195 h 195"/>
                <a:gd name="T88" fmla="*/ 94 w 191"/>
                <a:gd name="T89" fmla="*/ 171 h 195"/>
                <a:gd name="T90" fmla="*/ 118 w 191"/>
                <a:gd name="T91" fmla="*/ 171 h 195"/>
                <a:gd name="T92" fmla="*/ 118 w 191"/>
                <a:gd name="T93" fmla="*/ 195 h 195"/>
                <a:gd name="T94" fmla="*/ 146 w 191"/>
                <a:gd name="T95" fmla="*/ 171 h 195"/>
                <a:gd name="T96" fmla="*/ 146 w 191"/>
                <a:gd name="T9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95">
                  <a:moveTo>
                    <a:pt x="153" y="171"/>
                  </a:moveTo>
                  <a:cubicBezTo>
                    <a:pt x="35" y="171"/>
                    <a:pt x="35" y="171"/>
                    <a:pt x="35" y="171"/>
                  </a:cubicBezTo>
                  <a:cubicBezTo>
                    <a:pt x="28" y="171"/>
                    <a:pt x="21" y="163"/>
                    <a:pt x="21" y="156"/>
                  </a:cubicBezTo>
                  <a:cubicBezTo>
                    <a:pt x="21" y="35"/>
                    <a:pt x="21" y="35"/>
                    <a:pt x="21" y="35"/>
                  </a:cubicBezTo>
                  <a:cubicBezTo>
                    <a:pt x="21" y="26"/>
                    <a:pt x="28" y="20"/>
                    <a:pt x="35" y="20"/>
                  </a:cubicBezTo>
                  <a:cubicBezTo>
                    <a:pt x="153" y="20"/>
                    <a:pt x="153" y="20"/>
                    <a:pt x="153" y="20"/>
                  </a:cubicBezTo>
                  <a:cubicBezTo>
                    <a:pt x="162" y="20"/>
                    <a:pt x="167" y="26"/>
                    <a:pt x="167" y="35"/>
                  </a:cubicBezTo>
                  <a:cubicBezTo>
                    <a:pt x="167" y="156"/>
                    <a:pt x="167" y="156"/>
                    <a:pt x="167" y="156"/>
                  </a:cubicBezTo>
                  <a:cubicBezTo>
                    <a:pt x="167" y="163"/>
                    <a:pt x="162" y="171"/>
                    <a:pt x="153" y="171"/>
                  </a:cubicBezTo>
                  <a:close/>
                  <a:moveTo>
                    <a:pt x="45" y="20"/>
                  </a:moveTo>
                  <a:cubicBezTo>
                    <a:pt x="45" y="0"/>
                    <a:pt x="45" y="0"/>
                    <a:pt x="45" y="0"/>
                  </a:cubicBezTo>
                  <a:moveTo>
                    <a:pt x="69" y="20"/>
                  </a:moveTo>
                  <a:cubicBezTo>
                    <a:pt x="69" y="0"/>
                    <a:pt x="69" y="0"/>
                    <a:pt x="69" y="0"/>
                  </a:cubicBezTo>
                  <a:moveTo>
                    <a:pt x="94" y="0"/>
                  </a:moveTo>
                  <a:cubicBezTo>
                    <a:pt x="94" y="20"/>
                    <a:pt x="94" y="20"/>
                    <a:pt x="94" y="20"/>
                  </a:cubicBezTo>
                  <a:moveTo>
                    <a:pt x="118" y="0"/>
                  </a:moveTo>
                  <a:cubicBezTo>
                    <a:pt x="118" y="20"/>
                    <a:pt x="118" y="20"/>
                    <a:pt x="118" y="20"/>
                  </a:cubicBezTo>
                  <a:moveTo>
                    <a:pt x="146" y="0"/>
                  </a:moveTo>
                  <a:cubicBezTo>
                    <a:pt x="146" y="20"/>
                    <a:pt x="146" y="20"/>
                    <a:pt x="146" y="20"/>
                  </a:cubicBezTo>
                  <a:moveTo>
                    <a:pt x="191" y="45"/>
                  </a:moveTo>
                  <a:cubicBezTo>
                    <a:pt x="167" y="45"/>
                    <a:pt x="167" y="45"/>
                    <a:pt x="167" y="45"/>
                  </a:cubicBezTo>
                  <a:moveTo>
                    <a:pt x="191" y="69"/>
                  </a:moveTo>
                  <a:cubicBezTo>
                    <a:pt x="167" y="69"/>
                    <a:pt x="167" y="69"/>
                    <a:pt x="167" y="69"/>
                  </a:cubicBezTo>
                  <a:moveTo>
                    <a:pt x="191" y="93"/>
                  </a:moveTo>
                  <a:cubicBezTo>
                    <a:pt x="167" y="93"/>
                    <a:pt x="167" y="93"/>
                    <a:pt x="167" y="93"/>
                  </a:cubicBezTo>
                  <a:moveTo>
                    <a:pt x="191" y="122"/>
                  </a:moveTo>
                  <a:cubicBezTo>
                    <a:pt x="167" y="122"/>
                    <a:pt x="167" y="122"/>
                    <a:pt x="167" y="122"/>
                  </a:cubicBezTo>
                  <a:moveTo>
                    <a:pt x="191" y="146"/>
                  </a:moveTo>
                  <a:cubicBezTo>
                    <a:pt x="167" y="146"/>
                    <a:pt x="167" y="146"/>
                    <a:pt x="167" y="146"/>
                  </a:cubicBezTo>
                  <a:moveTo>
                    <a:pt x="21" y="45"/>
                  </a:moveTo>
                  <a:cubicBezTo>
                    <a:pt x="0" y="45"/>
                    <a:pt x="0" y="45"/>
                    <a:pt x="0" y="45"/>
                  </a:cubicBezTo>
                  <a:moveTo>
                    <a:pt x="21" y="69"/>
                  </a:moveTo>
                  <a:cubicBezTo>
                    <a:pt x="0" y="69"/>
                    <a:pt x="0" y="69"/>
                    <a:pt x="0" y="69"/>
                  </a:cubicBezTo>
                  <a:moveTo>
                    <a:pt x="21" y="93"/>
                  </a:moveTo>
                  <a:cubicBezTo>
                    <a:pt x="0" y="93"/>
                    <a:pt x="0" y="93"/>
                    <a:pt x="0" y="93"/>
                  </a:cubicBezTo>
                  <a:moveTo>
                    <a:pt x="21" y="122"/>
                  </a:moveTo>
                  <a:cubicBezTo>
                    <a:pt x="0" y="122"/>
                    <a:pt x="0" y="122"/>
                    <a:pt x="0" y="122"/>
                  </a:cubicBezTo>
                  <a:moveTo>
                    <a:pt x="21" y="146"/>
                  </a:moveTo>
                  <a:cubicBezTo>
                    <a:pt x="0" y="146"/>
                    <a:pt x="0" y="146"/>
                    <a:pt x="0" y="146"/>
                  </a:cubicBezTo>
                  <a:moveTo>
                    <a:pt x="45" y="171"/>
                  </a:moveTo>
                  <a:cubicBezTo>
                    <a:pt x="45" y="195"/>
                    <a:pt x="45" y="195"/>
                    <a:pt x="45" y="195"/>
                  </a:cubicBezTo>
                  <a:moveTo>
                    <a:pt x="69" y="171"/>
                  </a:moveTo>
                  <a:cubicBezTo>
                    <a:pt x="69" y="195"/>
                    <a:pt x="69" y="195"/>
                    <a:pt x="69" y="195"/>
                  </a:cubicBezTo>
                  <a:moveTo>
                    <a:pt x="94" y="195"/>
                  </a:moveTo>
                  <a:cubicBezTo>
                    <a:pt x="94" y="171"/>
                    <a:pt x="94" y="171"/>
                    <a:pt x="94" y="171"/>
                  </a:cubicBezTo>
                  <a:moveTo>
                    <a:pt x="118" y="171"/>
                  </a:moveTo>
                  <a:cubicBezTo>
                    <a:pt x="118" y="195"/>
                    <a:pt x="118" y="195"/>
                    <a:pt x="118" y="195"/>
                  </a:cubicBezTo>
                  <a:moveTo>
                    <a:pt x="146" y="171"/>
                  </a:moveTo>
                  <a:cubicBezTo>
                    <a:pt x="146" y="195"/>
                    <a:pt x="146" y="195"/>
                    <a:pt x="146" y="195"/>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6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90" name="Group 289">
            <a:extLst>
              <a:ext uri="{FF2B5EF4-FFF2-40B4-BE49-F238E27FC236}">
                <a16:creationId xmlns:a16="http://schemas.microsoft.com/office/drawing/2014/main" id="{B51BE58E-A27D-446B-90FE-264B1431B014}"/>
              </a:ext>
            </a:extLst>
          </p:cNvPr>
          <p:cNvGrpSpPr/>
          <p:nvPr/>
        </p:nvGrpSpPr>
        <p:grpSpPr>
          <a:xfrm>
            <a:off x="6671486" y="4851071"/>
            <a:ext cx="315298" cy="184107"/>
            <a:chOff x="11030366" y="2382953"/>
            <a:chExt cx="397040" cy="231838"/>
          </a:xfrm>
        </p:grpSpPr>
        <p:sp>
          <p:nvSpPr>
            <p:cNvPr id="291" name="Freeform 77">
              <a:extLst>
                <a:ext uri="{FF2B5EF4-FFF2-40B4-BE49-F238E27FC236}">
                  <a16:creationId xmlns:a16="http://schemas.microsoft.com/office/drawing/2014/main" id="{BA6605A3-B297-45FC-BCD6-99427614A69F}"/>
                </a:ext>
              </a:extLst>
            </p:cNvPr>
            <p:cNvSpPr>
              <a:spLocks/>
            </p:cNvSpPr>
            <p:nvPr/>
          </p:nvSpPr>
          <p:spPr bwMode="auto">
            <a:xfrm>
              <a:off x="11030366" y="2382953"/>
              <a:ext cx="397040" cy="231838"/>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2" name="Freeform 78">
              <a:extLst>
                <a:ext uri="{FF2B5EF4-FFF2-40B4-BE49-F238E27FC236}">
                  <a16:creationId xmlns:a16="http://schemas.microsoft.com/office/drawing/2014/main" id="{A78AF7D4-2CB0-4DCD-A858-E89B79B5DE95}"/>
                </a:ext>
              </a:extLst>
            </p:cNvPr>
            <p:cNvSpPr>
              <a:spLocks/>
            </p:cNvSpPr>
            <p:nvPr/>
          </p:nvSpPr>
          <p:spPr bwMode="auto">
            <a:xfrm>
              <a:off x="11219168" y="2439871"/>
              <a:ext cx="19436" cy="20824"/>
            </a:xfrm>
            <a:custGeom>
              <a:avLst/>
              <a:gdLst>
                <a:gd name="T0" fmla="*/ 9 w 20"/>
                <a:gd name="T1" fmla="*/ 20 h 20"/>
                <a:gd name="T2" fmla="*/ 0 w 20"/>
                <a:gd name="T3" fmla="*/ 10 h 20"/>
                <a:gd name="T4" fmla="*/ 10 w 20"/>
                <a:gd name="T5" fmla="*/ 0 h 20"/>
                <a:gd name="T6" fmla="*/ 20 w 20"/>
                <a:gd name="T7" fmla="*/ 11 h 20"/>
                <a:gd name="T8" fmla="*/ 9 w 20"/>
                <a:gd name="T9" fmla="*/ 20 h 20"/>
              </a:gdLst>
              <a:ahLst/>
              <a:cxnLst>
                <a:cxn ang="0">
                  <a:pos x="T0" y="T1"/>
                </a:cxn>
                <a:cxn ang="0">
                  <a:pos x="T2" y="T3"/>
                </a:cxn>
                <a:cxn ang="0">
                  <a:pos x="T4" y="T5"/>
                </a:cxn>
                <a:cxn ang="0">
                  <a:pos x="T6" y="T7"/>
                </a:cxn>
                <a:cxn ang="0">
                  <a:pos x="T8" y="T9"/>
                </a:cxn>
              </a:cxnLst>
              <a:rect l="0" t="0" r="r" b="b"/>
              <a:pathLst>
                <a:path w="20" h="20">
                  <a:moveTo>
                    <a:pt x="9" y="20"/>
                  </a:moveTo>
                  <a:cubicBezTo>
                    <a:pt x="4" y="20"/>
                    <a:pt x="0" y="15"/>
                    <a:pt x="0" y="10"/>
                  </a:cubicBezTo>
                  <a:cubicBezTo>
                    <a:pt x="0" y="4"/>
                    <a:pt x="5" y="0"/>
                    <a:pt x="10" y="0"/>
                  </a:cubicBezTo>
                  <a:cubicBezTo>
                    <a:pt x="16" y="0"/>
                    <a:pt x="20" y="5"/>
                    <a:pt x="20" y="11"/>
                  </a:cubicBezTo>
                  <a:cubicBezTo>
                    <a:pt x="19" y="16"/>
                    <a:pt x="15" y="20"/>
                    <a:pt x="9" y="20"/>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1524980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5F72A5A-E614-4BA5-B7EA-A7A933815E89}"/>
              </a:ext>
            </a:extLst>
          </p:cNvPr>
          <p:cNvSpPr>
            <a:spLocks noGrp="1"/>
          </p:cNvSpPr>
          <p:nvPr>
            <p:ph type="title"/>
          </p:nvPr>
        </p:nvSpPr>
        <p:spPr/>
        <p:txBody>
          <a:bodyPr/>
          <a:lstStyle/>
          <a:p>
            <a:r>
              <a:rPr lang="en-US"/>
              <a:t>Azure IoT portfolio</a:t>
            </a:r>
          </a:p>
        </p:txBody>
      </p:sp>
      <p:sp>
        <p:nvSpPr>
          <p:cNvPr id="7" name="Rectangle 6">
            <a:extLst>
              <a:ext uri="{FF2B5EF4-FFF2-40B4-BE49-F238E27FC236}">
                <a16:creationId xmlns:a16="http://schemas.microsoft.com/office/drawing/2014/main" id="{07CC2C77-A75B-43E0-928D-51C374AD4E36}"/>
              </a:ext>
            </a:extLst>
          </p:cNvPr>
          <p:cNvSpPr/>
          <p:nvPr/>
        </p:nvSpPr>
        <p:spPr bwMode="auto">
          <a:xfrm>
            <a:off x="584200" y="2693196"/>
            <a:ext cx="3611880" cy="380285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1005840" rIns="9144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90000"/>
              </a:lnSpc>
              <a:spcBef>
                <a:spcPts val="1200"/>
              </a:spcBef>
              <a:spcAft>
                <a:spcPts val="0"/>
              </a:spcAft>
              <a:buClrTx/>
              <a:buSzTx/>
              <a:buFontTx/>
              <a:buNone/>
              <a:tabLst/>
              <a:defRPr/>
            </a:pPr>
            <a:r>
              <a:rPr kumimoji="0" lang="en-US" sz="2400" b="1" i="0" u="none" strike="noStrike" kern="0" cap="none" spc="0" normalizeH="0" baseline="0" noProof="0">
                <a:ln>
                  <a:noFill/>
                </a:ln>
                <a:gradFill>
                  <a:gsLst>
                    <a:gs pos="1250">
                      <a:srgbClr val="00188F"/>
                    </a:gs>
                    <a:gs pos="100000">
                      <a:srgbClr val="00188F"/>
                    </a:gs>
                  </a:gsLst>
                  <a:lin ang="5400000" scaled="0"/>
                </a:gradFill>
                <a:effectLst/>
                <a:uLnTx/>
                <a:uFillTx/>
                <a:latin typeface="Segoe UI Semibold"/>
                <a:ea typeface="+mn-ea"/>
                <a:cs typeface="Segoe UI Light" panose="020B0502040204020203" pitchFamily="34" charset="0"/>
              </a:rPr>
              <a:t>Solutions</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zure IoT Central</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zure IoT Remote Monitoring</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zure IoT Predictive Maintenance</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zure IoT Device Simulation</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zure IoT Connected Factory</a:t>
            </a:r>
          </a:p>
        </p:txBody>
      </p:sp>
      <p:sp>
        <p:nvSpPr>
          <p:cNvPr id="22" name="Rectangle 21">
            <a:extLst>
              <a:ext uri="{FF2B5EF4-FFF2-40B4-BE49-F238E27FC236}">
                <a16:creationId xmlns:a16="http://schemas.microsoft.com/office/drawing/2014/main" id="{FB06C41C-60B0-4B58-8ECE-2E08EB1A5509}"/>
              </a:ext>
            </a:extLst>
          </p:cNvPr>
          <p:cNvSpPr/>
          <p:nvPr/>
        </p:nvSpPr>
        <p:spPr bwMode="auto">
          <a:xfrm>
            <a:off x="4277537" y="2698450"/>
            <a:ext cx="3611880" cy="380285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005840" rIns="9144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90000"/>
              </a:lnSpc>
              <a:spcBef>
                <a:spcPts val="1200"/>
              </a:spcBef>
              <a:spcAft>
                <a:spcPts val="0"/>
              </a:spcAft>
              <a:buClrTx/>
              <a:buSzTx/>
              <a:buFontTx/>
              <a:buNone/>
              <a:tabLst/>
              <a:defRPr/>
            </a:pPr>
            <a:r>
              <a:rPr kumimoji="0" lang="en-US" sz="2400" b="1" i="0" u="none" strike="noStrike" kern="0" cap="none" spc="0" normalizeH="0" baseline="0" noProof="0">
                <a:ln>
                  <a:noFill/>
                </a:ln>
                <a:gradFill>
                  <a:gsLst>
                    <a:gs pos="1250">
                      <a:srgbClr val="00188F"/>
                    </a:gs>
                    <a:gs pos="100000">
                      <a:srgbClr val="00188F"/>
                    </a:gs>
                  </a:gsLst>
                  <a:lin ang="5400000" scaled="0"/>
                </a:gradFill>
                <a:effectLst/>
                <a:uLnTx/>
                <a:uFillTx/>
                <a:latin typeface="Segoe UI Semibold"/>
                <a:ea typeface="+mn-ea"/>
                <a:cs typeface="Segoe UI Light" panose="020B0502040204020203" pitchFamily="34" charset="0"/>
              </a:rPr>
              <a:t>Services</a:t>
            </a:r>
            <a:endPar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zure Digital Twins</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zure IoT Hub</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zure IoT Security</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 </a:t>
            </a:r>
          </a:p>
          <a:p>
            <a:pPr marL="0" marR="0" lvl="0" indent="0" algn="ctr" defTabSz="914367" rtl="0" eaLnBrk="1" fontAlgn="auto" latinLnBrk="0" hangingPunct="1">
              <a:lnSpc>
                <a:spcPct val="90000"/>
              </a:lnSpc>
              <a:spcBef>
                <a:spcPts val="1200"/>
              </a:spcBef>
              <a:spcAft>
                <a:spcPts val="0"/>
              </a:spcAft>
              <a:buClrTx/>
              <a:buSzTx/>
              <a:buFontTx/>
              <a:buNone/>
              <a:tabLst/>
              <a:defRPr/>
            </a:pPr>
            <a:endPar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4" name="Rectangle 23">
            <a:extLst>
              <a:ext uri="{FF2B5EF4-FFF2-40B4-BE49-F238E27FC236}">
                <a16:creationId xmlns:a16="http://schemas.microsoft.com/office/drawing/2014/main" id="{325833FA-A815-4CCD-A3F1-563864A919D0}"/>
              </a:ext>
            </a:extLst>
          </p:cNvPr>
          <p:cNvSpPr/>
          <p:nvPr/>
        </p:nvSpPr>
        <p:spPr bwMode="auto">
          <a:xfrm>
            <a:off x="7994903" y="2693196"/>
            <a:ext cx="3611880" cy="380285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005840" rIns="9144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90000"/>
              </a:lnSpc>
              <a:spcBef>
                <a:spcPts val="1200"/>
              </a:spcBef>
              <a:spcAft>
                <a:spcPts val="0"/>
              </a:spcAft>
              <a:buClrTx/>
              <a:buSzTx/>
              <a:buFontTx/>
              <a:buNone/>
              <a:tabLst/>
              <a:defRPr/>
            </a:pPr>
            <a:r>
              <a:rPr kumimoji="0" lang="en-US" sz="2400" b="1" i="0" u="none" strike="noStrike" kern="0" cap="none" spc="0" normalizeH="0" baseline="0" noProof="0">
                <a:ln>
                  <a:noFill/>
                </a:ln>
                <a:gradFill>
                  <a:gsLst>
                    <a:gs pos="1250">
                      <a:srgbClr val="00188F"/>
                    </a:gs>
                    <a:gs pos="100000">
                      <a:srgbClr val="00188F"/>
                    </a:gs>
                  </a:gsLst>
                  <a:lin ang="5400000" scaled="0"/>
                </a:gradFill>
                <a:effectLst/>
                <a:uLnTx/>
                <a:uFillTx/>
                <a:latin typeface="Segoe UI Semibold"/>
                <a:ea typeface="+mn-ea"/>
                <a:cs typeface="Segoe UI Light" panose="020B0502040204020203" pitchFamily="34" charset="0"/>
              </a:rPr>
              <a:t>Edge</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zure IoT Edge</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zure Sphere</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Windows IoT</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 </a:t>
            </a:r>
          </a:p>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 </a:t>
            </a:r>
          </a:p>
        </p:txBody>
      </p:sp>
      <p:grpSp>
        <p:nvGrpSpPr>
          <p:cNvPr id="12" name="Group 11">
            <a:extLst>
              <a:ext uri="{FF2B5EF4-FFF2-40B4-BE49-F238E27FC236}">
                <a16:creationId xmlns:a16="http://schemas.microsoft.com/office/drawing/2014/main" id="{DB64B462-9D20-4A56-AD87-5B849C5FC1EB}"/>
              </a:ext>
            </a:extLst>
          </p:cNvPr>
          <p:cNvGrpSpPr/>
          <p:nvPr/>
        </p:nvGrpSpPr>
        <p:grpSpPr>
          <a:xfrm>
            <a:off x="1644397" y="1952707"/>
            <a:ext cx="1491488" cy="1491488"/>
            <a:chOff x="756523" y="1756146"/>
            <a:chExt cx="1696209" cy="1696209"/>
          </a:xfrm>
        </p:grpSpPr>
        <p:sp>
          <p:nvSpPr>
            <p:cNvPr id="27" name="Oval 26">
              <a:extLst>
                <a:ext uri="{FF2B5EF4-FFF2-40B4-BE49-F238E27FC236}">
                  <a16:creationId xmlns:a16="http://schemas.microsoft.com/office/drawing/2014/main" id="{29A966DB-BAF3-4DF9-936B-2B3EB7109371}"/>
                </a:ext>
              </a:extLst>
            </p:cNvPr>
            <p:cNvSpPr/>
            <p:nvPr/>
          </p:nvSpPr>
          <p:spPr bwMode="auto">
            <a:xfrm>
              <a:off x="756523" y="1756146"/>
              <a:ext cx="1696209" cy="1696209"/>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0" rIns="0" bIns="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0" name="IoT">
              <a:extLst>
                <a:ext uri="{FF2B5EF4-FFF2-40B4-BE49-F238E27FC236}">
                  <a16:creationId xmlns:a16="http://schemas.microsoft.com/office/drawing/2014/main" id="{C4EB605B-E7A5-430C-89DA-5CA808325F2E}"/>
                </a:ext>
              </a:extLst>
            </p:cNvPr>
            <p:cNvSpPr>
              <a:spLocks noChangeAspect="1" noEditPoints="1"/>
            </p:cNvSpPr>
            <p:nvPr/>
          </p:nvSpPr>
          <p:spPr bwMode="auto">
            <a:xfrm>
              <a:off x="1093152" y="2091955"/>
              <a:ext cx="1022951" cy="1024590"/>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5875"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6" name="Group 15">
            <a:extLst>
              <a:ext uri="{FF2B5EF4-FFF2-40B4-BE49-F238E27FC236}">
                <a16:creationId xmlns:a16="http://schemas.microsoft.com/office/drawing/2014/main" id="{B0E0A86D-7988-4A1B-867F-A0C9AD353BEB}"/>
              </a:ext>
            </a:extLst>
          </p:cNvPr>
          <p:cNvGrpSpPr/>
          <p:nvPr/>
        </p:nvGrpSpPr>
        <p:grpSpPr>
          <a:xfrm>
            <a:off x="5349749" y="1952707"/>
            <a:ext cx="1491488" cy="1491488"/>
            <a:chOff x="5247388" y="1412795"/>
            <a:chExt cx="1696209" cy="1696209"/>
          </a:xfrm>
        </p:grpSpPr>
        <p:sp>
          <p:nvSpPr>
            <p:cNvPr id="28" name="Oval 27">
              <a:extLst>
                <a:ext uri="{FF2B5EF4-FFF2-40B4-BE49-F238E27FC236}">
                  <a16:creationId xmlns:a16="http://schemas.microsoft.com/office/drawing/2014/main" id="{ACF4E0BD-CB8A-41D0-ADDC-9A812D57450E}"/>
                </a:ext>
              </a:extLst>
            </p:cNvPr>
            <p:cNvSpPr/>
            <p:nvPr/>
          </p:nvSpPr>
          <p:spPr bwMode="auto">
            <a:xfrm>
              <a:off x="5247388" y="1412795"/>
              <a:ext cx="1696209" cy="1696209"/>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0" rIns="0" bIns="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9" name="hand_2">
              <a:extLst>
                <a:ext uri="{FF2B5EF4-FFF2-40B4-BE49-F238E27FC236}">
                  <a16:creationId xmlns:a16="http://schemas.microsoft.com/office/drawing/2014/main" id="{CBDEA1ED-783B-433E-A5D9-7CE54A2F9BCE}"/>
                </a:ext>
              </a:extLst>
            </p:cNvPr>
            <p:cNvSpPr>
              <a:spLocks noChangeAspect="1"/>
            </p:cNvSpPr>
            <p:nvPr/>
          </p:nvSpPr>
          <p:spPr bwMode="auto">
            <a:xfrm>
              <a:off x="5652416" y="2253436"/>
              <a:ext cx="886152" cy="441093"/>
            </a:xfrm>
            <a:custGeom>
              <a:avLst/>
              <a:gdLst>
                <a:gd name="T0" fmla="*/ 76 w 306"/>
                <a:gd name="T1" fmla="*/ 65 h 151"/>
                <a:gd name="T2" fmla="*/ 211 w 306"/>
                <a:gd name="T3" fmla="*/ 66 h 151"/>
                <a:gd name="T4" fmla="*/ 256 w 306"/>
                <a:gd name="T5" fmla="*/ 22 h 151"/>
                <a:gd name="T6" fmla="*/ 306 w 306"/>
                <a:gd name="T7" fmla="*/ 28 h 151"/>
                <a:gd name="T8" fmla="*/ 227 w 306"/>
                <a:gd name="T9" fmla="*/ 106 h 151"/>
                <a:gd name="T10" fmla="*/ 93 w 306"/>
                <a:gd name="T11" fmla="*/ 140 h 151"/>
                <a:gd name="T12" fmla="*/ 19 w 306"/>
                <a:gd name="T13" fmla="*/ 132 h 151"/>
                <a:gd name="T14" fmla="*/ 20 w 306"/>
                <a:gd name="T15" fmla="*/ 63 h 151"/>
                <a:gd name="T16" fmla="*/ 63 w 306"/>
                <a:gd name="T17" fmla="*/ 22 h 151"/>
                <a:gd name="T18" fmla="*/ 168 w 306"/>
                <a:gd name="T19" fmla="*/ 23 h 151"/>
                <a:gd name="T20" fmla="*/ 138 w 306"/>
                <a:gd name="T21" fmla="*/ 6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6" h="151">
                  <a:moveTo>
                    <a:pt x="76" y="65"/>
                  </a:moveTo>
                  <a:cubicBezTo>
                    <a:pt x="211" y="66"/>
                    <a:pt x="211" y="66"/>
                    <a:pt x="211" y="66"/>
                  </a:cubicBezTo>
                  <a:cubicBezTo>
                    <a:pt x="211" y="66"/>
                    <a:pt x="233" y="45"/>
                    <a:pt x="256" y="22"/>
                  </a:cubicBezTo>
                  <a:cubicBezTo>
                    <a:pt x="279" y="0"/>
                    <a:pt x="306" y="28"/>
                    <a:pt x="306" y="28"/>
                  </a:cubicBezTo>
                  <a:cubicBezTo>
                    <a:pt x="227" y="106"/>
                    <a:pt x="227" y="106"/>
                    <a:pt x="227" y="106"/>
                  </a:cubicBezTo>
                  <a:cubicBezTo>
                    <a:pt x="227" y="106"/>
                    <a:pt x="94" y="140"/>
                    <a:pt x="93" y="140"/>
                  </a:cubicBezTo>
                  <a:cubicBezTo>
                    <a:pt x="72" y="147"/>
                    <a:pt x="38" y="151"/>
                    <a:pt x="19" y="132"/>
                  </a:cubicBezTo>
                  <a:cubicBezTo>
                    <a:pt x="0" y="113"/>
                    <a:pt x="0" y="82"/>
                    <a:pt x="20" y="63"/>
                  </a:cubicBezTo>
                  <a:cubicBezTo>
                    <a:pt x="63" y="22"/>
                    <a:pt x="63" y="22"/>
                    <a:pt x="63" y="22"/>
                  </a:cubicBezTo>
                  <a:cubicBezTo>
                    <a:pt x="168" y="23"/>
                    <a:pt x="168" y="23"/>
                    <a:pt x="168" y="23"/>
                  </a:cubicBezTo>
                  <a:cubicBezTo>
                    <a:pt x="168" y="54"/>
                    <a:pt x="138" y="65"/>
                    <a:pt x="138" y="65"/>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 name="IoT_Hub">
              <a:extLst>
                <a:ext uri="{FF2B5EF4-FFF2-40B4-BE49-F238E27FC236}">
                  <a16:creationId xmlns:a16="http://schemas.microsoft.com/office/drawing/2014/main" id="{4F5D25AB-CA93-4093-A986-122CF006BF1A}"/>
                </a:ext>
              </a:extLst>
            </p:cNvPr>
            <p:cNvSpPr>
              <a:spLocks noChangeAspect="1" noEditPoints="1"/>
            </p:cNvSpPr>
            <p:nvPr/>
          </p:nvSpPr>
          <p:spPr bwMode="auto">
            <a:xfrm>
              <a:off x="5836412" y="1684854"/>
              <a:ext cx="518160" cy="518160"/>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5875"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BE256650-1A0A-48B0-A1E8-398D8496C703}"/>
              </a:ext>
            </a:extLst>
          </p:cNvPr>
          <p:cNvGrpSpPr/>
          <p:nvPr/>
        </p:nvGrpSpPr>
        <p:grpSpPr>
          <a:xfrm>
            <a:off x="9055100" y="1952707"/>
            <a:ext cx="1491488" cy="1491488"/>
            <a:chOff x="8952739" y="1412795"/>
            <a:chExt cx="1696209" cy="1696209"/>
          </a:xfrm>
        </p:grpSpPr>
        <p:sp>
          <p:nvSpPr>
            <p:cNvPr id="29" name="Oval 28">
              <a:extLst>
                <a:ext uri="{FF2B5EF4-FFF2-40B4-BE49-F238E27FC236}">
                  <a16:creationId xmlns:a16="http://schemas.microsoft.com/office/drawing/2014/main" id="{DC44B567-DF1B-4B9F-804B-1AB6FDC36C3B}"/>
                </a:ext>
              </a:extLst>
            </p:cNvPr>
            <p:cNvSpPr/>
            <p:nvPr/>
          </p:nvSpPr>
          <p:spPr bwMode="auto">
            <a:xfrm>
              <a:off x="8952739" y="1412795"/>
              <a:ext cx="1696209" cy="1696209"/>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0" rIns="0" bIns="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42" name="IoT">
              <a:extLst>
                <a:ext uri="{FF2B5EF4-FFF2-40B4-BE49-F238E27FC236}">
                  <a16:creationId xmlns:a16="http://schemas.microsoft.com/office/drawing/2014/main" id="{D4AD2C9C-DFF2-4593-8320-953790506EF8}"/>
                </a:ext>
              </a:extLst>
            </p:cNvPr>
            <p:cNvSpPr>
              <a:spLocks noChangeAspect="1" noEditPoints="1"/>
            </p:cNvSpPr>
            <p:nvPr/>
          </p:nvSpPr>
          <p:spPr bwMode="auto">
            <a:xfrm flipH="1" flipV="1">
              <a:off x="9577385" y="2037083"/>
              <a:ext cx="446916" cy="44763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5875"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 name="chip">
              <a:extLst>
                <a:ext uri="{FF2B5EF4-FFF2-40B4-BE49-F238E27FC236}">
                  <a16:creationId xmlns:a16="http://schemas.microsoft.com/office/drawing/2014/main" id="{242FCCEC-40A9-47C9-B2D6-83B3CA152AD8}"/>
                </a:ext>
              </a:extLst>
            </p:cNvPr>
            <p:cNvSpPr>
              <a:spLocks noChangeAspect="1" noEditPoints="1"/>
            </p:cNvSpPr>
            <p:nvPr/>
          </p:nvSpPr>
          <p:spPr bwMode="auto">
            <a:xfrm>
              <a:off x="9337455" y="1787937"/>
              <a:ext cx="926777" cy="945925"/>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3615298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350"/>
                                        <p:tgtEl>
                                          <p:spTgt spid="7"/>
                                        </p:tgtEl>
                                      </p:cBhvr>
                                    </p:animEffect>
                                  </p:childTnLst>
                                </p:cTn>
                              </p:par>
                              <p:par>
                                <p:cTn id="8" presetID="42" presetClass="path" presetSubtype="0" decel="100000" fill="hold" grpId="1" nodeType="withEffect">
                                  <p:stCondLst>
                                    <p:cond delay="0"/>
                                  </p:stCondLst>
                                  <p:childTnLst>
                                    <p:animMotion origin="layout" path="M 2.5E-6 4.93827E-6 L 2.5E-6 0.07314 " pathEditMode="relative" rAng="0" ptsTypes="AA">
                                      <p:cBhvr>
                                        <p:cTn id="9" dur="500" spd="-100000" fill="hold"/>
                                        <p:tgtEl>
                                          <p:spTgt spid="7"/>
                                        </p:tgtEl>
                                        <p:attrNameLst>
                                          <p:attrName>ppt_x</p:attrName>
                                          <p:attrName>ppt_y</p:attrName>
                                        </p:attrNameLst>
                                      </p:cBhvr>
                                      <p:rCtr x="0" y="3642"/>
                                    </p:animMotion>
                                  </p:childTnLst>
                                </p:cTn>
                              </p:par>
                              <p:par>
                                <p:cTn id="10" presetID="10" presetClass="entr" presetSubtype="0" fill="hold" grpId="0" nodeType="with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350"/>
                                        <p:tgtEl>
                                          <p:spTgt spid="22"/>
                                        </p:tgtEl>
                                      </p:cBhvr>
                                    </p:animEffect>
                                  </p:childTnLst>
                                </p:cTn>
                              </p:par>
                              <p:par>
                                <p:cTn id="13" presetID="42" presetClass="path" presetSubtype="0" decel="100000" fill="hold" grpId="1" nodeType="withEffect">
                                  <p:stCondLst>
                                    <p:cond delay="0"/>
                                  </p:stCondLst>
                                  <p:childTnLst>
                                    <p:animMotion origin="layout" path="M 2.5E-6 4.93827E-6 L 2.5E-6 0.07314 " pathEditMode="relative" rAng="0" ptsTypes="AA">
                                      <p:cBhvr>
                                        <p:cTn id="14" dur="500" spd="-100000" fill="hold"/>
                                        <p:tgtEl>
                                          <p:spTgt spid="22"/>
                                        </p:tgtEl>
                                        <p:attrNameLst>
                                          <p:attrName>ppt_x</p:attrName>
                                          <p:attrName>ppt_y</p:attrName>
                                        </p:attrNameLst>
                                      </p:cBhvr>
                                      <p:rCtr x="0" y="3642"/>
                                    </p:animMotion>
                                  </p:childTnLst>
                                </p:cTn>
                              </p:par>
                              <p:par>
                                <p:cTn id="15" presetID="10"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350"/>
                                        <p:tgtEl>
                                          <p:spTgt spid="24"/>
                                        </p:tgtEl>
                                      </p:cBhvr>
                                    </p:animEffect>
                                  </p:childTnLst>
                                </p:cTn>
                              </p:par>
                              <p:par>
                                <p:cTn id="18" presetID="42" presetClass="path" presetSubtype="0" decel="100000" fill="hold" grpId="1" nodeType="withEffect">
                                  <p:stCondLst>
                                    <p:cond delay="0"/>
                                  </p:stCondLst>
                                  <p:childTnLst>
                                    <p:animMotion origin="layout" path="M 2.5E-6 4.93827E-6 L 2.5E-6 0.07314 " pathEditMode="relative" rAng="0" ptsTypes="AA">
                                      <p:cBhvr>
                                        <p:cTn id="19" dur="500" spd="-100000" fill="hold"/>
                                        <p:tgtEl>
                                          <p:spTgt spid="24"/>
                                        </p:tgtEl>
                                        <p:attrNameLst>
                                          <p:attrName>ppt_x</p:attrName>
                                          <p:attrName>ppt_y</p:attrName>
                                        </p:attrNameLst>
                                      </p:cBhvr>
                                      <p:rCtr x="0" y="3642"/>
                                    </p:animMotion>
                                  </p:childTnLst>
                                </p:cTn>
                              </p:par>
                              <p:par>
                                <p:cTn id="20" presetID="10" presetClass="entr" presetSubtype="0"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350"/>
                                        <p:tgtEl>
                                          <p:spTgt spid="12"/>
                                        </p:tgtEl>
                                      </p:cBhvr>
                                    </p:animEffect>
                                  </p:childTnLst>
                                </p:cTn>
                              </p:par>
                              <p:par>
                                <p:cTn id="23" presetID="42" presetClass="path" presetSubtype="0" decel="100000" fill="hold" nodeType="withEffect">
                                  <p:stCondLst>
                                    <p:cond delay="0"/>
                                  </p:stCondLst>
                                  <p:childTnLst>
                                    <p:animMotion origin="layout" path="M 2.5E-6 4.93827E-6 L 2.5E-6 0.07314 " pathEditMode="relative" rAng="0" ptsTypes="AA">
                                      <p:cBhvr>
                                        <p:cTn id="24" dur="500" spd="-100000" fill="hold"/>
                                        <p:tgtEl>
                                          <p:spTgt spid="12"/>
                                        </p:tgtEl>
                                        <p:attrNameLst>
                                          <p:attrName>ppt_x</p:attrName>
                                          <p:attrName>ppt_y</p:attrName>
                                        </p:attrNameLst>
                                      </p:cBhvr>
                                      <p:rCtr x="0" y="3642"/>
                                    </p:animMotion>
                                  </p:childTnLst>
                                </p:cTn>
                              </p:par>
                              <p:par>
                                <p:cTn id="25" presetID="10"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350"/>
                                        <p:tgtEl>
                                          <p:spTgt spid="16"/>
                                        </p:tgtEl>
                                      </p:cBhvr>
                                    </p:animEffect>
                                  </p:childTnLst>
                                </p:cTn>
                              </p:par>
                              <p:par>
                                <p:cTn id="28" presetID="42" presetClass="path" presetSubtype="0" decel="100000" fill="hold" nodeType="withEffect">
                                  <p:stCondLst>
                                    <p:cond delay="0"/>
                                  </p:stCondLst>
                                  <p:childTnLst>
                                    <p:animMotion origin="layout" path="M 2.5E-6 4.93827E-6 L 2.5E-6 0.07314 " pathEditMode="relative" rAng="0" ptsTypes="AA">
                                      <p:cBhvr>
                                        <p:cTn id="29" dur="500" spd="-100000" fill="hold"/>
                                        <p:tgtEl>
                                          <p:spTgt spid="16"/>
                                        </p:tgtEl>
                                        <p:attrNameLst>
                                          <p:attrName>ppt_x</p:attrName>
                                          <p:attrName>ppt_y</p:attrName>
                                        </p:attrNameLst>
                                      </p:cBhvr>
                                      <p:rCtr x="0" y="3642"/>
                                    </p:animMotion>
                                  </p:childTnLst>
                                </p:cTn>
                              </p:par>
                              <p:par>
                                <p:cTn id="30" presetID="10" presetClass="entr" presetSubtype="0" fill="hold"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350"/>
                                        <p:tgtEl>
                                          <p:spTgt spid="17"/>
                                        </p:tgtEl>
                                      </p:cBhvr>
                                    </p:animEffect>
                                  </p:childTnLst>
                                </p:cTn>
                              </p:par>
                              <p:par>
                                <p:cTn id="33" presetID="42" presetClass="path" presetSubtype="0" decel="100000" fill="hold" nodeType="withEffect">
                                  <p:stCondLst>
                                    <p:cond delay="0"/>
                                  </p:stCondLst>
                                  <p:childTnLst>
                                    <p:animMotion origin="layout" path="M 2.5E-6 4.93827E-6 L 2.5E-6 0.07314 " pathEditMode="relative" rAng="0" ptsTypes="AA">
                                      <p:cBhvr>
                                        <p:cTn id="34" dur="500" spd="-100000" fill="hold"/>
                                        <p:tgtEl>
                                          <p:spTgt spid="17"/>
                                        </p:tgtEl>
                                        <p:attrNameLst>
                                          <p:attrName>ppt_x</p:attrName>
                                          <p:attrName>ppt_y</p:attrName>
                                        </p:attrNameLst>
                                      </p:cBhvr>
                                      <p:rCtr x="0" y="36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22" grpId="1" animBg="1"/>
      <p:bldP spid="24" grpId="0" animBg="1"/>
      <p:bldP spid="24" grpId="1"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E97ACA3-6940-4586-9D9E-AA7565E04981}"/>
              </a:ext>
            </a:extLst>
          </p:cNvPr>
          <p:cNvGrpSpPr/>
          <p:nvPr/>
        </p:nvGrpSpPr>
        <p:grpSpPr>
          <a:xfrm>
            <a:off x="-122237" y="-68262"/>
            <a:ext cx="6218237" cy="7017620"/>
            <a:chOff x="-122237" y="-68262"/>
            <a:chExt cx="6218237" cy="7017620"/>
          </a:xfrm>
        </p:grpSpPr>
        <p:pic>
          <p:nvPicPr>
            <p:cNvPr id="3" name="Picture 2">
              <a:extLst>
                <a:ext uri="{FF2B5EF4-FFF2-40B4-BE49-F238E27FC236}">
                  <a16:creationId xmlns:a16="http://schemas.microsoft.com/office/drawing/2014/main" id="{E7DDBBD3-1AB1-4D9B-B0EA-FC60FFEFD1C1}"/>
                </a:ext>
              </a:extLst>
            </p:cNvPr>
            <p:cNvPicPr>
              <a:picLocks noChangeAspect="1"/>
            </p:cNvPicPr>
            <p:nvPr/>
          </p:nvPicPr>
          <p:blipFill rotWithShape="1">
            <a:blip r:embed="rId3">
              <a:extLst>
                <a:ext uri="{28A0092B-C50C-407E-A947-70E740481C1C}">
                  <a14:useLocalDpi xmlns:a14="http://schemas.microsoft.com/office/drawing/2010/main" val="0"/>
                </a:ext>
              </a:extLst>
            </a:blip>
            <a:srcRect l="42515" t="21760" r="11126"/>
            <a:stretch/>
          </p:blipFill>
          <p:spPr>
            <a:xfrm>
              <a:off x="-122237" y="-68262"/>
              <a:ext cx="6218237" cy="6994527"/>
            </a:xfrm>
            <a:prstGeom prst="rect">
              <a:avLst/>
            </a:prstGeom>
          </p:spPr>
        </p:pic>
        <p:sp>
          <p:nvSpPr>
            <p:cNvPr id="4" name="Rectangle 3">
              <a:extLst>
                <a:ext uri="{FF2B5EF4-FFF2-40B4-BE49-F238E27FC236}">
                  <a16:creationId xmlns:a16="http://schemas.microsoft.com/office/drawing/2014/main" id="{C6C692C0-AD2B-4AE4-9567-835EF5FCF9E3}"/>
                </a:ext>
              </a:extLst>
            </p:cNvPr>
            <p:cNvSpPr/>
            <p:nvPr/>
          </p:nvSpPr>
          <p:spPr bwMode="auto">
            <a:xfrm>
              <a:off x="-122237" y="-68262"/>
              <a:ext cx="6218237" cy="7017620"/>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 name="Rectangle 4">
            <a:extLst>
              <a:ext uri="{FF2B5EF4-FFF2-40B4-BE49-F238E27FC236}">
                <a16:creationId xmlns:a16="http://schemas.microsoft.com/office/drawing/2014/main" id="{9AC894D1-090A-4B59-A009-A0C9759B7B8D}"/>
              </a:ext>
            </a:extLst>
          </p:cNvPr>
          <p:cNvSpPr/>
          <p:nvPr/>
        </p:nvSpPr>
        <p:spPr>
          <a:xfrm>
            <a:off x="312738" y="2927863"/>
            <a:ext cx="5783263" cy="992404"/>
          </a:xfrm>
          <a:prstGeom prst="rect">
            <a:avLst/>
          </a:prstGeom>
        </p:spPr>
        <p:txBody>
          <a:bodyPr wrap="square" lIns="0" tIns="0" rIns="274320" bIns="0" anchor="ctr">
            <a:noAutofit/>
          </a:bodyPr>
          <a:lstStyle/>
          <a:p>
            <a:pPr marL="0" marR="0" lvl="0" indent="0" algn="r" defTabSz="932688"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Semilight (Headings)"/>
                <a:ea typeface="+mn-ea"/>
                <a:cs typeface="+mn-cs"/>
              </a:rPr>
              <a:t>Azure</a:t>
            </a:r>
            <a:r>
              <a:rPr kumimoji="0" lang="en-US" sz="2400" b="0" i="0" u="none" strike="noStrike" kern="1200" cap="none" spc="0" normalizeH="0" baseline="0" noProof="0">
                <a:ln>
                  <a:noFill/>
                </a:ln>
                <a:solidFill>
                  <a:srgbClr val="FFFFFF"/>
                </a:solidFill>
                <a:effectLst/>
                <a:uLnTx/>
                <a:uFillTx/>
                <a:latin typeface="Segoe UI Semibold"/>
                <a:ea typeface="+mn-ea"/>
                <a:cs typeface="+mn-cs"/>
              </a:rPr>
              <a:t> </a:t>
            </a:r>
            <a:r>
              <a:rPr kumimoji="0" lang="en-US" sz="3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oT Hub</a:t>
            </a:r>
          </a:p>
        </p:txBody>
      </p:sp>
      <p:grpSp>
        <p:nvGrpSpPr>
          <p:cNvPr id="6" name="Group 5">
            <a:extLst>
              <a:ext uri="{FF2B5EF4-FFF2-40B4-BE49-F238E27FC236}">
                <a16:creationId xmlns:a16="http://schemas.microsoft.com/office/drawing/2014/main" id="{486842C4-908B-4F38-A50F-AB98D8BB9924}"/>
              </a:ext>
            </a:extLst>
          </p:cNvPr>
          <p:cNvGrpSpPr/>
          <p:nvPr/>
        </p:nvGrpSpPr>
        <p:grpSpPr>
          <a:xfrm>
            <a:off x="6885728" y="3012783"/>
            <a:ext cx="4990360" cy="961853"/>
            <a:chOff x="7007965" y="3081044"/>
            <a:chExt cx="4990360" cy="961853"/>
          </a:xfrm>
        </p:grpSpPr>
        <p:cxnSp>
          <p:nvCxnSpPr>
            <p:cNvPr id="7" name="Straight Connector 6">
              <a:extLst>
                <a:ext uri="{FF2B5EF4-FFF2-40B4-BE49-F238E27FC236}">
                  <a16:creationId xmlns:a16="http://schemas.microsoft.com/office/drawing/2014/main" id="{B3079D9C-17A1-4C76-91F3-10581A35A5AB}"/>
                </a:ext>
              </a:extLst>
            </p:cNvPr>
            <p:cNvCxnSpPr>
              <a:cxnSpLocks/>
            </p:cNvCxnSpPr>
            <p:nvPr/>
          </p:nvCxnSpPr>
          <p:spPr>
            <a:xfrm>
              <a:off x="7007965" y="4042897"/>
              <a:ext cx="4553682" cy="0"/>
            </a:xfrm>
            <a:prstGeom prst="line">
              <a:avLst/>
            </a:prstGeom>
            <a:ln w="9525">
              <a:solidFill>
                <a:schemeClr val="accent1"/>
              </a:solidFill>
              <a:headEnd type="none"/>
              <a:tailEnd type="none"/>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32B0CF81-6E68-4A27-A769-E34747480C57}"/>
                </a:ext>
              </a:extLst>
            </p:cNvPr>
            <p:cNvSpPr/>
            <p:nvPr/>
          </p:nvSpPr>
          <p:spPr>
            <a:xfrm>
              <a:off x="7965509" y="3247740"/>
              <a:ext cx="4032816" cy="430887"/>
            </a:xfrm>
            <a:prstGeom prst="rect">
              <a:avLst/>
            </a:prstGeom>
          </p:spPr>
          <p:txBody>
            <a:bodyPr wrap="square" lIns="0" tIns="0" rIns="0" bIns="0" anchor="ctr" anchorCtr="0">
              <a:spAutoFit/>
            </a:bodyPr>
            <a:lstStyle/>
            <a:p>
              <a:pPr marL="0" marR="0" lvl="0" indent="0" algn="l" defTabSz="931933" rtl="0" eaLnBrk="1" fontAlgn="auto" latinLnBrk="0" hangingPunct="1">
                <a:lnSpc>
                  <a:spcPct val="100000"/>
                </a:lnSpc>
                <a:spcBef>
                  <a:spcPts val="1836"/>
                </a:spcBef>
                <a:spcAft>
                  <a:spcPts val="0"/>
                </a:spcAft>
                <a:buClrTx/>
                <a:buSzTx/>
                <a:buFontTx/>
                <a:buNone/>
                <a:tabLst/>
                <a:defRPr/>
              </a:pPr>
              <a:r>
                <a:rPr kumimoji="0" lang="en-US" sz="14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Semibold"/>
                  <a:ea typeface="+mn-ea"/>
                  <a:cs typeface="Segoe UI Semilight" panose="020B0402040204020203" pitchFamily="34" charset="0"/>
                </a:rPr>
                <a:t>Provision devices at scale w/IoT </a:t>
              </a:r>
              <a:br>
                <a:rPr kumimoji="0" lang="en-US" sz="14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Semibold"/>
                  <a:ea typeface="+mn-ea"/>
                  <a:cs typeface="Segoe UI Semilight" panose="020B0402040204020203" pitchFamily="34" charset="0"/>
                </a:rPr>
              </a:br>
              <a:r>
                <a:rPr kumimoji="0" lang="en-US" sz="14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Semibold"/>
                  <a:ea typeface="+mn-ea"/>
                  <a:cs typeface="Segoe UI Semilight" panose="020B0402040204020203" pitchFamily="34" charset="0"/>
                </a:rPr>
                <a:t>Hub Device Provisioning Service</a:t>
              </a:r>
            </a:p>
          </p:txBody>
        </p:sp>
        <p:grpSp>
          <p:nvGrpSpPr>
            <p:cNvPr id="9" name="Group 8">
              <a:extLst>
                <a:ext uri="{FF2B5EF4-FFF2-40B4-BE49-F238E27FC236}">
                  <a16:creationId xmlns:a16="http://schemas.microsoft.com/office/drawing/2014/main" id="{BA4A9D44-7CF5-40E2-B965-9BF0BBF967A2}"/>
                </a:ext>
              </a:extLst>
            </p:cNvPr>
            <p:cNvGrpSpPr/>
            <p:nvPr/>
          </p:nvGrpSpPr>
          <p:grpSpPr>
            <a:xfrm>
              <a:off x="7046609" y="3081044"/>
              <a:ext cx="768096" cy="764276"/>
              <a:chOff x="7046609" y="3081044"/>
              <a:chExt cx="768096" cy="764276"/>
            </a:xfrm>
          </p:grpSpPr>
          <p:sp>
            <p:nvSpPr>
              <p:cNvPr id="10" name="Oval 9">
                <a:extLst>
                  <a:ext uri="{FF2B5EF4-FFF2-40B4-BE49-F238E27FC236}">
                    <a16:creationId xmlns:a16="http://schemas.microsoft.com/office/drawing/2014/main" id="{21EC7B24-4660-4AB9-BB6E-80E39A4DF504}"/>
                  </a:ext>
                </a:extLst>
              </p:cNvPr>
              <p:cNvSpPr/>
              <p:nvPr/>
            </p:nvSpPr>
            <p:spPr bwMode="auto">
              <a:xfrm>
                <a:off x="7046609" y="3081044"/>
                <a:ext cx="76809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1250">
                        <a:srgbClr val="0D0D0D"/>
                      </a:gs>
                      <a:gs pos="100000">
                        <a:srgbClr val="0D0D0D"/>
                      </a:gs>
                    </a:gsLst>
                    <a:lin ang="5400000" scaled="0"/>
                  </a:gradFill>
                  <a:effectLst/>
                  <a:uLnTx/>
                  <a:uFillTx/>
                  <a:latin typeface="Segoe UI Semilight"/>
                  <a:ea typeface="+mn-ea"/>
                  <a:cs typeface="+mn-cs"/>
                </a:endParaRPr>
              </a:p>
            </p:txBody>
          </p:sp>
          <p:sp>
            <p:nvSpPr>
              <p:cNvPr id="11" name="globe_4" title="Icon of the earth">
                <a:extLst>
                  <a:ext uri="{FF2B5EF4-FFF2-40B4-BE49-F238E27FC236}">
                    <a16:creationId xmlns:a16="http://schemas.microsoft.com/office/drawing/2014/main" id="{5A7DBCBC-2444-4AE3-91FF-EE98D248ED5C}"/>
                  </a:ext>
                </a:extLst>
              </p:cNvPr>
              <p:cNvSpPr>
                <a:spLocks noChangeAspect="1" noEditPoints="1"/>
              </p:cNvSpPr>
              <p:nvPr/>
            </p:nvSpPr>
            <p:spPr bwMode="auto">
              <a:xfrm>
                <a:off x="7206072" y="3235777"/>
                <a:ext cx="449170" cy="45481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mn-cs"/>
                </a:endParaRPr>
              </a:p>
            </p:txBody>
          </p:sp>
        </p:grpSp>
      </p:grpSp>
      <p:grpSp>
        <p:nvGrpSpPr>
          <p:cNvPr id="12" name="Group 11">
            <a:extLst>
              <a:ext uri="{FF2B5EF4-FFF2-40B4-BE49-F238E27FC236}">
                <a16:creationId xmlns:a16="http://schemas.microsoft.com/office/drawing/2014/main" id="{8F2577D3-06CA-48BF-930E-E3FBFB224493}"/>
              </a:ext>
            </a:extLst>
          </p:cNvPr>
          <p:cNvGrpSpPr/>
          <p:nvPr/>
        </p:nvGrpSpPr>
        <p:grpSpPr>
          <a:xfrm>
            <a:off x="6885729" y="693923"/>
            <a:ext cx="4990361" cy="961853"/>
            <a:chOff x="7007965" y="762184"/>
            <a:chExt cx="4990361" cy="961853"/>
          </a:xfrm>
        </p:grpSpPr>
        <p:cxnSp>
          <p:nvCxnSpPr>
            <p:cNvPr id="13" name="Straight Connector 12">
              <a:extLst>
                <a:ext uri="{FF2B5EF4-FFF2-40B4-BE49-F238E27FC236}">
                  <a16:creationId xmlns:a16="http://schemas.microsoft.com/office/drawing/2014/main" id="{9B19F948-E8DA-4A23-ADFE-82310113D731}"/>
                </a:ext>
              </a:extLst>
            </p:cNvPr>
            <p:cNvCxnSpPr>
              <a:cxnSpLocks/>
            </p:cNvCxnSpPr>
            <p:nvPr/>
          </p:nvCxnSpPr>
          <p:spPr>
            <a:xfrm>
              <a:off x="7007965" y="1724037"/>
              <a:ext cx="4553682" cy="0"/>
            </a:xfrm>
            <a:prstGeom prst="line">
              <a:avLst/>
            </a:prstGeom>
            <a:ln w="9525">
              <a:solidFill>
                <a:schemeClr val="accent1"/>
              </a:solidFill>
              <a:headEnd type="none"/>
              <a:tailEnd type="none"/>
            </a:ln>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DBA8BDC9-4D52-4FB5-9AD9-01BB542E9A83}"/>
                </a:ext>
              </a:extLst>
            </p:cNvPr>
            <p:cNvSpPr/>
            <p:nvPr/>
          </p:nvSpPr>
          <p:spPr>
            <a:xfrm>
              <a:off x="7965510" y="950423"/>
              <a:ext cx="4032816" cy="387798"/>
            </a:xfrm>
            <a:prstGeom prst="rect">
              <a:avLst/>
            </a:prstGeom>
          </p:spPr>
          <p:txBody>
            <a:bodyPr wrap="square" lIns="0" tIns="0" rIns="0" bIns="0" anchor="ctr" anchorCtr="0">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Semibold"/>
                  <a:ea typeface="+mn-ea"/>
                  <a:cs typeface="Segoe UI Semilight" panose="020B0402040204020203" pitchFamily="34" charset="0"/>
                </a:rPr>
                <a:t>Establish bi-directional communication </a:t>
              </a:r>
              <a:br>
                <a:rPr kumimoji="0" lang="en-US" sz="14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Semibold"/>
                  <a:ea typeface="+mn-ea"/>
                  <a:cs typeface="Segoe UI Semilight" panose="020B0402040204020203" pitchFamily="34" charset="0"/>
                </a:rPr>
              </a:br>
              <a:r>
                <a:rPr kumimoji="0" lang="en-US" sz="14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Semibold"/>
                  <a:ea typeface="+mn-ea"/>
                  <a:cs typeface="Segoe UI Semilight" panose="020B0402040204020203" pitchFamily="34" charset="0"/>
                </a:rPr>
                <a:t>with billions of IoT devices</a:t>
              </a:r>
            </a:p>
          </p:txBody>
        </p:sp>
        <p:grpSp>
          <p:nvGrpSpPr>
            <p:cNvPr id="15" name="Group 14">
              <a:extLst>
                <a:ext uri="{FF2B5EF4-FFF2-40B4-BE49-F238E27FC236}">
                  <a16:creationId xmlns:a16="http://schemas.microsoft.com/office/drawing/2014/main" id="{93EC16F3-975F-4F79-AD0A-B15726150A99}"/>
                </a:ext>
              </a:extLst>
            </p:cNvPr>
            <p:cNvGrpSpPr/>
            <p:nvPr/>
          </p:nvGrpSpPr>
          <p:grpSpPr>
            <a:xfrm>
              <a:off x="7048908" y="762184"/>
              <a:ext cx="764276" cy="764276"/>
              <a:chOff x="7048908" y="762184"/>
              <a:chExt cx="764276" cy="764276"/>
            </a:xfrm>
          </p:grpSpPr>
          <p:sp>
            <p:nvSpPr>
              <p:cNvPr id="16" name="Oval 15">
                <a:extLst>
                  <a:ext uri="{FF2B5EF4-FFF2-40B4-BE49-F238E27FC236}">
                    <a16:creationId xmlns:a16="http://schemas.microsoft.com/office/drawing/2014/main" id="{A86C56B3-798C-414E-B7D7-371CC32E09C5}"/>
                  </a:ext>
                </a:extLst>
              </p:cNvPr>
              <p:cNvSpPr/>
              <p:nvPr/>
            </p:nvSpPr>
            <p:spPr bwMode="auto">
              <a:xfrm>
                <a:off x="7048908" y="762184"/>
                <a:ext cx="76427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1250">
                        <a:srgbClr val="0D0D0D"/>
                      </a:gs>
                      <a:gs pos="100000">
                        <a:srgbClr val="0D0D0D"/>
                      </a:gs>
                    </a:gsLst>
                    <a:lin ang="5400000" scaled="0"/>
                  </a:gradFill>
                  <a:effectLst/>
                  <a:uLnTx/>
                  <a:uFillTx/>
                  <a:latin typeface="Segoe UI Semilight"/>
                  <a:ea typeface="+mn-ea"/>
                  <a:cs typeface="+mn-cs"/>
                </a:endParaRPr>
              </a:p>
            </p:txBody>
          </p:sp>
          <p:sp>
            <p:nvSpPr>
              <p:cNvPr id="17" name="IoT_Hub" title="Icon of circles connecting to a center circle surrounded by brackets">
                <a:extLst>
                  <a:ext uri="{FF2B5EF4-FFF2-40B4-BE49-F238E27FC236}">
                    <a16:creationId xmlns:a16="http://schemas.microsoft.com/office/drawing/2014/main" id="{C38BDD09-E608-494B-B513-836F4F40E4ED}"/>
                  </a:ext>
                </a:extLst>
              </p:cNvPr>
              <p:cNvSpPr>
                <a:spLocks noChangeAspect="1" noEditPoints="1"/>
              </p:cNvSpPr>
              <p:nvPr/>
            </p:nvSpPr>
            <p:spPr bwMode="auto">
              <a:xfrm>
                <a:off x="7232993" y="946269"/>
                <a:ext cx="396106" cy="396106"/>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mn-cs"/>
                </a:endParaRPr>
              </a:p>
            </p:txBody>
          </p:sp>
        </p:grpSp>
      </p:grpSp>
      <p:grpSp>
        <p:nvGrpSpPr>
          <p:cNvPr id="18" name="Group 17">
            <a:extLst>
              <a:ext uri="{FF2B5EF4-FFF2-40B4-BE49-F238E27FC236}">
                <a16:creationId xmlns:a16="http://schemas.microsoft.com/office/drawing/2014/main" id="{5696CE64-D068-4022-BD07-866D68291175}"/>
              </a:ext>
            </a:extLst>
          </p:cNvPr>
          <p:cNvGrpSpPr/>
          <p:nvPr/>
        </p:nvGrpSpPr>
        <p:grpSpPr>
          <a:xfrm>
            <a:off x="6885728" y="1853353"/>
            <a:ext cx="4990360" cy="961853"/>
            <a:chOff x="7007965" y="1921614"/>
            <a:chExt cx="4990360" cy="961853"/>
          </a:xfrm>
        </p:grpSpPr>
        <p:cxnSp>
          <p:nvCxnSpPr>
            <p:cNvPr id="19" name="Straight Connector 18">
              <a:extLst>
                <a:ext uri="{FF2B5EF4-FFF2-40B4-BE49-F238E27FC236}">
                  <a16:creationId xmlns:a16="http://schemas.microsoft.com/office/drawing/2014/main" id="{0B67ED8D-AC46-463F-841B-7B11DDC816B3}"/>
                </a:ext>
              </a:extLst>
            </p:cNvPr>
            <p:cNvCxnSpPr>
              <a:cxnSpLocks/>
            </p:cNvCxnSpPr>
            <p:nvPr/>
          </p:nvCxnSpPr>
          <p:spPr>
            <a:xfrm>
              <a:off x="7007965" y="2883467"/>
              <a:ext cx="4553682" cy="0"/>
            </a:xfrm>
            <a:prstGeom prst="line">
              <a:avLst/>
            </a:prstGeom>
            <a:ln w="9525">
              <a:solidFill>
                <a:schemeClr val="accent1"/>
              </a:solidFill>
              <a:headEnd type="none"/>
              <a:tailEnd type="none"/>
            </a:ln>
          </p:spPr>
          <p:style>
            <a:lnRef idx="2">
              <a:schemeClr val="accent1"/>
            </a:lnRef>
            <a:fillRef idx="0">
              <a:schemeClr val="accent1"/>
            </a:fillRef>
            <a:effectRef idx="1">
              <a:schemeClr val="accent1"/>
            </a:effectRef>
            <a:fontRef idx="minor">
              <a:schemeClr val="tx1"/>
            </a:fontRef>
          </p:style>
        </p:cxnSp>
        <p:sp>
          <p:nvSpPr>
            <p:cNvPr id="20" name="Rectangle 19">
              <a:extLst>
                <a:ext uri="{FF2B5EF4-FFF2-40B4-BE49-F238E27FC236}">
                  <a16:creationId xmlns:a16="http://schemas.microsoft.com/office/drawing/2014/main" id="{4029E434-4CB3-4E58-B1D1-DF4722D19437}"/>
                </a:ext>
              </a:extLst>
            </p:cNvPr>
            <p:cNvSpPr/>
            <p:nvPr/>
          </p:nvSpPr>
          <p:spPr>
            <a:xfrm>
              <a:off x="7965509" y="2109853"/>
              <a:ext cx="4032816" cy="387798"/>
            </a:xfrm>
            <a:prstGeom prst="rect">
              <a:avLst/>
            </a:prstGeom>
          </p:spPr>
          <p:txBody>
            <a:bodyPr wrap="square" lIns="0" tIns="0" rIns="0" bIns="0" anchor="ctr" anchorCtr="0">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Semibold"/>
                  <a:ea typeface="+mn-ea"/>
                  <a:cs typeface="Segoe UI Semilight" panose="020B0402040204020203" pitchFamily="34" charset="0"/>
                </a:rPr>
                <a:t>Enhance security with per</a:t>
              </a:r>
              <a:br>
                <a:rPr kumimoji="0" lang="en-US" sz="14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Semibold"/>
                  <a:ea typeface="+mn-ea"/>
                  <a:cs typeface="Segoe UI Semilight" panose="020B0402040204020203" pitchFamily="34" charset="0"/>
                </a:rPr>
              </a:br>
              <a:r>
                <a:rPr kumimoji="0" lang="en-US" sz="14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Semibold"/>
                  <a:ea typeface="+mn-ea"/>
                  <a:cs typeface="Segoe UI Semilight" panose="020B0402040204020203" pitchFamily="34" charset="0"/>
                </a:rPr>
                <a:t>device authentication</a:t>
              </a:r>
            </a:p>
          </p:txBody>
        </p:sp>
        <p:grpSp>
          <p:nvGrpSpPr>
            <p:cNvPr id="21" name="Group 20">
              <a:extLst>
                <a:ext uri="{FF2B5EF4-FFF2-40B4-BE49-F238E27FC236}">
                  <a16:creationId xmlns:a16="http://schemas.microsoft.com/office/drawing/2014/main" id="{1A23A4FC-21C5-4255-B028-74717A76F329}"/>
                </a:ext>
              </a:extLst>
            </p:cNvPr>
            <p:cNvGrpSpPr/>
            <p:nvPr/>
          </p:nvGrpSpPr>
          <p:grpSpPr>
            <a:xfrm>
              <a:off x="7048908" y="1921614"/>
              <a:ext cx="764276" cy="764276"/>
              <a:chOff x="7048908" y="1921614"/>
              <a:chExt cx="764276" cy="764276"/>
            </a:xfrm>
          </p:grpSpPr>
          <p:sp>
            <p:nvSpPr>
              <p:cNvPr id="22" name="Oval 21">
                <a:extLst>
                  <a:ext uri="{FF2B5EF4-FFF2-40B4-BE49-F238E27FC236}">
                    <a16:creationId xmlns:a16="http://schemas.microsoft.com/office/drawing/2014/main" id="{9E213804-7734-47DF-8484-6C5CA7EBCDB6}"/>
                  </a:ext>
                </a:extLst>
              </p:cNvPr>
              <p:cNvSpPr/>
              <p:nvPr/>
            </p:nvSpPr>
            <p:spPr bwMode="auto">
              <a:xfrm>
                <a:off x="7048908" y="1921614"/>
                <a:ext cx="76427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1250">
                        <a:srgbClr val="0D0D0D"/>
                      </a:gs>
                      <a:gs pos="100000">
                        <a:srgbClr val="0D0D0D"/>
                      </a:gs>
                    </a:gsLst>
                    <a:lin ang="5400000" scaled="0"/>
                  </a:gradFill>
                  <a:effectLst/>
                  <a:uLnTx/>
                  <a:uFillTx/>
                  <a:latin typeface="Segoe UI Semilight"/>
                  <a:ea typeface="+mn-ea"/>
                  <a:cs typeface="+mn-cs"/>
                </a:endParaRPr>
              </a:p>
            </p:txBody>
          </p:sp>
          <p:sp>
            <p:nvSpPr>
              <p:cNvPr id="23" name="Lock" title="Icon of a padlock">
                <a:extLst>
                  <a:ext uri="{FF2B5EF4-FFF2-40B4-BE49-F238E27FC236}">
                    <a16:creationId xmlns:a16="http://schemas.microsoft.com/office/drawing/2014/main" id="{E22E5080-7D04-4DFE-B0BA-CDE5569D243B}"/>
                  </a:ext>
                </a:extLst>
              </p:cNvPr>
              <p:cNvSpPr>
                <a:spLocks noChangeAspect="1" noEditPoints="1"/>
              </p:cNvSpPr>
              <p:nvPr/>
            </p:nvSpPr>
            <p:spPr bwMode="auto">
              <a:xfrm>
                <a:off x="7268341" y="2044449"/>
                <a:ext cx="325410" cy="45481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mn-cs"/>
                </a:endParaRPr>
              </a:p>
            </p:txBody>
          </p:sp>
        </p:grpSp>
      </p:grpSp>
      <p:grpSp>
        <p:nvGrpSpPr>
          <p:cNvPr id="24" name="Group 23">
            <a:extLst>
              <a:ext uri="{FF2B5EF4-FFF2-40B4-BE49-F238E27FC236}">
                <a16:creationId xmlns:a16="http://schemas.microsoft.com/office/drawing/2014/main" id="{E10C7F33-A23F-42AD-B153-896EB48B437F}"/>
              </a:ext>
            </a:extLst>
          </p:cNvPr>
          <p:cNvGrpSpPr/>
          <p:nvPr/>
        </p:nvGrpSpPr>
        <p:grpSpPr>
          <a:xfrm>
            <a:off x="6926672" y="5331644"/>
            <a:ext cx="4949417" cy="764276"/>
            <a:chOff x="7048908" y="5399906"/>
            <a:chExt cx="4949417" cy="764276"/>
          </a:xfrm>
        </p:grpSpPr>
        <p:sp>
          <p:nvSpPr>
            <p:cNvPr id="25" name="Rectangle 24">
              <a:extLst>
                <a:ext uri="{FF2B5EF4-FFF2-40B4-BE49-F238E27FC236}">
                  <a16:creationId xmlns:a16="http://schemas.microsoft.com/office/drawing/2014/main" id="{0E6974D4-B56F-4E57-AA5A-0AE260466372}"/>
                </a:ext>
              </a:extLst>
            </p:cNvPr>
            <p:cNvSpPr/>
            <p:nvPr/>
          </p:nvSpPr>
          <p:spPr>
            <a:xfrm>
              <a:off x="7965509" y="5674323"/>
              <a:ext cx="4032816" cy="215444"/>
            </a:xfrm>
            <a:prstGeom prst="rect">
              <a:avLst/>
            </a:prstGeom>
          </p:spPr>
          <p:txBody>
            <a:bodyPr wrap="square" lIns="0" tIns="0" rIns="0" bIns="0" anchor="ctr" anchorCtr="0">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Semibold"/>
                  <a:ea typeface="+mn-ea"/>
                  <a:cs typeface="Segoe UI Semilight" panose="020B0402040204020203" pitchFamily="34" charset="0"/>
                </a:rPr>
                <a:t>Multi-language and open source SDKs</a:t>
              </a:r>
            </a:p>
          </p:txBody>
        </p:sp>
        <p:grpSp>
          <p:nvGrpSpPr>
            <p:cNvPr id="26" name="Group 25">
              <a:extLst>
                <a:ext uri="{FF2B5EF4-FFF2-40B4-BE49-F238E27FC236}">
                  <a16:creationId xmlns:a16="http://schemas.microsoft.com/office/drawing/2014/main" id="{006D1EA4-5E5E-462A-92D3-58C51202519E}"/>
                </a:ext>
              </a:extLst>
            </p:cNvPr>
            <p:cNvGrpSpPr/>
            <p:nvPr/>
          </p:nvGrpSpPr>
          <p:grpSpPr>
            <a:xfrm>
              <a:off x="7048908" y="5399906"/>
              <a:ext cx="764276" cy="764276"/>
              <a:chOff x="7048908" y="5399906"/>
              <a:chExt cx="764276" cy="764276"/>
            </a:xfrm>
          </p:grpSpPr>
          <p:sp>
            <p:nvSpPr>
              <p:cNvPr id="27" name="Oval 26">
                <a:extLst>
                  <a:ext uri="{FF2B5EF4-FFF2-40B4-BE49-F238E27FC236}">
                    <a16:creationId xmlns:a16="http://schemas.microsoft.com/office/drawing/2014/main" id="{F5F73411-32A2-4631-9265-D4BB6ED85AA3}"/>
                  </a:ext>
                </a:extLst>
              </p:cNvPr>
              <p:cNvSpPr/>
              <p:nvPr/>
            </p:nvSpPr>
            <p:spPr bwMode="auto">
              <a:xfrm>
                <a:off x="7048908" y="5399906"/>
                <a:ext cx="76427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1250">
                        <a:srgbClr val="0D0D0D"/>
                      </a:gs>
                      <a:gs pos="100000">
                        <a:srgbClr val="0D0D0D"/>
                      </a:gs>
                    </a:gsLst>
                    <a:lin ang="5400000" scaled="0"/>
                  </a:gradFill>
                  <a:effectLst/>
                  <a:uLnTx/>
                  <a:uFillTx/>
                  <a:latin typeface="Segoe UI Semilight"/>
                  <a:ea typeface="+mn-ea"/>
                  <a:cs typeface="+mn-cs"/>
                </a:endParaRPr>
              </a:p>
            </p:txBody>
          </p:sp>
          <p:sp>
            <p:nvSpPr>
              <p:cNvPr id="28" name="people_23" title="Icon of a person with a chat bubble above them">
                <a:extLst>
                  <a:ext uri="{FF2B5EF4-FFF2-40B4-BE49-F238E27FC236}">
                    <a16:creationId xmlns:a16="http://schemas.microsoft.com/office/drawing/2014/main" id="{C8A5FDAC-7AF1-41C4-B2EA-2FC70F709398}"/>
                  </a:ext>
                </a:extLst>
              </p:cNvPr>
              <p:cNvSpPr>
                <a:spLocks noChangeAspect="1" noEditPoints="1"/>
              </p:cNvSpPr>
              <p:nvPr/>
            </p:nvSpPr>
            <p:spPr bwMode="auto">
              <a:xfrm>
                <a:off x="7246641" y="5599590"/>
                <a:ext cx="368810" cy="364908"/>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mn-cs"/>
                </a:endParaRPr>
              </a:p>
            </p:txBody>
          </p:sp>
        </p:grpSp>
      </p:grpSp>
      <p:grpSp>
        <p:nvGrpSpPr>
          <p:cNvPr id="29" name="Group 28">
            <a:extLst>
              <a:ext uri="{FF2B5EF4-FFF2-40B4-BE49-F238E27FC236}">
                <a16:creationId xmlns:a16="http://schemas.microsoft.com/office/drawing/2014/main" id="{14A494CD-69DB-4E89-AAEE-E5C16167B141}"/>
              </a:ext>
            </a:extLst>
          </p:cNvPr>
          <p:cNvGrpSpPr/>
          <p:nvPr/>
        </p:nvGrpSpPr>
        <p:grpSpPr>
          <a:xfrm>
            <a:off x="6885728" y="4172213"/>
            <a:ext cx="4990360" cy="961853"/>
            <a:chOff x="7007965" y="4240474"/>
            <a:chExt cx="4990360" cy="961853"/>
          </a:xfrm>
        </p:grpSpPr>
        <p:cxnSp>
          <p:nvCxnSpPr>
            <p:cNvPr id="30" name="Straight Connector 29">
              <a:extLst>
                <a:ext uri="{FF2B5EF4-FFF2-40B4-BE49-F238E27FC236}">
                  <a16:creationId xmlns:a16="http://schemas.microsoft.com/office/drawing/2014/main" id="{2288612B-0D8C-4D8B-9BD4-1AE27EFE65FC}"/>
                </a:ext>
              </a:extLst>
            </p:cNvPr>
            <p:cNvCxnSpPr>
              <a:cxnSpLocks/>
            </p:cNvCxnSpPr>
            <p:nvPr/>
          </p:nvCxnSpPr>
          <p:spPr>
            <a:xfrm>
              <a:off x="7007965" y="5202327"/>
              <a:ext cx="4553682" cy="0"/>
            </a:xfrm>
            <a:prstGeom prst="line">
              <a:avLst/>
            </a:prstGeom>
            <a:ln w="9525">
              <a:solidFill>
                <a:schemeClr val="accent1"/>
              </a:solidFill>
              <a:headEnd type="none"/>
              <a:tailEnd type="none"/>
            </a:ln>
          </p:spPr>
          <p:style>
            <a:lnRef idx="2">
              <a:schemeClr val="accent1"/>
            </a:lnRef>
            <a:fillRef idx="0">
              <a:schemeClr val="accent1"/>
            </a:fillRef>
            <a:effectRef idx="1">
              <a:schemeClr val="accent1"/>
            </a:effectRef>
            <a:fontRef idx="minor">
              <a:schemeClr val="tx1"/>
            </a:fontRef>
          </p:style>
        </p:cxnSp>
        <p:sp>
          <p:nvSpPr>
            <p:cNvPr id="31" name="Rectangle 30">
              <a:extLst>
                <a:ext uri="{FF2B5EF4-FFF2-40B4-BE49-F238E27FC236}">
                  <a16:creationId xmlns:a16="http://schemas.microsoft.com/office/drawing/2014/main" id="{EF8525BC-9736-4C88-B0BD-EE902BC7C1B6}"/>
                </a:ext>
              </a:extLst>
            </p:cNvPr>
            <p:cNvSpPr/>
            <p:nvPr/>
          </p:nvSpPr>
          <p:spPr>
            <a:xfrm>
              <a:off x="7965509" y="4407169"/>
              <a:ext cx="4032816" cy="430887"/>
            </a:xfrm>
            <a:prstGeom prst="rect">
              <a:avLst/>
            </a:prstGeom>
          </p:spPr>
          <p:txBody>
            <a:bodyPr wrap="square" lIns="0" tIns="0" rIns="0" bIns="0" anchor="ctr" anchorCtr="0">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Semibold"/>
                  <a:ea typeface="+mn-ea"/>
                  <a:cs typeface="Segoe UI Semilight" panose="020B0402040204020203" pitchFamily="34" charset="0"/>
                </a:rPr>
                <a:t>Manage devices at scale with </a:t>
              </a:r>
              <a:br>
                <a:rPr kumimoji="0" lang="en-US" sz="14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Semibold"/>
                  <a:ea typeface="+mn-ea"/>
                  <a:cs typeface="Segoe UI Semilight" panose="020B0402040204020203" pitchFamily="34" charset="0"/>
                </a:rPr>
              </a:br>
              <a:r>
                <a:rPr kumimoji="0" lang="en-US" sz="14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Semibold"/>
                  <a:ea typeface="+mn-ea"/>
                  <a:cs typeface="Segoe UI Semilight" panose="020B0402040204020203" pitchFamily="34" charset="0"/>
                </a:rPr>
                <a:t>device management</a:t>
              </a:r>
            </a:p>
          </p:txBody>
        </p:sp>
        <p:grpSp>
          <p:nvGrpSpPr>
            <p:cNvPr id="32" name="Group 31">
              <a:extLst>
                <a:ext uri="{FF2B5EF4-FFF2-40B4-BE49-F238E27FC236}">
                  <a16:creationId xmlns:a16="http://schemas.microsoft.com/office/drawing/2014/main" id="{0AAB32B5-E42D-4139-BD84-B222E6C779F4}"/>
                </a:ext>
              </a:extLst>
            </p:cNvPr>
            <p:cNvGrpSpPr/>
            <p:nvPr/>
          </p:nvGrpSpPr>
          <p:grpSpPr>
            <a:xfrm>
              <a:off x="7048908" y="4240474"/>
              <a:ext cx="764276" cy="764276"/>
              <a:chOff x="7048908" y="4240474"/>
              <a:chExt cx="764276" cy="764276"/>
            </a:xfrm>
          </p:grpSpPr>
          <p:sp>
            <p:nvSpPr>
              <p:cNvPr id="33" name="Oval 32">
                <a:extLst>
                  <a:ext uri="{FF2B5EF4-FFF2-40B4-BE49-F238E27FC236}">
                    <a16:creationId xmlns:a16="http://schemas.microsoft.com/office/drawing/2014/main" id="{BDBDFE79-EAEF-45C4-9A54-4B6086766ED0}"/>
                  </a:ext>
                </a:extLst>
              </p:cNvPr>
              <p:cNvSpPr/>
              <p:nvPr/>
            </p:nvSpPr>
            <p:spPr bwMode="auto">
              <a:xfrm>
                <a:off x="7048908" y="4240474"/>
                <a:ext cx="764276" cy="76427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1250">
                        <a:srgbClr val="0D0D0D"/>
                      </a:gs>
                      <a:gs pos="100000">
                        <a:srgbClr val="0D0D0D"/>
                      </a:gs>
                    </a:gsLst>
                    <a:lin ang="5400000" scaled="0"/>
                  </a:gradFill>
                  <a:effectLst/>
                  <a:uLnTx/>
                  <a:uFillTx/>
                  <a:latin typeface="Segoe UI Semilight"/>
                  <a:ea typeface="+mn-ea"/>
                  <a:cs typeface="+mn-cs"/>
                </a:endParaRPr>
              </a:p>
            </p:txBody>
          </p:sp>
          <p:sp>
            <p:nvSpPr>
              <p:cNvPr id="34" name="Remote" title="Icon of a remote control">
                <a:extLst>
                  <a:ext uri="{FF2B5EF4-FFF2-40B4-BE49-F238E27FC236}">
                    <a16:creationId xmlns:a16="http://schemas.microsoft.com/office/drawing/2014/main" id="{A18694E2-2EC7-4E9A-BB1C-678E26E49E51}"/>
                  </a:ext>
                </a:extLst>
              </p:cNvPr>
              <p:cNvSpPr>
                <a:spLocks noChangeAspect="1" noEditPoints="1"/>
              </p:cNvSpPr>
              <p:nvPr/>
            </p:nvSpPr>
            <p:spPr bwMode="auto">
              <a:xfrm>
                <a:off x="7328529" y="4375010"/>
                <a:ext cx="205034" cy="495204"/>
              </a:xfrm>
              <a:custGeom>
                <a:avLst/>
                <a:gdLst>
                  <a:gd name="T0" fmla="*/ 107 w 131"/>
                  <a:gd name="T1" fmla="*/ 231 h 322"/>
                  <a:gd name="T2" fmla="*/ 87 w 131"/>
                  <a:gd name="T3" fmla="*/ 322 h 322"/>
                  <a:gd name="T4" fmla="*/ 23 w 131"/>
                  <a:gd name="T5" fmla="*/ 301 h 322"/>
                  <a:gd name="T6" fmla="*/ 0 w 131"/>
                  <a:gd name="T7" fmla="*/ 135 h 322"/>
                  <a:gd name="T8" fmla="*/ 22 w 131"/>
                  <a:gd name="T9" fmla="*/ 0 h 322"/>
                  <a:gd name="T10" fmla="*/ 131 w 131"/>
                  <a:gd name="T11" fmla="*/ 22 h 322"/>
                  <a:gd name="T12" fmla="*/ 66 w 131"/>
                  <a:gd name="T13" fmla="*/ 42 h 322"/>
                  <a:gd name="T14" fmla="*/ 64 w 131"/>
                  <a:gd name="T15" fmla="*/ 44 h 322"/>
                  <a:gd name="T16" fmla="*/ 66 w 131"/>
                  <a:gd name="T17" fmla="*/ 42 h 322"/>
                  <a:gd name="T18" fmla="*/ 86 w 131"/>
                  <a:gd name="T19" fmla="*/ 64 h 322"/>
                  <a:gd name="T20" fmla="*/ 88 w 131"/>
                  <a:gd name="T21" fmla="*/ 66 h 322"/>
                  <a:gd name="T22" fmla="*/ 45 w 131"/>
                  <a:gd name="T23" fmla="*/ 64 h 322"/>
                  <a:gd name="T24" fmla="*/ 43 w 131"/>
                  <a:gd name="T25" fmla="*/ 66 h 322"/>
                  <a:gd name="T26" fmla="*/ 45 w 131"/>
                  <a:gd name="T27" fmla="*/ 64 h 322"/>
                  <a:gd name="T28" fmla="*/ 86 w 131"/>
                  <a:gd name="T29" fmla="*/ 106 h 322"/>
                  <a:gd name="T30" fmla="*/ 88 w 131"/>
                  <a:gd name="T31" fmla="*/ 108 h 322"/>
                  <a:gd name="T32" fmla="*/ 45 w 131"/>
                  <a:gd name="T33" fmla="*/ 106 h 322"/>
                  <a:gd name="T34" fmla="*/ 43 w 131"/>
                  <a:gd name="T35" fmla="*/ 108 h 322"/>
                  <a:gd name="T36" fmla="*/ 45 w 131"/>
                  <a:gd name="T37" fmla="*/ 106 h 322"/>
                  <a:gd name="T38" fmla="*/ 86 w 131"/>
                  <a:gd name="T39" fmla="*/ 149 h 322"/>
                  <a:gd name="T40" fmla="*/ 88 w 131"/>
                  <a:gd name="T41" fmla="*/ 151 h 322"/>
                  <a:gd name="T42" fmla="*/ 45 w 131"/>
                  <a:gd name="T43" fmla="*/ 149 h 322"/>
                  <a:gd name="T44" fmla="*/ 43 w 131"/>
                  <a:gd name="T45" fmla="*/ 151 h 322"/>
                  <a:gd name="T46" fmla="*/ 45 w 131"/>
                  <a:gd name="T47" fmla="*/ 149 h 322"/>
                  <a:gd name="T48" fmla="*/ 64 w 131"/>
                  <a:gd name="T49" fmla="*/ 85 h 322"/>
                  <a:gd name="T50" fmla="*/ 66 w 131"/>
                  <a:gd name="T51" fmla="*/ 87 h 322"/>
                  <a:gd name="T52" fmla="*/ 66 w 131"/>
                  <a:gd name="T53" fmla="*/ 192 h 322"/>
                  <a:gd name="T54" fmla="*/ 64 w 131"/>
                  <a:gd name="T55" fmla="*/ 194 h 322"/>
                  <a:gd name="T56" fmla="*/ 66 w 131"/>
                  <a:gd name="T57" fmla="*/ 192 h 322"/>
                  <a:gd name="T58" fmla="*/ 64 w 131"/>
                  <a:gd name="T59" fmla="*/ 235 h 322"/>
                  <a:gd name="T60" fmla="*/ 66 w 131"/>
                  <a:gd name="T61" fmla="*/ 237 h 322"/>
                  <a:gd name="T62" fmla="*/ 66 w 131"/>
                  <a:gd name="T63" fmla="*/ 277 h 322"/>
                  <a:gd name="T64" fmla="*/ 64 w 131"/>
                  <a:gd name="T65" fmla="*/ 280 h 322"/>
                  <a:gd name="T66" fmla="*/ 66 w 131"/>
                  <a:gd name="T67" fmla="*/ 277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1" h="322">
                    <a:moveTo>
                      <a:pt x="130" y="135"/>
                    </a:moveTo>
                    <a:cubicBezTo>
                      <a:pt x="107" y="231"/>
                      <a:pt x="107" y="231"/>
                      <a:pt x="107" y="231"/>
                    </a:cubicBezTo>
                    <a:cubicBezTo>
                      <a:pt x="107" y="301"/>
                      <a:pt x="107" y="301"/>
                      <a:pt x="107" y="301"/>
                    </a:cubicBezTo>
                    <a:cubicBezTo>
                      <a:pt x="107" y="313"/>
                      <a:pt x="98" y="322"/>
                      <a:pt x="87" y="322"/>
                    </a:cubicBezTo>
                    <a:cubicBezTo>
                      <a:pt x="43" y="322"/>
                      <a:pt x="43" y="322"/>
                      <a:pt x="43" y="322"/>
                    </a:cubicBezTo>
                    <a:cubicBezTo>
                      <a:pt x="32" y="322"/>
                      <a:pt x="23" y="313"/>
                      <a:pt x="23" y="301"/>
                    </a:cubicBezTo>
                    <a:cubicBezTo>
                      <a:pt x="23" y="231"/>
                      <a:pt x="23" y="231"/>
                      <a:pt x="23" y="231"/>
                    </a:cubicBezTo>
                    <a:cubicBezTo>
                      <a:pt x="0" y="135"/>
                      <a:pt x="0" y="135"/>
                      <a:pt x="0" y="135"/>
                    </a:cubicBezTo>
                    <a:cubicBezTo>
                      <a:pt x="0" y="22"/>
                      <a:pt x="0" y="22"/>
                      <a:pt x="0" y="22"/>
                    </a:cubicBezTo>
                    <a:cubicBezTo>
                      <a:pt x="0" y="10"/>
                      <a:pt x="10" y="0"/>
                      <a:pt x="22" y="0"/>
                    </a:cubicBezTo>
                    <a:cubicBezTo>
                      <a:pt x="109" y="0"/>
                      <a:pt x="109" y="0"/>
                      <a:pt x="109" y="0"/>
                    </a:cubicBezTo>
                    <a:cubicBezTo>
                      <a:pt x="121" y="0"/>
                      <a:pt x="131" y="10"/>
                      <a:pt x="131" y="22"/>
                    </a:cubicBezTo>
                    <a:lnTo>
                      <a:pt x="130" y="135"/>
                    </a:lnTo>
                    <a:close/>
                    <a:moveTo>
                      <a:pt x="66" y="42"/>
                    </a:moveTo>
                    <a:cubicBezTo>
                      <a:pt x="64" y="42"/>
                      <a:pt x="64" y="42"/>
                      <a:pt x="64" y="42"/>
                    </a:cubicBezTo>
                    <a:cubicBezTo>
                      <a:pt x="64" y="44"/>
                      <a:pt x="64" y="44"/>
                      <a:pt x="64" y="44"/>
                    </a:cubicBezTo>
                    <a:cubicBezTo>
                      <a:pt x="66" y="44"/>
                      <a:pt x="66" y="44"/>
                      <a:pt x="66" y="44"/>
                    </a:cubicBezTo>
                    <a:lnTo>
                      <a:pt x="66" y="42"/>
                    </a:lnTo>
                    <a:close/>
                    <a:moveTo>
                      <a:pt x="88" y="64"/>
                    </a:moveTo>
                    <a:cubicBezTo>
                      <a:pt x="86" y="64"/>
                      <a:pt x="86" y="64"/>
                      <a:pt x="86" y="64"/>
                    </a:cubicBezTo>
                    <a:cubicBezTo>
                      <a:pt x="86" y="66"/>
                      <a:pt x="86" y="66"/>
                      <a:pt x="86" y="66"/>
                    </a:cubicBezTo>
                    <a:cubicBezTo>
                      <a:pt x="88" y="66"/>
                      <a:pt x="88" y="66"/>
                      <a:pt x="88" y="66"/>
                    </a:cubicBezTo>
                    <a:lnTo>
                      <a:pt x="88" y="64"/>
                    </a:lnTo>
                    <a:close/>
                    <a:moveTo>
                      <a:pt x="45" y="64"/>
                    </a:moveTo>
                    <a:cubicBezTo>
                      <a:pt x="43" y="64"/>
                      <a:pt x="43" y="64"/>
                      <a:pt x="43" y="64"/>
                    </a:cubicBezTo>
                    <a:cubicBezTo>
                      <a:pt x="43" y="66"/>
                      <a:pt x="43" y="66"/>
                      <a:pt x="43" y="66"/>
                    </a:cubicBezTo>
                    <a:cubicBezTo>
                      <a:pt x="45" y="66"/>
                      <a:pt x="45" y="66"/>
                      <a:pt x="45" y="66"/>
                    </a:cubicBezTo>
                    <a:lnTo>
                      <a:pt x="45" y="64"/>
                    </a:lnTo>
                    <a:close/>
                    <a:moveTo>
                      <a:pt x="88" y="106"/>
                    </a:moveTo>
                    <a:cubicBezTo>
                      <a:pt x="86" y="106"/>
                      <a:pt x="86" y="106"/>
                      <a:pt x="86" y="106"/>
                    </a:cubicBezTo>
                    <a:cubicBezTo>
                      <a:pt x="86" y="108"/>
                      <a:pt x="86" y="108"/>
                      <a:pt x="86" y="108"/>
                    </a:cubicBezTo>
                    <a:cubicBezTo>
                      <a:pt x="88" y="108"/>
                      <a:pt x="88" y="108"/>
                      <a:pt x="88" y="108"/>
                    </a:cubicBezTo>
                    <a:lnTo>
                      <a:pt x="88" y="106"/>
                    </a:lnTo>
                    <a:close/>
                    <a:moveTo>
                      <a:pt x="45" y="106"/>
                    </a:moveTo>
                    <a:cubicBezTo>
                      <a:pt x="43" y="106"/>
                      <a:pt x="43" y="106"/>
                      <a:pt x="43" y="106"/>
                    </a:cubicBezTo>
                    <a:cubicBezTo>
                      <a:pt x="43" y="108"/>
                      <a:pt x="43" y="108"/>
                      <a:pt x="43" y="108"/>
                    </a:cubicBezTo>
                    <a:cubicBezTo>
                      <a:pt x="45" y="108"/>
                      <a:pt x="45" y="108"/>
                      <a:pt x="45" y="108"/>
                    </a:cubicBezTo>
                    <a:lnTo>
                      <a:pt x="45" y="106"/>
                    </a:lnTo>
                    <a:close/>
                    <a:moveTo>
                      <a:pt x="88" y="149"/>
                    </a:moveTo>
                    <a:cubicBezTo>
                      <a:pt x="86" y="149"/>
                      <a:pt x="86" y="149"/>
                      <a:pt x="86" y="149"/>
                    </a:cubicBezTo>
                    <a:cubicBezTo>
                      <a:pt x="86" y="151"/>
                      <a:pt x="86" y="151"/>
                      <a:pt x="86" y="151"/>
                    </a:cubicBezTo>
                    <a:cubicBezTo>
                      <a:pt x="88" y="151"/>
                      <a:pt x="88" y="151"/>
                      <a:pt x="88" y="151"/>
                    </a:cubicBezTo>
                    <a:lnTo>
                      <a:pt x="88" y="149"/>
                    </a:lnTo>
                    <a:close/>
                    <a:moveTo>
                      <a:pt x="45" y="149"/>
                    </a:moveTo>
                    <a:cubicBezTo>
                      <a:pt x="43" y="149"/>
                      <a:pt x="43" y="149"/>
                      <a:pt x="43" y="149"/>
                    </a:cubicBezTo>
                    <a:cubicBezTo>
                      <a:pt x="43" y="151"/>
                      <a:pt x="43" y="151"/>
                      <a:pt x="43" y="151"/>
                    </a:cubicBezTo>
                    <a:cubicBezTo>
                      <a:pt x="45" y="151"/>
                      <a:pt x="45" y="151"/>
                      <a:pt x="45" y="151"/>
                    </a:cubicBezTo>
                    <a:lnTo>
                      <a:pt x="45" y="149"/>
                    </a:lnTo>
                    <a:close/>
                    <a:moveTo>
                      <a:pt x="66" y="85"/>
                    </a:moveTo>
                    <a:cubicBezTo>
                      <a:pt x="64" y="85"/>
                      <a:pt x="64" y="85"/>
                      <a:pt x="64" y="85"/>
                    </a:cubicBezTo>
                    <a:cubicBezTo>
                      <a:pt x="64" y="87"/>
                      <a:pt x="64" y="87"/>
                      <a:pt x="64" y="87"/>
                    </a:cubicBezTo>
                    <a:cubicBezTo>
                      <a:pt x="66" y="87"/>
                      <a:pt x="66" y="87"/>
                      <a:pt x="66" y="87"/>
                    </a:cubicBezTo>
                    <a:lnTo>
                      <a:pt x="66" y="85"/>
                    </a:lnTo>
                    <a:close/>
                    <a:moveTo>
                      <a:pt x="66" y="192"/>
                    </a:moveTo>
                    <a:cubicBezTo>
                      <a:pt x="64" y="192"/>
                      <a:pt x="64" y="192"/>
                      <a:pt x="64" y="192"/>
                    </a:cubicBezTo>
                    <a:cubicBezTo>
                      <a:pt x="64" y="194"/>
                      <a:pt x="64" y="194"/>
                      <a:pt x="64" y="194"/>
                    </a:cubicBezTo>
                    <a:cubicBezTo>
                      <a:pt x="66" y="194"/>
                      <a:pt x="66" y="194"/>
                      <a:pt x="66" y="194"/>
                    </a:cubicBezTo>
                    <a:lnTo>
                      <a:pt x="66" y="192"/>
                    </a:lnTo>
                    <a:close/>
                    <a:moveTo>
                      <a:pt x="66" y="235"/>
                    </a:moveTo>
                    <a:cubicBezTo>
                      <a:pt x="64" y="235"/>
                      <a:pt x="64" y="235"/>
                      <a:pt x="64" y="235"/>
                    </a:cubicBezTo>
                    <a:cubicBezTo>
                      <a:pt x="64" y="237"/>
                      <a:pt x="64" y="237"/>
                      <a:pt x="64" y="237"/>
                    </a:cubicBezTo>
                    <a:cubicBezTo>
                      <a:pt x="66" y="237"/>
                      <a:pt x="66" y="237"/>
                      <a:pt x="66" y="237"/>
                    </a:cubicBezTo>
                    <a:lnTo>
                      <a:pt x="66" y="235"/>
                    </a:lnTo>
                    <a:close/>
                    <a:moveTo>
                      <a:pt x="66" y="277"/>
                    </a:moveTo>
                    <a:cubicBezTo>
                      <a:pt x="64" y="277"/>
                      <a:pt x="64" y="277"/>
                      <a:pt x="64" y="277"/>
                    </a:cubicBezTo>
                    <a:cubicBezTo>
                      <a:pt x="64" y="280"/>
                      <a:pt x="64" y="280"/>
                      <a:pt x="64" y="280"/>
                    </a:cubicBezTo>
                    <a:cubicBezTo>
                      <a:pt x="66" y="280"/>
                      <a:pt x="66" y="280"/>
                      <a:pt x="66" y="280"/>
                    </a:cubicBezTo>
                    <a:lnTo>
                      <a:pt x="66" y="277"/>
                    </a:lnTo>
                    <a:close/>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1250">
                        <a:srgbClr val="0D0D0D"/>
                      </a:gs>
                      <a:gs pos="100000">
                        <a:srgbClr val="0D0D0D"/>
                      </a:gs>
                    </a:gsLst>
                    <a:lin ang="5400000" scaled="0"/>
                  </a:gradFill>
                  <a:effectLst/>
                  <a:uLnTx/>
                  <a:uFillTx/>
                  <a:latin typeface="Segoe UI"/>
                  <a:ea typeface="+mn-ea"/>
                  <a:cs typeface="+mn-cs"/>
                </a:endParaRPr>
              </a:p>
            </p:txBody>
          </p:sp>
        </p:grpSp>
      </p:grpSp>
      <p:grpSp>
        <p:nvGrpSpPr>
          <p:cNvPr id="35" name="Group 34">
            <a:extLst>
              <a:ext uri="{FF2B5EF4-FFF2-40B4-BE49-F238E27FC236}">
                <a16:creationId xmlns:a16="http://schemas.microsoft.com/office/drawing/2014/main" id="{B946D87F-CDDD-4761-8BC9-5D2C9B0071CF}"/>
              </a:ext>
            </a:extLst>
          </p:cNvPr>
          <p:cNvGrpSpPr/>
          <p:nvPr/>
        </p:nvGrpSpPr>
        <p:grpSpPr>
          <a:xfrm>
            <a:off x="-204854" y="-64168"/>
            <a:ext cx="2829962" cy="2441199"/>
            <a:chOff x="-72861" y="0"/>
            <a:chExt cx="2073111" cy="1838325"/>
          </a:xfrm>
        </p:grpSpPr>
        <p:sp>
          <p:nvSpPr>
            <p:cNvPr id="36" name="Diagonal Stripe 35">
              <a:extLst>
                <a:ext uri="{FF2B5EF4-FFF2-40B4-BE49-F238E27FC236}">
                  <a16:creationId xmlns:a16="http://schemas.microsoft.com/office/drawing/2014/main" id="{63B4C10D-9CB2-4A15-BA4E-D46C80B5F2AD}"/>
                </a:ext>
              </a:extLst>
            </p:cNvPr>
            <p:cNvSpPr/>
            <p:nvPr/>
          </p:nvSpPr>
          <p:spPr bwMode="auto">
            <a:xfrm>
              <a:off x="0" y="0"/>
              <a:ext cx="2000250" cy="1838325"/>
            </a:xfrm>
            <a:prstGeom prst="diagStripe">
              <a:avLst>
                <a:gd name="adj" fmla="val 62953"/>
              </a:avLst>
            </a:prstGeom>
            <a:solidFill>
              <a:srgbClr val="C00000"/>
            </a:solidFill>
            <a:ln>
              <a:noFill/>
            </a:ln>
          </p:spPr>
          <p:style>
            <a:lnRef idx="0">
              <a:scrgbClr r="0" g="0" b="0"/>
            </a:lnRef>
            <a:fillRef idx="0">
              <a:scrgbClr r="0" g="0" b="0"/>
            </a:fillRef>
            <a:effectRef idx="0">
              <a:scrgbClr r="0" g="0" b="0"/>
            </a:effectRef>
            <a:fontRef idx="minor">
              <a:schemeClr val="lt1"/>
            </a:fontRef>
          </p:style>
          <p:txBody>
            <a:bodyPr vert="horz" wrap="square" lIns="0" tIns="46637" rIns="0" bIns="46637"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id="{290FEF6E-171E-46E0-8CA2-A99649E0D84D}"/>
                </a:ext>
              </a:extLst>
            </p:cNvPr>
            <p:cNvSpPr/>
            <p:nvPr/>
          </p:nvSpPr>
          <p:spPr>
            <a:xfrm rot="19074741">
              <a:off x="-72861" y="577088"/>
              <a:ext cx="1801083" cy="301300"/>
            </a:xfrm>
            <a:prstGeom prst="rect">
              <a:avLst/>
            </a:prstGeom>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Segoe UI"/>
                  <a:ea typeface="+mn-ea"/>
                  <a:cs typeface="Segoe UI Semibold" panose="020B0702040204020203" pitchFamily="34" charset="0"/>
                </a:rPr>
                <a:t>Generally available</a:t>
              </a:r>
            </a:p>
          </p:txBody>
        </p:sp>
      </p:grpSp>
    </p:spTree>
    <p:extLst>
      <p:ext uri="{BB962C8B-B14F-4D97-AF65-F5344CB8AC3E}">
        <p14:creationId xmlns:p14="http://schemas.microsoft.com/office/powerpoint/2010/main" val="4164192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0-#ppt_w/2"/>
                                          </p:val>
                                        </p:tav>
                                        <p:tav tm="100000">
                                          <p:val>
                                            <p:strVal val="#ppt_x"/>
                                          </p:val>
                                        </p:tav>
                                      </p:tavLst>
                                    </p:anim>
                                    <p:anim calcmode="lin" valueType="num">
                                      <p:cBhvr additive="base">
                                        <p:cTn id="8" dur="75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750" fill="hold"/>
                                        <p:tgtEl>
                                          <p:spTgt spid="5"/>
                                        </p:tgtEl>
                                        <p:attrNameLst>
                                          <p:attrName>ppt_x</p:attrName>
                                        </p:attrNameLst>
                                      </p:cBhvr>
                                      <p:tavLst>
                                        <p:tav tm="0">
                                          <p:val>
                                            <p:strVal val="0-#ppt_w/2"/>
                                          </p:val>
                                        </p:tav>
                                        <p:tav tm="100000">
                                          <p:val>
                                            <p:strVal val="#ppt_x"/>
                                          </p:val>
                                        </p:tav>
                                      </p:tavLst>
                                    </p:anim>
                                    <p:anim calcmode="lin" valueType="num">
                                      <p:cBhvr additive="base">
                                        <p:cTn id="12" dur="7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500"/>
                                  </p:stCondLst>
                                  <p:childTnLst>
                                    <p:set>
                                      <p:cBhvr>
                                        <p:cTn id="14" dur="1" fill="hold">
                                          <p:stCondLst>
                                            <p:cond delay="0"/>
                                          </p:stCondLst>
                                        </p:cTn>
                                        <p:tgtEl>
                                          <p:spTgt spid="35"/>
                                        </p:tgtEl>
                                        <p:attrNameLst>
                                          <p:attrName>style.visibility</p:attrName>
                                        </p:attrNameLst>
                                      </p:cBhvr>
                                      <p:to>
                                        <p:strVal val="visible"/>
                                      </p:to>
                                    </p:set>
                                    <p:animEffect transition="in" filter="fade">
                                      <p:cBhvr>
                                        <p:cTn id="15" dur="750"/>
                                        <p:tgtEl>
                                          <p:spTgt spid="35"/>
                                        </p:tgtEl>
                                      </p:cBhvr>
                                    </p:animEffect>
                                  </p:childTnLst>
                                </p:cTn>
                              </p:par>
                              <p:par>
                                <p:cTn id="16" presetID="64" presetClass="path" presetSubtype="0" decel="100000" fill="hold" nodeType="withEffect">
                                  <p:stCondLst>
                                    <p:cond delay="500"/>
                                  </p:stCondLst>
                                  <p:childTnLst>
                                    <p:animMotion origin="layout" path="M 1.25E-6 1.48148E-6 L -0.10117 -0.17801 " pathEditMode="relative" rAng="0" ptsTypes="AA">
                                      <p:cBhvr>
                                        <p:cTn id="17" dur="750" spd="-100000" fill="hold"/>
                                        <p:tgtEl>
                                          <p:spTgt spid="35"/>
                                        </p:tgtEl>
                                        <p:attrNameLst>
                                          <p:attrName>ppt_x</p:attrName>
                                          <p:attrName>ppt_y</p:attrName>
                                        </p:attrNameLst>
                                      </p:cBhvr>
                                      <p:rCtr x="-5065" y="-8912"/>
                                    </p:animMotion>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650"/>
                                        <p:tgtEl>
                                          <p:spTgt spid="12"/>
                                        </p:tgtEl>
                                      </p:cBhvr>
                                    </p:animEffect>
                                  </p:childTnLst>
                                </p:cTn>
                              </p:par>
                              <p:par>
                                <p:cTn id="22" presetID="63" presetClass="path" presetSubtype="0" decel="100000" fill="hold" nodeType="withEffect">
                                  <p:stCondLst>
                                    <p:cond delay="0"/>
                                  </p:stCondLst>
                                  <p:childTnLst>
                                    <p:animMotion origin="layout" path="M -2.70833E-6 -3.7037E-6 L 0.01472 -3.7037E-6 " pathEditMode="relative" rAng="0" ptsTypes="AA">
                                      <p:cBhvr>
                                        <p:cTn id="23" dur="650" spd="-100000" fill="hold"/>
                                        <p:tgtEl>
                                          <p:spTgt spid="12"/>
                                        </p:tgtEl>
                                        <p:attrNameLst>
                                          <p:attrName>ppt_x</p:attrName>
                                          <p:attrName>ppt_y</p:attrName>
                                        </p:attrNameLst>
                                      </p:cBhvr>
                                      <p:rCtr x="729" y="0"/>
                                    </p:animMotion>
                                  </p:childTnLst>
                                </p:cTn>
                              </p:par>
                              <p:par>
                                <p:cTn id="24" presetID="10" presetClass="entr" presetSubtype="0" fill="hold" nodeType="withEffect">
                                  <p:stCondLst>
                                    <p:cond delay="10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650"/>
                                        <p:tgtEl>
                                          <p:spTgt spid="18"/>
                                        </p:tgtEl>
                                      </p:cBhvr>
                                    </p:animEffect>
                                  </p:childTnLst>
                                </p:cTn>
                              </p:par>
                              <p:par>
                                <p:cTn id="27" presetID="63" presetClass="path" presetSubtype="0" decel="100000" fill="hold" nodeType="withEffect">
                                  <p:stCondLst>
                                    <p:cond delay="100"/>
                                  </p:stCondLst>
                                  <p:childTnLst>
                                    <p:animMotion origin="layout" path="M -2.70833E-6 -3.7037E-6 L 0.01472 -3.7037E-6 " pathEditMode="relative" rAng="0" ptsTypes="AA">
                                      <p:cBhvr>
                                        <p:cTn id="28" dur="650" spd="-100000" fill="hold"/>
                                        <p:tgtEl>
                                          <p:spTgt spid="18"/>
                                        </p:tgtEl>
                                        <p:attrNameLst>
                                          <p:attrName>ppt_x</p:attrName>
                                          <p:attrName>ppt_y</p:attrName>
                                        </p:attrNameLst>
                                      </p:cBhvr>
                                      <p:rCtr x="729" y="0"/>
                                    </p:animMotion>
                                  </p:childTnLst>
                                </p:cTn>
                              </p:par>
                              <p:par>
                                <p:cTn id="29" presetID="10" presetClass="entr" presetSubtype="0" fill="hold" nodeType="withEffect">
                                  <p:stCondLst>
                                    <p:cond delay="20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650"/>
                                        <p:tgtEl>
                                          <p:spTgt spid="6"/>
                                        </p:tgtEl>
                                      </p:cBhvr>
                                    </p:animEffect>
                                  </p:childTnLst>
                                </p:cTn>
                              </p:par>
                              <p:par>
                                <p:cTn id="32" presetID="63" presetClass="path" presetSubtype="0" decel="100000" fill="hold" nodeType="withEffect">
                                  <p:stCondLst>
                                    <p:cond delay="200"/>
                                  </p:stCondLst>
                                  <p:childTnLst>
                                    <p:animMotion origin="layout" path="M -2.70833E-6 -3.7037E-6 L 0.01472 -3.7037E-6 " pathEditMode="relative" rAng="0" ptsTypes="AA">
                                      <p:cBhvr>
                                        <p:cTn id="33" dur="650" spd="-100000" fill="hold"/>
                                        <p:tgtEl>
                                          <p:spTgt spid="6"/>
                                        </p:tgtEl>
                                        <p:attrNameLst>
                                          <p:attrName>ppt_x</p:attrName>
                                          <p:attrName>ppt_y</p:attrName>
                                        </p:attrNameLst>
                                      </p:cBhvr>
                                      <p:rCtr x="729" y="0"/>
                                    </p:animMotion>
                                  </p:childTnLst>
                                </p:cTn>
                              </p:par>
                              <p:par>
                                <p:cTn id="34" presetID="10" presetClass="entr" presetSubtype="0" fill="hold" nodeType="withEffect">
                                  <p:stCondLst>
                                    <p:cond delay="30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650"/>
                                        <p:tgtEl>
                                          <p:spTgt spid="29"/>
                                        </p:tgtEl>
                                      </p:cBhvr>
                                    </p:animEffect>
                                  </p:childTnLst>
                                </p:cTn>
                              </p:par>
                              <p:par>
                                <p:cTn id="37" presetID="63" presetClass="path" presetSubtype="0" decel="100000" fill="hold" nodeType="withEffect">
                                  <p:stCondLst>
                                    <p:cond delay="300"/>
                                  </p:stCondLst>
                                  <p:childTnLst>
                                    <p:animMotion origin="layout" path="M -2.70833E-6 -3.7037E-6 L 0.01472 -3.7037E-6 " pathEditMode="relative" rAng="0" ptsTypes="AA">
                                      <p:cBhvr>
                                        <p:cTn id="38" dur="650" spd="-100000" fill="hold"/>
                                        <p:tgtEl>
                                          <p:spTgt spid="29"/>
                                        </p:tgtEl>
                                        <p:attrNameLst>
                                          <p:attrName>ppt_x</p:attrName>
                                          <p:attrName>ppt_y</p:attrName>
                                        </p:attrNameLst>
                                      </p:cBhvr>
                                      <p:rCtr x="729" y="0"/>
                                    </p:animMotion>
                                  </p:childTnLst>
                                </p:cTn>
                              </p:par>
                              <p:par>
                                <p:cTn id="39" presetID="10" presetClass="entr" presetSubtype="0" fill="hold" nodeType="withEffect">
                                  <p:stCondLst>
                                    <p:cond delay="400"/>
                                  </p:stCondLst>
                                  <p:childTnLst>
                                    <p:set>
                                      <p:cBhvr>
                                        <p:cTn id="40" dur="1" fill="hold">
                                          <p:stCondLst>
                                            <p:cond delay="0"/>
                                          </p:stCondLst>
                                        </p:cTn>
                                        <p:tgtEl>
                                          <p:spTgt spid="24"/>
                                        </p:tgtEl>
                                        <p:attrNameLst>
                                          <p:attrName>style.visibility</p:attrName>
                                        </p:attrNameLst>
                                      </p:cBhvr>
                                      <p:to>
                                        <p:strVal val="visible"/>
                                      </p:to>
                                    </p:set>
                                    <p:animEffect transition="in" filter="fade">
                                      <p:cBhvr>
                                        <p:cTn id="41" dur="650"/>
                                        <p:tgtEl>
                                          <p:spTgt spid="24"/>
                                        </p:tgtEl>
                                      </p:cBhvr>
                                    </p:animEffect>
                                  </p:childTnLst>
                                </p:cTn>
                              </p:par>
                              <p:par>
                                <p:cTn id="42" presetID="63" presetClass="path" presetSubtype="0" decel="100000" fill="hold" nodeType="withEffect">
                                  <p:stCondLst>
                                    <p:cond delay="400"/>
                                  </p:stCondLst>
                                  <p:childTnLst>
                                    <p:animMotion origin="layout" path="M -2.70833E-6 -3.7037E-6 L 0.01472 -3.7037E-6 " pathEditMode="relative" rAng="0" ptsTypes="AA">
                                      <p:cBhvr>
                                        <p:cTn id="43" dur="650" spd="-100000" fill="hold"/>
                                        <p:tgtEl>
                                          <p:spTgt spid="24"/>
                                        </p:tgtEl>
                                        <p:attrNameLst>
                                          <p:attrName>ppt_x</p:attrName>
                                          <p:attrName>ppt_y</p:attrName>
                                        </p:attrNameLst>
                                      </p:cBhvr>
                                      <p:rCtr x="7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2A2B4D36-E476-45E5-92D1-FD94240238DF}"/>
              </a:ext>
            </a:extLst>
          </p:cNvPr>
          <p:cNvGrpSpPr/>
          <p:nvPr/>
        </p:nvGrpSpPr>
        <p:grpSpPr>
          <a:xfrm>
            <a:off x="303254" y="917936"/>
            <a:ext cx="7963787" cy="5646377"/>
            <a:chOff x="303254" y="917936"/>
            <a:chExt cx="7963787" cy="5646377"/>
          </a:xfrm>
        </p:grpSpPr>
        <p:sp>
          <p:nvSpPr>
            <p:cNvPr id="52" name="Rectangle 51">
              <a:extLst>
                <a:ext uri="{FF2B5EF4-FFF2-40B4-BE49-F238E27FC236}">
                  <a16:creationId xmlns:a16="http://schemas.microsoft.com/office/drawing/2014/main" id="{F43F8A62-6FB8-474A-80F6-55D058C55B71}"/>
                </a:ext>
              </a:extLst>
            </p:cNvPr>
            <p:cNvSpPr/>
            <p:nvPr/>
          </p:nvSpPr>
          <p:spPr bwMode="auto">
            <a:xfrm>
              <a:off x="303254" y="1390882"/>
              <a:ext cx="7951940" cy="5173431"/>
            </a:xfrm>
            <a:prstGeom prst="rect">
              <a:avLst/>
            </a:prstGeom>
            <a:solidFill>
              <a:schemeClr val="bg2">
                <a:lumMod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49" name="Group 48">
              <a:extLst>
                <a:ext uri="{FF2B5EF4-FFF2-40B4-BE49-F238E27FC236}">
                  <a16:creationId xmlns:a16="http://schemas.microsoft.com/office/drawing/2014/main" id="{A9964F51-D183-4658-B854-8EAFF5C66C4C}"/>
                </a:ext>
              </a:extLst>
            </p:cNvPr>
            <p:cNvGrpSpPr>
              <a:grpSpLocks noChangeAspect="1"/>
            </p:cNvGrpSpPr>
            <p:nvPr/>
          </p:nvGrpSpPr>
          <p:grpSpPr>
            <a:xfrm>
              <a:off x="2979927" y="2638218"/>
              <a:ext cx="2751815" cy="3659366"/>
              <a:chOff x="4508143" y="1981270"/>
              <a:chExt cx="3003684" cy="4928657"/>
            </a:xfrm>
          </p:grpSpPr>
          <p:sp>
            <p:nvSpPr>
              <p:cNvPr id="4" name="Text Placeholder 7">
                <a:extLst>
                  <a:ext uri="{FF2B5EF4-FFF2-40B4-BE49-F238E27FC236}">
                    <a16:creationId xmlns:a16="http://schemas.microsoft.com/office/drawing/2014/main" id="{42BB6C53-DD44-4F0F-8FD6-A17F2F0142F2}"/>
                  </a:ext>
                </a:extLst>
              </p:cNvPr>
              <p:cNvSpPr txBox="1">
                <a:spLocks/>
              </p:cNvSpPr>
              <p:nvPr/>
            </p:nvSpPr>
            <p:spPr>
              <a:xfrm>
                <a:off x="4623217" y="1981270"/>
                <a:ext cx="2888610" cy="695934"/>
              </a:xfrm>
              <a:prstGeom prst="rect">
                <a:avLst/>
              </a:prstGeom>
            </p:spPr>
            <p:txBody>
              <a:bodyPr wrap="square" lIns="182880" tIns="0" rIns="182880" bIns="182880"/>
              <a:lstStyle>
                <a:lvl1pPr marL="0" indent="0" algn="l" defTabSz="271902"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1pPr>
                <a:lvl2pPr marL="10709" indent="0" algn="l" defTabSz="271902"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339878" indent="-67976" algn="l" defTabSz="271902"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475830" indent="-67976" algn="l" defTabSz="271902"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611780" indent="-67976" algn="l" defTabSz="271902"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747732"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6pPr>
                <a:lvl7pPr marL="883683"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7pPr>
                <a:lvl8pPr marL="1019634"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8pPr>
                <a:lvl9pPr marL="1155585"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9pPr>
              </a:lstStyle>
              <a:p>
                <a:pPr marL="0" marR="0" lvl="0" indent="0" algn="ctr" defTabSz="271902"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Semibold" panose="020B0702040204020203" pitchFamily="34" charset="0"/>
                    <a:ea typeface="+mn-ea"/>
                    <a:cs typeface="Segoe UI Semibold" panose="020B0702040204020203" pitchFamily="34" charset="0"/>
                  </a:rPr>
                  <a:t>Enterprise scale </a:t>
                </a:r>
                <a:br>
                  <a:rPr kumimoji="0" lang="en-US" sz="18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Semibold" panose="020B0702040204020203" pitchFamily="34" charset="0"/>
                    <a:ea typeface="+mn-ea"/>
                    <a:cs typeface="Segoe UI Semibold" panose="020B0702040204020203" pitchFamily="34" charset="0"/>
                  </a:rPr>
                  <a:t>and integration</a:t>
                </a:r>
              </a:p>
              <a:p>
                <a:pPr marL="10709" marR="0" lvl="1" indent="0" algn="ctr" defTabSz="271902" rtl="0" eaLnBrk="1" fontAlgn="auto" latinLnBrk="0" hangingPunct="1">
                  <a:lnSpc>
                    <a:spcPct val="90000"/>
                  </a:lnSpc>
                  <a:spcBef>
                    <a:spcPts val="60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Semibold" panose="020B0702040204020203" pitchFamily="34" charset="0"/>
                  <a:ea typeface="+mn-ea"/>
                  <a:cs typeface="Segoe UI Semibold" panose="020B0702040204020203" pitchFamily="34" charset="0"/>
                </a:endParaRPr>
              </a:p>
            </p:txBody>
          </p:sp>
          <p:sp>
            <p:nvSpPr>
              <p:cNvPr id="42" name="Text Placeholder 7">
                <a:extLst>
                  <a:ext uri="{FF2B5EF4-FFF2-40B4-BE49-F238E27FC236}">
                    <a16:creationId xmlns:a16="http://schemas.microsoft.com/office/drawing/2014/main" id="{A65B8ABA-3F94-478D-A1A7-BFD9AB5D4E43}"/>
                  </a:ext>
                </a:extLst>
              </p:cNvPr>
              <p:cNvSpPr txBox="1">
                <a:spLocks/>
              </p:cNvSpPr>
              <p:nvPr/>
            </p:nvSpPr>
            <p:spPr>
              <a:xfrm>
                <a:off x="4508143" y="3032182"/>
                <a:ext cx="2968033" cy="3877745"/>
              </a:xfrm>
              <a:prstGeom prst="rect">
                <a:avLst/>
              </a:prstGeom>
            </p:spPr>
            <p:txBody>
              <a:bodyPr vert="horz" wrap="square" lIns="182880" tIns="0" rIns="182880" bIns="182880" rtlCol="0">
                <a:spAutoFit/>
              </a:bodyPr>
              <a:lstStyle>
                <a:lvl1pPr marL="0" marR="0" indent="0" algn="l" defTabSz="932742" rtl="0" eaLnBrk="1" fontAlgn="auto" latinLnBrk="0" hangingPunct="1">
                  <a:lnSpc>
                    <a:spcPct val="90000"/>
                  </a:lnSpc>
                  <a:spcBef>
                    <a:spcPts val="1800"/>
                  </a:spcBef>
                  <a:spcAft>
                    <a:spcPts val="0"/>
                  </a:spcAft>
                  <a:buClrTx/>
                  <a:buSzPct val="90000"/>
                  <a:buFont typeface="Wingdings" panose="05000000000000000000" pitchFamily="2" charset="2"/>
                  <a:buNone/>
                  <a:tabLst/>
                  <a:defRPr sz="2000" kern="1200" spc="0" baseline="0">
                    <a:solidFill>
                      <a:schemeClr val="tx2"/>
                    </a:solidFill>
                    <a:latin typeface="+mn-lt"/>
                    <a:ea typeface="+mn-ea"/>
                    <a:cs typeface="+mn-cs"/>
                  </a:defRPr>
                </a:lvl1pPr>
                <a:lvl2pPr marL="0" marR="0" indent="0" algn="l" defTabSz="932742" rtl="0" eaLnBrk="1" fontAlgn="auto" latinLnBrk="0" hangingPunct="1">
                  <a:lnSpc>
                    <a:spcPct val="9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Billions of messages</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Scale up and down</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Declarative message routes</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File Upload</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err="1">
                    <a:ln>
                      <a:noFill/>
                    </a:ln>
                    <a:gradFill>
                      <a:gsLst>
                        <a:gs pos="41204">
                          <a:srgbClr val="1A1A1A"/>
                        </a:gs>
                        <a:gs pos="59000">
                          <a:srgbClr val="1A1A1A"/>
                        </a:gs>
                      </a:gsLst>
                      <a:lin ang="5400000" scaled="1"/>
                    </a:gradFill>
                    <a:effectLst/>
                    <a:uLnTx/>
                    <a:uFillTx/>
                    <a:latin typeface="Segoe UI"/>
                    <a:ea typeface="+mn-ea"/>
                    <a:cs typeface="+mn-cs"/>
                  </a:rPr>
                  <a:t>WebSockets</a:t>
                </a: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 and Multiplexing</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Azure Monitor</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Azure Resource Health</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Configuration management</a:t>
                </a:r>
              </a:p>
            </p:txBody>
          </p:sp>
        </p:grpSp>
        <p:grpSp>
          <p:nvGrpSpPr>
            <p:cNvPr id="50" name="Group 49">
              <a:extLst>
                <a:ext uri="{FF2B5EF4-FFF2-40B4-BE49-F238E27FC236}">
                  <a16:creationId xmlns:a16="http://schemas.microsoft.com/office/drawing/2014/main" id="{F32D9CC8-D8EF-49AD-B235-B59D72D033EB}"/>
                </a:ext>
              </a:extLst>
            </p:cNvPr>
            <p:cNvGrpSpPr>
              <a:grpSpLocks noChangeAspect="1"/>
            </p:cNvGrpSpPr>
            <p:nvPr/>
          </p:nvGrpSpPr>
          <p:grpSpPr>
            <a:xfrm>
              <a:off x="5496681" y="2638218"/>
              <a:ext cx="2770360" cy="3064273"/>
              <a:chOff x="8454450" y="1981270"/>
              <a:chExt cx="2997148" cy="4127153"/>
            </a:xfrm>
          </p:grpSpPr>
          <p:sp>
            <p:nvSpPr>
              <p:cNvPr id="5" name="Text Placeholder 8">
                <a:extLst>
                  <a:ext uri="{FF2B5EF4-FFF2-40B4-BE49-F238E27FC236}">
                    <a16:creationId xmlns:a16="http://schemas.microsoft.com/office/drawing/2014/main" id="{771CD0D6-3E69-433D-BE2E-858DF7F95ED3}"/>
                  </a:ext>
                </a:extLst>
              </p:cNvPr>
              <p:cNvSpPr txBox="1">
                <a:spLocks/>
              </p:cNvSpPr>
              <p:nvPr/>
            </p:nvSpPr>
            <p:spPr>
              <a:xfrm>
                <a:off x="8524865" y="1981270"/>
                <a:ext cx="2888610" cy="695828"/>
              </a:xfrm>
              <a:prstGeom prst="rect">
                <a:avLst/>
              </a:prstGeom>
            </p:spPr>
            <p:txBody>
              <a:bodyPr wrap="square" lIns="182880" tIns="0" rIns="182880" bIns="182880"/>
              <a:lstStyle>
                <a:lvl1pPr marL="0" indent="0" algn="l" defTabSz="271902"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1pPr>
                <a:lvl2pPr marL="10709" indent="0" algn="l" defTabSz="271902"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339878" indent="-67976" algn="l" defTabSz="271902"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475830" indent="-67976" algn="l" defTabSz="271902"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611780" indent="-67976" algn="l" defTabSz="271902"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747732"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6pPr>
                <a:lvl7pPr marL="883683"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7pPr>
                <a:lvl8pPr marL="1019634"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8pPr>
                <a:lvl9pPr marL="1155585"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9pPr>
              </a:lstStyle>
              <a:p>
                <a:pPr marL="0" marR="0" lvl="0" indent="0" algn="ctr" defTabSz="271902"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Semibold" panose="020B0702040204020203" pitchFamily="34" charset="0"/>
                    <a:ea typeface="+mn-ea"/>
                    <a:cs typeface="Segoe UI Semibold" panose="020B0702040204020203" pitchFamily="34" charset="0"/>
                  </a:rPr>
                  <a:t>End-to-end </a:t>
                </a:r>
                <a:br>
                  <a:rPr kumimoji="0" lang="en-US" sz="18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Semibold" panose="020B0702040204020203" pitchFamily="34" charset="0"/>
                    <a:ea typeface="+mn-ea"/>
                    <a:cs typeface="Segoe UI Semibold" panose="020B0702040204020203" pitchFamily="34" charset="0"/>
                  </a:rPr>
                  <a:t>security</a:t>
                </a:r>
              </a:p>
              <a:p>
                <a:pPr marL="0" marR="0" lvl="0" indent="0" algn="ctr" defTabSz="271902" rtl="0" eaLnBrk="1" fontAlgn="auto" latinLnBrk="0" hangingPunct="1">
                  <a:lnSpc>
                    <a:spcPct val="90000"/>
                  </a:lnSpc>
                  <a:spcBef>
                    <a:spcPts val="60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Semibold" panose="020B0702040204020203" pitchFamily="34" charset="0"/>
                  <a:ea typeface="+mn-ea"/>
                  <a:cs typeface="Segoe UI Semibold" panose="020B0702040204020203" pitchFamily="34" charset="0"/>
                </a:endParaRPr>
              </a:p>
            </p:txBody>
          </p:sp>
          <p:sp>
            <p:nvSpPr>
              <p:cNvPr id="43" name="Text Placeholder 8">
                <a:extLst>
                  <a:ext uri="{FF2B5EF4-FFF2-40B4-BE49-F238E27FC236}">
                    <a16:creationId xmlns:a16="http://schemas.microsoft.com/office/drawing/2014/main" id="{A626FA1A-11CF-41DB-A06F-C765D00B80CC}"/>
                  </a:ext>
                </a:extLst>
              </p:cNvPr>
              <p:cNvSpPr txBox="1">
                <a:spLocks/>
              </p:cNvSpPr>
              <p:nvPr/>
            </p:nvSpPr>
            <p:spPr>
              <a:xfrm>
                <a:off x="8454450" y="3045027"/>
                <a:ext cx="2997148" cy="3063396"/>
              </a:xfrm>
              <a:prstGeom prst="rect">
                <a:avLst/>
              </a:prstGeom>
            </p:spPr>
            <p:txBody>
              <a:bodyPr vert="horz" wrap="square" lIns="182880" tIns="0" rIns="182880" bIns="182880" rtlCol="0">
                <a:spAutoFit/>
              </a:bodyPr>
              <a:lstStyle>
                <a:lvl1pPr marL="0" marR="0" indent="0" algn="l" defTabSz="932742" rtl="0" eaLnBrk="1" fontAlgn="auto" latinLnBrk="0" hangingPunct="1">
                  <a:lnSpc>
                    <a:spcPct val="90000"/>
                  </a:lnSpc>
                  <a:spcBef>
                    <a:spcPts val="1800"/>
                  </a:spcBef>
                  <a:spcAft>
                    <a:spcPts val="0"/>
                  </a:spcAft>
                  <a:buClrTx/>
                  <a:buSzPct val="90000"/>
                  <a:buFont typeface="Wingdings" panose="05000000000000000000" pitchFamily="2" charset="2"/>
                  <a:buNone/>
                  <a:tabLst/>
                  <a:defRPr sz="2000" kern="1200" spc="0" baseline="0">
                    <a:solidFill>
                      <a:schemeClr val="tx2"/>
                    </a:solidFill>
                    <a:latin typeface="+mn-lt"/>
                    <a:ea typeface="+mn-ea"/>
                    <a:cs typeface="+mn-cs"/>
                  </a:defRPr>
                </a:lvl1pPr>
                <a:lvl2pPr marL="0" marR="0" indent="0" algn="l" defTabSz="932742" rtl="0" eaLnBrk="1" fontAlgn="auto" latinLnBrk="0" hangingPunct="1">
                  <a:lnSpc>
                    <a:spcPct val="9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Per device certificates</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Per device enable/disable</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TLS security</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X.509 support</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IP whitelisting/blacklisting</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Shared access polices</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Firmware/software updates</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Azure security center support</a:t>
                </a:r>
              </a:p>
            </p:txBody>
          </p:sp>
        </p:grpSp>
        <p:grpSp>
          <p:nvGrpSpPr>
            <p:cNvPr id="44" name="Group 43">
              <a:extLst>
                <a:ext uri="{FF2B5EF4-FFF2-40B4-BE49-F238E27FC236}">
                  <a16:creationId xmlns:a16="http://schemas.microsoft.com/office/drawing/2014/main" id="{F71C2D6F-3C34-4348-B0E8-02F2C6B4FE44}"/>
                </a:ext>
              </a:extLst>
            </p:cNvPr>
            <p:cNvGrpSpPr>
              <a:grpSpLocks noChangeAspect="1"/>
            </p:cNvGrpSpPr>
            <p:nvPr/>
          </p:nvGrpSpPr>
          <p:grpSpPr>
            <a:xfrm>
              <a:off x="609600" y="2638218"/>
              <a:ext cx="2283172" cy="3241844"/>
              <a:chOff x="537192" y="1981270"/>
              <a:chExt cx="2799005" cy="4366314"/>
            </a:xfrm>
          </p:grpSpPr>
          <p:sp>
            <p:nvSpPr>
              <p:cNvPr id="3" name="Text Placeholder 6">
                <a:extLst>
                  <a:ext uri="{FF2B5EF4-FFF2-40B4-BE49-F238E27FC236}">
                    <a16:creationId xmlns:a16="http://schemas.microsoft.com/office/drawing/2014/main" id="{194DE827-0546-4082-8B0E-CC30D97D90C4}"/>
                  </a:ext>
                </a:extLst>
              </p:cNvPr>
              <p:cNvSpPr txBox="1">
                <a:spLocks/>
              </p:cNvSpPr>
              <p:nvPr/>
            </p:nvSpPr>
            <p:spPr>
              <a:xfrm>
                <a:off x="817439" y="1981270"/>
                <a:ext cx="2507717" cy="695828"/>
              </a:xfrm>
              <a:prstGeom prst="rect">
                <a:avLst/>
              </a:prstGeom>
            </p:spPr>
            <p:txBody>
              <a:bodyPr wrap="square" lIns="182880" tIns="0" rIns="182880" bIns="182880"/>
              <a:lstStyle>
                <a:lvl1pPr marL="0" indent="0" algn="l" defTabSz="271902"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1pPr>
                <a:lvl2pPr marL="10709" indent="0" algn="l" defTabSz="271902"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339878" indent="-67976" algn="l" defTabSz="271902"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475830" indent="-67976" algn="l" defTabSz="271902"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611780" indent="-67976" algn="l" defTabSz="271902"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747732"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6pPr>
                <a:lvl7pPr marL="883683"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7pPr>
                <a:lvl8pPr marL="1019634"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8pPr>
                <a:lvl9pPr marL="1155585"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9pPr>
              </a:lstStyle>
              <a:p>
                <a:pPr marL="0" marR="0" lvl="0" indent="0" algn="ctr" defTabSz="271902"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Semibold" panose="020B0702040204020203" pitchFamily="34" charset="0"/>
                    <a:ea typeface="+mn-ea"/>
                    <a:cs typeface="Segoe UI Semibold" panose="020B0702040204020203" pitchFamily="34" charset="0"/>
                  </a:rPr>
                  <a:t>Bi-directional communication</a:t>
                </a:r>
              </a:p>
              <a:p>
                <a:pPr marL="10709" marR="0" lvl="1" indent="0" algn="ctr" defTabSz="271902" rtl="0" eaLnBrk="1" fontAlgn="auto" latinLnBrk="0" hangingPunct="1">
                  <a:lnSpc>
                    <a:spcPct val="90000"/>
                  </a:lnSpc>
                  <a:spcBef>
                    <a:spcPts val="60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Semibold" panose="020B0702040204020203" pitchFamily="34" charset="0"/>
                  <a:ea typeface="+mn-ea"/>
                  <a:cs typeface="Segoe UI Semibold" panose="020B0702040204020203" pitchFamily="34" charset="0"/>
                </a:endParaRPr>
              </a:p>
            </p:txBody>
          </p:sp>
          <p:sp>
            <p:nvSpPr>
              <p:cNvPr id="41" name="Text Placeholder 6">
                <a:extLst>
                  <a:ext uri="{FF2B5EF4-FFF2-40B4-BE49-F238E27FC236}">
                    <a16:creationId xmlns:a16="http://schemas.microsoft.com/office/drawing/2014/main" id="{53ED6A37-1297-4A5E-A393-861250E5AA53}"/>
                  </a:ext>
                </a:extLst>
              </p:cNvPr>
              <p:cNvSpPr txBox="1">
                <a:spLocks/>
              </p:cNvSpPr>
              <p:nvPr/>
            </p:nvSpPr>
            <p:spPr>
              <a:xfrm>
                <a:off x="537192" y="3023035"/>
                <a:ext cx="2799005" cy="3324549"/>
              </a:xfrm>
              <a:prstGeom prst="rect">
                <a:avLst/>
              </a:prstGeom>
            </p:spPr>
            <p:txBody>
              <a:bodyPr vert="horz" wrap="square" lIns="182880" tIns="0" rIns="182880" bIns="182880" rtlCol="0">
                <a:spAutoFit/>
              </a:bodyPr>
              <a:lstStyle>
                <a:lvl1pPr marL="0" marR="0" indent="0" algn="l" defTabSz="932742" rtl="0" eaLnBrk="1" fontAlgn="auto" latinLnBrk="0" hangingPunct="1">
                  <a:lnSpc>
                    <a:spcPct val="90000"/>
                  </a:lnSpc>
                  <a:spcBef>
                    <a:spcPts val="1800"/>
                  </a:spcBef>
                  <a:spcAft>
                    <a:spcPts val="0"/>
                  </a:spcAft>
                  <a:buClrTx/>
                  <a:buSzPct val="90000"/>
                  <a:buFont typeface="Wingdings" panose="05000000000000000000" pitchFamily="2" charset="2"/>
                  <a:buNone/>
                  <a:tabLst/>
                  <a:defRPr sz="2000" kern="1200" spc="0" baseline="0">
                    <a:solidFill>
                      <a:schemeClr val="tx2"/>
                    </a:solidFill>
                    <a:latin typeface="+mn-lt"/>
                    <a:ea typeface="+mn-ea"/>
                    <a:cs typeface="+mn-cs"/>
                  </a:defRPr>
                </a:lvl1pPr>
                <a:lvl2pPr marL="0" marR="0" indent="0" algn="l" defTabSz="932742" rtl="0" eaLnBrk="1" fontAlgn="auto" latinLnBrk="0" hangingPunct="1">
                  <a:lnSpc>
                    <a:spcPct val="9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Millions of devices</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Multi-language, open </a:t>
                </a:r>
                <a:b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b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source SDKs</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HTTPS/AMQPS/MQTTS</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Send Telemetry</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Receive commands</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Device management</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Device Twins</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Queries and jobs</a:t>
                </a:r>
              </a:p>
            </p:txBody>
          </p:sp>
        </p:grpSp>
        <p:sp>
          <p:nvSpPr>
            <p:cNvPr id="57" name="Title 1">
              <a:extLst>
                <a:ext uri="{FF2B5EF4-FFF2-40B4-BE49-F238E27FC236}">
                  <a16:creationId xmlns:a16="http://schemas.microsoft.com/office/drawing/2014/main" id="{A58230F9-1BF7-49F0-8AD9-76DE24256B2E}"/>
                </a:ext>
              </a:extLst>
            </p:cNvPr>
            <p:cNvSpPr txBox="1">
              <a:spLocks/>
            </p:cNvSpPr>
            <p:nvPr/>
          </p:nvSpPr>
          <p:spPr>
            <a:xfrm>
              <a:off x="303254" y="917936"/>
              <a:ext cx="7951940" cy="24622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IoT Hub</a:t>
              </a:r>
            </a:p>
          </p:txBody>
        </p:sp>
        <p:grpSp>
          <p:nvGrpSpPr>
            <p:cNvPr id="60" name="Group 59">
              <a:extLst>
                <a:ext uri="{FF2B5EF4-FFF2-40B4-BE49-F238E27FC236}">
                  <a16:creationId xmlns:a16="http://schemas.microsoft.com/office/drawing/2014/main" id="{6E97E4EE-7A05-4953-8F44-F53F9E700B3C}"/>
                </a:ext>
              </a:extLst>
            </p:cNvPr>
            <p:cNvGrpSpPr/>
            <p:nvPr/>
          </p:nvGrpSpPr>
          <p:grpSpPr>
            <a:xfrm>
              <a:off x="1371120" y="1604949"/>
              <a:ext cx="831909" cy="831910"/>
              <a:chOff x="1984261" y="1960889"/>
              <a:chExt cx="769256" cy="769256"/>
            </a:xfrm>
          </p:grpSpPr>
          <p:sp>
            <p:nvSpPr>
              <p:cNvPr id="63" name="Oval 62">
                <a:extLst>
                  <a:ext uri="{FF2B5EF4-FFF2-40B4-BE49-F238E27FC236}">
                    <a16:creationId xmlns:a16="http://schemas.microsoft.com/office/drawing/2014/main" id="{0313443C-B110-446B-8657-54E563C2D5E7}"/>
                  </a:ext>
                </a:extLst>
              </p:cNvPr>
              <p:cNvSpPr/>
              <p:nvPr/>
            </p:nvSpPr>
            <p:spPr bwMode="auto">
              <a:xfrm>
                <a:off x="1984261" y="1960889"/>
                <a:ext cx="769256" cy="76925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64" name="Group 63">
                <a:extLst>
                  <a:ext uri="{FF2B5EF4-FFF2-40B4-BE49-F238E27FC236}">
                    <a16:creationId xmlns:a16="http://schemas.microsoft.com/office/drawing/2014/main" id="{C5BCEE78-219D-4674-A23F-BC00EB8596D7}"/>
                  </a:ext>
                </a:extLst>
              </p:cNvPr>
              <p:cNvGrpSpPr/>
              <p:nvPr/>
            </p:nvGrpSpPr>
            <p:grpSpPr>
              <a:xfrm>
                <a:off x="2082965" y="2242106"/>
                <a:ext cx="571848" cy="206823"/>
                <a:chOff x="1277277" y="1334579"/>
                <a:chExt cx="1314350" cy="475368"/>
              </a:xfrm>
            </p:grpSpPr>
            <p:grpSp>
              <p:nvGrpSpPr>
                <p:cNvPr id="65" name="Group 64">
                  <a:extLst>
                    <a:ext uri="{FF2B5EF4-FFF2-40B4-BE49-F238E27FC236}">
                      <a16:creationId xmlns:a16="http://schemas.microsoft.com/office/drawing/2014/main" id="{7B1A071D-82E2-4116-BF98-086B2CC7747D}"/>
                    </a:ext>
                  </a:extLst>
                </p:cNvPr>
                <p:cNvGrpSpPr/>
                <p:nvPr/>
              </p:nvGrpSpPr>
              <p:grpSpPr>
                <a:xfrm>
                  <a:off x="1277277" y="1334579"/>
                  <a:ext cx="926064" cy="460945"/>
                  <a:chOff x="1178490" y="1608635"/>
                  <a:chExt cx="926182" cy="461004"/>
                </a:xfrm>
              </p:grpSpPr>
              <p:sp>
                <p:nvSpPr>
                  <p:cNvPr id="69" name="Freeform: Shape 68">
                    <a:extLst>
                      <a:ext uri="{FF2B5EF4-FFF2-40B4-BE49-F238E27FC236}">
                        <a16:creationId xmlns:a16="http://schemas.microsoft.com/office/drawing/2014/main" id="{E0E4B8EF-1A7C-4737-8EAA-3D263202D9FE}"/>
                      </a:ext>
                    </a:extLst>
                  </p:cNvPr>
                  <p:cNvSpPr/>
                  <p:nvPr/>
                </p:nvSpPr>
                <p:spPr bwMode="auto">
                  <a:xfrm>
                    <a:off x="1178490" y="1608635"/>
                    <a:ext cx="926182" cy="461004"/>
                  </a:xfrm>
                  <a:custGeom>
                    <a:avLst/>
                    <a:gdLst>
                      <a:gd name="connsiteX0" fmla="*/ 795356 w 1380227"/>
                      <a:gd name="connsiteY0" fmla="*/ 446849 h 721169"/>
                      <a:gd name="connsiteX1" fmla="*/ 1380227 w 1380227"/>
                      <a:gd name="connsiteY1" fmla="*/ 446849 h 721169"/>
                      <a:gd name="connsiteX2" fmla="*/ 1380227 w 1380227"/>
                      <a:gd name="connsiteY2" fmla="*/ 196683 h 721169"/>
                      <a:gd name="connsiteX3" fmla="*/ 338156 w 1380227"/>
                      <a:gd name="connsiteY3" fmla="*/ 196683 h 721169"/>
                      <a:gd name="connsiteX4" fmla="*/ 338156 w 1380227"/>
                      <a:gd name="connsiteY4" fmla="*/ 0 h 721169"/>
                      <a:gd name="connsiteX5" fmla="*/ 0 w 1380227"/>
                      <a:gd name="connsiteY5" fmla="*/ 338156 h 721169"/>
                      <a:gd name="connsiteX6" fmla="*/ 0 w 1380227"/>
                      <a:gd name="connsiteY6" fmla="*/ 386464 h 721169"/>
                      <a:gd name="connsiteX7" fmla="*/ 334705 w 1380227"/>
                      <a:gd name="connsiteY7" fmla="*/ 721169 h 721169"/>
                      <a:gd name="connsiteX8" fmla="*/ 334705 w 1380227"/>
                      <a:gd name="connsiteY8" fmla="*/ 567619 h 721169"/>
                      <a:gd name="connsiteX0" fmla="*/ 795356 w 1380227"/>
                      <a:gd name="connsiteY0" fmla="*/ 446849 h 757400"/>
                      <a:gd name="connsiteX1" fmla="*/ 1380227 w 1380227"/>
                      <a:gd name="connsiteY1" fmla="*/ 446849 h 757400"/>
                      <a:gd name="connsiteX2" fmla="*/ 1380227 w 1380227"/>
                      <a:gd name="connsiteY2" fmla="*/ 196683 h 757400"/>
                      <a:gd name="connsiteX3" fmla="*/ 338156 w 1380227"/>
                      <a:gd name="connsiteY3" fmla="*/ 196683 h 757400"/>
                      <a:gd name="connsiteX4" fmla="*/ 338156 w 1380227"/>
                      <a:gd name="connsiteY4" fmla="*/ 0 h 757400"/>
                      <a:gd name="connsiteX5" fmla="*/ 0 w 1380227"/>
                      <a:gd name="connsiteY5" fmla="*/ 338156 h 757400"/>
                      <a:gd name="connsiteX6" fmla="*/ 0 w 1380227"/>
                      <a:gd name="connsiteY6" fmla="*/ 386464 h 757400"/>
                      <a:gd name="connsiteX7" fmla="*/ 334705 w 1380227"/>
                      <a:gd name="connsiteY7" fmla="*/ 757400 h 757400"/>
                      <a:gd name="connsiteX8" fmla="*/ 334705 w 1380227"/>
                      <a:gd name="connsiteY8" fmla="*/ 567619 h 757400"/>
                      <a:gd name="connsiteX0" fmla="*/ 795356 w 1380227"/>
                      <a:gd name="connsiteY0" fmla="*/ 446849 h 757400"/>
                      <a:gd name="connsiteX1" fmla="*/ 1380227 w 1380227"/>
                      <a:gd name="connsiteY1" fmla="*/ 446849 h 757400"/>
                      <a:gd name="connsiteX2" fmla="*/ 1380227 w 1380227"/>
                      <a:gd name="connsiteY2" fmla="*/ 196683 h 757400"/>
                      <a:gd name="connsiteX3" fmla="*/ 338156 w 1380227"/>
                      <a:gd name="connsiteY3" fmla="*/ 196683 h 757400"/>
                      <a:gd name="connsiteX4" fmla="*/ 338156 w 1380227"/>
                      <a:gd name="connsiteY4" fmla="*/ 0 h 757400"/>
                      <a:gd name="connsiteX5" fmla="*/ 0 w 1380227"/>
                      <a:gd name="connsiteY5" fmla="*/ 338156 h 757400"/>
                      <a:gd name="connsiteX6" fmla="*/ 0 w 1380227"/>
                      <a:gd name="connsiteY6" fmla="*/ 408893 h 757400"/>
                      <a:gd name="connsiteX7" fmla="*/ 334705 w 1380227"/>
                      <a:gd name="connsiteY7" fmla="*/ 757400 h 757400"/>
                      <a:gd name="connsiteX8" fmla="*/ 334705 w 1380227"/>
                      <a:gd name="connsiteY8" fmla="*/ 567619 h 757400"/>
                      <a:gd name="connsiteX0" fmla="*/ 811684 w 1396555"/>
                      <a:gd name="connsiteY0" fmla="*/ 446849 h 757400"/>
                      <a:gd name="connsiteX1" fmla="*/ 1396555 w 1396555"/>
                      <a:gd name="connsiteY1" fmla="*/ 446849 h 757400"/>
                      <a:gd name="connsiteX2" fmla="*/ 1396555 w 1396555"/>
                      <a:gd name="connsiteY2" fmla="*/ 196683 h 757400"/>
                      <a:gd name="connsiteX3" fmla="*/ 354484 w 1396555"/>
                      <a:gd name="connsiteY3" fmla="*/ 196683 h 757400"/>
                      <a:gd name="connsiteX4" fmla="*/ 354484 w 1396555"/>
                      <a:gd name="connsiteY4" fmla="*/ 0 h 757400"/>
                      <a:gd name="connsiteX5" fmla="*/ 16328 w 1396555"/>
                      <a:gd name="connsiteY5" fmla="*/ 338156 h 757400"/>
                      <a:gd name="connsiteX6" fmla="*/ 16328 w 1396555"/>
                      <a:gd name="connsiteY6" fmla="*/ 408893 h 757400"/>
                      <a:gd name="connsiteX7" fmla="*/ 351033 w 1396555"/>
                      <a:gd name="connsiteY7" fmla="*/ 757400 h 757400"/>
                      <a:gd name="connsiteX8" fmla="*/ 351033 w 1396555"/>
                      <a:gd name="connsiteY8" fmla="*/ 567619 h 757400"/>
                      <a:gd name="connsiteX0" fmla="*/ 809266 w 1394137"/>
                      <a:gd name="connsiteY0" fmla="*/ 446849 h 757400"/>
                      <a:gd name="connsiteX1" fmla="*/ 1394137 w 1394137"/>
                      <a:gd name="connsiteY1" fmla="*/ 446849 h 757400"/>
                      <a:gd name="connsiteX2" fmla="*/ 1394137 w 1394137"/>
                      <a:gd name="connsiteY2" fmla="*/ 196683 h 757400"/>
                      <a:gd name="connsiteX3" fmla="*/ 352066 w 1394137"/>
                      <a:gd name="connsiteY3" fmla="*/ 196683 h 757400"/>
                      <a:gd name="connsiteX4" fmla="*/ 352066 w 1394137"/>
                      <a:gd name="connsiteY4" fmla="*/ 0 h 757400"/>
                      <a:gd name="connsiteX5" fmla="*/ 13910 w 1394137"/>
                      <a:gd name="connsiteY5" fmla="*/ 338156 h 757400"/>
                      <a:gd name="connsiteX6" fmla="*/ 13910 w 1394137"/>
                      <a:gd name="connsiteY6" fmla="*/ 408893 h 757400"/>
                      <a:gd name="connsiteX7" fmla="*/ 348615 w 1394137"/>
                      <a:gd name="connsiteY7" fmla="*/ 757400 h 757400"/>
                      <a:gd name="connsiteX8" fmla="*/ 348615 w 1394137"/>
                      <a:gd name="connsiteY8" fmla="*/ 567619 h 757400"/>
                      <a:gd name="connsiteX0" fmla="*/ 820910 w 1405781"/>
                      <a:gd name="connsiteY0" fmla="*/ 446849 h 757400"/>
                      <a:gd name="connsiteX1" fmla="*/ 1405781 w 1405781"/>
                      <a:gd name="connsiteY1" fmla="*/ 446849 h 757400"/>
                      <a:gd name="connsiteX2" fmla="*/ 1405781 w 1405781"/>
                      <a:gd name="connsiteY2" fmla="*/ 196683 h 757400"/>
                      <a:gd name="connsiteX3" fmla="*/ 363710 w 1405781"/>
                      <a:gd name="connsiteY3" fmla="*/ 196683 h 757400"/>
                      <a:gd name="connsiteX4" fmla="*/ 363710 w 1405781"/>
                      <a:gd name="connsiteY4" fmla="*/ 0 h 757400"/>
                      <a:gd name="connsiteX5" fmla="*/ 25554 w 1405781"/>
                      <a:gd name="connsiteY5" fmla="*/ 338156 h 757400"/>
                      <a:gd name="connsiteX6" fmla="*/ 25554 w 1405781"/>
                      <a:gd name="connsiteY6" fmla="*/ 408893 h 757400"/>
                      <a:gd name="connsiteX7" fmla="*/ 360259 w 1405781"/>
                      <a:gd name="connsiteY7" fmla="*/ 757400 h 757400"/>
                      <a:gd name="connsiteX8" fmla="*/ 360259 w 1405781"/>
                      <a:gd name="connsiteY8" fmla="*/ 567619 h 757400"/>
                      <a:gd name="connsiteX0" fmla="*/ 820910 w 1471700"/>
                      <a:gd name="connsiteY0" fmla="*/ 446849 h 757400"/>
                      <a:gd name="connsiteX1" fmla="*/ 1405781 w 1471700"/>
                      <a:gd name="connsiteY1" fmla="*/ 446849 h 757400"/>
                      <a:gd name="connsiteX2" fmla="*/ 1405781 w 1471700"/>
                      <a:gd name="connsiteY2" fmla="*/ 196683 h 757400"/>
                      <a:gd name="connsiteX3" fmla="*/ 363710 w 1471700"/>
                      <a:gd name="connsiteY3" fmla="*/ 196683 h 757400"/>
                      <a:gd name="connsiteX4" fmla="*/ 363710 w 1471700"/>
                      <a:gd name="connsiteY4" fmla="*/ 0 h 757400"/>
                      <a:gd name="connsiteX5" fmla="*/ 25554 w 1471700"/>
                      <a:gd name="connsiteY5" fmla="*/ 338156 h 757400"/>
                      <a:gd name="connsiteX6" fmla="*/ 25554 w 1471700"/>
                      <a:gd name="connsiteY6" fmla="*/ 408893 h 757400"/>
                      <a:gd name="connsiteX7" fmla="*/ 360259 w 1471700"/>
                      <a:gd name="connsiteY7" fmla="*/ 757400 h 757400"/>
                      <a:gd name="connsiteX8" fmla="*/ 360259 w 1471700"/>
                      <a:gd name="connsiteY8" fmla="*/ 567619 h 757400"/>
                      <a:gd name="connsiteX0" fmla="*/ 820910 w 1521657"/>
                      <a:gd name="connsiteY0" fmla="*/ 446849 h 757400"/>
                      <a:gd name="connsiteX1" fmla="*/ 1405781 w 1521657"/>
                      <a:gd name="connsiteY1" fmla="*/ 446849 h 757400"/>
                      <a:gd name="connsiteX2" fmla="*/ 1405781 w 1521657"/>
                      <a:gd name="connsiteY2" fmla="*/ 196683 h 757400"/>
                      <a:gd name="connsiteX3" fmla="*/ 363710 w 1521657"/>
                      <a:gd name="connsiteY3" fmla="*/ 196683 h 757400"/>
                      <a:gd name="connsiteX4" fmla="*/ 363710 w 1521657"/>
                      <a:gd name="connsiteY4" fmla="*/ 0 h 757400"/>
                      <a:gd name="connsiteX5" fmla="*/ 25554 w 1521657"/>
                      <a:gd name="connsiteY5" fmla="*/ 338156 h 757400"/>
                      <a:gd name="connsiteX6" fmla="*/ 25554 w 1521657"/>
                      <a:gd name="connsiteY6" fmla="*/ 408893 h 757400"/>
                      <a:gd name="connsiteX7" fmla="*/ 360259 w 1521657"/>
                      <a:gd name="connsiteY7" fmla="*/ 757400 h 757400"/>
                      <a:gd name="connsiteX8" fmla="*/ 360259 w 1521657"/>
                      <a:gd name="connsiteY8" fmla="*/ 567619 h 7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1657" h="757400">
                        <a:moveTo>
                          <a:pt x="820910" y="446849"/>
                        </a:moveTo>
                        <a:lnTo>
                          <a:pt x="1405781" y="446849"/>
                        </a:lnTo>
                        <a:cubicBezTo>
                          <a:pt x="1566345" y="446464"/>
                          <a:pt x="1554099" y="192986"/>
                          <a:pt x="1405781" y="196683"/>
                        </a:cubicBezTo>
                        <a:cubicBezTo>
                          <a:pt x="1257463" y="200380"/>
                          <a:pt x="711067" y="196683"/>
                          <a:pt x="363710" y="196683"/>
                        </a:cubicBezTo>
                        <a:lnTo>
                          <a:pt x="363710" y="0"/>
                        </a:lnTo>
                        <a:lnTo>
                          <a:pt x="25554" y="338156"/>
                        </a:lnTo>
                        <a:cubicBezTo>
                          <a:pt x="-11185" y="375342"/>
                          <a:pt x="-5743" y="377149"/>
                          <a:pt x="25554" y="408893"/>
                        </a:cubicBezTo>
                        <a:cubicBezTo>
                          <a:pt x="56851" y="440637"/>
                          <a:pt x="248691" y="641231"/>
                          <a:pt x="360259" y="757400"/>
                        </a:cubicBezTo>
                        <a:lnTo>
                          <a:pt x="360259" y="567619"/>
                        </a:lnTo>
                      </a:path>
                    </a:pathLst>
                  </a:custGeom>
                  <a:noFill/>
                  <a:ln w="15875"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 name="Oval 69">
                    <a:extLst>
                      <a:ext uri="{FF2B5EF4-FFF2-40B4-BE49-F238E27FC236}">
                        <a16:creationId xmlns:a16="http://schemas.microsoft.com/office/drawing/2014/main" id="{1F3268F9-4247-43F7-8E18-5F5AC83E6081}"/>
                      </a:ext>
                    </a:extLst>
                  </p:cNvPr>
                  <p:cNvSpPr/>
                  <p:nvPr/>
                </p:nvSpPr>
                <p:spPr bwMode="auto">
                  <a:xfrm>
                    <a:off x="1652077" y="1861823"/>
                    <a:ext cx="49053" cy="49053"/>
                  </a:xfrm>
                  <a:prstGeom prst="ellipse">
                    <a:avLst/>
                  </a:prstGeom>
                  <a:solidFill>
                    <a:srgbClr val="FFFFFF"/>
                  </a:solidFill>
                  <a:ln w="12700" cap="flat">
                    <a:solidFill>
                      <a:srgbClr val="FFFFFF"/>
                    </a:solidFill>
                    <a:prstDash val="solid"/>
                  </a:ln>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66" name="Group 65">
                  <a:extLst>
                    <a:ext uri="{FF2B5EF4-FFF2-40B4-BE49-F238E27FC236}">
                      <a16:creationId xmlns:a16="http://schemas.microsoft.com/office/drawing/2014/main" id="{AC21FD50-249E-43C2-B5C8-502CD7F41B76}"/>
                    </a:ext>
                  </a:extLst>
                </p:cNvPr>
                <p:cNvGrpSpPr/>
                <p:nvPr/>
              </p:nvGrpSpPr>
              <p:grpSpPr>
                <a:xfrm>
                  <a:off x="1665563" y="1349002"/>
                  <a:ext cx="926064" cy="460945"/>
                  <a:chOff x="1566826" y="1623060"/>
                  <a:chExt cx="926182" cy="461004"/>
                </a:xfrm>
              </p:grpSpPr>
              <p:sp>
                <p:nvSpPr>
                  <p:cNvPr id="67" name="Freeform: Shape 66">
                    <a:extLst>
                      <a:ext uri="{FF2B5EF4-FFF2-40B4-BE49-F238E27FC236}">
                        <a16:creationId xmlns:a16="http://schemas.microsoft.com/office/drawing/2014/main" id="{63F89BFD-2C27-4969-8096-FA81159EC5F5}"/>
                      </a:ext>
                    </a:extLst>
                  </p:cNvPr>
                  <p:cNvSpPr/>
                  <p:nvPr/>
                </p:nvSpPr>
                <p:spPr bwMode="auto">
                  <a:xfrm flipH="1" flipV="1">
                    <a:off x="1566826" y="1623060"/>
                    <a:ext cx="926182" cy="461004"/>
                  </a:xfrm>
                  <a:custGeom>
                    <a:avLst/>
                    <a:gdLst>
                      <a:gd name="connsiteX0" fmla="*/ 795356 w 1380227"/>
                      <a:gd name="connsiteY0" fmla="*/ 446849 h 721169"/>
                      <a:gd name="connsiteX1" fmla="*/ 1380227 w 1380227"/>
                      <a:gd name="connsiteY1" fmla="*/ 446849 h 721169"/>
                      <a:gd name="connsiteX2" fmla="*/ 1380227 w 1380227"/>
                      <a:gd name="connsiteY2" fmla="*/ 196683 h 721169"/>
                      <a:gd name="connsiteX3" fmla="*/ 338156 w 1380227"/>
                      <a:gd name="connsiteY3" fmla="*/ 196683 h 721169"/>
                      <a:gd name="connsiteX4" fmla="*/ 338156 w 1380227"/>
                      <a:gd name="connsiteY4" fmla="*/ 0 h 721169"/>
                      <a:gd name="connsiteX5" fmla="*/ 0 w 1380227"/>
                      <a:gd name="connsiteY5" fmla="*/ 338156 h 721169"/>
                      <a:gd name="connsiteX6" fmla="*/ 0 w 1380227"/>
                      <a:gd name="connsiteY6" fmla="*/ 386464 h 721169"/>
                      <a:gd name="connsiteX7" fmla="*/ 334705 w 1380227"/>
                      <a:gd name="connsiteY7" fmla="*/ 721169 h 721169"/>
                      <a:gd name="connsiteX8" fmla="*/ 334705 w 1380227"/>
                      <a:gd name="connsiteY8" fmla="*/ 567619 h 721169"/>
                      <a:gd name="connsiteX0" fmla="*/ 795356 w 1380227"/>
                      <a:gd name="connsiteY0" fmla="*/ 446849 h 757400"/>
                      <a:gd name="connsiteX1" fmla="*/ 1380227 w 1380227"/>
                      <a:gd name="connsiteY1" fmla="*/ 446849 h 757400"/>
                      <a:gd name="connsiteX2" fmla="*/ 1380227 w 1380227"/>
                      <a:gd name="connsiteY2" fmla="*/ 196683 h 757400"/>
                      <a:gd name="connsiteX3" fmla="*/ 338156 w 1380227"/>
                      <a:gd name="connsiteY3" fmla="*/ 196683 h 757400"/>
                      <a:gd name="connsiteX4" fmla="*/ 338156 w 1380227"/>
                      <a:gd name="connsiteY4" fmla="*/ 0 h 757400"/>
                      <a:gd name="connsiteX5" fmla="*/ 0 w 1380227"/>
                      <a:gd name="connsiteY5" fmla="*/ 338156 h 757400"/>
                      <a:gd name="connsiteX6" fmla="*/ 0 w 1380227"/>
                      <a:gd name="connsiteY6" fmla="*/ 386464 h 757400"/>
                      <a:gd name="connsiteX7" fmla="*/ 334705 w 1380227"/>
                      <a:gd name="connsiteY7" fmla="*/ 757400 h 757400"/>
                      <a:gd name="connsiteX8" fmla="*/ 334705 w 1380227"/>
                      <a:gd name="connsiteY8" fmla="*/ 567619 h 757400"/>
                      <a:gd name="connsiteX0" fmla="*/ 795356 w 1380227"/>
                      <a:gd name="connsiteY0" fmla="*/ 446849 h 757400"/>
                      <a:gd name="connsiteX1" fmla="*/ 1380227 w 1380227"/>
                      <a:gd name="connsiteY1" fmla="*/ 446849 h 757400"/>
                      <a:gd name="connsiteX2" fmla="*/ 1380227 w 1380227"/>
                      <a:gd name="connsiteY2" fmla="*/ 196683 h 757400"/>
                      <a:gd name="connsiteX3" fmla="*/ 338156 w 1380227"/>
                      <a:gd name="connsiteY3" fmla="*/ 196683 h 757400"/>
                      <a:gd name="connsiteX4" fmla="*/ 338156 w 1380227"/>
                      <a:gd name="connsiteY4" fmla="*/ 0 h 757400"/>
                      <a:gd name="connsiteX5" fmla="*/ 0 w 1380227"/>
                      <a:gd name="connsiteY5" fmla="*/ 338156 h 757400"/>
                      <a:gd name="connsiteX6" fmla="*/ 0 w 1380227"/>
                      <a:gd name="connsiteY6" fmla="*/ 408893 h 757400"/>
                      <a:gd name="connsiteX7" fmla="*/ 334705 w 1380227"/>
                      <a:gd name="connsiteY7" fmla="*/ 757400 h 757400"/>
                      <a:gd name="connsiteX8" fmla="*/ 334705 w 1380227"/>
                      <a:gd name="connsiteY8" fmla="*/ 567619 h 757400"/>
                      <a:gd name="connsiteX0" fmla="*/ 811684 w 1396555"/>
                      <a:gd name="connsiteY0" fmla="*/ 446849 h 757400"/>
                      <a:gd name="connsiteX1" fmla="*/ 1396555 w 1396555"/>
                      <a:gd name="connsiteY1" fmla="*/ 446849 h 757400"/>
                      <a:gd name="connsiteX2" fmla="*/ 1396555 w 1396555"/>
                      <a:gd name="connsiteY2" fmla="*/ 196683 h 757400"/>
                      <a:gd name="connsiteX3" fmla="*/ 354484 w 1396555"/>
                      <a:gd name="connsiteY3" fmla="*/ 196683 h 757400"/>
                      <a:gd name="connsiteX4" fmla="*/ 354484 w 1396555"/>
                      <a:gd name="connsiteY4" fmla="*/ 0 h 757400"/>
                      <a:gd name="connsiteX5" fmla="*/ 16328 w 1396555"/>
                      <a:gd name="connsiteY5" fmla="*/ 338156 h 757400"/>
                      <a:gd name="connsiteX6" fmla="*/ 16328 w 1396555"/>
                      <a:gd name="connsiteY6" fmla="*/ 408893 h 757400"/>
                      <a:gd name="connsiteX7" fmla="*/ 351033 w 1396555"/>
                      <a:gd name="connsiteY7" fmla="*/ 757400 h 757400"/>
                      <a:gd name="connsiteX8" fmla="*/ 351033 w 1396555"/>
                      <a:gd name="connsiteY8" fmla="*/ 567619 h 757400"/>
                      <a:gd name="connsiteX0" fmla="*/ 809266 w 1394137"/>
                      <a:gd name="connsiteY0" fmla="*/ 446849 h 757400"/>
                      <a:gd name="connsiteX1" fmla="*/ 1394137 w 1394137"/>
                      <a:gd name="connsiteY1" fmla="*/ 446849 h 757400"/>
                      <a:gd name="connsiteX2" fmla="*/ 1394137 w 1394137"/>
                      <a:gd name="connsiteY2" fmla="*/ 196683 h 757400"/>
                      <a:gd name="connsiteX3" fmla="*/ 352066 w 1394137"/>
                      <a:gd name="connsiteY3" fmla="*/ 196683 h 757400"/>
                      <a:gd name="connsiteX4" fmla="*/ 352066 w 1394137"/>
                      <a:gd name="connsiteY4" fmla="*/ 0 h 757400"/>
                      <a:gd name="connsiteX5" fmla="*/ 13910 w 1394137"/>
                      <a:gd name="connsiteY5" fmla="*/ 338156 h 757400"/>
                      <a:gd name="connsiteX6" fmla="*/ 13910 w 1394137"/>
                      <a:gd name="connsiteY6" fmla="*/ 408893 h 757400"/>
                      <a:gd name="connsiteX7" fmla="*/ 348615 w 1394137"/>
                      <a:gd name="connsiteY7" fmla="*/ 757400 h 757400"/>
                      <a:gd name="connsiteX8" fmla="*/ 348615 w 1394137"/>
                      <a:gd name="connsiteY8" fmla="*/ 567619 h 757400"/>
                      <a:gd name="connsiteX0" fmla="*/ 820910 w 1405781"/>
                      <a:gd name="connsiteY0" fmla="*/ 446849 h 757400"/>
                      <a:gd name="connsiteX1" fmla="*/ 1405781 w 1405781"/>
                      <a:gd name="connsiteY1" fmla="*/ 446849 h 757400"/>
                      <a:gd name="connsiteX2" fmla="*/ 1405781 w 1405781"/>
                      <a:gd name="connsiteY2" fmla="*/ 196683 h 757400"/>
                      <a:gd name="connsiteX3" fmla="*/ 363710 w 1405781"/>
                      <a:gd name="connsiteY3" fmla="*/ 196683 h 757400"/>
                      <a:gd name="connsiteX4" fmla="*/ 363710 w 1405781"/>
                      <a:gd name="connsiteY4" fmla="*/ 0 h 757400"/>
                      <a:gd name="connsiteX5" fmla="*/ 25554 w 1405781"/>
                      <a:gd name="connsiteY5" fmla="*/ 338156 h 757400"/>
                      <a:gd name="connsiteX6" fmla="*/ 25554 w 1405781"/>
                      <a:gd name="connsiteY6" fmla="*/ 408893 h 757400"/>
                      <a:gd name="connsiteX7" fmla="*/ 360259 w 1405781"/>
                      <a:gd name="connsiteY7" fmla="*/ 757400 h 757400"/>
                      <a:gd name="connsiteX8" fmla="*/ 360259 w 1405781"/>
                      <a:gd name="connsiteY8" fmla="*/ 567619 h 757400"/>
                      <a:gd name="connsiteX0" fmla="*/ 820910 w 1471700"/>
                      <a:gd name="connsiteY0" fmla="*/ 446849 h 757400"/>
                      <a:gd name="connsiteX1" fmla="*/ 1405781 w 1471700"/>
                      <a:gd name="connsiteY1" fmla="*/ 446849 h 757400"/>
                      <a:gd name="connsiteX2" fmla="*/ 1405781 w 1471700"/>
                      <a:gd name="connsiteY2" fmla="*/ 196683 h 757400"/>
                      <a:gd name="connsiteX3" fmla="*/ 363710 w 1471700"/>
                      <a:gd name="connsiteY3" fmla="*/ 196683 h 757400"/>
                      <a:gd name="connsiteX4" fmla="*/ 363710 w 1471700"/>
                      <a:gd name="connsiteY4" fmla="*/ 0 h 757400"/>
                      <a:gd name="connsiteX5" fmla="*/ 25554 w 1471700"/>
                      <a:gd name="connsiteY5" fmla="*/ 338156 h 757400"/>
                      <a:gd name="connsiteX6" fmla="*/ 25554 w 1471700"/>
                      <a:gd name="connsiteY6" fmla="*/ 408893 h 757400"/>
                      <a:gd name="connsiteX7" fmla="*/ 360259 w 1471700"/>
                      <a:gd name="connsiteY7" fmla="*/ 757400 h 757400"/>
                      <a:gd name="connsiteX8" fmla="*/ 360259 w 1471700"/>
                      <a:gd name="connsiteY8" fmla="*/ 567619 h 757400"/>
                      <a:gd name="connsiteX0" fmla="*/ 820910 w 1521657"/>
                      <a:gd name="connsiteY0" fmla="*/ 446849 h 757400"/>
                      <a:gd name="connsiteX1" fmla="*/ 1405781 w 1521657"/>
                      <a:gd name="connsiteY1" fmla="*/ 446849 h 757400"/>
                      <a:gd name="connsiteX2" fmla="*/ 1405781 w 1521657"/>
                      <a:gd name="connsiteY2" fmla="*/ 196683 h 757400"/>
                      <a:gd name="connsiteX3" fmla="*/ 363710 w 1521657"/>
                      <a:gd name="connsiteY3" fmla="*/ 196683 h 757400"/>
                      <a:gd name="connsiteX4" fmla="*/ 363710 w 1521657"/>
                      <a:gd name="connsiteY4" fmla="*/ 0 h 757400"/>
                      <a:gd name="connsiteX5" fmla="*/ 25554 w 1521657"/>
                      <a:gd name="connsiteY5" fmla="*/ 338156 h 757400"/>
                      <a:gd name="connsiteX6" fmla="*/ 25554 w 1521657"/>
                      <a:gd name="connsiteY6" fmla="*/ 408893 h 757400"/>
                      <a:gd name="connsiteX7" fmla="*/ 360259 w 1521657"/>
                      <a:gd name="connsiteY7" fmla="*/ 757400 h 757400"/>
                      <a:gd name="connsiteX8" fmla="*/ 360259 w 1521657"/>
                      <a:gd name="connsiteY8" fmla="*/ 567619 h 7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1657" h="757400">
                        <a:moveTo>
                          <a:pt x="820910" y="446849"/>
                        </a:moveTo>
                        <a:lnTo>
                          <a:pt x="1405781" y="446849"/>
                        </a:lnTo>
                        <a:cubicBezTo>
                          <a:pt x="1566345" y="446464"/>
                          <a:pt x="1554099" y="192986"/>
                          <a:pt x="1405781" y="196683"/>
                        </a:cubicBezTo>
                        <a:cubicBezTo>
                          <a:pt x="1257463" y="200380"/>
                          <a:pt x="711067" y="196683"/>
                          <a:pt x="363710" y="196683"/>
                        </a:cubicBezTo>
                        <a:lnTo>
                          <a:pt x="363710" y="0"/>
                        </a:lnTo>
                        <a:lnTo>
                          <a:pt x="25554" y="338156"/>
                        </a:lnTo>
                        <a:cubicBezTo>
                          <a:pt x="-11185" y="375342"/>
                          <a:pt x="-5743" y="377149"/>
                          <a:pt x="25554" y="408893"/>
                        </a:cubicBezTo>
                        <a:cubicBezTo>
                          <a:pt x="56851" y="440637"/>
                          <a:pt x="248691" y="641231"/>
                          <a:pt x="360259" y="757400"/>
                        </a:cubicBezTo>
                        <a:lnTo>
                          <a:pt x="360259" y="567619"/>
                        </a:lnTo>
                      </a:path>
                    </a:pathLst>
                  </a:custGeom>
                  <a:noFill/>
                  <a:ln w="15875"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 name="Oval 67">
                    <a:extLst>
                      <a:ext uri="{FF2B5EF4-FFF2-40B4-BE49-F238E27FC236}">
                        <a16:creationId xmlns:a16="http://schemas.microsoft.com/office/drawing/2014/main" id="{2F28F7EB-EEC1-44A1-AFDA-B9AAFFEBBB68}"/>
                      </a:ext>
                    </a:extLst>
                  </p:cNvPr>
                  <p:cNvSpPr/>
                  <p:nvPr/>
                </p:nvSpPr>
                <p:spPr bwMode="auto">
                  <a:xfrm flipH="1" flipV="1">
                    <a:off x="1970368" y="1781823"/>
                    <a:ext cx="49053" cy="49053"/>
                  </a:xfrm>
                  <a:prstGeom prst="ellipse">
                    <a:avLst/>
                  </a:prstGeom>
                  <a:solidFill>
                    <a:srgbClr val="FFFFFF"/>
                  </a:solidFill>
                  <a:ln w="12700" cap="flat">
                    <a:solidFill>
                      <a:srgbClr val="FFFFFF"/>
                    </a:solidFill>
                    <a:prstDash val="solid"/>
                  </a:ln>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grpSp>
          <p:nvGrpSpPr>
            <p:cNvPr id="71" name="Group 70">
              <a:extLst>
                <a:ext uri="{FF2B5EF4-FFF2-40B4-BE49-F238E27FC236}">
                  <a16:creationId xmlns:a16="http://schemas.microsoft.com/office/drawing/2014/main" id="{CFD635E1-A41B-4696-BF8E-E6A4F77C10B0}"/>
                </a:ext>
              </a:extLst>
            </p:cNvPr>
            <p:cNvGrpSpPr/>
            <p:nvPr/>
          </p:nvGrpSpPr>
          <p:grpSpPr>
            <a:xfrm>
              <a:off x="3923549" y="1630108"/>
              <a:ext cx="831909" cy="831909"/>
              <a:chOff x="5834330" y="1960889"/>
              <a:chExt cx="769256" cy="769256"/>
            </a:xfrm>
          </p:grpSpPr>
          <p:sp>
            <p:nvSpPr>
              <p:cNvPr id="72" name="Oval 71">
                <a:extLst>
                  <a:ext uri="{FF2B5EF4-FFF2-40B4-BE49-F238E27FC236}">
                    <a16:creationId xmlns:a16="http://schemas.microsoft.com/office/drawing/2014/main" id="{F4D9B216-B14F-40FD-99C1-7B9243F7AA2F}"/>
                  </a:ext>
                </a:extLst>
              </p:cNvPr>
              <p:cNvSpPr/>
              <p:nvPr/>
            </p:nvSpPr>
            <p:spPr bwMode="auto">
              <a:xfrm>
                <a:off x="5834330" y="1960889"/>
                <a:ext cx="769256" cy="76925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73" name="Group 72">
                <a:extLst>
                  <a:ext uri="{FF2B5EF4-FFF2-40B4-BE49-F238E27FC236}">
                    <a16:creationId xmlns:a16="http://schemas.microsoft.com/office/drawing/2014/main" id="{BB3B524A-05B4-4D1D-A498-9B4577BEB714}"/>
                  </a:ext>
                </a:extLst>
              </p:cNvPr>
              <p:cNvGrpSpPr/>
              <p:nvPr/>
            </p:nvGrpSpPr>
            <p:grpSpPr>
              <a:xfrm>
                <a:off x="5953179" y="2077564"/>
                <a:ext cx="531559" cy="535907"/>
                <a:chOff x="5819235" y="-1078967"/>
                <a:chExt cx="739899" cy="745951"/>
              </a:xfrm>
            </p:grpSpPr>
            <p:sp>
              <p:nvSpPr>
                <p:cNvPr id="74" name="Arrow: Up-Down 73">
                  <a:extLst>
                    <a:ext uri="{FF2B5EF4-FFF2-40B4-BE49-F238E27FC236}">
                      <a16:creationId xmlns:a16="http://schemas.microsoft.com/office/drawing/2014/main" id="{9D773FD6-041D-4342-92D3-77C5D9B23731}"/>
                    </a:ext>
                  </a:extLst>
                </p:cNvPr>
                <p:cNvSpPr/>
                <p:nvPr/>
              </p:nvSpPr>
              <p:spPr bwMode="auto">
                <a:xfrm>
                  <a:off x="5924964" y="-1000953"/>
                  <a:ext cx="528441" cy="587159"/>
                </a:xfrm>
                <a:prstGeom prst="upDownArrow">
                  <a:avLst>
                    <a:gd name="adj1" fmla="val 100000"/>
                    <a:gd name="adj2" fmla="val 24391"/>
                  </a:avLst>
                </a:prstGeom>
                <a:noFill/>
                <a:ln w="12700" cap="rnd" cmpd="sng" algn="ctr">
                  <a:solidFill>
                    <a:srgbClr val="FFFFFF"/>
                  </a:solidFill>
                  <a:prstDash val="solid"/>
                  <a:headEnd type="none" w="med" len="med"/>
                  <a:tailEnd type="none" w="med" len="med"/>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5" name="Group 74">
                  <a:extLst>
                    <a:ext uri="{FF2B5EF4-FFF2-40B4-BE49-F238E27FC236}">
                      <a16:creationId xmlns:a16="http://schemas.microsoft.com/office/drawing/2014/main" id="{423AB27A-131E-4AC8-9E6C-45472C1E9A82}"/>
                    </a:ext>
                  </a:extLst>
                </p:cNvPr>
                <p:cNvGrpSpPr/>
                <p:nvPr/>
              </p:nvGrpSpPr>
              <p:grpSpPr>
                <a:xfrm>
                  <a:off x="6075438" y="-1078967"/>
                  <a:ext cx="211409" cy="248650"/>
                  <a:chOff x="3448088" y="4177256"/>
                  <a:chExt cx="1138785" cy="1339387"/>
                </a:xfrm>
                <a:solidFill>
                  <a:srgbClr val="E6E6E6"/>
                </a:solidFill>
              </p:grpSpPr>
              <p:grpSp>
                <p:nvGrpSpPr>
                  <p:cNvPr id="94" name="Group 93">
                    <a:extLst>
                      <a:ext uri="{FF2B5EF4-FFF2-40B4-BE49-F238E27FC236}">
                        <a16:creationId xmlns:a16="http://schemas.microsoft.com/office/drawing/2014/main" id="{7AA61D3F-238C-4138-9514-39CE598FACC2}"/>
                      </a:ext>
                    </a:extLst>
                  </p:cNvPr>
                  <p:cNvGrpSpPr/>
                  <p:nvPr/>
                </p:nvGrpSpPr>
                <p:grpSpPr>
                  <a:xfrm>
                    <a:off x="3448088" y="4177256"/>
                    <a:ext cx="1138785" cy="1339387"/>
                    <a:chOff x="3448088" y="4177256"/>
                    <a:chExt cx="1138785" cy="1339387"/>
                  </a:xfrm>
                  <a:grpFill/>
                </p:grpSpPr>
                <p:sp>
                  <p:nvSpPr>
                    <p:cNvPr id="96" name="Freeform: Shape 95">
                      <a:extLst>
                        <a:ext uri="{FF2B5EF4-FFF2-40B4-BE49-F238E27FC236}">
                          <a16:creationId xmlns:a16="http://schemas.microsoft.com/office/drawing/2014/main" id="{03F807FD-3D5D-483E-A97C-2B928187F696}"/>
                        </a:ext>
                      </a:extLst>
                    </p:cNvPr>
                    <p:cNvSpPr/>
                    <p:nvPr/>
                  </p:nvSpPr>
                  <p:spPr bwMode="auto">
                    <a:xfrm>
                      <a:off x="3448088" y="4177256"/>
                      <a:ext cx="1138785" cy="1339387"/>
                    </a:xfrm>
                    <a:custGeom>
                      <a:avLst/>
                      <a:gdLst>
                        <a:gd name="connsiteX0" fmla="*/ 140153 w 293914"/>
                        <a:gd name="connsiteY0" fmla="*/ 0 h 336097"/>
                        <a:gd name="connsiteX1" fmla="*/ 0 w 293914"/>
                        <a:gd name="connsiteY1" fmla="*/ 84364 h 336097"/>
                        <a:gd name="connsiteX2" fmla="*/ 0 w 293914"/>
                        <a:gd name="connsiteY2" fmla="*/ 232682 h 336097"/>
                        <a:gd name="connsiteX3" fmla="*/ 141514 w 293914"/>
                        <a:gd name="connsiteY3" fmla="*/ 336097 h 336097"/>
                        <a:gd name="connsiteX4" fmla="*/ 293914 w 293914"/>
                        <a:gd name="connsiteY4" fmla="*/ 231322 h 336097"/>
                        <a:gd name="connsiteX5" fmla="*/ 278946 w 293914"/>
                        <a:gd name="connsiteY5" fmla="*/ 77561 h 336097"/>
                        <a:gd name="connsiteX6" fmla="*/ 140153 w 293914"/>
                        <a:gd name="connsiteY6" fmla="*/ 0 h 336097"/>
                        <a:gd name="connsiteX0" fmla="*/ 140153 w 284389"/>
                        <a:gd name="connsiteY0" fmla="*/ 0 h 336097"/>
                        <a:gd name="connsiteX1" fmla="*/ 0 w 284389"/>
                        <a:gd name="connsiteY1" fmla="*/ 84364 h 336097"/>
                        <a:gd name="connsiteX2" fmla="*/ 0 w 284389"/>
                        <a:gd name="connsiteY2" fmla="*/ 232682 h 336097"/>
                        <a:gd name="connsiteX3" fmla="*/ 141514 w 284389"/>
                        <a:gd name="connsiteY3" fmla="*/ 336097 h 336097"/>
                        <a:gd name="connsiteX4" fmla="*/ 284389 w 284389"/>
                        <a:gd name="connsiteY4" fmla="*/ 228601 h 336097"/>
                        <a:gd name="connsiteX5" fmla="*/ 278946 w 284389"/>
                        <a:gd name="connsiteY5" fmla="*/ 77561 h 336097"/>
                        <a:gd name="connsiteX6" fmla="*/ 140153 w 284389"/>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4389 w 287111"/>
                        <a:gd name="connsiteY4" fmla="*/ 228601 h 336097"/>
                        <a:gd name="connsiteX5" fmla="*/ 287111 w 287111"/>
                        <a:gd name="connsiteY5" fmla="*/ 88447 h 336097"/>
                        <a:gd name="connsiteX6" fmla="*/ 140153 w 287111"/>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6467 w 287111"/>
                        <a:gd name="connsiteY4" fmla="*/ 235529 h 336097"/>
                        <a:gd name="connsiteX5" fmla="*/ 287111 w 287111"/>
                        <a:gd name="connsiteY5" fmla="*/ 88447 h 336097"/>
                        <a:gd name="connsiteX6" fmla="*/ 140153 w 287111"/>
                        <a:gd name="connsiteY6" fmla="*/ 0 h 336097"/>
                        <a:gd name="connsiteX0" fmla="*/ 140153 w 286690"/>
                        <a:gd name="connsiteY0" fmla="*/ 0 h 336097"/>
                        <a:gd name="connsiteX1" fmla="*/ 0 w 286690"/>
                        <a:gd name="connsiteY1" fmla="*/ 84364 h 336097"/>
                        <a:gd name="connsiteX2" fmla="*/ 0 w 286690"/>
                        <a:gd name="connsiteY2" fmla="*/ 232682 h 336097"/>
                        <a:gd name="connsiteX3" fmla="*/ 141514 w 286690"/>
                        <a:gd name="connsiteY3" fmla="*/ 336097 h 336097"/>
                        <a:gd name="connsiteX4" fmla="*/ 286467 w 286690"/>
                        <a:gd name="connsiteY4" fmla="*/ 235529 h 336097"/>
                        <a:gd name="connsiteX5" fmla="*/ 286072 w 286690"/>
                        <a:gd name="connsiteY5" fmla="*/ 83251 h 336097"/>
                        <a:gd name="connsiteX6" fmla="*/ 140153 w 286690"/>
                        <a:gd name="connsiteY6" fmla="*/ 0 h 336097"/>
                        <a:gd name="connsiteX0" fmla="*/ 142924 w 289461"/>
                        <a:gd name="connsiteY0" fmla="*/ 0 h 336097"/>
                        <a:gd name="connsiteX1" fmla="*/ 2771 w 289461"/>
                        <a:gd name="connsiteY1" fmla="*/ 84364 h 336097"/>
                        <a:gd name="connsiteX2" fmla="*/ 0 w 289461"/>
                        <a:gd name="connsiteY2" fmla="*/ 230604 h 336097"/>
                        <a:gd name="connsiteX3" fmla="*/ 144285 w 289461"/>
                        <a:gd name="connsiteY3" fmla="*/ 336097 h 336097"/>
                        <a:gd name="connsiteX4" fmla="*/ 289238 w 289461"/>
                        <a:gd name="connsiteY4" fmla="*/ 235529 h 336097"/>
                        <a:gd name="connsiteX5" fmla="*/ 288843 w 289461"/>
                        <a:gd name="connsiteY5" fmla="*/ 83251 h 336097"/>
                        <a:gd name="connsiteX6" fmla="*/ 142924 w 289461"/>
                        <a:gd name="connsiteY6" fmla="*/ 0 h 336097"/>
                        <a:gd name="connsiteX0" fmla="*/ 144147 w 290684"/>
                        <a:gd name="connsiteY0" fmla="*/ 0 h 336097"/>
                        <a:gd name="connsiteX1" fmla="*/ 184 w 290684"/>
                        <a:gd name="connsiteY1" fmla="*/ 83325 h 336097"/>
                        <a:gd name="connsiteX2" fmla="*/ 1223 w 290684"/>
                        <a:gd name="connsiteY2" fmla="*/ 230604 h 336097"/>
                        <a:gd name="connsiteX3" fmla="*/ 145508 w 290684"/>
                        <a:gd name="connsiteY3" fmla="*/ 336097 h 336097"/>
                        <a:gd name="connsiteX4" fmla="*/ 290461 w 290684"/>
                        <a:gd name="connsiteY4" fmla="*/ 235529 h 336097"/>
                        <a:gd name="connsiteX5" fmla="*/ 290066 w 290684"/>
                        <a:gd name="connsiteY5" fmla="*/ 83251 h 336097"/>
                        <a:gd name="connsiteX6" fmla="*/ 144147 w 290684"/>
                        <a:gd name="connsiteY6" fmla="*/ 0 h 336097"/>
                        <a:gd name="connsiteX0" fmla="*/ 145186 w 290684"/>
                        <a:gd name="connsiteY0" fmla="*/ 0 h 342332"/>
                        <a:gd name="connsiteX1" fmla="*/ 184 w 290684"/>
                        <a:gd name="connsiteY1" fmla="*/ 89560 h 342332"/>
                        <a:gd name="connsiteX2" fmla="*/ 1223 w 290684"/>
                        <a:gd name="connsiteY2" fmla="*/ 236839 h 342332"/>
                        <a:gd name="connsiteX3" fmla="*/ 145508 w 290684"/>
                        <a:gd name="connsiteY3" fmla="*/ 342332 h 342332"/>
                        <a:gd name="connsiteX4" fmla="*/ 290461 w 290684"/>
                        <a:gd name="connsiteY4" fmla="*/ 241764 h 342332"/>
                        <a:gd name="connsiteX5" fmla="*/ 290066 w 290684"/>
                        <a:gd name="connsiteY5" fmla="*/ 89486 h 342332"/>
                        <a:gd name="connsiteX6" fmla="*/ 145186 w 290684"/>
                        <a:gd name="connsiteY6" fmla="*/ 0 h 342332"/>
                        <a:gd name="connsiteX0" fmla="*/ 143963 w 289461"/>
                        <a:gd name="connsiteY0" fmla="*/ 0 h 342332"/>
                        <a:gd name="connsiteX1" fmla="*/ 1039 w 289461"/>
                        <a:gd name="connsiteY1" fmla="*/ 89560 h 342332"/>
                        <a:gd name="connsiteX2" fmla="*/ 0 w 289461"/>
                        <a:gd name="connsiteY2" fmla="*/ 236839 h 342332"/>
                        <a:gd name="connsiteX3" fmla="*/ 144285 w 289461"/>
                        <a:gd name="connsiteY3" fmla="*/ 342332 h 342332"/>
                        <a:gd name="connsiteX4" fmla="*/ 289238 w 289461"/>
                        <a:gd name="connsiteY4" fmla="*/ 241764 h 342332"/>
                        <a:gd name="connsiteX5" fmla="*/ 288843 w 289461"/>
                        <a:gd name="connsiteY5" fmla="*/ 89486 h 342332"/>
                        <a:gd name="connsiteX6" fmla="*/ 143963 w 289461"/>
                        <a:gd name="connsiteY6" fmla="*/ 0 h 342332"/>
                        <a:gd name="connsiteX0" fmla="*/ 143092 w 288590"/>
                        <a:gd name="connsiteY0" fmla="*/ 0 h 342332"/>
                        <a:gd name="connsiteX1" fmla="*/ 168 w 288590"/>
                        <a:gd name="connsiteY1" fmla="*/ 89560 h 342332"/>
                        <a:gd name="connsiteX2" fmla="*/ 1554 w 288590"/>
                        <a:gd name="connsiteY2" fmla="*/ 234414 h 342332"/>
                        <a:gd name="connsiteX3" fmla="*/ 143414 w 288590"/>
                        <a:gd name="connsiteY3" fmla="*/ 342332 h 342332"/>
                        <a:gd name="connsiteX4" fmla="*/ 288367 w 288590"/>
                        <a:gd name="connsiteY4" fmla="*/ 241764 h 342332"/>
                        <a:gd name="connsiteX5" fmla="*/ 287972 w 288590"/>
                        <a:gd name="connsiteY5" fmla="*/ 89486 h 342332"/>
                        <a:gd name="connsiteX6" fmla="*/ 143092 w 288590"/>
                        <a:gd name="connsiteY6" fmla="*/ 0 h 342332"/>
                        <a:gd name="connsiteX0" fmla="*/ 145002 w 290500"/>
                        <a:gd name="connsiteY0" fmla="*/ 0 h 342332"/>
                        <a:gd name="connsiteX1" fmla="*/ 2078 w 290500"/>
                        <a:gd name="connsiteY1" fmla="*/ 89560 h 342332"/>
                        <a:gd name="connsiteX2" fmla="*/ 0 w 290500"/>
                        <a:gd name="connsiteY2" fmla="*/ 234067 h 342332"/>
                        <a:gd name="connsiteX3" fmla="*/ 145324 w 290500"/>
                        <a:gd name="connsiteY3" fmla="*/ 342332 h 342332"/>
                        <a:gd name="connsiteX4" fmla="*/ 290277 w 290500"/>
                        <a:gd name="connsiteY4" fmla="*/ 241764 h 342332"/>
                        <a:gd name="connsiteX5" fmla="*/ 289882 w 290500"/>
                        <a:gd name="connsiteY5" fmla="*/ 89486 h 342332"/>
                        <a:gd name="connsiteX6" fmla="*/ 145002 w 290500"/>
                        <a:gd name="connsiteY6" fmla="*/ 0 h 342332"/>
                        <a:gd name="connsiteX0" fmla="*/ 145002 w 290500"/>
                        <a:gd name="connsiteY0" fmla="*/ 0 h 337829"/>
                        <a:gd name="connsiteX1" fmla="*/ 2078 w 290500"/>
                        <a:gd name="connsiteY1" fmla="*/ 89560 h 337829"/>
                        <a:gd name="connsiteX2" fmla="*/ 0 w 290500"/>
                        <a:gd name="connsiteY2" fmla="*/ 234067 h 337829"/>
                        <a:gd name="connsiteX3" fmla="*/ 145324 w 290500"/>
                        <a:gd name="connsiteY3" fmla="*/ 337829 h 337829"/>
                        <a:gd name="connsiteX4" fmla="*/ 290277 w 290500"/>
                        <a:gd name="connsiteY4" fmla="*/ 241764 h 337829"/>
                        <a:gd name="connsiteX5" fmla="*/ 289882 w 290500"/>
                        <a:gd name="connsiteY5" fmla="*/ 89486 h 337829"/>
                        <a:gd name="connsiteX6" fmla="*/ 145002 w 290500"/>
                        <a:gd name="connsiteY6" fmla="*/ 0 h 337829"/>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764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6813 w 289882"/>
                        <a:gd name="connsiteY4" fmla="*/ 242457 h 340946"/>
                        <a:gd name="connsiteX5" fmla="*/ 289882 w 289882"/>
                        <a:gd name="connsiteY5" fmla="*/ 89486 h 340946"/>
                        <a:gd name="connsiteX6" fmla="*/ 145002 w 289882"/>
                        <a:gd name="connsiteY6" fmla="*/ 0 h 340946"/>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418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9238 w 289882"/>
                        <a:gd name="connsiteY4" fmla="*/ 239686 h 340946"/>
                        <a:gd name="connsiteX5" fmla="*/ 289882 w 289882"/>
                        <a:gd name="connsiteY5" fmla="*/ 89486 h 340946"/>
                        <a:gd name="connsiteX6" fmla="*/ 145002 w 289882"/>
                        <a:gd name="connsiteY6" fmla="*/ 0 h 340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882" h="340946">
                          <a:moveTo>
                            <a:pt x="145002" y="0"/>
                          </a:moveTo>
                          <a:lnTo>
                            <a:pt x="2078" y="89560"/>
                          </a:lnTo>
                          <a:cubicBezTo>
                            <a:pt x="1154" y="138307"/>
                            <a:pt x="924" y="185320"/>
                            <a:pt x="0" y="234067"/>
                          </a:cubicBezTo>
                          <a:lnTo>
                            <a:pt x="145670" y="340946"/>
                          </a:lnTo>
                          <a:lnTo>
                            <a:pt x="289238" y="239686"/>
                          </a:lnTo>
                          <a:cubicBezTo>
                            <a:pt x="290145" y="192968"/>
                            <a:pt x="288975" y="136204"/>
                            <a:pt x="289882" y="89486"/>
                          </a:cubicBezTo>
                          <a:lnTo>
                            <a:pt x="145002" y="0"/>
                          </a:lnTo>
                          <a:close/>
                        </a:path>
                      </a:pathLst>
                    </a:custGeom>
                    <a:solidFill>
                      <a:srgbClr val="0078D7"/>
                    </a:solidFill>
                    <a:ln w="12700" cap="rnd" cmpd="sng" algn="ctr">
                      <a:solidFill>
                        <a:srgbClr val="FFFFFF"/>
                      </a:solidFill>
                      <a:prstDash val="solid"/>
                      <a:headEnd type="none" w="med" len="med"/>
                      <a:tailEnd type="none" w="med" len="med"/>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a:ea typeface="+mn-ea"/>
                        <a:cs typeface="+mn-cs"/>
                      </a:endParaRPr>
                    </a:p>
                  </p:txBody>
                </p:sp>
                <p:cxnSp>
                  <p:nvCxnSpPr>
                    <p:cNvPr id="97" name="Straight Connector 96">
                      <a:extLst>
                        <a:ext uri="{FF2B5EF4-FFF2-40B4-BE49-F238E27FC236}">
                          <a16:creationId xmlns:a16="http://schemas.microsoft.com/office/drawing/2014/main" id="{1F09A0D9-314C-4EDA-B441-082D4876849E}"/>
                        </a:ext>
                      </a:extLst>
                    </p:cNvPr>
                    <p:cNvCxnSpPr>
                      <a:cxnSpLocks/>
                    </p:cNvCxnSpPr>
                    <p:nvPr/>
                  </p:nvCxnSpPr>
                  <p:spPr>
                    <a:xfrm flipV="1">
                      <a:off x="4019187" y="4532301"/>
                      <a:ext cx="563116" cy="421997"/>
                    </a:xfrm>
                    <a:prstGeom prst="line">
                      <a:avLst/>
                    </a:prstGeom>
                    <a:grpFill/>
                    <a:ln w="12700" cap="rnd" cmpd="sng" algn="ctr">
                      <a:solidFill>
                        <a:srgbClr val="FFFFFF"/>
                      </a:solidFill>
                      <a:prstDash val="solid"/>
                      <a:headEnd type="none" w="med" len="med"/>
                      <a:tailEnd type="none" w="med" len="med"/>
                    </a:ln>
                    <a:effectLst/>
                  </p:spPr>
                </p:cxnSp>
                <p:cxnSp>
                  <p:nvCxnSpPr>
                    <p:cNvPr id="98" name="Straight Connector 97">
                      <a:extLst>
                        <a:ext uri="{FF2B5EF4-FFF2-40B4-BE49-F238E27FC236}">
                          <a16:creationId xmlns:a16="http://schemas.microsoft.com/office/drawing/2014/main" id="{EF50821D-8D9F-4489-88DB-ED0DFFFEC706}"/>
                        </a:ext>
                      </a:extLst>
                    </p:cNvPr>
                    <p:cNvCxnSpPr>
                      <a:cxnSpLocks/>
                    </p:cNvCxnSpPr>
                    <p:nvPr/>
                  </p:nvCxnSpPr>
                  <p:spPr>
                    <a:xfrm flipH="1" flipV="1">
                      <a:off x="3454309" y="4532300"/>
                      <a:ext cx="563116" cy="421997"/>
                    </a:xfrm>
                    <a:prstGeom prst="line">
                      <a:avLst/>
                    </a:prstGeom>
                    <a:grpFill/>
                    <a:ln w="12700" cap="rnd" cmpd="sng" algn="ctr">
                      <a:solidFill>
                        <a:srgbClr val="FFFFFF"/>
                      </a:solidFill>
                      <a:prstDash val="solid"/>
                      <a:headEnd type="none" w="med" len="med"/>
                      <a:tailEnd type="none" w="med" len="med"/>
                    </a:ln>
                    <a:effectLst/>
                  </p:spPr>
                </p:cxnSp>
              </p:grpSp>
              <p:cxnSp>
                <p:nvCxnSpPr>
                  <p:cNvPr id="95" name="Straight Connector 94">
                    <a:extLst>
                      <a:ext uri="{FF2B5EF4-FFF2-40B4-BE49-F238E27FC236}">
                        <a16:creationId xmlns:a16="http://schemas.microsoft.com/office/drawing/2014/main" id="{9CB43CC6-F955-49FC-8D15-6F48395D62B4}"/>
                      </a:ext>
                    </a:extLst>
                  </p:cNvPr>
                  <p:cNvCxnSpPr>
                    <a:cxnSpLocks/>
                    <a:endCxn id="96" idx="3"/>
                  </p:cNvCxnSpPr>
                  <p:nvPr/>
                </p:nvCxnSpPr>
                <p:spPr>
                  <a:xfrm flipH="1">
                    <a:off x="4020344" y="4956376"/>
                    <a:ext cx="682" cy="560267"/>
                  </a:xfrm>
                  <a:prstGeom prst="line">
                    <a:avLst/>
                  </a:prstGeom>
                  <a:grpFill/>
                  <a:ln w="12700" cap="rnd" cmpd="sng" algn="ctr">
                    <a:solidFill>
                      <a:srgbClr val="FFFFFF"/>
                    </a:solidFill>
                    <a:prstDash val="solid"/>
                    <a:headEnd type="none" w="med" len="med"/>
                    <a:tailEnd type="none" w="med" len="med"/>
                  </a:ln>
                  <a:effectLst/>
                </p:spPr>
              </p:cxnSp>
            </p:grpSp>
            <p:grpSp>
              <p:nvGrpSpPr>
                <p:cNvPr id="76" name="Group 75">
                  <a:extLst>
                    <a:ext uri="{FF2B5EF4-FFF2-40B4-BE49-F238E27FC236}">
                      <a16:creationId xmlns:a16="http://schemas.microsoft.com/office/drawing/2014/main" id="{4D64D9DB-6198-4FEE-A969-80E57FFB11BF}"/>
                    </a:ext>
                  </a:extLst>
                </p:cNvPr>
                <p:cNvGrpSpPr/>
                <p:nvPr/>
              </p:nvGrpSpPr>
              <p:grpSpPr>
                <a:xfrm>
                  <a:off x="6347725" y="-830317"/>
                  <a:ext cx="211409" cy="248650"/>
                  <a:chOff x="3448088" y="4177256"/>
                  <a:chExt cx="1138785" cy="1339387"/>
                </a:xfrm>
                <a:solidFill>
                  <a:srgbClr val="E6E6E6"/>
                </a:solidFill>
              </p:grpSpPr>
              <p:grpSp>
                <p:nvGrpSpPr>
                  <p:cNvPr id="89" name="Group 88">
                    <a:extLst>
                      <a:ext uri="{FF2B5EF4-FFF2-40B4-BE49-F238E27FC236}">
                        <a16:creationId xmlns:a16="http://schemas.microsoft.com/office/drawing/2014/main" id="{B391CAA9-F336-40E8-A4AA-21C2EF1F26DF}"/>
                      </a:ext>
                    </a:extLst>
                  </p:cNvPr>
                  <p:cNvGrpSpPr/>
                  <p:nvPr/>
                </p:nvGrpSpPr>
                <p:grpSpPr>
                  <a:xfrm>
                    <a:off x="3448088" y="4177256"/>
                    <a:ext cx="1138785" cy="1339387"/>
                    <a:chOff x="3448088" y="4177256"/>
                    <a:chExt cx="1138785" cy="1339387"/>
                  </a:xfrm>
                  <a:grpFill/>
                </p:grpSpPr>
                <p:sp>
                  <p:nvSpPr>
                    <p:cNvPr id="91" name="Freeform: Shape 90">
                      <a:extLst>
                        <a:ext uri="{FF2B5EF4-FFF2-40B4-BE49-F238E27FC236}">
                          <a16:creationId xmlns:a16="http://schemas.microsoft.com/office/drawing/2014/main" id="{8822B155-4468-4E3F-9F24-22F5CB321B08}"/>
                        </a:ext>
                      </a:extLst>
                    </p:cNvPr>
                    <p:cNvSpPr/>
                    <p:nvPr/>
                  </p:nvSpPr>
                  <p:spPr bwMode="auto">
                    <a:xfrm>
                      <a:off x="3448088" y="4177256"/>
                      <a:ext cx="1138785" cy="1339387"/>
                    </a:xfrm>
                    <a:custGeom>
                      <a:avLst/>
                      <a:gdLst>
                        <a:gd name="connsiteX0" fmla="*/ 140153 w 293914"/>
                        <a:gd name="connsiteY0" fmla="*/ 0 h 336097"/>
                        <a:gd name="connsiteX1" fmla="*/ 0 w 293914"/>
                        <a:gd name="connsiteY1" fmla="*/ 84364 h 336097"/>
                        <a:gd name="connsiteX2" fmla="*/ 0 w 293914"/>
                        <a:gd name="connsiteY2" fmla="*/ 232682 h 336097"/>
                        <a:gd name="connsiteX3" fmla="*/ 141514 w 293914"/>
                        <a:gd name="connsiteY3" fmla="*/ 336097 h 336097"/>
                        <a:gd name="connsiteX4" fmla="*/ 293914 w 293914"/>
                        <a:gd name="connsiteY4" fmla="*/ 231322 h 336097"/>
                        <a:gd name="connsiteX5" fmla="*/ 278946 w 293914"/>
                        <a:gd name="connsiteY5" fmla="*/ 77561 h 336097"/>
                        <a:gd name="connsiteX6" fmla="*/ 140153 w 293914"/>
                        <a:gd name="connsiteY6" fmla="*/ 0 h 336097"/>
                        <a:gd name="connsiteX0" fmla="*/ 140153 w 284389"/>
                        <a:gd name="connsiteY0" fmla="*/ 0 h 336097"/>
                        <a:gd name="connsiteX1" fmla="*/ 0 w 284389"/>
                        <a:gd name="connsiteY1" fmla="*/ 84364 h 336097"/>
                        <a:gd name="connsiteX2" fmla="*/ 0 w 284389"/>
                        <a:gd name="connsiteY2" fmla="*/ 232682 h 336097"/>
                        <a:gd name="connsiteX3" fmla="*/ 141514 w 284389"/>
                        <a:gd name="connsiteY3" fmla="*/ 336097 h 336097"/>
                        <a:gd name="connsiteX4" fmla="*/ 284389 w 284389"/>
                        <a:gd name="connsiteY4" fmla="*/ 228601 h 336097"/>
                        <a:gd name="connsiteX5" fmla="*/ 278946 w 284389"/>
                        <a:gd name="connsiteY5" fmla="*/ 77561 h 336097"/>
                        <a:gd name="connsiteX6" fmla="*/ 140153 w 284389"/>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4389 w 287111"/>
                        <a:gd name="connsiteY4" fmla="*/ 228601 h 336097"/>
                        <a:gd name="connsiteX5" fmla="*/ 287111 w 287111"/>
                        <a:gd name="connsiteY5" fmla="*/ 88447 h 336097"/>
                        <a:gd name="connsiteX6" fmla="*/ 140153 w 287111"/>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6467 w 287111"/>
                        <a:gd name="connsiteY4" fmla="*/ 235529 h 336097"/>
                        <a:gd name="connsiteX5" fmla="*/ 287111 w 287111"/>
                        <a:gd name="connsiteY5" fmla="*/ 88447 h 336097"/>
                        <a:gd name="connsiteX6" fmla="*/ 140153 w 287111"/>
                        <a:gd name="connsiteY6" fmla="*/ 0 h 336097"/>
                        <a:gd name="connsiteX0" fmla="*/ 140153 w 286690"/>
                        <a:gd name="connsiteY0" fmla="*/ 0 h 336097"/>
                        <a:gd name="connsiteX1" fmla="*/ 0 w 286690"/>
                        <a:gd name="connsiteY1" fmla="*/ 84364 h 336097"/>
                        <a:gd name="connsiteX2" fmla="*/ 0 w 286690"/>
                        <a:gd name="connsiteY2" fmla="*/ 232682 h 336097"/>
                        <a:gd name="connsiteX3" fmla="*/ 141514 w 286690"/>
                        <a:gd name="connsiteY3" fmla="*/ 336097 h 336097"/>
                        <a:gd name="connsiteX4" fmla="*/ 286467 w 286690"/>
                        <a:gd name="connsiteY4" fmla="*/ 235529 h 336097"/>
                        <a:gd name="connsiteX5" fmla="*/ 286072 w 286690"/>
                        <a:gd name="connsiteY5" fmla="*/ 83251 h 336097"/>
                        <a:gd name="connsiteX6" fmla="*/ 140153 w 286690"/>
                        <a:gd name="connsiteY6" fmla="*/ 0 h 336097"/>
                        <a:gd name="connsiteX0" fmla="*/ 142924 w 289461"/>
                        <a:gd name="connsiteY0" fmla="*/ 0 h 336097"/>
                        <a:gd name="connsiteX1" fmla="*/ 2771 w 289461"/>
                        <a:gd name="connsiteY1" fmla="*/ 84364 h 336097"/>
                        <a:gd name="connsiteX2" fmla="*/ 0 w 289461"/>
                        <a:gd name="connsiteY2" fmla="*/ 230604 h 336097"/>
                        <a:gd name="connsiteX3" fmla="*/ 144285 w 289461"/>
                        <a:gd name="connsiteY3" fmla="*/ 336097 h 336097"/>
                        <a:gd name="connsiteX4" fmla="*/ 289238 w 289461"/>
                        <a:gd name="connsiteY4" fmla="*/ 235529 h 336097"/>
                        <a:gd name="connsiteX5" fmla="*/ 288843 w 289461"/>
                        <a:gd name="connsiteY5" fmla="*/ 83251 h 336097"/>
                        <a:gd name="connsiteX6" fmla="*/ 142924 w 289461"/>
                        <a:gd name="connsiteY6" fmla="*/ 0 h 336097"/>
                        <a:gd name="connsiteX0" fmla="*/ 144147 w 290684"/>
                        <a:gd name="connsiteY0" fmla="*/ 0 h 336097"/>
                        <a:gd name="connsiteX1" fmla="*/ 184 w 290684"/>
                        <a:gd name="connsiteY1" fmla="*/ 83325 h 336097"/>
                        <a:gd name="connsiteX2" fmla="*/ 1223 w 290684"/>
                        <a:gd name="connsiteY2" fmla="*/ 230604 h 336097"/>
                        <a:gd name="connsiteX3" fmla="*/ 145508 w 290684"/>
                        <a:gd name="connsiteY3" fmla="*/ 336097 h 336097"/>
                        <a:gd name="connsiteX4" fmla="*/ 290461 w 290684"/>
                        <a:gd name="connsiteY4" fmla="*/ 235529 h 336097"/>
                        <a:gd name="connsiteX5" fmla="*/ 290066 w 290684"/>
                        <a:gd name="connsiteY5" fmla="*/ 83251 h 336097"/>
                        <a:gd name="connsiteX6" fmla="*/ 144147 w 290684"/>
                        <a:gd name="connsiteY6" fmla="*/ 0 h 336097"/>
                        <a:gd name="connsiteX0" fmla="*/ 145186 w 290684"/>
                        <a:gd name="connsiteY0" fmla="*/ 0 h 342332"/>
                        <a:gd name="connsiteX1" fmla="*/ 184 w 290684"/>
                        <a:gd name="connsiteY1" fmla="*/ 89560 h 342332"/>
                        <a:gd name="connsiteX2" fmla="*/ 1223 w 290684"/>
                        <a:gd name="connsiteY2" fmla="*/ 236839 h 342332"/>
                        <a:gd name="connsiteX3" fmla="*/ 145508 w 290684"/>
                        <a:gd name="connsiteY3" fmla="*/ 342332 h 342332"/>
                        <a:gd name="connsiteX4" fmla="*/ 290461 w 290684"/>
                        <a:gd name="connsiteY4" fmla="*/ 241764 h 342332"/>
                        <a:gd name="connsiteX5" fmla="*/ 290066 w 290684"/>
                        <a:gd name="connsiteY5" fmla="*/ 89486 h 342332"/>
                        <a:gd name="connsiteX6" fmla="*/ 145186 w 290684"/>
                        <a:gd name="connsiteY6" fmla="*/ 0 h 342332"/>
                        <a:gd name="connsiteX0" fmla="*/ 143963 w 289461"/>
                        <a:gd name="connsiteY0" fmla="*/ 0 h 342332"/>
                        <a:gd name="connsiteX1" fmla="*/ 1039 w 289461"/>
                        <a:gd name="connsiteY1" fmla="*/ 89560 h 342332"/>
                        <a:gd name="connsiteX2" fmla="*/ 0 w 289461"/>
                        <a:gd name="connsiteY2" fmla="*/ 236839 h 342332"/>
                        <a:gd name="connsiteX3" fmla="*/ 144285 w 289461"/>
                        <a:gd name="connsiteY3" fmla="*/ 342332 h 342332"/>
                        <a:gd name="connsiteX4" fmla="*/ 289238 w 289461"/>
                        <a:gd name="connsiteY4" fmla="*/ 241764 h 342332"/>
                        <a:gd name="connsiteX5" fmla="*/ 288843 w 289461"/>
                        <a:gd name="connsiteY5" fmla="*/ 89486 h 342332"/>
                        <a:gd name="connsiteX6" fmla="*/ 143963 w 289461"/>
                        <a:gd name="connsiteY6" fmla="*/ 0 h 342332"/>
                        <a:gd name="connsiteX0" fmla="*/ 143092 w 288590"/>
                        <a:gd name="connsiteY0" fmla="*/ 0 h 342332"/>
                        <a:gd name="connsiteX1" fmla="*/ 168 w 288590"/>
                        <a:gd name="connsiteY1" fmla="*/ 89560 h 342332"/>
                        <a:gd name="connsiteX2" fmla="*/ 1554 w 288590"/>
                        <a:gd name="connsiteY2" fmla="*/ 234414 h 342332"/>
                        <a:gd name="connsiteX3" fmla="*/ 143414 w 288590"/>
                        <a:gd name="connsiteY3" fmla="*/ 342332 h 342332"/>
                        <a:gd name="connsiteX4" fmla="*/ 288367 w 288590"/>
                        <a:gd name="connsiteY4" fmla="*/ 241764 h 342332"/>
                        <a:gd name="connsiteX5" fmla="*/ 287972 w 288590"/>
                        <a:gd name="connsiteY5" fmla="*/ 89486 h 342332"/>
                        <a:gd name="connsiteX6" fmla="*/ 143092 w 288590"/>
                        <a:gd name="connsiteY6" fmla="*/ 0 h 342332"/>
                        <a:gd name="connsiteX0" fmla="*/ 145002 w 290500"/>
                        <a:gd name="connsiteY0" fmla="*/ 0 h 342332"/>
                        <a:gd name="connsiteX1" fmla="*/ 2078 w 290500"/>
                        <a:gd name="connsiteY1" fmla="*/ 89560 h 342332"/>
                        <a:gd name="connsiteX2" fmla="*/ 0 w 290500"/>
                        <a:gd name="connsiteY2" fmla="*/ 234067 h 342332"/>
                        <a:gd name="connsiteX3" fmla="*/ 145324 w 290500"/>
                        <a:gd name="connsiteY3" fmla="*/ 342332 h 342332"/>
                        <a:gd name="connsiteX4" fmla="*/ 290277 w 290500"/>
                        <a:gd name="connsiteY4" fmla="*/ 241764 h 342332"/>
                        <a:gd name="connsiteX5" fmla="*/ 289882 w 290500"/>
                        <a:gd name="connsiteY5" fmla="*/ 89486 h 342332"/>
                        <a:gd name="connsiteX6" fmla="*/ 145002 w 290500"/>
                        <a:gd name="connsiteY6" fmla="*/ 0 h 342332"/>
                        <a:gd name="connsiteX0" fmla="*/ 145002 w 290500"/>
                        <a:gd name="connsiteY0" fmla="*/ 0 h 337829"/>
                        <a:gd name="connsiteX1" fmla="*/ 2078 w 290500"/>
                        <a:gd name="connsiteY1" fmla="*/ 89560 h 337829"/>
                        <a:gd name="connsiteX2" fmla="*/ 0 w 290500"/>
                        <a:gd name="connsiteY2" fmla="*/ 234067 h 337829"/>
                        <a:gd name="connsiteX3" fmla="*/ 145324 w 290500"/>
                        <a:gd name="connsiteY3" fmla="*/ 337829 h 337829"/>
                        <a:gd name="connsiteX4" fmla="*/ 290277 w 290500"/>
                        <a:gd name="connsiteY4" fmla="*/ 241764 h 337829"/>
                        <a:gd name="connsiteX5" fmla="*/ 289882 w 290500"/>
                        <a:gd name="connsiteY5" fmla="*/ 89486 h 337829"/>
                        <a:gd name="connsiteX6" fmla="*/ 145002 w 290500"/>
                        <a:gd name="connsiteY6" fmla="*/ 0 h 337829"/>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764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6813 w 289882"/>
                        <a:gd name="connsiteY4" fmla="*/ 242457 h 340946"/>
                        <a:gd name="connsiteX5" fmla="*/ 289882 w 289882"/>
                        <a:gd name="connsiteY5" fmla="*/ 89486 h 340946"/>
                        <a:gd name="connsiteX6" fmla="*/ 145002 w 289882"/>
                        <a:gd name="connsiteY6" fmla="*/ 0 h 340946"/>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418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9238 w 289882"/>
                        <a:gd name="connsiteY4" fmla="*/ 239686 h 340946"/>
                        <a:gd name="connsiteX5" fmla="*/ 289882 w 289882"/>
                        <a:gd name="connsiteY5" fmla="*/ 89486 h 340946"/>
                        <a:gd name="connsiteX6" fmla="*/ 145002 w 289882"/>
                        <a:gd name="connsiteY6" fmla="*/ 0 h 340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882" h="340946">
                          <a:moveTo>
                            <a:pt x="145002" y="0"/>
                          </a:moveTo>
                          <a:lnTo>
                            <a:pt x="2078" y="89560"/>
                          </a:lnTo>
                          <a:cubicBezTo>
                            <a:pt x="1154" y="138307"/>
                            <a:pt x="924" y="185320"/>
                            <a:pt x="0" y="234067"/>
                          </a:cubicBezTo>
                          <a:lnTo>
                            <a:pt x="145670" y="340946"/>
                          </a:lnTo>
                          <a:lnTo>
                            <a:pt x="289238" y="239686"/>
                          </a:lnTo>
                          <a:cubicBezTo>
                            <a:pt x="290145" y="192968"/>
                            <a:pt x="288975" y="136204"/>
                            <a:pt x="289882" y="89486"/>
                          </a:cubicBezTo>
                          <a:lnTo>
                            <a:pt x="145002" y="0"/>
                          </a:lnTo>
                          <a:close/>
                        </a:path>
                      </a:pathLst>
                    </a:custGeom>
                    <a:solidFill>
                      <a:srgbClr val="0078D7"/>
                    </a:solidFill>
                    <a:ln w="12700" cap="rnd" cmpd="sng" algn="ctr">
                      <a:solidFill>
                        <a:srgbClr val="FFFFFF"/>
                      </a:solidFill>
                      <a:prstDash val="solid"/>
                      <a:headEnd type="none" w="med" len="med"/>
                      <a:tailEnd type="none" w="med" len="med"/>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a:ea typeface="+mn-ea"/>
                        <a:cs typeface="+mn-cs"/>
                      </a:endParaRPr>
                    </a:p>
                  </p:txBody>
                </p:sp>
                <p:cxnSp>
                  <p:nvCxnSpPr>
                    <p:cNvPr id="92" name="Straight Connector 91">
                      <a:extLst>
                        <a:ext uri="{FF2B5EF4-FFF2-40B4-BE49-F238E27FC236}">
                          <a16:creationId xmlns:a16="http://schemas.microsoft.com/office/drawing/2014/main" id="{53579FFA-F948-413C-8F76-7D401A8799D6}"/>
                        </a:ext>
                      </a:extLst>
                    </p:cNvPr>
                    <p:cNvCxnSpPr>
                      <a:cxnSpLocks/>
                    </p:cNvCxnSpPr>
                    <p:nvPr/>
                  </p:nvCxnSpPr>
                  <p:spPr>
                    <a:xfrm flipV="1">
                      <a:off x="4019187" y="4532301"/>
                      <a:ext cx="563116" cy="421997"/>
                    </a:xfrm>
                    <a:prstGeom prst="line">
                      <a:avLst/>
                    </a:prstGeom>
                    <a:grpFill/>
                    <a:ln w="12700" cap="rnd" cmpd="sng" algn="ctr">
                      <a:solidFill>
                        <a:srgbClr val="FFFFFF"/>
                      </a:solidFill>
                      <a:prstDash val="solid"/>
                      <a:headEnd type="none" w="med" len="med"/>
                      <a:tailEnd type="none" w="med" len="med"/>
                    </a:ln>
                    <a:effectLst/>
                  </p:spPr>
                </p:cxnSp>
                <p:cxnSp>
                  <p:nvCxnSpPr>
                    <p:cNvPr id="93" name="Straight Connector 92">
                      <a:extLst>
                        <a:ext uri="{FF2B5EF4-FFF2-40B4-BE49-F238E27FC236}">
                          <a16:creationId xmlns:a16="http://schemas.microsoft.com/office/drawing/2014/main" id="{D19F42A4-A651-4767-A0F4-2D64649B63E7}"/>
                        </a:ext>
                      </a:extLst>
                    </p:cNvPr>
                    <p:cNvCxnSpPr>
                      <a:cxnSpLocks/>
                    </p:cNvCxnSpPr>
                    <p:nvPr/>
                  </p:nvCxnSpPr>
                  <p:spPr>
                    <a:xfrm flipH="1" flipV="1">
                      <a:off x="3454309" y="4532300"/>
                      <a:ext cx="563116" cy="421997"/>
                    </a:xfrm>
                    <a:prstGeom prst="line">
                      <a:avLst/>
                    </a:prstGeom>
                    <a:grpFill/>
                    <a:ln w="12700" cap="rnd" cmpd="sng" algn="ctr">
                      <a:solidFill>
                        <a:srgbClr val="FFFFFF"/>
                      </a:solidFill>
                      <a:prstDash val="solid"/>
                      <a:headEnd type="none" w="med" len="med"/>
                      <a:tailEnd type="none" w="med" len="med"/>
                    </a:ln>
                    <a:effectLst/>
                  </p:spPr>
                </p:cxnSp>
              </p:grpSp>
              <p:cxnSp>
                <p:nvCxnSpPr>
                  <p:cNvPr id="90" name="Straight Connector 89">
                    <a:extLst>
                      <a:ext uri="{FF2B5EF4-FFF2-40B4-BE49-F238E27FC236}">
                        <a16:creationId xmlns:a16="http://schemas.microsoft.com/office/drawing/2014/main" id="{7B3E1BD5-4982-4B03-B8CC-D8107BCD20FE}"/>
                      </a:ext>
                    </a:extLst>
                  </p:cNvPr>
                  <p:cNvCxnSpPr>
                    <a:cxnSpLocks/>
                    <a:endCxn id="91" idx="3"/>
                  </p:cNvCxnSpPr>
                  <p:nvPr/>
                </p:nvCxnSpPr>
                <p:spPr>
                  <a:xfrm flipH="1">
                    <a:off x="4020344" y="4956376"/>
                    <a:ext cx="682" cy="560267"/>
                  </a:xfrm>
                  <a:prstGeom prst="line">
                    <a:avLst/>
                  </a:prstGeom>
                  <a:grpFill/>
                  <a:ln w="12700" cap="rnd" cmpd="sng" algn="ctr">
                    <a:solidFill>
                      <a:srgbClr val="FFFFFF"/>
                    </a:solidFill>
                    <a:prstDash val="solid"/>
                    <a:headEnd type="none" w="med" len="med"/>
                    <a:tailEnd type="none" w="med" len="med"/>
                  </a:ln>
                  <a:effectLst/>
                </p:spPr>
              </p:cxnSp>
            </p:grpSp>
            <p:grpSp>
              <p:nvGrpSpPr>
                <p:cNvPr id="77" name="Group 76">
                  <a:extLst>
                    <a:ext uri="{FF2B5EF4-FFF2-40B4-BE49-F238E27FC236}">
                      <a16:creationId xmlns:a16="http://schemas.microsoft.com/office/drawing/2014/main" id="{BDF80408-46BC-4F4E-B53F-8C8BADA96FF9}"/>
                    </a:ext>
                  </a:extLst>
                </p:cNvPr>
                <p:cNvGrpSpPr/>
                <p:nvPr/>
              </p:nvGrpSpPr>
              <p:grpSpPr>
                <a:xfrm>
                  <a:off x="6075438" y="-581666"/>
                  <a:ext cx="211409" cy="248650"/>
                  <a:chOff x="3448088" y="4177256"/>
                  <a:chExt cx="1138785" cy="1339387"/>
                </a:xfrm>
                <a:solidFill>
                  <a:srgbClr val="E6E6E6"/>
                </a:solidFill>
              </p:grpSpPr>
              <p:grpSp>
                <p:nvGrpSpPr>
                  <p:cNvPr id="84" name="Group 83">
                    <a:extLst>
                      <a:ext uri="{FF2B5EF4-FFF2-40B4-BE49-F238E27FC236}">
                        <a16:creationId xmlns:a16="http://schemas.microsoft.com/office/drawing/2014/main" id="{9BB251E3-2939-42CA-870E-450914D7FF92}"/>
                      </a:ext>
                    </a:extLst>
                  </p:cNvPr>
                  <p:cNvGrpSpPr/>
                  <p:nvPr/>
                </p:nvGrpSpPr>
                <p:grpSpPr>
                  <a:xfrm>
                    <a:off x="3448088" y="4177256"/>
                    <a:ext cx="1138785" cy="1339387"/>
                    <a:chOff x="3448088" y="4177256"/>
                    <a:chExt cx="1138785" cy="1339387"/>
                  </a:xfrm>
                  <a:grpFill/>
                </p:grpSpPr>
                <p:sp>
                  <p:nvSpPr>
                    <p:cNvPr id="86" name="Freeform: Shape 85">
                      <a:extLst>
                        <a:ext uri="{FF2B5EF4-FFF2-40B4-BE49-F238E27FC236}">
                          <a16:creationId xmlns:a16="http://schemas.microsoft.com/office/drawing/2014/main" id="{21916FD2-9A5E-49A4-8EB9-BFD574A80554}"/>
                        </a:ext>
                      </a:extLst>
                    </p:cNvPr>
                    <p:cNvSpPr/>
                    <p:nvPr/>
                  </p:nvSpPr>
                  <p:spPr bwMode="auto">
                    <a:xfrm>
                      <a:off x="3448088" y="4177256"/>
                      <a:ext cx="1138785" cy="1339387"/>
                    </a:xfrm>
                    <a:custGeom>
                      <a:avLst/>
                      <a:gdLst>
                        <a:gd name="connsiteX0" fmla="*/ 140153 w 293914"/>
                        <a:gd name="connsiteY0" fmla="*/ 0 h 336097"/>
                        <a:gd name="connsiteX1" fmla="*/ 0 w 293914"/>
                        <a:gd name="connsiteY1" fmla="*/ 84364 h 336097"/>
                        <a:gd name="connsiteX2" fmla="*/ 0 w 293914"/>
                        <a:gd name="connsiteY2" fmla="*/ 232682 h 336097"/>
                        <a:gd name="connsiteX3" fmla="*/ 141514 w 293914"/>
                        <a:gd name="connsiteY3" fmla="*/ 336097 h 336097"/>
                        <a:gd name="connsiteX4" fmla="*/ 293914 w 293914"/>
                        <a:gd name="connsiteY4" fmla="*/ 231322 h 336097"/>
                        <a:gd name="connsiteX5" fmla="*/ 278946 w 293914"/>
                        <a:gd name="connsiteY5" fmla="*/ 77561 h 336097"/>
                        <a:gd name="connsiteX6" fmla="*/ 140153 w 293914"/>
                        <a:gd name="connsiteY6" fmla="*/ 0 h 336097"/>
                        <a:gd name="connsiteX0" fmla="*/ 140153 w 284389"/>
                        <a:gd name="connsiteY0" fmla="*/ 0 h 336097"/>
                        <a:gd name="connsiteX1" fmla="*/ 0 w 284389"/>
                        <a:gd name="connsiteY1" fmla="*/ 84364 h 336097"/>
                        <a:gd name="connsiteX2" fmla="*/ 0 w 284389"/>
                        <a:gd name="connsiteY2" fmla="*/ 232682 h 336097"/>
                        <a:gd name="connsiteX3" fmla="*/ 141514 w 284389"/>
                        <a:gd name="connsiteY3" fmla="*/ 336097 h 336097"/>
                        <a:gd name="connsiteX4" fmla="*/ 284389 w 284389"/>
                        <a:gd name="connsiteY4" fmla="*/ 228601 h 336097"/>
                        <a:gd name="connsiteX5" fmla="*/ 278946 w 284389"/>
                        <a:gd name="connsiteY5" fmla="*/ 77561 h 336097"/>
                        <a:gd name="connsiteX6" fmla="*/ 140153 w 284389"/>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4389 w 287111"/>
                        <a:gd name="connsiteY4" fmla="*/ 228601 h 336097"/>
                        <a:gd name="connsiteX5" fmla="*/ 287111 w 287111"/>
                        <a:gd name="connsiteY5" fmla="*/ 88447 h 336097"/>
                        <a:gd name="connsiteX6" fmla="*/ 140153 w 287111"/>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6467 w 287111"/>
                        <a:gd name="connsiteY4" fmla="*/ 235529 h 336097"/>
                        <a:gd name="connsiteX5" fmla="*/ 287111 w 287111"/>
                        <a:gd name="connsiteY5" fmla="*/ 88447 h 336097"/>
                        <a:gd name="connsiteX6" fmla="*/ 140153 w 287111"/>
                        <a:gd name="connsiteY6" fmla="*/ 0 h 336097"/>
                        <a:gd name="connsiteX0" fmla="*/ 140153 w 286690"/>
                        <a:gd name="connsiteY0" fmla="*/ 0 h 336097"/>
                        <a:gd name="connsiteX1" fmla="*/ 0 w 286690"/>
                        <a:gd name="connsiteY1" fmla="*/ 84364 h 336097"/>
                        <a:gd name="connsiteX2" fmla="*/ 0 w 286690"/>
                        <a:gd name="connsiteY2" fmla="*/ 232682 h 336097"/>
                        <a:gd name="connsiteX3" fmla="*/ 141514 w 286690"/>
                        <a:gd name="connsiteY3" fmla="*/ 336097 h 336097"/>
                        <a:gd name="connsiteX4" fmla="*/ 286467 w 286690"/>
                        <a:gd name="connsiteY4" fmla="*/ 235529 h 336097"/>
                        <a:gd name="connsiteX5" fmla="*/ 286072 w 286690"/>
                        <a:gd name="connsiteY5" fmla="*/ 83251 h 336097"/>
                        <a:gd name="connsiteX6" fmla="*/ 140153 w 286690"/>
                        <a:gd name="connsiteY6" fmla="*/ 0 h 336097"/>
                        <a:gd name="connsiteX0" fmla="*/ 142924 w 289461"/>
                        <a:gd name="connsiteY0" fmla="*/ 0 h 336097"/>
                        <a:gd name="connsiteX1" fmla="*/ 2771 w 289461"/>
                        <a:gd name="connsiteY1" fmla="*/ 84364 h 336097"/>
                        <a:gd name="connsiteX2" fmla="*/ 0 w 289461"/>
                        <a:gd name="connsiteY2" fmla="*/ 230604 h 336097"/>
                        <a:gd name="connsiteX3" fmla="*/ 144285 w 289461"/>
                        <a:gd name="connsiteY3" fmla="*/ 336097 h 336097"/>
                        <a:gd name="connsiteX4" fmla="*/ 289238 w 289461"/>
                        <a:gd name="connsiteY4" fmla="*/ 235529 h 336097"/>
                        <a:gd name="connsiteX5" fmla="*/ 288843 w 289461"/>
                        <a:gd name="connsiteY5" fmla="*/ 83251 h 336097"/>
                        <a:gd name="connsiteX6" fmla="*/ 142924 w 289461"/>
                        <a:gd name="connsiteY6" fmla="*/ 0 h 336097"/>
                        <a:gd name="connsiteX0" fmla="*/ 144147 w 290684"/>
                        <a:gd name="connsiteY0" fmla="*/ 0 h 336097"/>
                        <a:gd name="connsiteX1" fmla="*/ 184 w 290684"/>
                        <a:gd name="connsiteY1" fmla="*/ 83325 h 336097"/>
                        <a:gd name="connsiteX2" fmla="*/ 1223 w 290684"/>
                        <a:gd name="connsiteY2" fmla="*/ 230604 h 336097"/>
                        <a:gd name="connsiteX3" fmla="*/ 145508 w 290684"/>
                        <a:gd name="connsiteY3" fmla="*/ 336097 h 336097"/>
                        <a:gd name="connsiteX4" fmla="*/ 290461 w 290684"/>
                        <a:gd name="connsiteY4" fmla="*/ 235529 h 336097"/>
                        <a:gd name="connsiteX5" fmla="*/ 290066 w 290684"/>
                        <a:gd name="connsiteY5" fmla="*/ 83251 h 336097"/>
                        <a:gd name="connsiteX6" fmla="*/ 144147 w 290684"/>
                        <a:gd name="connsiteY6" fmla="*/ 0 h 336097"/>
                        <a:gd name="connsiteX0" fmla="*/ 145186 w 290684"/>
                        <a:gd name="connsiteY0" fmla="*/ 0 h 342332"/>
                        <a:gd name="connsiteX1" fmla="*/ 184 w 290684"/>
                        <a:gd name="connsiteY1" fmla="*/ 89560 h 342332"/>
                        <a:gd name="connsiteX2" fmla="*/ 1223 w 290684"/>
                        <a:gd name="connsiteY2" fmla="*/ 236839 h 342332"/>
                        <a:gd name="connsiteX3" fmla="*/ 145508 w 290684"/>
                        <a:gd name="connsiteY3" fmla="*/ 342332 h 342332"/>
                        <a:gd name="connsiteX4" fmla="*/ 290461 w 290684"/>
                        <a:gd name="connsiteY4" fmla="*/ 241764 h 342332"/>
                        <a:gd name="connsiteX5" fmla="*/ 290066 w 290684"/>
                        <a:gd name="connsiteY5" fmla="*/ 89486 h 342332"/>
                        <a:gd name="connsiteX6" fmla="*/ 145186 w 290684"/>
                        <a:gd name="connsiteY6" fmla="*/ 0 h 342332"/>
                        <a:gd name="connsiteX0" fmla="*/ 143963 w 289461"/>
                        <a:gd name="connsiteY0" fmla="*/ 0 h 342332"/>
                        <a:gd name="connsiteX1" fmla="*/ 1039 w 289461"/>
                        <a:gd name="connsiteY1" fmla="*/ 89560 h 342332"/>
                        <a:gd name="connsiteX2" fmla="*/ 0 w 289461"/>
                        <a:gd name="connsiteY2" fmla="*/ 236839 h 342332"/>
                        <a:gd name="connsiteX3" fmla="*/ 144285 w 289461"/>
                        <a:gd name="connsiteY3" fmla="*/ 342332 h 342332"/>
                        <a:gd name="connsiteX4" fmla="*/ 289238 w 289461"/>
                        <a:gd name="connsiteY4" fmla="*/ 241764 h 342332"/>
                        <a:gd name="connsiteX5" fmla="*/ 288843 w 289461"/>
                        <a:gd name="connsiteY5" fmla="*/ 89486 h 342332"/>
                        <a:gd name="connsiteX6" fmla="*/ 143963 w 289461"/>
                        <a:gd name="connsiteY6" fmla="*/ 0 h 342332"/>
                        <a:gd name="connsiteX0" fmla="*/ 143092 w 288590"/>
                        <a:gd name="connsiteY0" fmla="*/ 0 h 342332"/>
                        <a:gd name="connsiteX1" fmla="*/ 168 w 288590"/>
                        <a:gd name="connsiteY1" fmla="*/ 89560 h 342332"/>
                        <a:gd name="connsiteX2" fmla="*/ 1554 w 288590"/>
                        <a:gd name="connsiteY2" fmla="*/ 234414 h 342332"/>
                        <a:gd name="connsiteX3" fmla="*/ 143414 w 288590"/>
                        <a:gd name="connsiteY3" fmla="*/ 342332 h 342332"/>
                        <a:gd name="connsiteX4" fmla="*/ 288367 w 288590"/>
                        <a:gd name="connsiteY4" fmla="*/ 241764 h 342332"/>
                        <a:gd name="connsiteX5" fmla="*/ 287972 w 288590"/>
                        <a:gd name="connsiteY5" fmla="*/ 89486 h 342332"/>
                        <a:gd name="connsiteX6" fmla="*/ 143092 w 288590"/>
                        <a:gd name="connsiteY6" fmla="*/ 0 h 342332"/>
                        <a:gd name="connsiteX0" fmla="*/ 145002 w 290500"/>
                        <a:gd name="connsiteY0" fmla="*/ 0 h 342332"/>
                        <a:gd name="connsiteX1" fmla="*/ 2078 w 290500"/>
                        <a:gd name="connsiteY1" fmla="*/ 89560 h 342332"/>
                        <a:gd name="connsiteX2" fmla="*/ 0 w 290500"/>
                        <a:gd name="connsiteY2" fmla="*/ 234067 h 342332"/>
                        <a:gd name="connsiteX3" fmla="*/ 145324 w 290500"/>
                        <a:gd name="connsiteY3" fmla="*/ 342332 h 342332"/>
                        <a:gd name="connsiteX4" fmla="*/ 290277 w 290500"/>
                        <a:gd name="connsiteY4" fmla="*/ 241764 h 342332"/>
                        <a:gd name="connsiteX5" fmla="*/ 289882 w 290500"/>
                        <a:gd name="connsiteY5" fmla="*/ 89486 h 342332"/>
                        <a:gd name="connsiteX6" fmla="*/ 145002 w 290500"/>
                        <a:gd name="connsiteY6" fmla="*/ 0 h 342332"/>
                        <a:gd name="connsiteX0" fmla="*/ 145002 w 290500"/>
                        <a:gd name="connsiteY0" fmla="*/ 0 h 337829"/>
                        <a:gd name="connsiteX1" fmla="*/ 2078 w 290500"/>
                        <a:gd name="connsiteY1" fmla="*/ 89560 h 337829"/>
                        <a:gd name="connsiteX2" fmla="*/ 0 w 290500"/>
                        <a:gd name="connsiteY2" fmla="*/ 234067 h 337829"/>
                        <a:gd name="connsiteX3" fmla="*/ 145324 w 290500"/>
                        <a:gd name="connsiteY3" fmla="*/ 337829 h 337829"/>
                        <a:gd name="connsiteX4" fmla="*/ 290277 w 290500"/>
                        <a:gd name="connsiteY4" fmla="*/ 241764 h 337829"/>
                        <a:gd name="connsiteX5" fmla="*/ 289882 w 290500"/>
                        <a:gd name="connsiteY5" fmla="*/ 89486 h 337829"/>
                        <a:gd name="connsiteX6" fmla="*/ 145002 w 290500"/>
                        <a:gd name="connsiteY6" fmla="*/ 0 h 337829"/>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764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6813 w 289882"/>
                        <a:gd name="connsiteY4" fmla="*/ 242457 h 340946"/>
                        <a:gd name="connsiteX5" fmla="*/ 289882 w 289882"/>
                        <a:gd name="connsiteY5" fmla="*/ 89486 h 340946"/>
                        <a:gd name="connsiteX6" fmla="*/ 145002 w 289882"/>
                        <a:gd name="connsiteY6" fmla="*/ 0 h 340946"/>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418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9238 w 289882"/>
                        <a:gd name="connsiteY4" fmla="*/ 239686 h 340946"/>
                        <a:gd name="connsiteX5" fmla="*/ 289882 w 289882"/>
                        <a:gd name="connsiteY5" fmla="*/ 89486 h 340946"/>
                        <a:gd name="connsiteX6" fmla="*/ 145002 w 289882"/>
                        <a:gd name="connsiteY6" fmla="*/ 0 h 340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882" h="340946">
                          <a:moveTo>
                            <a:pt x="145002" y="0"/>
                          </a:moveTo>
                          <a:lnTo>
                            <a:pt x="2078" y="89560"/>
                          </a:lnTo>
                          <a:cubicBezTo>
                            <a:pt x="1154" y="138307"/>
                            <a:pt x="924" y="185320"/>
                            <a:pt x="0" y="234067"/>
                          </a:cubicBezTo>
                          <a:lnTo>
                            <a:pt x="145670" y="340946"/>
                          </a:lnTo>
                          <a:lnTo>
                            <a:pt x="289238" y="239686"/>
                          </a:lnTo>
                          <a:cubicBezTo>
                            <a:pt x="290145" y="192968"/>
                            <a:pt x="288975" y="136204"/>
                            <a:pt x="289882" y="89486"/>
                          </a:cubicBezTo>
                          <a:lnTo>
                            <a:pt x="145002" y="0"/>
                          </a:lnTo>
                          <a:close/>
                        </a:path>
                      </a:pathLst>
                    </a:custGeom>
                    <a:solidFill>
                      <a:srgbClr val="0078D7"/>
                    </a:solidFill>
                    <a:ln w="12700" cap="rnd" cmpd="sng" algn="ctr">
                      <a:solidFill>
                        <a:srgbClr val="FFFFFF"/>
                      </a:solidFill>
                      <a:prstDash val="solid"/>
                      <a:headEnd type="none" w="med" len="med"/>
                      <a:tailEnd type="none" w="med" len="med"/>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a:ea typeface="+mn-ea"/>
                        <a:cs typeface="+mn-cs"/>
                      </a:endParaRPr>
                    </a:p>
                  </p:txBody>
                </p:sp>
                <p:cxnSp>
                  <p:nvCxnSpPr>
                    <p:cNvPr id="87" name="Straight Connector 86">
                      <a:extLst>
                        <a:ext uri="{FF2B5EF4-FFF2-40B4-BE49-F238E27FC236}">
                          <a16:creationId xmlns:a16="http://schemas.microsoft.com/office/drawing/2014/main" id="{BEFAC843-E064-4B8F-8C9F-F09D6E169035}"/>
                        </a:ext>
                      </a:extLst>
                    </p:cNvPr>
                    <p:cNvCxnSpPr>
                      <a:cxnSpLocks/>
                    </p:cNvCxnSpPr>
                    <p:nvPr/>
                  </p:nvCxnSpPr>
                  <p:spPr>
                    <a:xfrm flipV="1">
                      <a:off x="4019187" y="4532301"/>
                      <a:ext cx="563116" cy="421997"/>
                    </a:xfrm>
                    <a:prstGeom prst="line">
                      <a:avLst/>
                    </a:prstGeom>
                    <a:grpFill/>
                    <a:ln w="12700" cap="rnd" cmpd="sng" algn="ctr">
                      <a:solidFill>
                        <a:srgbClr val="FFFFFF"/>
                      </a:solidFill>
                      <a:prstDash val="solid"/>
                      <a:headEnd type="none" w="med" len="med"/>
                      <a:tailEnd type="none" w="med" len="med"/>
                    </a:ln>
                    <a:effectLst/>
                  </p:spPr>
                </p:cxnSp>
                <p:cxnSp>
                  <p:nvCxnSpPr>
                    <p:cNvPr id="88" name="Straight Connector 87">
                      <a:extLst>
                        <a:ext uri="{FF2B5EF4-FFF2-40B4-BE49-F238E27FC236}">
                          <a16:creationId xmlns:a16="http://schemas.microsoft.com/office/drawing/2014/main" id="{8BDD7853-0D24-4CA4-810F-6484893F3972}"/>
                        </a:ext>
                      </a:extLst>
                    </p:cNvPr>
                    <p:cNvCxnSpPr>
                      <a:cxnSpLocks/>
                    </p:cNvCxnSpPr>
                    <p:nvPr/>
                  </p:nvCxnSpPr>
                  <p:spPr>
                    <a:xfrm flipH="1" flipV="1">
                      <a:off x="3454309" y="4532300"/>
                      <a:ext cx="563116" cy="421997"/>
                    </a:xfrm>
                    <a:prstGeom prst="line">
                      <a:avLst/>
                    </a:prstGeom>
                    <a:grpFill/>
                    <a:ln w="12700" cap="rnd" cmpd="sng" algn="ctr">
                      <a:solidFill>
                        <a:srgbClr val="FFFFFF"/>
                      </a:solidFill>
                      <a:prstDash val="solid"/>
                      <a:headEnd type="none" w="med" len="med"/>
                      <a:tailEnd type="none" w="med" len="med"/>
                    </a:ln>
                    <a:effectLst/>
                  </p:spPr>
                </p:cxnSp>
              </p:grpSp>
              <p:cxnSp>
                <p:nvCxnSpPr>
                  <p:cNvPr id="85" name="Straight Connector 84">
                    <a:extLst>
                      <a:ext uri="{FF2B5EF4-FFF2-40B4-BE49-F238E27FC236}">
                        <a16:creationId xmlns:a16="http://schemas.microsoft.com/office/drawing/2014/main" id="{54B86BA4-16F7-4692-8962-F88A69B83D85}"/>
                      </a:ext>
                    </a:extLst>
                  </p:cNvPr>
                  <p:cNvCxnSpPr>
                    <a:cxnSpLocks/>
                    <a:endCxn id="86" idx="3"/>
                  </p:cNvCxnSpPr>
                  <p:nvPr/>
                </p:nvCxnSpPr>
                <p:spPr>
                  <a:xfrm flipH="1">
                    <a:off x="4020344" y="4956376"/>
                    <a:ext cx="682" cy="560267"/>
                  </a:xfrm>
                  <a:prstGeom prst="line">
                    <a:avLst/>
                  </a:prstGeom>
                  <a:grpFill/>
                  <a:ln w="12700" cap="rnd" cmpd="sng" algn="ctr">
                    <a:solidFill>
                      <a:srgbClr val="FFFFFF"/>
                    </a:solidFill>
                    <a:prstDash val="solid"/>
                    <a:headEnd type="none" w="med" len="med"/>
                    <a:tailEnd type="none" w="med" len="med"/>
                  </a:ln>
                  <a:effectLst/>
                </p:spPr>
              </p:cxnSp>
            </p:grpSp>
            <p:grpSp>
              <p:nvGrpSpPr>
                <p:cNvPr id="78" name="Group 77">
                  <a:extLst>
                    <a:ext uri="{FF2B5EF4-FFF2-40B4-BE49-F238E27FC236}">
                      <a16:creationId xmlns:a16="http://schemas.microsoft.com/office/drawing/2014/main" id="{50FAE764-BDF8-4D1E-A544-3BFC12F7E4BC}"/>
                    </a:ext>
                  </a:extLst>
                </p:cNvPr>
                <p:cNvGrpSpPr/>
                <p:nvPr/>
              </p:nvGrpSpPr>
              <p:grpSpPr>
                <a:xfrm>
                  <a:off x="5819235" y="-830317"/>
                  <a:ext cx="211409" cy="248650"/>
                  <a:chOff x="3448088" y="4177256"/>
                  <a:chExt cx="1138785" cy="1339387"/>
                </a:xfrm>
                <a:solidFill>
                  <a:srgbClr val="E6E6E6"/>
                </a:solidFill>
              </p:grpSpPr>
              <p:grpSp>
                <p:nvGrpSpPr>
                  <p:cNvPr id="79" name="Group 78">
                    <a:extLst>
                      <a:ext uri="{FF2B5EF4-FFF2-40B4-BE49-F238E27FC236}">
                        <a16:creationId xmlns:a16="http://schemas.microsoft.com/office/drawing/2014/main" id="{3F64C6D6-63DE-403E-8412-1B2F5F46DE3D}"/>
                      </a:ext>
                    </a:extLst>
                  </p:cNvPr>
                  <p:cNvGrpSpPr/>
                  <p:nvPr/>
                </p:nvGrpSpPr>
                <p:grpSpPr>
                  <a:xfrm>
                    <a:off x="3448088" y="4177256"/>
                    <a:ext cx="1138785" cy="1339387"/>
                    <a:chOff x="3448088" y="4177256"/>
                    <a:chExt cx="1138785" cy="1339387"/>
                  </a:xfrm>
                  <a:grpFill/>
                </p:grpSpPr>
                <p:sp>
                  <p:nvSpPr>
                    <p:cNvPr id="81" name="Freeform: Shape 80">
                      <a:extLst>
                        <a:ext uri="{FF2B5EF4-FFF2-40B4-BE49-F238E27FC236}">
                          <a16:creationId xmlns:a16="http://schemas.microsoft.com/office/drawing/2014/main" id="{22CBCCC2-63AB-45A6-8C05-87B136B86CFD}"/>
                        </a:ext>
                      </a:extLst>
                    </p:cNvPr>
                    <p:cNvSpPr/>
                    <p:nvPr/>
                  </p:nvSpPr>
                  <p:spPr bwMode="auto">
                    <a:xfrm>
                      <a:off x="3448088" y="4177256"/>
                      <a:ext cx="1138785" cy="1339387"/>
                    </a:xfrm>
                    <a:custGeom>
                      <a:avLst/>
                      <a:gdLst>
                        <a:gd name="connsiteX0" fmla="*/ 140153 w 293914"/>
                        <a:gd name="connsiteY0" fmla="*/ 0 h 336097"/>
                        <a:gd name="connsiteX1" fmla="*/ 0 w 293914"/>
                        <a:gd name="connsiteY1" fmla="*/ 84364 h 336097"/>
                        <a:gd name="connsiteX2" fmla="*/ 0 w 293914"/>
                        <a:gd name="connsiteY2" fmla="*/ 232682 h 336097"/>
                        <a:gd name="connsiteX3" fmla="*/ 141514 w 293914"/>
                        <a:gd name="connsiteY3" fmla="*/ 336097 h 336097"/>
                        <a:gd name="connsiteX4" fmla="*/ 293914 w 293914"/>
                        <a:gd name="connsiteY4" fmla="*/ 231322 h 336097"/>
                        <a:gd name="connsiteX5" fmla="*/ 278946 w 293914"/>
                        <a:gd name="connsiteY5" fmla="*/ 77561 h 336097"/>
                        <a:gd name="connsiteX6" fmla="*/ 140153 w 293914"/>
                        <a:gd name="connsiteY6" fmla="*/ 0 h 336097"/>
                        <a:gd name="connsiteX0" fmla="*/ 140153 w 284389"/>
                        <a:gd name="connsiteY0" fmla="*/ 0 h 336097"/>
                        <a:gd name="connsiteX1" fmla="*/ 0 w 284389"/>
                        <a:gd name="connsiteY1" fmla="*/ 84364 h 336097"/>
                        <a:gd name="connsiteX2" fmla="*/ 0 w 284389"/>
                        <a:gd name="connsiteY2" fmla="*/ 232682 h 336097"/>
                        <a:gd name="connsiteX3" fmla="*/ 141514 w 284389"/>
                        <a:gd name="connsiteY3" fmla="*/ 336097 h 336097"/>
                        <a:gd name="connsiteX4" fmla="*/ 284389 w 284389"/>
                        <a:gd name="connsiteY4" fmla="*/ 228601 h 336097"/>
                        <a:gd name="connsiteX5" fmla="*/ 278946 w 284389"/>
                        <a:gd name="connsiteY5" fmla="*/ 77561 h 336097"/>
                        <a:gd name="connsiteX6" fmla="*/ 140153 w 284389"/>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4389 w 287111"/>
                        <a:gd name="connsiteY4" fmla="*/ 228601 h 336097"/>
                        <a:gd name="connsiteX5" fmla="*/ 287111 w 287111"/>
                        <a:gd name="connsiteY5" fmla="*/ 88447 h 336097"/>
                        <a:gd name="connsiteX6" fmla="*/ 140153 w 287111"/>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6467 w 287111"/>
                        <a:gd name="connsiteY4" fmla="*/ 235529 h 336097"/>
                        <a:gd name="connsiteX5" fmla="*/ 287111 w 287111"/>
                        <a:gd name="connsiteY5" fmla="*/ 88447 h 336097"/>
                        <a:gd name="connsiteX6" fmla="*/ 140153 w 287111"/>
                        <a:gd name="connsiteY6" fmla="*/ 0 h 336097"/>
                        <a:gd name="connsiteX0" fmla="*/ 140153 w 286690"/>
                        <a:gd name="connsiteY0" fmla="*/ 0 h 336097"/>
                        <a:gd name="connsiteX1" fmla="*/ 0 w 286690"/>
                        <a:gd name="connsiteY1" fmla="*/ 84364 h 336097"/>
                        <a:gd name="connsiteX2" fmla="*/ 0 w 286690"/>
                        <a:gd name="connsiteY2" fmla="*/ 232682 h 336097"/>
                        <a:gd name="connsiteX3" fmla="*/ 141514 w 286690"/>
                        <a:gd name="connsiteY3" fmla="*/ 336097 h 336097"/>
                        <a:gd name="connsiteX4" fmla="*/ 286467 w 286690"/>
                        <a:gd name="connsiteY4" fmla="*/ 235529 h 336097"/>
                        <a:gd name="connsiteX5" fmla="*/ 286072 w 286690"/>
                        <a:gd name="connsiteY5" fmla="*/ 83251 h 336097"/>
                        <a:gd name="connsiteX6" fmla="*/ 140153 w 286690"/>
                        <a:gd name="connsiteY6" fmla="*/ 0 h 336097"/>
                        <a:gd name="connsiteX0" fmla="*/ 142924 w 289461"/>
                        <a:gd name="connsiteY0" fmla="*/ 0 h 336097"/>
                        <a:gd name="connsiteX1" fmla="*/ 2771 w 289461"/>
                        <a:gd name="connsiteY1" fmla="*/ 84364 h 336097"/>
                        <a:gd name="connsiteX2" fmla="*/ 0 w 289461"/>
                        <a:gd name="connsiteY2" fmla="*/ 230604 h 336097"/>
                        <a:gd name="connsiteX3" fmla="*/ 144285 w 289461"/>
                        <a:gd name="connsiteY3" fmla="*/ 336097 h 336097"/>
                        <a:gd name="connsiteX4" fmla="*/ 289238 w 289461"/>
                        <a:gd name="connsiteY4" fmla="*/ 235529 h 336097"/>
                        <a:gd name="connsiteX5" fmla="*/ 288843 w 289461"/>
                        <a:gd name="connsiteY5" fmla="*/ 83251 h 336097"/>
                        <a:gd name="connsiteX6" fmla="*/ 142924 w 289461"/>
                        <a:gd name="connsiteY6" fmla="*/ 0 h 336097"/>
                        <a:gd name="connsiteX0" fmla="*/ 144147 w 290684"/>
                        <a:gd name="connsiteY0" fmla="*/ 0 h 336097"/>
                        <a:gd name="connsiteX1" fmla="*/ 184 w 290684"/>
                        <a:gd name="connsiteY1" fmla="*/ 83325 h 336097"/>
                        <a:gd name="connsiteX2" fmla="*/ 1223 w 290684"/>
                        <a:gd name="connsiteY2" fmla="*/ 230604 h 336097"/>
                        <a:gd name="connsiteX3" fmla="*/ 145508 w 290684"/>
                        <a:gd name="connsiteY3" fmla="*/ 336097 h 336097"/>
                        <a:gd name="connsiteX4" fmla="*/ 290461 w 290684"/>
                        <a:gd name="connsiteY4" fmla="*/ 235529 h 336097"/>
                        <a:gd name="connsiteX5" fmla="*/ 290066 w 290684"/>
                        <a:gd name="connsiteY5" fmla="*/ 83251 h 336097"/>
                        <a:gd name="connsiteX6" fmla="*/ 144147 w 290684"/>
                        <a:gd name="connsiteY6" fmla="*/ 0 h 336097"/>
                        <a:gd name="connsiteX0" fmla="*/ 145186 w 290684"/>
                        <a:gd name="connsiteY0" fmla="*/ 0 h 342332"/>
                        <a:gd name="connsiteX1" fmla="*/ 184 w 290684"/>
                        <a:gd name="connsiteY1" fmla="*/ 89560 h 342332"/>
                        <a:gd name="connsiteX2" fmla="*/ 1223 w 290684"/>
                        <a:gd name="connsiteY2" fmla="*/ 236839 h 342332"/>
                        <a:gd name="connsiteX3" fmla="*/ 145508 w 290684"/>
                        <a:gd name="connsiteY3" fmla="*/ 342332 h 342332"/>
                        <a:gd name="connsiteX4" fmla="*/ 290461 w 290684"/>
                        <a:gd name="connsiteY4" fmla="*/ 241764 h 342332"/>
                        <a:gd name="connsiteX5" fmla="*/ 290066 w 290684"/>
                        <a:gd name="connsiteY5" fmla="*/ 89486 h 342332"/>
                        <a:gd name="connsiteX6" fmla="*/ 145186 w 290684"/>
                        <a:gd name="connsiteY6" fmla="*/ 0 h 342332"/>
                        <a:gd name="connsiteX0" fmla="*/ 143963 w 289461"/>
                        <a:gd name="connsiteY0" fmla="*/ 0 h 342332"/>
                        <a:gd name="connsiteX1" fmla="*/ 1039 w 289461"/>
                        <a:gd name="connsiteY1" fmla="*/ 89560 h 342332"/>
                        <a:gd name="connsiteX2" fmla="*/ 0 w 289461"/>
                        <a:gd name="connsiteY2" fmla="*/ 236839 h 342332"/>
                        <a:gd name="connsiteX3" fmla="*/ 144285 w 289461"/>
                        <a:gd name="connsiteY3" fmla="*/ 342332 h 342332"/>
                        <a:gd name="connsiteX4" fmla="*/ 289238 w 289461"/>
                        <a:gd name="connsiteY4" fmla="*/ 241764 h 342332"/>
                        <a:gd name="connsiteX5" fmla="*/ 288843 w 289461"/>
                        <a:gd name="connsiteY5" fmla="*/ 89486 h 342332"/>
                        <a:gd name="connsiteX6" fmla="*/ 143963 w 289461"/>
                        <a:gd name="connsiteY6" fmla="*/ 0 h 342332"/>
                        <a:gd name="connsiteX0" fmla="*/ 143092 w 288590"/>
                        <a:gd name="connsiteY0" fmla="*/ 0 h 342332"/>
                        <a:gd name="connsiteX1" fmla="*/ 168 w 288590"/>
                        <a:gd name="connsiteY1" fmla="*/ 89560 h 342332"/>
                        <a:gd name="connsiteX2" fmla="*/ 1554 w 288590"/>
                        <a:gd name="connsiteY2" fmla="*/ 234414 h 342332"/>
                        <a:gd name="connsiteX3" fmla="*/ 143414 w 288590"/>
                        <a:gd name="connsiteY3" fmla="*/ 342332 h 342332"/>
                        <a:gd name="connsiteX4" fmla="*/ 288367 w 288590"/>
                        <a:gd name="connsiteY4" fmla="*/ 241764 h 342332"/>
                        <a:gd name="connsiteX5" fmla="*/ 287972 w 288590"/>
                        <a:gd name="connsiteY5" fmla="*/ 89486 h 342332"/>
                        <a:gd name="connsiteX6" fmla="*/ 143092 w 288590"/>
                        <a:gd name="connsiteY6" fmla="*/ 0 h 342332"/>
                        <a:gd name="connsiteX0" fmla="*/ 145002 w 290500"/>
                        <a:gd name="connsiteY0" fmla="*/ 0 h 342332"/>
                        <a:gd name="connsiteX1" fmla="*/ 2078 w 290500"/>
                        <a:gd name="connsiteY1" fmla="*/ 89560 h 342332"/>
                        <a:gd name="connsiteX2" fmla="*/ 0 w 290500"/>
                        <a:gd name="connsiteY2" fmla="*/ 234067 h 342332"/>
                        <a:gd name="connsiteX3" fmla="*/ 145324 w 290500"/>
                        <a:gd name="connsiteY3" fmla="*/ 342332 h 342332"/>
                        <a:gd name="connsiteX4" fmla="*/ 290277 w 290500"/>
                        <a:gd name="connsiteY4" fmla="*/ 241764 h 342332"/>
                        <a:gd name="connsiteX5" fmla="*/ 289882 w 290500"/>
                        <a:gd name="connsiteY5" fmla="*/ 89486 h 342332"/>
                        <a:gd name="connsiteX6" fmla="*/ 145002 w 290500"/>
                        <a:gd name="connsiteY6" fmla="*/ 0 h 342332"/>
                        <a:gd name="connsiteX0" fmla="*/ 145002 w 290500"/>
                        <a:gd name="connsiteY0" fmla="*/ 0 h 337829"/>
                        <a:gd name="connsiteX1" fmla="*/ 2078 w 290500"/>
                        <a:gd name="connsiteY1" fmla="*/ 89560 h 337829"/>
                        <a:gd name="connsiteX2" fmla="*/ 0 w 290500"/>
                        <a:gd name="connsiteY2" fmla="*/ 234067 h 337829"/>
                        <a:gd name="connsiteX3" fmla="*/ 145324 w 290500"/>
                        <a:gd name="connsiteY3" fmla="*/ 337829 h 337829"/>
                        <a:gd name="connsiteX4" fmla="*/ 290277 w 290500"/>
                        <a:gd name="connsiteY4" fmla="*/ 241764 h 337829"/>
                        <a:gd name="connsiteX5" fmla="*/ 289882 w 290500"/>
                        <a:gd name="connsiteY5" fmla="*/ 89486 h 337829"/>
                        <a:gd name="connsiteX6" fmla="*/ 145002 w 290500"/>
                        <a:gd name="connsiteY6" fmla="*/ 0 h 337829"/>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764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6813 w 289882"/>
                        <a:gd name="connsiteY4" fmla="*/ 242457 h 340946"/>
                        <a:gd name="connsiteX5" fmla="*/ 289882 w 289882"/>
                        <a:gd name="connsiteY5" fmla="*/ 89486 h 340946"/>
                        <a:gd name="connsiteX6" fmla="*/ 145002 w 289882"/>
                        <a:gd name="connsiteY6" fmla="*/ 0 h 340946"/>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418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9238 w 289882"/>
                        <a:gd name="connsiteY4" fmla="*/ 239686 h 340946"/>
                        <a:gd name="connsiteX5" fmla="*/ 289882 w 289882"/>
                        <a:gd name="connsiteY5" fmla="*/ 89486 h 340946"/>
                        <a:gd name="connsiteX6" fmla="*/ 145002 w 289882"/>
                        <a:gd name="connsiteY6" fmla="*/ 0 h 340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882" h="340946">
                          <a:moveTo>
                            <a:pt x="145002" y="0"/>
                          </a:moveTo>
                          <a:lnTo>
                            <a:pt x="2078" y="89560"/>
                          </a:lnTo>
                          <a:cubicBezTo>
                            <a:pt x="1154" y="138307"/>
                            <a:pt x="924" y="185320"/>
                            <a:pt x="0" y="234067"/>
                          </a:cubicBezTo>
                          <a:lnTo>
                            <a:pt x="145670" y="340946"/>
                          </a:lnTo>
                          <a:lnTo>
                            <a:pt x="289238" y="239686"/>
                          </a:lnTo>
                          <a:cubicBezTo>
                            <a:pt x="290145" y="192968"/>
                            <a:pt x="288975" y="136204"/>
                            <a:pt x="289882" y="89486"/>
                          </a:cubicBezTo>
                          <a:lnTo>
                            <a:pt x="145002" y="0"/>
                          </a:lnTo>
                          <a:close/>
                        </a:path>
                      </a:pathLst>
                    </a:custGeom>
                    <a:solidFill>
                      <a:srgbClr val="0078D7"/>
                    </a:solidFill>
                    <a:ln w="12700" cap="rnd" cmpd="sng" algn="ctr">
                      <a:solidFill>
                        <a:srgbClr val="FFFFFF"/>
                      </a:solidFill>
                      <a:prstDash val="solid"/>
                      <a:headEnd type="none" w="med" len="med"/>
                      <a:tailEnd type="none" w="med" len="med"/>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a:ea typeface="+mn-ea"/>
                        <a:cs typeface="+mn-cs"/>
                      </a:endParaRPr>
                    </a:p>
                  </p:txBody>
                </p:sp>
                <p:cxnSp>
                  <p:nvCxnSpPr>
                    <p:cNvPr id="82" name="Straight Connector 81">
                      <a:extLst>
                        <a:ext uri="{FF2B5EF4-FFF2-40B4-BE49-F238E27FC236}">
                          <a16:creationId xmlns:a16="http://schemas.microsoft.com/office/drawing/2014/main" id="{C775F769-72AC-41E7-A448-069E8EE65B74}"/>
                        </a:ext>
                      </a:extLst>
                    </p:cNvPr>
                    <p:cNvCxnSpPr>
                      <a:cxnSpLocks/>
                    </p:cNvCxnSpPr>
                    <p:nvPr/>
                  </p:nvCxnSpPr>
                  <p:spPr>
                    <a:xfrm flipV="1">
                      <a:off x="4019187" y="4532301"/>
                      <a:ext cx="563116" cy="421997"/>
                    </a:xfrm>
                    <a:prstGeom prst="line">
                      <a:avLst/>
                    </a:prstGeom>
                    <a:grpFill/>
                    <a:ln w="12700" cap="rnd" cmpd="sng" algn="ctr">
                      <a:solidFill>
                        <a:srgbClr val="FFFFFF"/>
                      </a:solidFill>
                      <a:prstDash val="solid"/>
                      <a:headEnd type="none" w="med" len="med"/>
                      <a:tailEnd type="none" w="med" len="med"/>
                    </a:ln>
                    <a:effectLst/>
                  </p:spPr>
                </p:cxnSp>
                <p:cxnSp>
                  <p:nvCxnSpPr>
                    <p:cNvPr id="83" name="Straight Connector 82">
                      <a:extLst>
                        <a:ext uri="{FF2B5EF4-FFF2-40B4-BE49-F238E27FC236}">
                          <a16:creationId xmlns:a16="http://schemas.microsoft.com/office/drawing/2014/main" id="{61CF0448-35D2-4E93-A854-EC111F61D84A}"/>
                        </a:ext>
                      </a:extLst>
                    </p:cNvPr>
                    <p:cNvCxnSpPr>
                      <a:cxnSpLocks/>
                    </p:cNvCxnSpPr>
                    <p:nvPr/>
                  </p:nvCxnSpPr>
                  <p:spPr>
                    <a:xfrm flipH="1" flipV="1">
                      <a:off x="3454309" y="4532300"/>
                      <a:ext cx="563116" cy="421997"/>
                    </a:xfrm>
                    <a:prstGeom prst="line">
                      <a:avLst/>
                    </a:prstGeom>
                    <a:grpFill/>
                    <a:ln w="12700" cap="rnd" cmpd="sng" algn="ctr">
                      <a:solidFill>
                        <a:srgbClr val="FFFFFF"/>
                      </a:solidFill>
                      <a:prstDash val="solid"/>
                      <a:headEnd type="none" w="med" len="med"/>
                      <a:tailEnd type="none" w="med" len="med"/>
                    </a:ln>
                    <a:effectLst/>
                  </p:spPr>
                </p:cxnSp>
              </p:grpSp>
              <p:cxnSp>
                <p:nvCxnSpPr>
                  <p:cNvPr id="80" name="Straight Connector 79">
                    <a:extLst>
                      <a:ext uri="{FF2B5EF4-FFF2-40B4-BE49-F238E27FC236}">
                        <a16:creationId xmlns:a16="http://schemas.microsoft.com/office/drawing/2014/main" id="{997782FE-7F93-406C-B980-8182EC83A981}"/>
                      </a:ext>
                    </a:extLst>
                  </p:cNvPr>
                  <p:cNvCxnSpPr>
                    <a:cxnSpLocks/>
                    <a:endCxn id="81" idx="3"/>
                  </p:cNvCxnSpPr>
                  <p:nvPr/>
                </p:nvCxnSpPr>
                <p:spPr>
                  <a:xfrm flipH="1">
                    <a:off x="4020344" y="4956376"/>
                    <a:ext cx="682" cy="560267"/>
                  </a:xfrm>
                  <a:prstGeom prst="line">
                    <a:avLst/>
                  </a:prstGeom>
                  <a:grpFill/>
                  <a:ln w="12700" cap="rnd" cmpd="sng" algn="ctr">
                    <a:solidFill>
                      <a:srgbClr val="FFFFFF"/>
                    </a:solidFill>
                    <a:prstDash val="solid"/>
                    <a:headEnd type="none" w="med" len="med"/>
                    <a:tailEnd type="none" w="med" len="med"/>
                  </a:ln>
                  <a:effectLst/>
                </p:spPr>
              </p:cxnSp>
            </p:grpSp>
          </p:grpSp>
        </p:grpSp>
        <p:grpSp>
          <p:nvGrpSpPr>
            <p:cNvPr id="99" name="Group 98">
              <a:extLst>
                <a:ext uri="{FF2B5EF4-FFF2-40B4-BE49-F238E27FC236}">
                  <a16:creationId xmlns:a16="http://schemas.microsoft.com/office/drawing/2014/main" id="{5869723B-395D-4E8E-B77A-A00EA8BAF620}"/>
                </a:ext>
              </a:extLst>
            </p:cNvPr>
            <p:cNvGrpSpPr/>
            <p:nvPr/>
          </p:nvGrpSpPr>
          <p:grpSpPr>
            <a:xfrm>
              <a:off x="6465908" y="1631767"/>
              <a:ext cx="831909" cy="831909"/>
              <a:chOff x="9683679" y="1960889"/>
              <a:chExt cx="769256" cy="769256"/>
            </a:xfrm>
          </p:grpSpPr>
          <p:sp>
            <p:nvSpPr>
              <p:cNvPr id="100" name="Oval 99">
                <a:extLst>
                  <a:ext uri="{FF2B5EF4-FFF2-40B4-BE49-F238E27FC236}">
                    <a16:creationId xmlns:a16="http://schemas.microsoft.com/office/drawing/2014/main" id="{B957D808-8E45-408C-83B7-8D31120760CE}"/>
                  </a:ext>
                </a:extLst>
              </p:cNvPr>
              <p:cNvSpPr/>
              <p:nvPr/>
            </p:nvSpPr>
            <p:spPr bwMode="auto">
              <a:xfrm>
                <a:off x="9683679" y="1960889"/>
                <a:ext cx="769256" cy="76925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01" name="Group 100">
                <a:extLst>
                  <a:ext uri="{FF2B5EF4-FFF2-40B4-BE49-F238E27FC236}">
                    <a16:creationId xmlns:a16="http://schemas.microsoft.com/office/drawing/2014/main" id="{8F8B387D-A248-4708-B7D3-94987359E7F8}"/>
                  </a:ext>
                </a:extLst>
              </p:cNvPr>
              <p:cNvGrpSpPr/>
              <p:nvPr/>
            </p:nvGrpSpPr>
            <p:grpSpPr>
              <a:xfrm>
                <a:off x="9927554" y="2149758"/>
                <a:ext cx="281506" cy="391519"/>
                <a:chOff x="9904275" y="-1131915"/>
                <a:chExt cx="528476" cy="735005"/>
              </a:xfrm>
            </p:grpSpPr>
            <p:sp>
              <p:nvSpPr>
                <p:cNvPr id="102" name="key_3">
                  <a:extLst>
                    <a:ext uri="{FF2B5EF4-FFF2-40B4-BE49-F238E27FC236}">
                      <a16:creationId xmlns:a16="http://schemas.microsoft.com/office/drawing/2014/main" id="{CDDC54EF-86B6-4255-AE8C-09734A2AA8B1}"/>
                    </a:ext>
                  </a:extLst>
                </p:cNvPr>
                <p:cNvSpPr>
                  <a:spLocks noChangeAspect="1" noEditPoints="1"/>
                </p:cNvSpPr>
                <p:nvPr/>
              </p:nvSpPr>
              <p:spPr bwMode="auto">
                <a:xfrm rot="16200000">
                  <a:off x="10121921" y="-780233"/>
                  <a:ext cx="126375" cy="316575"/>
                </a:xfrm>
                <a:custGeom>
                  <a:avLst/>
                  <a:gdLst>
                    <a:gd name="T0" fmla="*/ 0 w 134"/>
                    <a:gd name="T1" fmla="*/ 33 h 343"/>
                    <a:gd name="T2" fmla="*/ 33 w 134"/>
                    <a:gd name="T3" fmla="*/ 0 h 343"/>
                    <a:gd name="T4" fmla="*/ 101 w 134"/>
                    <a:gd name="T5" fmla="*/ 0 h 343"/>
                    <a:gd name="T6" fmla="*/ 134 w 134"/>
                    <a:gd name="T7" fmla="*/ 33 h 343"/>
                    <a:gd name="T8" fmla="*/ 134 w 134"/>
                    <a:gd name="T9" fmla="*/ 113 h 343"/>
                    <a:gd name="T10" fmla="*/ 101 w 134"/>
                    <a:gd name="T11" fmla="*/ 146 h 343"/>
                    <a:gd name="T12" fmla="*/ 33 w 134"/>
                    <a:gd name="T13" fmla="*/ 146 h 343"/>
                    <a:gd name="T14" fmla="*/ 0 w 134"/>
                    <a:gd name="T15" fmla="*/ 113 h 343"/>
                    <a:gd name="T16" fmla="*/ 0 w 134"/>
                    <a:gd name="T17" fmla="*/ 33 h 343"/>
                    <a:gd name="T18" fmla="*/ 67 w 134"/>
                    <a:gd name="T19" fmla="*/ 69 h 343"/>
                    <a:gd name="T20" fmla="*/ 79 w 134"/>
                    <a:gd name="T21" fmla="*/ 57 h 343"/>
                    <a:gd name="T22" fmla="*/ 67 w 134"/>
                    <a:gd name="T23" fmla="*/ 44 h 343"/>
                    <a:gd name="T24" fmla="*/ 55 w 134"/>
                    <a:gd name="T25" fmla="*/ 57 h 343"/>
                    <a:gd name="T26" fmla="*/ 67 w 134"/>
                    <a:gd name="T27" fmla="*/ 69 h 343"/>
                    <a:gd name="T28" fmla="*/ 42 w 134"/>
                    <a:gd name="T29" fmla="*/ 146 h 343"/>
                    <a:gd name="T30" fmla="*/ 42 w 134"/>
                    <a:gd name="T31" fmla="*/ 235 h 343"/>
                    <a:gd name="T32" fmla="*/ 60 w 134"/>
                    <a:gd name="T33" fmla="*/ 253 h 343"/>
                    <a:gd name="T34" fmla="*/ 42 w 134"/>
                    <a:gd name="T35" fmla="*/ 268 h 343"/>
                    <a:gd name="T36" fmla="*/ 42 w 134"/>
                    <a:gd name="T37" fmla="*/ 290 h 343"/>
                    <a:gd name="T38" fmla="*/ 60 w 134"/>
                    <a:gd name="T39" fmla="*/ 308 h 343"/>
                    <a:gd name="T40" fmla="*/ 42 w 134"/>
                    <a:gd name="T41" fmla="*/ 324 h 343"/>
                    <a:gd name="T42" fmla="*/ 42 w 134"/>
                    <a:gd name="T43" fmla="*/ 343 h 343"/>
                    <a:gd name="T44" fmla="*/ 83 w 134"/>
                    <a:gd name="T45" fmla="*/ 343 h 343"/>
                    <a:gd name="T46" fmla="*/ 92 w 134"/>
                    <a:gd name="T47" fmla="*/ 332 h 343"/>
                    <a:gd name="T48" fmla="*/ 92 w 134"/>
                    <a:gd name="T49" fmla="*/ 146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343">
                      <a:moveTo>
                        <a:pt x="0" y="33"/>
                      </a:moveTo>
                      <a:cubicBezTo>
                        <a:pt x="0" y="15"/>
                        <a:pt x="15" y="0"/>
                        <a:pt x="33" y="0"/>
                      </a:cubicBezTo>
                      <a:cubicBezTo>
                        <a:pt x="101" y="0"/>
                        <a:pt x="101" y="0"/>
                        <a:pt x="101" y="0"/>
                      </a:cubicBezTo>
                      <a:cubicBezTo>
                        <a:pt x="119" y="0"/>
                        <a:pt x="134" y="15"/>
                        <a:pt x="134" y="33"/>
                      </a:cubicBezTo>
                      <a:cubicBezTo>
                        <a:pt x="134" y="113"/>
                        <a:pt x="134" y="113"/>
                        <a:pt x="134" y="113"/>
                      </a:cubicBezTo>
                      <a:cubicBezTo>
                        <a:pt x="134" y="131"/>
                        <a:pt x="119" y="146"/>
                        <a:pt x="101" y="146"/>
                      </a:cubicBezTo>
                      <a:cubicBezTo>
                        <a:pt x="33" y="146"/>
                        <a:pt x="33" y="146"/>
                        <a:pt x="33" y="146"/>
                      </a:cubicBezTo>
                      <a:cubicBezTo>
                        <a:pt x="15" y="146"/>
                        <a:pt x="0" y="131"/>
                        <a:pt x="0" y="113"/>
                      </a:cubicBezTo>
                      <a:lnTo>
                        <a:pt x="0" y="33"/>
                      </a:lnTo>
                      <a:close/>
                      <a:moveTo>
                        <a:pt x="67" y="69"/>
                      </a:moveTo>
                      <a:cubicBezTo>
                        <a:pt x="74" y="69"/>
                        <a:pt x="79" y="63"/>
                        <a:pt x="79" y="57"/>
                      </a:cubicBezTo>
                      <a:cubicBezTo>
                        <a:pt x="79" y="50"/>
                        <a:pt x="74" y="44"/>
                        <a:pt x="67" y="44"/>
                      </a:cubicBezTo>
                      <a:cubicBezTo>
                        <a:pt x="60" y="44"/>
                        <a:pt x="55" y="50"/>
                        <a:pt x="55" y="57"/>
                      </a:cubicBezTo>
                      <a:cubicBezTo>
                        <a:pt x="55" y="63"/>
                        <a:pt x="60" y="69"/>
                        <a:pt x="67" y="69"/>
                      </a:cubicBezTo>
                      <a:close/>
                      <a:moveTo>
                        <a:pt x="42" y="146"/>
                      </a:moveTo>
                      <a:cubicBezTo>
                        <a:pt x="42" y="235"/>
                        <a:pt x="42" y="235"/>
                        <a:pt x="42" y="235"/>
                      </a:cubicBezTo>
                      <a:cubicBezTo>
                        <a:pt x="60" y="253"/>
                        <a:pt x="60" y="253"/>
                        <a:pt x="60" y="253"/>
                      </a:cubicBezTo>
                      <a:cubicBezTo>
                        <a:pt x="42" y="268"/>
                        <a:pt x="42" y="268"/>
                        <a:pt x="42" y="268"/>
                      </a:cubicBezTo>
                      <a:cubicBezTo>
                        <a:pt x="42" y="290"/>
                        <a:pt x="42" y="290"/>
                        <a:pt x="42" y="290"/>
                      </a:cubicBezTo>
                      <a:cubicBezTo>
                        <a:pt x="60" y="308"/>
                        <a:pt x="60" y="308"/>
                        <a:pt x="60" y="308"/>
                      </a:cubicBezTo>
                      <a:cubicBezTo>
                        <a:pt x="42" y="324"/>
                        <a:pt x="42" y="324"/>
                        <a:pt x="42" y="324"/>
                      </a:cubicBezTo>
                      <a:cubicBezTo>
                        <a:pt x="42" y="343"/>
                        <a:pt x="42" y="343"/>
                        <a:pt x="42" y="343"/>
                      </a:cubicBezTo>
                      <a:cubicBezTo>
                        <a:pt x="83" y="343"/>
                        <a:pt x="83" y="343"/>
                        <a:pt x="83" y="343"/>
                      </a:cubicBezTo>
                      <a:cubicBezTo>
                        <a:pt x="88" y="343"/>
                        <a:pt x="92" y="338"/>
                        <a:pt x="92" y="332"/>
                      </a:cubicBezTo>
                      <a:cubicBezTo>
                        <a:pt x="92" y="146"/>
                        <a:pt x="92" y="146"/>
                        <a:pt x="92" y="146"/>
                      </a:cubicBezTo>
                    </a:path>
                  </a:pathLst>
                </a:custGeom>
                <a:noFill/>
                <a:ln w="12700" cap="rnd" cmpd="sng" algn="ctr">
                  <a:solidFill>
                    <a:srgbClr val="FFFFFF"/>
                  </a:solidFill>
                  <a:prstDash val="soli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a:ea typeface="+mn-ea"/>
                    <a:cs typeface="+mn-cs"/>
                  </a:endParaRPr>
                </a:p>
              </p:txBody>
            </p:sp>
            <p:sp>
              <p:nvSpPr>
                <p:cNvPr id="103" name="lock">
                  <a:extLst>
                    <a:ext uri="{FF2B5EF4-FFF2-40B4-BE49-F238E27FC236}">
                      <a16:creationId xmlns:a16="http://schemas.microsoft.com/office/drawing/2014/main" id="{10707995-9048-4CBB-9E94-3093C1171A5E}"/>
                    </a:ext>
                  </a:extLst>
                </p:cNvPr>
                <p:cNvSpPr>
                  <a:spLocks noChangeAspect="1" noEditPoints="1"/>
                </p:cNvSpPr>
                <p:nvPr/>
              </p:nvSpPr>
              <p:spPr bwMode="auto">
                <a:xfrm>
                  <a:off x="9904275" y="-1131915"/>
                  <a:ext cx="528476" cy="73500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rnd" cmpd="sng" algn="ctr">
                  <a:solidFill>
                    <a:srgbClr val="FFFFFF"/>
                  </a:solidFill>
                  <a:prstDash val="soli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FFFFFF"/>
                    </a:solidFill>
                    <a:effectLst/>
                    <a:uLnTx/>
                    <a:uFillTx/>
                    <a:latin typeface="Segoe UI"/>
                    <a:ea typeface="+mn-ea"/>
                    <a:cs typeface="+mn-cs"/>
                  </a:endParaRPr>
                </a:p>
              </p:txBody>
            </p:sp>
          </p:grpSp>
        </p:grpSp>
      </p:grpSp>
      <p:grpSp>
        <p:nvGrpSpPr>
          <p:cNvPr id="8" name="Group 7">
            <a:extLst>
              <a:ext uri="{FF2B5EF4-FFF2-40B4-BE49-F238E27FC236}">
                <a16:creationId xmlns:a16="http://schemas.microsoft.com/office/drawing/2014/main" id="{CFBA3035-1858-4750-9B46-04D5DF02810B}"/>
              </a:ext>
            </a:extLst>
          </p:cNvPr>
          <p:cNvGrpSpPr/>
          <p:nvPr/>
        </p:nvGrpSpPr>
        <p:grpSpPr>
          <a:xfrm>
            <a:off x="8619373" y="784798"/>
            <a:ext cx="3299330" cy="5786439"/>
            <a:chOff x="8619373" y="784798"/>
            <a:chExt cx="3299330" cy="5786439"/>
          </a:xfrm>
        </p:grpSpPr>
        <p:sp>
          <p:nvSpPr>
            <p:cNvPr id="58" name="Title 1">
              <a:extLst>
                <a:ext uri="{FF2B5EF4-FFF2-40B4-BE49-F238E27FC236}">
                  <a16:creationId xmlns:a16="http://schemas.microsoft.com/office/drawing/2014/main" id="{64A1551B-FBC9-48BA-A95E-DB7347544E0C}"/>
                </a:ext>
              </a:extLst>
            </p:cNvPr>
            <p:cNvSpPr txBox="1">
              <a:spLocks/>
            </p:cNvSpPr>
            <p:nvPr/>
          </p:nvSpPr>
          <p:spPr>
            <a:xfrm>
              <a:off x="8619373" y="784798"/>
              <a:ext cx="3241832"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Azure IoT Hub Device </a:t>
              </a:r>
              <a:br>
                <a:rPr kumimoji="0" lang="en-US" sz="16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br>
              <a:r>
                <a:rPr kumimoji="0" lang="en-US" sz="16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Provisioning Service</a:t>
              </a:r>
            </a:p>
          </p:txBody>
        </p:sp>
        <p:grpSp>
          <p:nvGrpSpPr>
            <p:cNvPr id="7" name="Group 6">
              <a:extLst>
                <a:ext uri="{FF2B5EF4-FFF2-40B4-BE49-F238E27FC236}">
                  <a16:creationId xmlns:a16="http://schemas.microsoft.com/office/drawing/2014/main" id="{F13531DA-F82F-4621-877F-B16A3AFCE144}"/>
                </a:ext>
              </a:extLst>
            </p:cNvPr>
            <p:cNvGrpSpPr/>
            <p:nvPr/>
          </p:nvGrpSpPr>
          <p:grpSpPr>
            <a:xfrm>
              <a:off x="8619373" y="1390882"/>
              <a:ext cx="3299330" cy="5180355"/>
              <a:chOff x="8619373" y="1390882"/>
              <a:chExt cx="3299330" cy="5180355"/>
            </a:xfrm>
          </p:grpSpPr>
          <p:sp>
            <p:nvSpPr>
              <p:cNvPr id="53" name="Rectangle 52">
                <a:extLst>
                  <a:ext uri="{FF2B5EF4-FFF2-40B4-BE49-F238E27FC236}">
                    <a16:creationId xmlns:a16="http://schemas.microsoft.com/office/drawing/2014/main" id="{C8D94F65-1A61-4EC2-A48E-6D5C6FB63296}"/>
                  </a:ext>
                </a:extLst>
              </p:cNvPr>
              <p:cNvSpPr/>
              <p:nvPr/>
            </p:nvSpPr>
            <p:spPr bwMode="auto">
              <a:xfrm>
                <a:off x="8619373" y="1390882"/>
                <a:ext cx="3299330" cy="5180355"/>
              </a:xfrm>
              <a:prstGeom prst="rect">
                <a:avLst/>
              </a:prstGeom>
              <a:solidFill>
                <a:schemeClr val="bg2">
                  <a:lumMod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06" name="Oval 105">
                <a:extLst>
                  <a:ext uri="{FF2B5EF4-FFF2-40B4-BE49-F238E27FC236}">
                    <a16:creationId xmlns:a16="http://schemas.microsoft.com/office/drawing/2014/main" id="{B15AC96D-A807-4EB9-8F6E-91CC450D0A3B}"/>
                  </a:ext>
                </a:extLst>
              </p:cNvPr>
              <p:cNvSpPr/>
              <p:nvPr/>
            </p:nvSpPr>
            <p:spPr bwMode="auto">
              <a:xfrm>
                <a:off x="9780798" y="1618593"/>
                <a:ext cx="831909" cy="831909"/>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56" name="Group 55">
                <a:extLst>
                  <a:ext uri="{FF2B5EF4-FFF2-40B4-BE49-F238E27FC236}">
                    <a16:creationId xmlns:a16="http://schemas.microsoft.com/office/drawing/2014/main" id="{17BFB0BE-A5E5-4858-878A-F8FC1167A0D9}"/>
                  </a:ext>
                </a:extLst>
              </p:cNvPr>
              <p:cNvGrpSpPr>
                <a:grpSpLocks noChangeAspect="1"/>
              </p:cNvGrpSpPr>
              <p:nvPr/>
            </p:nvGrpSpPr>
            <p:grpSpPr>
              <a:xfrm>
                <a:off x="8776660" y="2638218"/>
                <a:ext cx="3066520" cy="2907145"/>
                <a:chOff x="8637399" y="1981270"/>
                <a:chExt cx="2875800" cy="3915523"/>
              </a:xfrm>
            </p:grpSpPr>
            <p:sp>
              <p:nvSpPr>
                <p:cNvPr id="59" name="Text Placeholder 8">
                  <a:extLst>
                    <a:ext uri="{FF2B5EF4-FFF2-40B4-BE49-F238E27FC236}">
                      <a16:creationId xmlns:a16="http://schemas.microsoft.com/office/drawing/2014/main" id="{9ECACCDB-1BDC-4EB5-BBF6-F24EE26517D9}"/>
                    </a:ext>
                  </a:extLst>
                </p:cNvPr>
                <p:cNvSpPr txBox="1">
                  <a:spLocks/>
                </p:cNvSpPr>
                <p:nvPr/>
              </p:nvSpPr>
              <p:spPr>
                <a:xfrm>
                  <a:off x="8755600" y="1981270"/>
                  <a:ext cx="2427141" cy="695828"/>
                </a:xfrm>
                <a:prstGeom prst="rect">
                  <a:avLst/>
                </a:prstGeom>
              </p:spPr>
              <p:txBody>
                <a:bodyPr wrap="square" lIns="182880" tIns="0" rIns="182880" bIns="182880"/>
                <a:lstStyle>
                  <a:lvl1pPr marL="0" indent="0" algn="l" defTabSz="271902"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1pPr>
                  <a:lvl2pPr marL="10709" indent="0" algn="l" defTabSz="271902"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339878" indent="-67976" algn="l" defTabSz="271902"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475830" indent="-67976" algn="l" defTabSz="271902"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611780" indent="-67976" algn="l" defTabSz="271902"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747732"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6pPr>
                  <a:lvl7pPr marL="883683"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7pPr>
                  <a:lvl8pPr marL="1019634"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8pPr>
                  <a:lvl9pPr marL="1155585"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9pPr>
                </a:lstStyle>
                <a:p>
                  <a:pPr marL="0" marR="0" lvl="0" indent="0" algn="ctr" defTabSz="271902"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Semibold" panose="020B0702040204020203" pitchFamily="34" charset="0"/>
                      <a:ea typeface="+mn-ea"/>
                      <a:cs typeface="Segoe UI Semibold" panose="020B0702040204020203" pitchFamily="34" charset="0"/>
                    </a:rPr>
                    <a:t>IoT-scale automated provisioning</a:t>
                  </a:r>
                </a:p>
                <a:p>
                  <a:pPr marL="0" marR="0" lvl="0" indent="0" algn="ctr" defTabSz="271902" rtl="0" eaLnBrk="1" fontAlgn="auto" latinLnBrk="0" hangingPunct="1">
                    <a:lnSpc>
                      <a:spcPct val="90000"/>
                    </a:lnSpc>
                    <a:spcBef>
                      <a:spcPts val="60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Semibold" panose="020B0702040204020203" pitchFamily="34" charset="0"/>
                    <a:ea typeface="+mn-ea"/>
                    <a:cs typeface="Segoe UI Semibold" panose="020B0702040204020203" pitchFamily="34" charset="0"/>
                  </a:endParaRPr>
                </a:p>
              </p:txBody>
            </p:sp>
            <p:sp>
              <p:nvSpPr>
                <p:cNvPr id="61" name="Text Placeholder 8">
                  <a:extLst>
                    <a:ext uri="{FF2B5EF4-FFF2-40B4-BE49-F238E27FC236}">
                      <a16:creationId xmlns:a16="http://schemas.microsoft.com/office/drawing/2014/main" id="{6FCB0408-876F-49F8-A504-3EB7CC6D453A}"/>
                    </a:ext>
                  </a:extLst>
                </p:cNvPr>
                <p:cNvSpPr txBox="1">
                  <a:spLocks/>
                </p:cNvSpPr>
                <p:nvPr/>
              </p:nvSpPr>
              <p:spPr>
                <a:xfrm>
                  <a:off x="8637399" y="3040663"/>
                  <a:ext cx="2875800" cy="2856130"/>
                </a:xfrm>
                <a:prstGeom prst="rect">
                  <a:avLst/>
                </a:prstGeom>
              </p:spPr>
              <p:txBody>
                <a:bodyPr vert="horz" wrap="square" lIns="182880" tIns="0" rIns="182880" bIns="182880" rtlCol="0">
                  <a:spAutoFit/>
                </a:bodyPr>
                <a:lstStyle>
                  <a:lvl1pPr marL="0" marR="0" indent="0" algn="l" defTabSz="932742" rtl="0" eaLnBrk="1" fontAlgn="auto" latinLnBrk="0" hangingPunct="1">
                    <a:lnSpc>
                      <a:spcPct val="90000"/>
                    </a:lnSpc>
                    <a:spcBef>
                      <a:spcPts val="1800"/>
                    </a:spcBef>
                    <a:spcAft>
                      <a:spcPts val="0"/>
                    </a:spcAft>
                    <a:buClrTx/>
                    <a:buSzPct val="90000"/>
                    <a:buFont typeface="Wingdings" panose="05000000000000000000" pitchFamily="2" charset="2"/>
                    <a:buNone/>
                    <a:tabLst/>
                    <a:defRPr sz="2000" kern="1200" spc="0" baseline="0">
                      <a:solidFill>
                        <a:schemeClr val="tx2"/>
                      </a:solidFill>
                      <a:latin typeface="+mn-lt"/>
                      <a:ea typeface="+mn-ea"/>
                      <a:cs typeface="+mn-cs"/>
                    </a:defRPr>
                  </a:lvl1pPr>
                  <a:lvl2pPr marL="0" marR="0" indent="0" algn="l" defTabSz="932742" rtl="0" eaLnBrk="1" fontAlgn="auto" latinLnBrk="0" hangingPunct="1">
                    <a:lnSpc>
                      <a:spcPct val="9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Zero-touch provisioning</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Centralize your </a:t>
                  </a:r>
                  <a:b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b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provisioning workflow</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Load balance across multiple </a:t>
                  </a:r>
                  <a:b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b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IoT Hubs</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Re-provisioning support</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rPr>
                    <a:t>Supports TPM + X.509</a:t>
                  </a:r>
                </a:p>
                <a:p>
                  <a:pPr marL="0" marR="0" lvl="1" indent="0" algn="ctr" defTabSz="932742" rtl="0" eaLnBrk="1" fontAlgn="auto" latinLnBrk="0" hangingPunct="1">
                    <a:lnSpc>
                      <a:spcPct val="90000"/>
                    </a:lnSpc>
                    <a:spcBef>
                      <a:spcPts val="600"/>
                    </a:spcBef>
                    <a:spcAft>
                      <a:spcPts val="0"/>
                    </a:spcAft>
                    <a:buClrTx/>
                    <a:buSzPct val="90000"/>
                    <a:buFont typeface="Wingdings" panose="05000000000000000000" pitchFamily="2" charset="2"/>
                    <a:buNone/>
                    <a:tabLst/>
                    <a:defRPr/>
                  </a:pPr>
                  <a:endParaRPr kumimoji="0" lang="en-US" sz="1400" b="0" i="0" u="none" strike="noStrike" kern="1200" cap="none" spc="0" normalizeH="0" baseline="0" noProof="0">
                    <a:ln>
                      <a:noFill/>
                    </a:ln>
                    <a:gradFill>
                      <a:gsLst>
                        <a:gs pos="41204">
                          <a:srgbClr val="1A1A1A"/>
                        </a:gs>
                        <a:gs pos="59000">
                          <a:srgbClr val="1A1A1A"/>
                        </a:gs>
                      </a:gsLst>
                      <a:lin ang="5400000" scaled="1"/>
                    </a:gradFill>
                    <a:effectLst/>
                    <a:uLnTx/>
                    <a:uFillTx/>
                    <a:latin typeface="Segoe UI"/>
                    <a:ea typeface="+mn-ea"/>
                    <a:cs typeface="+mn-cs"/>
                  </a:endParaRPr>
                </a:p>
              </p:txBody>
            </p:sp>
          </p:grpSp>
          <p:pic>
            <p:nvPicPr>
              <p:cNvPr id="104" name="Picture 103">
                <a:extLst>
                  <a:ext uri="{FF2B5EF4-FFF2-40B4-BE49-F238E27FC236}">
                    <a16:creationId xmlns:a16="http://schemas.microsoft.com/office/drawing/2014/main" id="{8935C1FB-9963-4CA1-B55B-85B280F42A10}"/>
                  </a:ext>
                </a:extLst>
              </p:cNvPr>
              <p:cNvPicPr>
                <a:picLocks noChangeAspect="1"/>
              </p:cNvPicPr>
              <p:nvPr/>
            </p:nvPicPr>
            <p:blipFill>
              <a:blip r:embed="rId3">
                <a:biLevel thresh="50000"/>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9946417" y="1780143"/>
                <a:ext cx="500671" cy="496790"/>
              </a:xfrm>
              <a:prstGeom prst="rect">
                <a:avLst/>
              </a:prstGeom>
              <a:noFill/>
              <a:ln>
                <a:noFill/>
              </a:ln>
            </p:spPr>
          </p:pic>
        </p:grpSp>
      </p:grpSp>
    </p:spTree>
    <p:extLst>
      <p:ext uri="{BB962C8B-B14F-4D97-AF65-F5344CB8AC3E}">
        <p14:creationId xmlns:p14="http://schemas.microsoft.com/office/powerpoint/2010/main" val="148103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ppt_x"/>
                                          </p:val>
                                        </p:tav>
                                        <p:tav tm="100000">
                                          <p:val>
                                            <p:strVal val="#ppt_x"/>
                                          </p:val>
                                        </p:tav>
                                      </p:tavLst>
                                    </p:anim>
                                    <p:anim calcmode="lin" valueType="num">
                                      <p:cBhvr additive="base">
                                        <p:cTn id="8" dur="850" fill="hold"/>
                                        <p:tgtEl>
                                          <p:spTgt spid="6"/>
                                        </p:tgtEl>
                                        <p:attrNameLst>
                                          <p:attrName>ppt_y</p:attrName>
                                        </p:attrNameLst>
                                      </p:cBhvr>
                                      <p:tavLst>
                                        <p:tav tm="0">
                                          <p:val>
                                            <p:strVal val="1+#ppt_h/2"/>
                                          </p:val>
                                        </p:tav>
                                        <p:tav tm="100000">
                                          <p:val>
                                            <p:strVal val="#ppt_y"/>
                                          </p:val>
                                        </p:tav>
                                      </p:tavLst>
                                    </p:anim>
                                  </p:childTnLst>
                                </p:cTn>
                              </p:par>
                            </p:childTnLst>
                          </p:cTn>
                        </p:par>
                        <p:par>
                          <p:cTn id="9" fill="hold">
                            <p:stCondLst>
                              <p:cond delay="850"/>
                            </p:stCondLst>
                            <p:childTnLst>
                              <p:par>
                                <p:cTn id="10" presetID="2" presetClass="entr" presetSubtype="4" decel="100000" fill="hold" nodeType="after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850" fill="hold"/>
                                        <p:tgtEl>
                                          <p:spTgt spid="8"/>
                                        </p:tgtEl>
                                        <p:attrNameLst>
                                          <p:attrName>ppt_x</p:attrName>
                                        </p:attrNameLst>
                                      </p:cBhvr>
                                      <p:tavLst>
                                        <p:tav tm="0">
                                          <p:val>
                                            <p:strVal val="#ppt_x"/>
                                          </p:val>
                                        </p:tav>
                                        <p:tav tm="100000">
                                          <p:val>
                                            <p:strVal val="#ppt_x"/>
                                          </p:val>
                                        </p:tav>
                                      </p:tavLst>
                                    </p:anim>
                                    <p:anim calcmode="lin" valueType="num">
                                      <p:cBhvr additive="base">
                                        <p:cTn id="13" dur="85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C12F98-F9B3-4490-9BC9-EC128461F194}"/>
              </a:ext>
            </a:extLst>
          </p:cNvPr>
          <p:cNvSpPr>
            <a:spLocks noGrp="1"/>
          </p:cNvSpPr>
          <p:nvPr>
            <p:ph type="title"/>
          </p:nvPr>
        </p:nvSpPr>
        <p:spPr/>
        <p:txBody>
          <a:bodyPr/>
          <a:lstStyle/>
          <a:p>
            <a:r>
              <a:rPr lang="en-US"/>
              <a:t>IoT device management lifecycle</a:t>
            </a:r>
          </a:p>
        </p:txBody>
      </p:sp>
      <p:sp>
        <p:nvSpPr>
          <p:cNvPr id="39" name="Partial Circle 4">
            <a:extLst>
              <a:ext uri="{FF2B5EF4-FFF2-40B4-BE49-F238E27FC236}">
                <a16:creationId xmlns:a16="http://schemas.microsoft.com/office/drawing/2014/main" id="{5950FEEF-DE6E-4660-AB9A-3C3645B3BA04}"/>
              </a:ext>
            </a:extLst>
          </p:cNvPr>
          <p:cNvSpPr txBox="1"/>
          <p:nvPr/>
        </p:nvSpPr>
        <p:spPr>
          <a:xfrm>
            <a:off x="6642638" y="2318969"/>
            <a:ext cx="533823" cy="249299"/>
          </a:xfrm>
          <a:prstGeom prst="rect">
            <a:avLst/>
          </a:prstGeom>
          <a:noFill/>
          <a:ln>
            <a:noFill/>
          </a:ln>
          <a:effectLst/>
        </p:spPr>
        <p:txBody>
          <a:bodyPr spcFirstLastPara="0" vert="horz" wrap="square" lIns="0" tIns="0" rIns="0" bIns="0" numCol="1" spcCol="1270" anchor="ctr" anchorCtr="0">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1800" b="0" i="0" u="none" strike="noStrike" kern="0" cap="none" spc="0" normalizeH="0" baseline="0" noProof="0">
                <a:ln>
                  <a:noFill/>
                </a:ln>
                <a:gradFill>
                  <a:gsLst>
                    <a:gs pos="41204">
                      <a:srgbClr val="0D0D0D"/>
                    </a:gs>
                    <a:gs pos="59000">
                      <a:srgbClr val="0D0D0D"/>
                    </a:gs>
                  </a:gsLst>
                  <a:lin ang="5400000" scaled="1"/>
                </a:gradFill>
                <a:effectLst/>
                <a:uLnTx/>
                <a:uFillTx/>
                <a:latin typeface="Segoe UI Semibold" panose="020B0702040204020203" pitchFamily="34" charset="0"/>
                <a:ea typeface="+mn-ea"/>
                <a:cs typeface="Segoe UI Semibold" panose="020B0702040204020203" pitchFamily="34" charset="0"/>
              </a:rPr>
              <a:t>Plan</a:t>
            </a:r>
          </a:p>
        </p:txBody>
      </p:sp>
      <p:sp>
        <p:nvSpPr>
          <p:cNvPr id="40" name="Partial Circle 6">
            <a:extLst>
              <a:ext uri="{FF2B5EF4-FFF2-40B4-BE49-F238E27FC236}">
                <a16:creationId xmlns:a16="http://schemas.microsoft.com/office/drawing/2014/main" id="{81572864-45CB-454C-9ACE-EA64C32A3E15}"/>
              </a:ext>
            </a:extLst>
          </p:cNvPr>
          <p:cNvSpPr txBox="1"/>
          <p:nvPr/>
        </p:nvSpPr>
        <p:spPr>
          <a:xfrm>
            <a:off x="6577013" y="3983794"/>
            <a:ext cx="1020785" cy="249299"/>
          </a:xfrm>
          <a:prstGeom prst="rect">
            <a:avLst/>
          </a:prstGeom>
          <a:noFill/>
          <a:ln>
            <a:noFill/>
          </a:ln>
          <a:effectLst/>
        </p:spPr>
        <p:txBody>
          <a:bodyPr spcFirstLastPara="0" vert="horz" wrap="square" lIns="0" tIns="0" rIns="0" bIns="0" numCol="1" spcCol="1270" anchor="ctr" anchorCtr="0">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1800" b="0" i="0" u="none" strike="noStrike" kern="0" cap="none" spc="0" normalizeH="0" baseline="0" noProof="0">
                <a:ln>
                  <a:noFill/>
                </a:ln>
                <a:gradFill>
                  <a:gsLst>
                    <a:gs pos="41204">
                      <a:srgbClr val="0D0D0D"/>
                    </a:gs>
                    <a:gs pos="59000">
                      <a:srgbClr val="0D0D0D"/>
                    </a:gs>
                  </a:gsLst>
                  <a:lin ang="5400000" scaled="1"/>
                </a:gradFill>
                <a:effectLst/>
                <a:uLnTx/>
                <a:uFillTx/>
                <a:latin typeface="Segoe UI Semibold" panose="020B0702040204020203" pitchFamily="34" charset="0"/>
                <a:ea typeface="+mn-ea"/>
                <a:cs typeface="Segoe UI Semibold" panose="020B0702040204020203" pitchFamily="34" charset="0"/>
              </a:rPr>
              <a:t>Provision</a:t>
            </a:r>
          </a:p>
        </p:txBody>
      </p:sp>
      <p:sp>
        <p:nvSpPr>
          <p:cNvPr id="41" name="Partial Circle 8">
            <a:extLst>
              <a:ext uri="{FF2B5EF4-FFF2-40B4-BE49-F238E27FC236}">
                <a16:creationId xmlns:a16="http://schemas.microsoft.com/office/drawing/2014/main" id="{1856E05D-4B92-48E6-A3D0-FD92DBE3CFA7}"/>
              </a:ext>
            </a:extLst>
          </p:cNvPr>
          <p:cNvSpPr txBox="1"/>
          <p:nvPr/>
        </p:nvSpPr>
        <p:spPr>
          <a:xfrm>
            <a:off x="5558683" y="4968194"/>
            <a:ext cx="1055380" cy="249299"/>
          </a:xfrm>
          <a:prstGeom prst="rect">
            <a:avLst/>
          </a:prstGeom>
          <a:noFill/>
          <a:ln>
            <a:noFill/>
          </a:ln>
          <a:effectLst/>
        </p:spPr>
        <p:txBody>
          <a:bodyPr spcFirstLastPara="0" vert="horz" wrap="square" lIns="0" tIns="0" rIns="0" bIns="0" numCol="1" spcCol="1270" anchor="ctr" anchorCtr="0">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1800" b="0" i="0" u="none" strike="noStrike" kern="0" cap="none" spc="0" normalizeH="0" baseline="0" noProof="0">
                <a:ln>
                  <a:noFill/>
                </a:ln>
                <a:gradFill>
                  <a:gsLst>
                    <a:gs pos="41204">
                      <a:srgbClr val="0D0D0D"/>
                    </a:gs>
                    <a:gs pos="59000">
                      <a:srgbClr val="0D0D0D"/>
                    </a:gs>
                  </a:gsLst>
                  <a:lin ang="5400000" scaled="1"/>
                </a:gradFill>
                <a:effectLst/>
                <a:uLnTx/>
                <a:uFillTx/>
                <a:latin typeface="Segoe UI Semibold" panose="020B0702040204020203" pitchFamily="34" charset="0"/>
                <a:ea typeface="+mn-ea"/>
                <a:cs typeface="Segoe UI Semibold" panose="020B0702040204020203" pitchFamily="34" charset="0"/>
              </a:rPr>
              <a:t>Configure</a:t>
            </a:r>
          </a:p>
        </p:txBody>
      </p:sp>
      <p:sp>
        <p:nvSpPr>
          <p:cNvPr id="42" name="Partial Circle 10">
            <a:extLst>
              <a:ext uri="{FF2B5EF4-FFF2-40B4-BE49-F238E27FC236}">
                <a16:creationId xmlns:a16="http://schemas.microsoft.com/office/drawing/2014/main" id="{BBC1BB7B-1C65-4C5B-BE02-8719B4F278A9}"/>
              </a:ext>
            </a:extLst>
          </p:cNvPr>
          <p:cNvSpPr txBox="1"/>
          <p:nvPr/>
        </p:nvSpPr>
        <p:spPr>
          <a:xfrm>
            <a:off x="4618358" y="3983794"/>
            <a:ext cx="860935" cy="249299"/>
          </a:xfrm>
          <a:prstGeom prst="rect">
            <a:avLst/>
          </a:prstGeom>
          <a:noFill/>
          <a:ln>
            <a:noFill/>
          </a:ln>
          <a:effectLst/>
        </p:spPr>
        <p:txBody>
          <a:bodyPr spcFirstLastPara="0" vert="horz" wrap="square" lIns="0" tIns="0" rIns="0" bIns="0" numCol="1" spcCol="1270" anchor="ctr" anchorCtr="0">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1800" b="0" i="0" u="none" strike="noStrike" kern="0" cap="none" spc="0" normalizeH="0" baseline="0" noProof="0">
                <a:ln>
                  <a:noFill/>
                </a:ln>
                <a:gradFill>
                  <a:gsLst>
                    <a:gs pos="41204">
                      <a:srgbClr val="0D0D0D"/>
                    </a:gs>
                    <a:gs pos="59000">
                      <a:srgbClr val="0D0D0D"/>
                    </a:gs>
                  </a:gsLst>
                  <a:lin ang="5400000" scaled="1"/>
                </a:gradFill>
                <a:effectLst/>
                <a:uLnTx/>
                <a:uFillTx/>
                <a:latin typeface="Segoe UI Semibold" panose="020B0702040204020203" pitchFamily="34" charset="0"/>
                <a:ea typeface="+mn-ea"/>
                <a:cs typeface="Segoe UI Semibold" panose="020B0702040204020203" pitchFamily="34" charset="0"/>
              </a:rPr>
              <a:t>Monitor</a:t>
            </a:r>
          </a:p>
        </p:txBody>
      </p:sp>
      <p:sp>
        <p:nvSpPr>
          <p:cNvPr id="43" name="Partial Circle 12">
            <a:extLst>
              <a:ext uri="{FF2B5EF4-FFF2-40B4-BE49-F238E27FC236}">
                <a16:creationId xmlns:a16="http://schemas.microsoft.com/office/drawing/2014/main" id="{5418B92A-0D22-4AAE-824C-0ED2B91313DE}"/>
              </a:ext>
            </a:extLst>
          </p:cNvPr>
          <p:cNvSpPr txBox="1"/>
          <p:nvPr/>
        </p:nvSpPr>
        <p:spPr>
          <a:xfrm>
            <a:off x="5039115" y="2318969"/>
            <a:ext cx="666360" cy="249299"/>
          </a:xfrm>
          <a:prstGeom prst="rect">
            <a:avLst/>
          </a:prstGeom>
          <a:noFill/>
          <a:ln>
            <a:noFill/>
          </a:ln>
          <a:effectLst/>
        </p:spPr>
        <p:txBody>
          <a:bodyPr spcFirstLastPara="0" vert="horz" wrap="square" lIns="0" tIns="0" rIns="0" bIns="0" numCol="1" spcCol="1270" anchor="ctr" anchorCtr="0">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1800" b="0" i="0" u="none" strike="noStrike" kern="0" cap="none" spc="0" normalizeH="0" baseline="0" noProof="0">
                <a:ln>
                  <a:noFill/>
                </a:ln>
                <a:gradFill>
                  <a:gsLst>
                    <a:gs pos="41204">
                      <a:srgbClr val="0D0D0D"/>
                    </a:gs>
                    <a:gs pos="59000">
                      <a:srgbClr val="0D0D0D"/>
                    </a:gs>
                  </a:gsLst>
                  <a:lin ang="5400000" scaled="1"/>
                </a:gradFill>
                <a:effectLst/>
                <a:uLnTx/>
                <a:uFillTx/>
                <a:latin typeface="Segoe UI Semibold" panose="020B0702040204020203" pitchFamily="34" charset="0"/>
                <a:ea typeface="+mn-ea"/>
                <a:cs typeface="Segoe UI Semibold" panose="020B0702040204020203" pitchFamily="34" charset="0"/>
              </a:rPr>
              <a:t>Retire</a:t>
            </a:r>
          </a:p>
        </p:txBody>
      </p:sp>
      <p:grpSp>
        <p:nvGrpSpPr>
          <p:cNvPr id="44" name="Group 43">
            <a:extLst>
              <a:ext uri="{FF2B5EF4-FFF2-40B4-BE49-F238E27FC236}">
                <a16:creationId xmlns:a16="http://schemas.microsoft.com/office/drawing/2014/main" id="{8EF6B318-1E03-42D2-AEB0-4B2F209D6DA8}"/>
              </a:ext>
            </a:extLst>
          </p:cNvPr>
          <p:cNvGrpSpPr/>
          <p:nvPr/>
        </p:nvGrpSpPr>
        <p:grpSpPr>
          <a:xfrm>
            <a:off x="1481629" y="1731561"/>
            <a:ext cx="3074301" cy="606719"/>
            <a:chOff x="1603866" y="2033740"/>
            <a:chExt cx="3074301" cy="606719"/>
          </a:xfrm>
        </p:grpSpPr>
        <p:sp>
          <p:nvSpPr>
            <p:cNvPr id="45" name="Rectangle 44">
              <a:extLst>
                <a:ext uri="{FF2B5EF4-FFF2-40B4-BE49-F238E27FC236}">
                  <a16:creationId xmlns:a16="http://schemas.microsoft.com/office/drawing/2014/main" id="{DD8A6284-A4E7-4985-8E5A-2203B0DEC5C1}"/>
                </a:ext>
              </a:extLst>
            </p:cNvPr>
            <p:cNvSpPr/>
            <p:nvPr/>
          </p:nvSpPr>
          <p:spPr>
            <a:xfrm>
              <a:off x="1603866" y="2058761"/>
              <a:ext cx="2427445" cy="581698"/>
            </a:xfrm>
            <a:prstGeom prst="rect">
              <a:avLst/>
            </a:prstGeom>
          </p:spPr>
          <p:txBody>
            <a:bodyPr wrap="square" lIns="0" tIns="0" rIns="0" bIns="0" anchor="t">
              <a:spAutoFit/>
            </a:bodyPr>
            <a:lstStyle/>
            <a:p>
              <a:pPr marL="0" marR="0" lvl="0" indent="0" algn="r" defTabSz="932114"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Replace or decommission devices after failure, upgrade cycle or service lifetime</a:t>
              </a:r>
            </a:p>
          </p:txBody>
        </p:sp>
        <p:grpSp>
          <p:nvGrpSpPr>
            <p:cNvPr id="46" name="Group 45">
              <a:extLst>
                <a:ext uri="{FF2B5EF4-FFF2-40B4-BE49-F238E27FC236}">
                  <a16:creationId xmlns:a16="http://schemas.microsoft.com/office/drawing/2014/main" id="{74B74E96-8104-4A15-B0C1-9BC6B7F784CB}"/>
                </a:ext>
              </a:extLst>
            </p:cNvPr>
            <p:cNvGrpSpPr/>
            <p:nvPr/>
          </p:nvGrpSpPr>
          <p:grpSpPr>
            <a:xfrm>
              <a:off x="4129527" y="2033740"/>
              <a:ext cx="548640" cy="548640"/>
              <a:chOff x="2677207" y="2283429"/>
              <a:chExt cx="731520" cy="731520"/>
            </a:xfrm>
          </p:grpSpPr>
          <p:sp>
            <p:nvSpPr>
              <p:cNvPr id="47" name="Oval 46">
                <a:extLst>
                  <a:ext uri="{FF2B5EF4-FFF2-40B4-BE49-F238E27FC236}">
                    <a16:creationId xmlns:a16="http://schemas.microsoft.com/office/drawing/2014/main" id="{943BC590-C211-4D1A-B0AF-AD5AD7603EE7}"/>
                  </a:ext>
                </a:extLst>
              </p:cNvPr>
              <p:cNvSpPr>
                <a:spLocks noChangeAspect="1"/>
              </p:cNvSpPr>
              <p:nvPr/>
            </p:nvSpPr>
            <p:spPr bwMode="auto">
              <a:xfrm>
                <a:off x="2677207" y="2283429"/>
                <a:ext cx="731520" cy="731520"/>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48" name="plug" title="Icon of a power plug showing an A to B connection">
                <a:extLst>
                  <a:ext uri="{FF2B5EF4-FFF2-40B4-BE49-F238E27FC236}">
                    <a16:creationId xmlns:a16="http://schemas.microsoft.com/office/drawing/2014/main" id="{81C1D6A1-B6B1-47C9-8970-0CD54257D286}"/>
                  </a:ext>
                </a:extLst>
              </p:cNvPr>
              <p:cNvSpPr>
                <a:spLocks noChangeAspect="1" noEditPoints="1"/>
              </p:cNvSpPr>
              <p:nvPr/>
            </p:nvSpPr>
            <p:spPr bwMode="auto">
              <a:xfrm>
                <a:off x="2850032" y="2466309"/>
                <a:ext cx="385870" cy="365760"/>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270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grpSp>
        <p:nvGrpSpPr>
          <p:cNvPr id="49" name="Group 48">
            <a:extLst>
              <a:ext uri="{FF2B5EF4-FFF2-40B4-BE49-F238E27FC236}">
                <a16:creationId xmlns:a16="http://schemas.microsoft.com/office/drawing/2014/main" id="{AAEF2065-51E8-4D58-9C8E-0A21E11F5371}"/>
              </a:ext>
            </a:extLst>
          </p:cNvPr>
          <p:cNvGrpSpPr/>
          <p:nvPr/>
        </p:nvGrpSpPr>
        <p:grpSpPr>
          <a:xfrm>
            <a:off x="7537524" y="1728882"/>
            <a:ext cx="2868660" cy="581698"/>
            <a:chOff x="7659761" y="2031061"/>
            <a:chExt cx="2868660" cy="581698"/>
          </a:xfrm>
        </p:grpSpPr>
        <p:sp>
          <p:nvSpPr>
            <p:cNvPr id="50" name="Rectangle 49">
              <a:extLst>
                <a:ext uri="{FF2B5EF4-FFF2-40B4-BE49-F238E27FC236}">
                  <a16:creationId xmlns:a16="http://schemas.microsoft.com/office/drawing/2014/main" id="{C03F2299-5226-4B35-A17C-2D01132CA19C}"/>
                </a:ext>
              </a:extLst>
            </p:cNvPr>
            <p:cNvSpPr/>
            <p:nvPr/>
          </p:nvSpPr>
          <p:spPr>
            <a:xfrm>
              <a:off x="8324910" y="2031061"/>
              <a:ext cx="2203511" cy="581698"/>
            </a:xfrm>
            <a:prstGeom prst="rect">
              <a:avLst/>
            </a:prstGeom>
          </p:spPr>
          <p:txBody>
            <a:bodyPr wrap="square" lIns="0" tIns="0" rIns="0" bIns="0" anchor="t">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Group devices and control access according to your organization's needs</a:t>
              </a:r>
            </a:p>
          </p:txBody>
        </p:sp>
        <p:grpSp>
          <p:nvGrpSpPr>
            <p:cNvPr id="51" name="Group 50">
              <a:extLst>
                <a:ext uri="{FF2B5EF4-FFF2-40B4-BE49-F238E27FC236}">
                  <a16:creationId xmlns:a16="http://schemas.microsoft.com/office/drawing/2014/main" id="{231C3EDE-9B45-4D56-A3E2-3869A60E41EF}"/>
                </a:ext>
              </a:extLst>
            </p:cNvPr>
            <p:cNvGrpSpPr/>
            <p:nvPr/>
          </p:nvGrpSpPr>
          <p:grpSpPr>
            <a:xfrm>
              <a:off x="7659761" y="2033740"/>
              <a:ext cx="548640" cy="548640"/>
              <a:chOff x="7591347" y="1535710"/>
              <a:chExt cx="731520" cy="731520"/>
            </a:xfrm>
          </p:grpSpPr>
          <p:sp>
            <p:nvSpPr>
              <p:cNvPr id="52" name="Oval 51">
                <a:extLst>
                  <a:ext uri="{FF2B5EF4-FFF2-40B4-BE49-F238E27FC236}">
                    <a16:creationId xmlns:a16="http://schemas.microsoft.com/office/drawing/2014/main" id="{F19CC58E-F8B6-431C-94B4-96B0F05472DD}"/>
                  </a:ext>
                </a:extLst>
              </p:cNvPr>
              <p:cNvSpPr>
                <a:spLocks noChangeAspect="1"/>
              </p:cNvSpPr>
              <p:nvPr/>
            </p:nvSpPr>
            <p:spPr bwMode="auto">
              <a:xfrm>
                <a:off x="7591347" y="1535710"/>
                <a:ext cx="731520" cy="731520"/>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53" name="Trackers_EADF_bidi" title="Icon of a clipboard with a checklist on it">
                <a:extLst>
                  <a:ext uri="{FF2B5EF4-FFF2-40B4-BE49-F238E27FC236}">
                    <a16:creationId xmlns:a16="http://schemas.microsoft.com/office/drawing/2014/main" id="{A5C47039-23C2-4D7B-8D5F-C2F633194019}"/>
                  </a:ext>
                </a:extLst>
              </p:cNvPr>
              <p:cNvSpPr>
                <a:spLocks noChangeAspect="1" noEditPoints="1"/>
              </p:cNvSpPr>
              <p:nvPr/>
            </p:nvSpPr>
            <p:spPr bwMode="auto">
              <a:xfrm>
                <a:off x="7822986" y="1709065"/>
                <a:ext cx="268243"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270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grpSp>
        <p:nvGrpSpPr>
          <p:cNvPr id="54" name="Group 53">
            <a:extLst>
              <a:ext uri="{FF2B5EF4-FFF2-40B4-BE49-F238E27FC236}">
                <a16:creationId xmlns:a16="http://schemas.microsoft.com/office/drawing/2014/main" id="{BFD23E97-06D0-4F12-8108-F21366DE89EF}"/>
              </a:ext>
            </a:extLst>
          </p:cNvPr>
          <p:cNvGrpSpPr>
            <a:grpSpLocks noChangeAspect="1"/>
          </p:cNvGrpSpPr>
          <p:nvPr/>
        </p:nvGrpSpPr>
        <p:grpSpPr>
          <a:xfrm>
            <a:off x="4038600" y="1610669"/>
            <a:ext cx="4114800" cy="4114800"/>
            <a:chOff x="3880525" y="1455782"/>
            <a:chExt cx="4663440" cy="4625264"/>
          </a:xfrm>
          <a:solidFill>
            <a:srgbClr val="0078D7"/>
          </a:solidFill>
        </p:grpSpPr>
        <p:sp>
          <p:nvSpPr>
            <p:cNvPr id="55" name="Arrow: Circular 54">
              <a:extLst>
                <a:ext uri="{FF2B5EF4-FFF2-40B4-BE49-F238E27FC236}">
                  <a16:creationId xmlns:a16="http://schemas.microsoft.com/office/drawing/2014/main" id="{16FAFD1D-A85F-4FEE-800D-A17B6D06F2AD}"/>
                </a:ext>
              </a:extLst>
            </p:cNvPr>
            <p:cNvSpPr/>
            <p:nvPr/>
          </p:nvSpPr>
          <p:spPr>
            <a:xfrm>
              <a:off x="4026862" y="1455782"/>
              <a:ext cx="4482451" cy="4454288"/>
            </a:xfrm>
            <a:prstGeom prst="circularArrow">
              <a:avLst>
                <a:gd name="adj1" fmla="val 5085"/>
                <a:gd name="adj2" fmla="val 327528"/>
                <a:gd name="adj3" fmla="val 20192361"/>
                <a:gd name="adj4" fmla="val 16200324"/>
                <a:gd name="adj5" fmla="val 5932"/>
              </a:avLst>
            </a:prstGeom>
            <a:grpFill/>
            <a:ln>
              <a:noFill/>
            </a:ln>
            <a:effectLst/>
          </p:spPr>
        </p:sp>
        <p:sp>
          <p:nvSpPr>
            <p:cNvPr id="56" name="Arrow: Circular 55">
              <a:extLst>
                <a:ext uri="{FF2B5EF4-FFF2-40B4-BE49-F238E27FC236}">
                  <a16:creationId xmlns:a16="http://schemas.microsoft.com/office/drawing/2014/main" id="{44A3DCEC-8A11-48C1-A144-D486D0CA1685}"/>
                </a:ext>
              </a:extLst>
            </p:cNvPr>
            <p:cNvSpPr/>
            <p:nvPr/>
          </p:nvSpPr>
          <p:spPr>
            <a:xfrm>
              <a:off x="4061514" y="1561443"/>
              <a:ext cx="4482451" cy="4454288"/>
            </a:xfrm>
            <a:prstGeom prst="circularArrow">
              <a:avLst>
                <a:gd name="adj1" fmla="val 5085"/>
                <a:gd name="adj2" fmla="val 327528"/>
                <a:gd name="adj3" fmla="val 2912753"/>
                <a:gd name="adj4" fmla="val 20519953"/>
                <a:gd name="adj5" fmla="val 5932"/>
              </a:avLst>
            </a:prstGeom>
            <a:grpFill/>
            <a:ln>
              <a:noFill/>
            </a:ln>
            <a:effectLst/>
          </p:spPr>
        </p:sp>
        <p:sp>
          <p:nvSpPr>
            <p:cNvPr id="57" name="Arrow: Circular 56">
              <a:extLst>
                <a:ext uri="{FF2B5EF4-FFF2-40B4-BE49-F238E27FC236}">
                  <a16:creationId xmlns:a16="http://schemas.microsoft.com/office/drawing/2014/main" id="{200E713F-90BE-4A68-8EA2-D5E1575AB677}"/>
                </a:ext>
              </a:extLst>
            </p:cNvPr>
            <p:cNvSpPr/>
            <p:nvPr/>
          </p:nvSpPr>
          <p:spPr>
            <a:xfrm>
              <a:off x="3971019" y="1626758"/>
              <a:ext cx="4482451" cy="4454288"/>
            </a:xfrm>
            <a:prstGeom prst="circularArrow">
              <a:avLst>
                <a:gd name="adj1" fmla="val 5085"/>
                <a:gd name="adj2" fmla="val 327528"/>
                <a:gd name="adj3" fmla="val 7232777"/>
                <a:gd name="adj4" fmla="val 3239695"/>
                <a:gd name="adj5" fmla="val 5932"/>
              </a:avLst>
            </a:prstGeom>
            <a:grpFill/>
            <a:ln>
              <a:noFill/>
            </a:ln>
            <a:effectLst/>
          </p:spPr>
        </p:sp>
        <p:sp>
          <p:nvSpPr>
            <p:cNvPr id="58" name="Arrow: Circular 57">
              <a:extLst>
                <a:ext uri="{FF2B5EF4-FFF2-40B4-BE49-F238E27FC236}">
                  <a16:creationId xmlns:a16="http://schemas.microsoft.com/office/drawing/2014/main" id="{B72AF249-705B-4771-812D-40DEACD75243}"/>
                </a:ext>
              </a:extLst>
            </p:cNvPr>
            <p:cNvSpPr/>
            <p:nvPr/>
          </p:nvSpPr>
          <p:spPr>
            <a:xfrm>
              <a:off x="3880525" y="1561443"/>
              <a:ext cx="4482451" cy="4454288"/>
            </a:xfrm>
            <a:prstGeom prst="circularArrow">
              <a:avLst>
                <a:gd name="adj1" fmla="val 5085"/>
                <a:gd name="adj2" fmla="val 327528"/>
                <a:gd name="adj3" fmla="val 11552519"/>
                <a:gd name="adj4" fmla="val 7559718"/>
                <a:gd name="adj5" fmla="val 5932"/>
              </a:avLst>
            </a:prstGeom>
            <a:grpFill/>
            <a:ln>
              <a:noFill/>
            </a:ln>
            <a:effectLst/>
          </p:spPr>
        </p:sp>
        <p:sp>
          <p:nvSpPr>
            <p:cNvPr id="59" name="Arrow: Circular 58">
              <a:extLst>
                <a:ext uri="{FF2B5EF4-FFF2-40B4-BE49-F238E27FC236}">
                  <a16:creationId xmlns:a16="http://schemas.microsoft.com/office/drawing/2014/main" id="{43CF2825-F0CF-49F2-B27E-76081CD42A76}"/>
                </a:ext>
              </a:extLst>
            </p:cNvPr>
            <p:cNvSpPr/>
            <p:nvPr/>
          </p:nvSpPr>
          <p:spPr>
            <a:xfrm>
              <a:off x="3915177" y="1455782"/>
              <a:ext cx="4482451" cy="4454288"/>
            </a:xfrm>
            <a:prstGeom prst="circularArrow">
              <a:avLst>
                <a:gd name="adj1" fmla="val 5085"/>
                <a:gd name="adj2" fmla="val 327528"/>
                <a:gd name="adj3" fmla="val 15872148"/>
                <a:gd name="adj4" fmla="val 11880111"/>
                <a:gd name="adj5" fmla="val 5932"/>
              </a:avLst>
            </a:prstGeom>
            <a:grpFill/>
            <a:ln>
              <a:noFill/>
            </a:ln>
            <a:effectLst/>
            <a:extLst>
              <a:ext uri="{91240B29-F687-4F45-9708-019B960494DF}">
                <a14:hiddenLine xmlns:a14="http://schemas.microsoft.com/office/drawing/2010/main" w="9525">
                  <a:solidFill>
                    <a:srgbClr val="000000"/>
                  </a:solidFill>
                  <a:round/>
                  <a:headEnd/>
                  <a:tailEnd/>
                </a14:hiddenLine>
              </a:ext>
            </a:extLst>
          </p:spPr>
        </p:sp>
      </p:grpSp>
      <p:grpSp>
        <p:nvGrpSpPr>
          <p:cNvPr id="60" name="Group 59">
            <a:extLst>
              <a:ext uri="{FF2B5EF4-FFF2-40B4-BE49-F238E27FC236}">
                <a16:creationId xmlns:a16="http://schemas.microsoft.com/office/drawing/2014/main" id="{748978F5-B197-499B-90C3-B70B82CA63FF}"/>
              </a:ext>
            </a:extLst>
          </p:cNvPr>
          <p:cNvGrpSpPr/>
          <p:nvPr/>
        </p:nvGrpSpPr>
        <p:grpSpPr>
          <a:xfrm>
            <a:off x="5871656" y="5726442"/>
            <a:ext cx="3529018" cy="581698"/>
            <a:chOff x="5993893" y="6028620"/>
            <a:chExt cx="3529018" cy="581698"/>
          </a:xfrm>
        </p:grpSpPr>
        <p:sp>
          <p:nvSpPr>
            <p:cNvPr id="61" name="Rectangle 60">
              <a:extLst>
                <a:ext uri="{FF2B5EF4-FFF2-40B4-BE49-F238E27FC236}">
                  <a16:creationId xmlns:a16="http://schemas.microsoft.com/office/drawing/2014/main" id="{B928AE74-000D-462E-ADBE-5E6ABDB3D395}"/>
                </a:ext>
              </a:extLst>
            </p:cNvPr>
            <p:cNvSpPr/>
            <p:nvPr/>
          </p:nvSpPr>
          <p:spPr>
            <a:xfrm>
              <a:off x="6665197" y="6028620"/>
              <a:ext cx="2857714" cy="581698"/>
            </a:xfrm>
            <a:prstGeom prst="rect">
              <a:avLst/>
            </a:prstGeom>
          </p:spPr>
          <p:txBody>
            <a:bodyPr wrap="square" lIns="0" tIns="0" rIns="0" bIns="0" anchor="t">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Provide updates, configuration and applications to assign the purpose of each device</a:t>
              </a:r>
            </a:p>
          </p:txBody>
        </p:sp>
        <p:grpSp>
          <p:nvGrpSpPr>
            <p:cNvPr id="62" name="Group 61">
              <a:extLst>
                <a:ext uri="{FF2B5EF4-FFF2-40B4-BE49-F238E27FC236}">
                  <a16:creationId xmlns:a16="http://schemas.microsoft.com/office/drawing/2014/main" id="{A74B1841-3023-449C-9EA6-39C0B3BC6921}"/>
                </a:ext>
              </a:extLst>
            </p:cNvPr>
            <p:cNvGrpSpPr/>
            <p:nvPr/>
          </p:nvGrpSpPr>
          <p:grpSpPr>
            <a:xfrm>
              <a:off x="5993893" y="6043182"/>
              <a:ext cx="547234" cy="543795"/>
              <a:chOff x="5621953" y="5964865"/>
              <a:chExt cx="731520" cy="731520"/>
            </a:xfrm>
          </p:grpSpPr>
          <p:sp>
            <p:nvSpPr>
              <p:cNvPr id="63" name="Oval 62">
                <a:extLst>
                  <a:ext uri="{FF2B5EF4-FFF2-40B4-BE49-F238E27FC236}">
                    <a16:creationId xmlns:a16="http://schemas.microsoft.com/office/drawing/2014/main" id="{B49B3645-6250-460F-963A-347C3755C07F}"/>
                  </a:ext>
                </a:extLst>
              </p:cNvPr>
              <p:cNvSpPr>
                <a:spLocks noChangeAspect="1"/>
              </p:cNvSpPr>
              <p:nvPr/>
            </p:nvSpPr>
            <p:spPr bwMode="auto">
              <a:xfrm>
                <a:off x="5621953" y="5964865"/>
                <a:ext cx="731520" cy="731520"/>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64" name="Touchscreen" title="Icon of a closed hand with one finger touching a screen">
                <a:extLst>
                  <a:ext uri="{FF2B5EF4-FFF2-40B4-BE49-F238E27FC236}">
                    <a16:creationId xmlns:a16="http://schemas.microsoft.com/office/drawing/2014/main" id="{A45F0D11-23F8-4386-8C90-94B5162BB67E}"/>
                  </a:ext>
                </a:extLst>
              </p:cNvPr>
              <p:cNvSpPr>
                <a:spLocks noChangeAspect="1" noEditPoints="1"/>
              </p:cNvSpPr>
              <p:nvPr/>
            </p:nvSpPr>
            <p:spPr bwMode="auto">
              <a:xfrm>
                <a:off x="5787804" y="6185125"/>
                <a:ext cx="390103" cy="36576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270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grpSp>
        <p:nvGrpSpPr>
          <p:cNvPr id="65" name="Group 64">
            <a:extLst>
              <a:ext uri="{FF2B5EF4-FFF2-40B4-BE49-F238E27FC236}">
                <a16:creationId xmlns:a16="http://schemas.microsoft.com/office/drawing/2014/main" id="{7045F5AD-2D25-430E-AF62-9E23CCF00A18}"/>
              </a:ext>
            </a:extLst>
          </p:cNvPr>
          <p:cNvGrpSpPr/>
          <p:nvPr/>
        </p:nvGrpSpPr>
        <p:grpSpPr>
          <a:xfrm>
            <a:off x="8139975" y="3831443"/>
            <a:ext cx="3346172" cy="581698"/>
            <a:chOff x="8262212" y="4133622"/>
            <a:chExt cx="3346172" cy="581698"/>
          </a:xfrm>
        </p:grpSpPr>
        <p:sp>
          <p:nvSpPr>
            <p:cNvPr id="66" name="Rectangle 65">
              <a:extLst>
                <a:ext uri="{FF2B5EF4-FFF2-40B4-BE49-F238E27FC236}">
                  <a16:creationId xmlns:a16="http://schemas.microsoft.com/office/drawing/2014/main" id="{26E8E459-4406-4693-BC30-12AC77A53F37}"/>
                </a:ext>
              </a:extLst>
            </p:cNvPr>
            <p:cNvSpPr/>
            <p:nvPr/>
          </p:nvSpPr>
          <p:spPr>
            <a:xfrm>
              <a:off x="8976555" y="4133622"/>
              <a:ext cx="2631829" cy="581698"/>
            </a:xfrm>
            <a:prstGeom prst="rect">
              <a:avLst/>
            </a:prstGeom>
          </p:spPr>
          <p:txBody>
            <a:bodyPr wrap="square" lIns="0" tIns="0" rIns="0" bIns="0" anchor="t">
              <a:spAutoFit/>
            </a:bodyPr>
            <a:lstStyle/>
            <a:p>
              <a:pPr marL="0" marR="0" lvl="0" indent="0" algn="l" defTabSz="932114"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Securely authenticate devices, on-board for management and provision for service</a:t>
              </a:r>
            </a:p>
          </p:txBody>
        </p:sp>
        <p:grpSp>
          <p:nvGrpSpPr>
            <p:cNvPr id="67" name="Group 66">
              <a:extLst>
                <a:ext uri="{FF2B5EF4-FFF2-40B4-BE49-F238E27FC236}">
                  <a16:creationId xmlns:a16="http://schemas.microsoft.com/office/drawing/2014/main" id="{A9DF16BA-DD00-4A44-ADA7-F04EBDFC3C47}"/>
                </a:ext>
              </a:extLst>
            </p:cNvPr>
            <p:cNvGrpSpPr/>
            <p:nvPr/>
          </p:nvGrpSpPr>
          <p:grpSpPr>
            <a:xfrm>
              <a:off x="8262212" y="4136301"/>
              <a:ext cx="548640" cy="548640"/>
              <a:chOff x="8155046" y="4289191"/>
              <a:chExt cx="731520" cy="731520"/>
            </a:xfrm>
          </p:grpSpPr>
          <p:sp>
            <p:nvSpPr>
              <p:cNvPr id="68" name="Oval 67">
                <a:extLst>
                  <a:ext uri="{FF2B5EF4-FFF2-40B4-BE49-F238E27FC236}">
                    <a16:creationId xmlns:a16="http://schemas.microsoft.com/office/drawing/2014/main" id="{1E7A0F35-4456-444E-90CF-EACB6BD4B004}"/>
                  </a:ext>
                </a:extLst>
              </p:cNvPr>
              <p:cNvSpPr>
                <a:spLocks noChangeAspect="1"/>
              </p:cNvSpPr>
              <p:nvPr/>
            </p:nvSpPr>
            <p:spPr bwMode="auto">
              <a:xfrm>
                <a:off x="8155046" y="4289191"/>
                <a:ext cx="731520" cy="731520"/>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69" name="phone_6" title="Icon of a cellphone with a checkmark on the lower right corner">
                <a:extLst>
                  <a:ext uri="{FF2B5EF4-FFF2-40B4-BE49-F238E27FC236}">
                    <a16:creationId xmlns:a16="http://schemas.microsoft.com/office/drawing/2014/main" id="{3DA7F55C-C467-4F37-AE95-40B812F76A57}"/>
                  </a:ext>
                </a:extLst>
              </p:cNvPr>
              <p:cNvSpPr>
                <a:spLocks noChangeAspect="1" noEditPoints="1"/>
              </p:cNvSpPr>
              <p:nvPr/>
            </p:nvSpPr>
            <p:spPr bwMode="auto">
              <a:xfrm>
                <a:off x="8413339" y="4472071"/>
                <a:ext cx="291134" cy="365760"/>
              </a:xfrm>
              <a:custGeom>
                <a:avLst/>
                <a:gdLst>
                  <a:gd name="T0" fmla="*/ 116 w 229"/>
                  <a:gd name="T1" fmla="*/ 290 h 290"/>
                  <a:gd name="T2" fmla="*/ 14 w 229"/>
                  <a:gd name="T3" fmla="*/ 290 h 290"/>
                  <a:gd name="T4" fmla="*/ 0 w 229"/>
                  <a:gd name="T5" fmla="*/ 277 h 290"/>
                  <a:gd name="T6" fmla="*/ 0 w 229"/>
                  <a:gd name="T7" fmla="*/ 14 h 290"/>
                  <a:gd name="T8" fmla="*/ 14 w 229"/>
                  <a:gd name="T9" fmla="*/ 0 h 290"/>
                  <a:gd name="T10" fmla="*/ 159 w 229"/>
                  <a:gd name="T11" fmla="*/ 0 h 290"/>
                  <a:gd name="T12" fmla="*/ 172 w 229"/>
                  <a:gd name="T13" fmla="*/ 14 h 290"/>
                  <a:gd name="T14" fmla="*/ 172 w 229"/>
                  <a:gd name="T15" fmla="*/ 211 h 290"/>
                  <a:gd name="T16" fmla="*/ 123 w 229"/>
                  <a:gd name="T17" fmla="*/ 246 h 290"/>
                  <a:gd name="T18" fmla="*/ 155 w 229"/>
                  <a:gd name="T19" fmla="*/ 277 h 290"/>
                  <a:gd name="T20" fmla="*/ 229 w 229"/>
                  <a:gd name="T21" fmla="*/ 203 h 290"/>
                  <a:gd name="T22" fmla="*/ 59 w 229"/>
                  <a:gd name="T23" fmla="*/ 250 h 290"/>
                  <a:gd name="T24" fmla="*/ 84 w 229"/>
                  <a:gd name="T25" fmla="*/ 25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90">
                    <a:moveTo>
                      <a:pt x="116" y="290"/>
                    </a:moveTo>
                    <a:cubicBezTo>
                      <a:pt x="14" y="290"/>
                      <a:pt x="14" y="290"/>
                      <a:pt x="14" y="290"/>
                    </a:cubicBezTo>
                    <a:cubicBezTo>
                      <a:pt x="7" y="290"/>
                      <a:pt x="0" y="284"/>
                      <a:pt x="0" y="277"/>
                    </a:cubicBezTo>
                    <a:cubicBezTo>
                      <a:pt x="0" y="14"/>
                      <a:pt x="0" y="14"/>
                      <a:pt x="0" y="14"/>
                    </a:cubicBezTo>
                    <a:cubicBezTo>
                      <a:pt x="0" y="7"/>
                      <a:pt x="7" y="0"/>
                      <a:pt x="14" y="0"/>
                    </a:cubicBezTo>
                    <a:cubicBezTo>
                      <a:pt x="159" y="0"/>
                      <a:pt x="159" y="0"/>
                      <a:pt x="159" y="0"/>
                    </a:cubicBezTo>
                    <a:cubicBezTo>
                      <a:pt x="166" y="0"/>
                      <a:pt x="172" y="7"/>
                      <a:pt x="172" y="14"/>
                    </a:cubicBezTo>
                    <a:cubicBezTo>
                      <a:pt x="172" y="211"/>
                      <a:pt x="172" y="211"/>
                      <a:pt x="172" y="211"/>
                    </a:cubicBezTo>
                    <a:moveTo>
                      <a:pt x="123" y="246"/>
                    </a:moveTo>
                    <a:cubicBezTo>
                      <a:pt x="155" y="277"/>
                      <a:pt x="155" y="277"/>
                      <a:pt x="155" y="277"/>
                    </a:cubicBezTo>
                    <a:cubicBezTo>
                      <a:pt x="229" y="203"/>
                      <a:pt x="229" y="203"/>
                      <a:pt x="229" y="203"/>
                    </a:cubicBezTo>
                    <a:moveTo>
                      <a:pt x="59" y="250"/>
                    </a:moveTo>
                    <a:cubicBezTo>
                      <a:pt x="84" y="250"/>
                      <a:pt x="84" y="250"/>
                      <a:pt x="84" y="250"/>
                    </a:cubicBezTo>
                  </a:path>
                </a:pathLst>
              </a:custGeom>
              <a:noFill/>
              <a:ln w="1270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grpSp>
        <p:nvGrpSpPr>
          <p:cNvPr id="70" name="Group 69">
            <a:extLst>
              <a:ext uri="{FF2B5EF4-FFF2-40B4-BE49-F238E27FC236}">
                <a16:creationId xmlns:a16="http://schemas.microsoft.com/office/drawing/2014/main" id="{4B0FFD2B-5C53-479E-A096-D446EAA82BFF}"/>
              </a:ext>
            </a:extLst>
          </p:cNvPr>
          <p:cNvGrpSpPr/>
          <p:nvPr/>
        </p:nvGrpSpPr>
        <p:grpSpPr>
          <a:xfrm>
            <a:off x="577516" y="3831443"/>
            <a:ext cx="3474123" cy="581698"/>
            <a:chOff x="699752" y="4133622"/>
            <a:chExt cx="3474123" cy="581698"/>
          </a:xfrm>
        </p:grpSpPr>
        <p:sp>
          <p:nvSpPr>
            <p:cNvPr id="71" name="Rectangle 70">
              <a:extLst>
                <a:ext uri="{FF2B5EF4-FFF2-40B4-BE49-F238E27FC236}">
                  <a16:creationId xmlns:a16="http://schemas.microsoft.com/office/drawing/2014/main" id="{8BA5DF1E-0611-4817-A1AF-0E74E98E660A}"/>
                </a:ext>
              </a:extLst>
            </p:cNvPr>
            <p:cNvSpPr/>
            <p:nvPr/>
          </p:nvSpPr>
          <p:spPr>
            <a:xfrm>
              <a:off x="699752" y="4133622"/>
              <a:ext cx="2835335" cy="581698"/>
            </a:xfrm>
            <a:prstGeom prst="rect">
              <a:avLst/>
            </a:prstGeom>
          </p:spPr>
          <p:txBody>
            <a:bodyPr wrap="square" lIns="0" tIns="0" rIns="0" bIns="0" anchor="t">
              <a:spAutoFit/>
            </a:bodyPr>
            <a:lstStyle/>
            <a:p>
              <a:pPr marL="0" marR="0" lvl="0" indent="0" algn="r" defTabSz="932114"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41204">
                        <a:srgbClr val="0D0D0D"/>
                      </a:gs>
                      <a:gs pos="59000">
                        <a:srgbClr val="0D0D0D"/>
                      </a:gs>
                    </a:gsLst>
                    <a:lin ang="5400000" scaled="1"/>
                  </a:gradFill>
                  <a:effectLst/>
                  <a:uLnTx/>
                  <a:uFillTx/>
                  <a:latin typeface="Segoe UI Semibold"/>
                  <a:ea typeface="+mn-ea"/>
                  <a:cs typeface="Segoe UI Semilight" panose="020B0402040204020203" pitchFamily="34" charset="0"/>
                </a:rPr>
                <a:t>Monitor device inventory, health, and security while providing proactive remediation of issues</a:t>
              </a:r>
            </a:p>
          </p:txBody>
        </p:sp>
        <p:grpSp>
          <p:nvGrpSpPr>
            <p:cNvPr id="72" name="Group 71">
              <a:extLst>
                <a:ext uri="{FF2B5EF4-FFF2-40B4-BE49-F238E27FC236}">
                  <a16:creationId xmlns:a16="http://schemas.microsoft.com/office/drawing/2014/main" id="{2B4F481E-EBA2-404E-BC62-E7614427DFE5}"/>
                </a:ext>
              </a:extLst>
            </p:cNvPr>
            <p:cNvGrpSpPr/>
            <p:nvPr/>
          </p:nvGrpSpPr>
          <p:grpSpPr>
            <a:xfrm>
              <a:off x="3625235" y="4136301"/>
              <a:ext cx="548640" cy="548640"/>
              <a:chOff x="910589" y="5808754"/>
              <a:chExt cx="731520" cy="731520"/>
            </a:xfrm>
          </p:grpSpPr>
          <p:sp>
            <p:nvSpPr>
              <p:cNvPr id="73" name="Oval 72">
                <a:extLst>
                  <a:ext uri="{FF2B5EF4-FFF2-40B4-BE49-F238E27FC236}">
                    <a16:creationId xmlns:a16="http://schemas.microsoft.com/office/drawing/2014/main" id="{25643879-5436-4609-8C04-A1A941E7E7F8}"/>
                  </a:ext>
                </a:extLst>
              </p:cNvPr>
              <p:cNvSpPr>
                <a:spLocks noChangeAspect="1"/>
              </p:cNvSpPr>
              <p:nvPr/>
            </p:nvSpPr>
            <p:spPr bwMode="auto">
              <a:xfrm>
                <a:off x="910589" y="5808754"/>
                <a:ext cx="731520" cy="731520"/>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41204">
                        <a:srgbClr val="0D0D0D"/>
                      </a:gs>
                      <a:gs pos="59000">
                        <a:srgbClr val="0D0D0D"/>
                      </a:gs>
                    </a:gsLst>
                    <a:lin ang="5400000" scaled="1"/>
                  </a:gradFill>
                  <a:effectLst/>
                  <a:uLnTx/>
                  <a:uFillTx/>
                  <a:latin typeface="Segoe UI Semilight"/>
                  <a:ea typeface="+mn-ea"/>
                  <a:cs typeface="+mn-cs"/>
                </a:endParaRPr>
              </a:p>
            </p:txBody>
          </p:sp>
          <p:sp>
            <p:nvSpPr>
              <p:cNvPr id="74" name="algorithm" title="Icon of a heartbeat">
                <a:extLst>
                  <a:ext uri="{FF2B5EF4-FFF2-40B4-BE49-F238E27FC236}">
                    <a16:creationId xmlns:a16="http://schemas.microsoft.com/office/drawing/2014/main" id="{47DF9A6D-E1FE-499F-B205-3852A5CE3299}"/>
                  </a:ext>
                </a:extLst>
              </p:cNvPr>
              <p:cNvSpPr>
                <a:spLocks noChangeAspect="1" noEditPoints="1"/>
              </p:cNvSpPr>
              <p:nvPr/>
            </p:nvSpPr>
            <p:spPr bwMode="auto">
              <a:xfrm>
                <a:off x="1046047" y="6011770"/>
                <a:ext cx="422504" cy="365760"/>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270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41204">
                        <a:srgbClr val="0D0D0D"/>
                      </a:gs>
                      <a:gs pos="59000">
                        <a:srgbClr val="0D0D0D"/>
                      </a:gs>
                    </a:gsLst>
                    <a:lin ang="5400000" scaled="1"/>
                  </a:gradFill>
                  <a:effectLst/>
                  <a:uLnTx/>
                  <a:uFillTx/>
                  <a:latin typeface="Segoe UI"/>
                  <a:ea typeface="+mn-ea"/>
                  <a:cs typeface="+mn-cs"/>
                </a:endParaRPr>
              </a:p>
            </p:txBody>
          </p:sp>
        </p:grpSp>
      </p:grpSp>
    </p:spTree>
    <p:extLst>
      <p:ext uri="{BB962C8B-B14F-4D97-AF65-F5344CB8AC3E}">
        <p14:creationId xmlns:p14="http://schemas.microsoft.com/office/powerpoint/2010/main" val="3112643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wheel(1)">
                                      <p:cBhvr>
                                        <p:cTn id="7" dur="3000"/>
                                        <p:tgtEl>
                                          <p:spTgt spid="54"/>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39"/>
                                        </p:tgtEl>
                                        <p:attrNameLst>
                                          <p:attrName>style.visibility</p:attrName>
                                        </p:attrNameLst>
                                      </p:cBhvr>
                                      <p:to>
                                        <p:strVal val="visible"/>
                                      </p:to>
                                    </p:set>
                                    <p:animEffect transition="in" filter="fade">
                                      <p:cBhvr>
                                        <p:cTn id="10" dur="500"/>
                                        <p:tgtEl>
                                          <p:spTgt spid="39"/>
                                        </p:tgtEl>
                                      </p:cBhvr>
                                    </p:animEffect>
                                  </p:childTnLst>
                                </p:cTn>
                              </p:par>
                              <p:par>
                                <p:cTn id="11" presetID="10" presetClass="entr" presetSubtype="0" fill="hold" grpId="0" nodeType="withEffect">
                                  <p:stCondLst>
                                    <p:cond delay="1500"/>
                                  </p:stCondLst>
                                  <p:childTnLst>
                                    <p:set>
                                      <p:cBhvr>
                                        <p:cTn id="12" dur="1" fill="hold">
                                          <p:stCondLst>
                                            <p:cond delay="0"/>
                                          </p:stCondLst>
                                        </p:cTn>
                                        <p:tgtEl>
                                          <p:spTgt spid="40"/>
                                        </p:tgtEl>
                                        <p:attrNameLst>
                                          <p:attrName>style.visibility</p:attrName>
                                        </p:attrNameLst>
                                      </p:cBhvr>
                                      <p:to>
                                        <p:strVal val="visible"/>
                                      </p:to>
                                    </p:set>
                                    <p:animEffect transition="in" filter="fade">
                                      <p:cBhvr>
                                        <p:cTn id="13" dur="500"/>
                                        <p:tgtEl>
                                          <p:spTgt spid="40"/>
                                        </p:tgtEl>
                                      </p:cBhvr>
                                    </p:animEffect>
                                  </p:childTnLst>
                                </p:cTn>
                              </p:par>
                              <p:par>
                                <p:cTn id="14" presetID="10" presetClass="entr" presetSubtype="0" fill="hold" grpId="0" nodeType="withEffect">
                                  <p:stCondLst>
                                    <p:cond delay="2000"/>
                                  </p:stCondLst>
                                  <p:childTnLst>
                                    <p:set>
                                      <p:cBhvr>
                                        <p:cTn id="15" dur="1" fill="hold">
                                          <p:stCondLst>
                                            <p:cond delay="0"/>
                                          </p:stCondLst>
                                        </p:cTn>
                                        <p:tgtEl>
                                          <p:spTgt spid="41"/>
                                        </p:tgtEl>
                                        <p:attrNameLst>
                                          <p:attrName>style.visibility</p:attrName>
                                        </p:attrNameLst>
                                      </p:cBhvr>
                                      <p:to>
                                        <p:strVal val="visible"/>
                                      </p:to>
                                    </p:set>
                                    <p:animEffect transition="in" filter="fade">
                                      <p:cBhvr>
                                        <p:cTn id="16" dur="500"/>
                                        <p:tgtEl>
                                          <p:spTgt spid="41"/>
                                        </p:tgtEl>
                                      </p:cBhvr>
                                    </p:animEffect>
                                  </p:childTnLst>
                                </p:cTn>
                              </p:par>
                              <p:par>
                                <p:cTn id="17" presetID="10" presetClass="entr" presetSubtype="0" fill="hold" grpId="0" nodeType="withEffect">
                                  <p:stCondLst>
                                    <p:cond delay="2500"/>
                                  </p:stCondLst>
                                  <p:childTnLst>
                                    <p:set>
                                      <p:cBhvr>
                                        <p:cTn id="18" dur="1" fill="hold">
                                          <p:stCondLst>
                                            <p:cond delay="0"/>
                                          </p:stCondLst>
                                        </p:cTn>
                                        <p:tgtEl>
                                          <p:spTgt spid="42"/>
                                        </p:tgtEl>
                                        <p:attrNameLst>
                                          <p:attrName>style.visibility</p:attrName>
                                        </p:attrNameLst>
                                      </p:cBhvr>
                                      <p:to>
                                        <p:strVal val="visible"/>
                                      </p:to>
                                    </p:set>
                                    <p:animEffect transition="in" filter="fade">
                                      <p:cBhvr>
                                        <p:cTn id="19" dur="500"/>
                                        <p:tgtEl>
                                          <p:spTgt spid="42"/>
                                        </p:tgtEl>
                                      </p:cBhvr>
                                    </p:animEffect>
                                  </p:childTnLst>
                                </p:cTn>
                              </p:par>
                              <p:par>
                                <p:cTn id="20" presetID="10" presetClass="entr" presetSubtype="0" fill="hold" grpId="0" nodeType="withEffect">
                                  <p:stCondLst>
                                    <p:cond delay="3000"/>
                                  </p:stCondLst>
                                  <p:childTnLst>
                                    <p:set>
                                      <p:cBhvr>
                                        <p:cTn id="21" dur="1" fill="hold">
                                          <p:stCondLst>
                                            <p:cond delay="0"/>
                                          </p:stCondLst>
                                        </p:cTn>
                                        <p:tgtEl>
                                          <p:spTgt spid="43"/>
                                        </p:tgtEl>
                                        <p:attrNameLst>
                                          <p:attrName>style.visibility</p:attrName>
                                        </p:attrNameLst>
                                      </p:cBhvr>
                                      <p:to>
                                        <p:strVal val="visible"/>
                                      </p:to>
                                    </p:set>
                                    <p:animEffect transition="in" filter="fade">
                                      <p:cBhvr>
                                        <p:cTn id="22" dur="500"/>
                                        <p:tgtEl>
                                          <p:spTgt spid="43"/>
                                        </p:tgtEl>
                                      </p:cBhvr>
                                    </p:animEffect>
                                  </p:childTnLst>
                                </p:cTn>
                              </p:par>
                            </p:childTnLst>
                          </p:cTn>
                        </p:par>
                        <p:par>
                          <p:cTn id="23" fill="hold">
                            <p:stCondLst>
                              <p:cond delay="3500"/>
                            </p:stCondLst>
                            <p:childTnLst>
                              <p:par>
                                <p:cTn id="24" presetID="10" presetClass="entr" presetSubtype="0" fill="hold" nodeType="afterEffect">
                                  <p:stCondLst>
                                    <p:cond delay="0"/>
                                  </p:stCondLst>
                                  <p:childTnLst>
                                    <p:set>
                                      <p:cBhvr>
                                        <p:cTn id="25" dur="1" fill="hold">
                                          <p:stCondLst>
                                            <p:cond delay="0"/>
                                          </p:stCondLst>
                                        </p:cTn>
                                        <p:tgtEl>
                                          <p:spTgt spid="44"/>
                                        </p:tgtEl>
                                        <p:attrNameLst>
                                          <p:attrName>style.visibility</p:attrName>
                                        </p:attrNameLst>
                                      </p:cBhvr>
                                      <p:to>
                                        <p:strVal val="visible"/>
                                      </p:to>
                                    </p:set>
                                    <p:animEffect transition="in" filter="fade">
                                      <p:cBhvr>
                                        <p:cTn id="26" dur="500"/>
                                        <p:tgtEl>
                                          <p:spTgt spid="44"/>
                                        </p:tgtEl>
                                      </p:cBhvr>
                                    </p:animEffect>
                                  </p:childTnLst>
                                </p:cTn>
                              </p:par>
                              <p:par>
                                <p:cTn id="27" presetID="10" presetClass="entr" presetSubtype="0" fill="hold" nodeType="withEffect">
                                  <p:stCondLst>
                                    <p:cond delay="0"/>
                                  </p:stCondLst>
                                  <p:childTnLst>
                                    <p:set>
                                      <p:cBhvr>
                                        <p:cTn id="28" dur="1" fill="hold">
                                          <p:stCondLst>
                                            <p:cond delay="0"/>
                                          </p:stCondLst>
                                        </p:cTn>
                                        <p:tgtEl>
                                          <p:spTgt spid="49"/>
                                        </p:tgtEl>
                                        <p:attrNameLst>
                                          <p:attrName>style.visibility</p:attrName>
                                        </p:attrNameLst>
                                      </p:cBhvr>
                                      <p:to>
                                        <p:strVal val="visible"/>
                                      </p:to>
                                    </p:set>
                                    <p:animEffect transition="in" filter="fade">
                                      <p:cBhvr>
                                        <p:cTn id="29" dur="500"/>
                                        <p:tgtEl>
                                          <p:spTgt spid="49"/>
                                        </p:tgtEl>
                                      </p:cBhvr>
                                    </p:animEffect>
                                  </p:childTnLst>
                                </p:cTn>
                              </p:par>
                              <p:par>
                                <p:cTn id="30" presetID="10" presetClass="entr" presetSubtype="0" fill="hold" nodeType="with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par>
                                <p:cTn id="33" presetID="10" presetClass="entr" presetSubtype="0" fill="hold" nodeType="withEffect">
                                  <p:stCondLst>
                                    <p:cond delay="0"/>
                                  </p:stCondLst>
                                  <p:childTnLst>
                                    <p:set>
                                      <p:cBhvr>
                                        <p:cTn id="34" dur="1" fill="hold">
                                          <p:stCondLst>
                                            <p:cond delay="0"/>
                                          </p:stCondLst>
                                        </p:cTn>
                                        <p:tgtEl>
                                          <p:spTgt spid="60"/>
                                        </p:tgtEl>
                                        <p:attrNameLst>
                                          <p:attrName>style.visibility</p:attrName>
                                        </p:attrNameLst>
                                      </p:cBhvr>
                                      <p:to>
                                        <p:strVal val="visible"/>
                                      </p:to>
                                    </p:set>
                                    <p:animEffect transition="in" filter="fade">
                                      <p:cBhvr>
                                        <p:cTn id="35" dur="500"/>
                                        <p:tgtEl>
                                          <p:spTgt spid="60"/>
                                        </p:tgtEl>
                                      </p:cBhvr>
                                    </p:animEffect>
                                  </p:childTnLst>
                                </p:cTn>
                              </p:par>
                              <p:par>
                                <p:cTn id="36" presetID="10" presetClass="entr" presetSubtype="0" fill="hold" nodeType="withEffect">
                                  <p:stCondLst>
                                    <p:cond delay="0"/>
                                  </p:stCondLst>
                                  <p:childTnLst>
                                    <p:set>
                                      <p:cBhvr>
                                        <p:cTn id="37" dur="1" fill="hold">
                                          <p:stCondLst>
                                            <p:cond delay="0"/>
                                          </p:stCondLst>
                                        </p:cTn>
                                        <p:tgtEl>
                                          <p:spTgt spid="70"/>
                                        </p:tgtEl>
                                        <p:attrNameLst>
                                          <p:attrName>style.visibility</p:attrName>
                                        </p:attrNameLst>
                                      </p:cBhvr>
                                      <p:to>
                                        <p:strVal val="visible"/>
                                      </p:to>
                                    </p:set>
                                    <p:animEffect transition="in" filter="fade">
                                      <p:cBhvr>
                                        <p:cTn id="38"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41" grpId="0"/>
      <p:bldP spid="42" grpId="0"/>
      <p:bldP spid="43"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Content Placeholder 12" descr="A person sitting at a desk&#10;&#10;Description automatically generated">
            <a:extLst>
              <a:ext uri="{FF2B5EF4-FFF2-40B4-BE49-F238E27FC236}">
                <a16:creationId xmlns:a16="http://schemas.microsoft.com/office/drawing/2014/main" id="{2A8ABD89-A518-4526-8B62-0AACA7BF1414}"/>
              </a:ext>
            </a:extLst>
          </p:cNvPr>
          <p:cNvPicPr>
            <a:picLocks noGrp="1"/>
          </p:cNvPicPr>
          <p:nvPr>
            <p:ph sz="quarter" idx="17"/>
          </p:nvPr>
        </p:nvPicPr>
        <p:blipFill rotWithShape="1">
          <a:blip r:embed="rId2" cstate="hqprint">
            <a:extLst>
              <a:ext uri="{28A0092B-C50C-407E-A947-70E740481C1C}">
                <a14:useLocalDpi xmlns:a14="http://schemas.microsoft.com/office/drawing/2010/main"/>
              </a:ext>
            </a:extLst>
          </a:blip>
          <a:stretch/>
        </p:blipFill>
        <p:spPr>
          <a:xfrm>
            <a:off x="465953" y="1600200"/>
            <a:ext cx="3608344" cy="3098800"/>
          </a:xfrm>
        </p:spPr>
      </p:pic>
      <p:sp>
        <p:nvSpPr>
          <p:cNvPr id="4" name="Title 3">
            <a:extLst>
              <a:ext uri="{FF2B5EF4-FFF2-40B4-BE49-F238E27FC236}">
                <a16:creationId xmlns:a16="http://schemas.microsoft.com/office/drawing/2014/main" id="{206F4DFF-0B73-47C5-95B9-1E591AAC39D3}"/>
              </a:ext>
            </a:extLst>
          </p:cNvPr>
          <p:cNvSpPr>
            <a:spLocks noGrp="1"/>
          </p:cNvSpPr>
          <p:nvPr>
            <p:ph type="title"/>
          </p:nvPr>
        </p:nvSpPr>
        <p:spPr/>
        <p:txBody>
          <a:bodyPr/>
          <a:lstStyle/>
          <a:p>
            <a:r>
              <a:rPr lang="en-US" sz="3600" dirty="0">
                <a:gradFill>
                  <a:gsLst>
                    <a:gs pos="1250">
                      <a:schemeClr val="tx1"/>
                    </a:gs>
                    <a:gs pos="100000">
                      <a:schemeClr val="tx1"/>
                    </a:gs>
                  </a:gsLst>
                  <a:lin ang="5400000" scaled="0"/>
                </a:gradFill>
              </a:rPr>
              <a:t>IoT  Plug &amp; Play</a:t>
            </a:r>
          </a:p>
        </p:txBody>
      </p:sp>
      <p:sp>
        <p:nvSpPr>
          <p:cNvPr id="5" name="Text Placeholder 4">
            <a:extLst>
              <a:ext uri="{FF2B5EF4-FFF2-40B4-BE49-F238E27FC236}">
                <a16:creationId xmlns:a16="http://schemas.microsoft.com/office/drawing/2014/main" id="{F65B0717-A71B-45E2-937E-487D7D99E468}"/>
              </a:ext>
            </a:extLst>
          </p:cNvPr>
          <p:cNvSpPr>
            <a:spLocks noGrp="1"/>
          </p:cNvSpPr>
          <p:nvPr>
            <p:ph type="body" sz="quarter" idx="11"/>
          </p:nvPr>
        </p:nvSpPr>
        <p:spPr/>
        <p:txBody>
          <a:bodyPr/>
          <a:lstStyle/>
          <a:p>
            <a:r>
              <a:rPr lang="en-US"/>
              <a:t>In-depth knowledge of embedded development is required to connect to the cloud, send telemetry, and apply configuration changes</a:t>
            </a:r>
          </a:p>
        </p:txBody>
      </p:sp>
      <p:sp>
        <p:nvSpPr>
          <p:cNvPr id="6" name="Text Placeholder 5">
            <a:extLst>
              <a:ext uri="{FF2B5EF4-FFF2-40B4-BE49-F238E27FC236}">
                <a16:creationId xmlns:a16="http://schemas.microsoft.com/office/drawing/2014/main" id="{18F39BE6-BF56-4376-80D8-B8510C7B8732}"/>
              </a:ext>
            </a:extLst>
          </p:cNvPr>
          <p:cNvSpPr>
            <a:spLocks noGrp="1"/>
          </p:cNvSpPr>
          <p:nvPr>
            <p:ph type="body" sz="quarter" idx="13"/>
          </p:nvPr>
        </p:nvSpPr>
        <p:spPr/>
        <p:txBody>
          <a:bodyPr/>
          <a:lstStyle/>
          <a:p>
            <a:r>
              <a:rPr lang="en-US"/>
              <a:t>Hardware sourcing, integration, and ramping to production can take months or even years for most of our customers.</a:t>
            </a:r>
          </a:p>
        </p:txBody>
      </p:sp>
      <p:pic>
        <p:nvPicPr>
          <p:cNvPr id="15" name="Content Placeholder 14" descr="A picture containing person, indoor, wall, man&#10;&#10;Description automatically generated">
            <a:extLst>
              <a:ext uri="{FF2B5EF4-FFF2-40B4-BE49-F238E27FC236}">
                <a16:creationId xmlns:a16="http://schemas.microsoft.com/office/drawing/2014/main" id="{D3244B7F-A142-4555-9E18-2974F0EF5E25}"/>
              </a:ext>
            </a:extLst>
          </p:cNvPr>
          <p:cNvPicPr>
            <a:picLocks noGrp="1"/>
          </p:cNvPicPr>
          <p:nvPr>
            <p:ph sz="quarter" idx="18"/>
          </p:nvPr>
        </p:nvPicPr>
        <p:blipFill rotWithShape="1">
          <a:blip r:embed="rId3" cstate="hqprint">
            <a:extLst>
              <a:ext uri="{28A0092B-C50C-407E-A947-70E740481C1C}">
                <a14:useLocalDpi xmlns:a14="http://schemas.microsoft.com/office/drawing/2010/main"/>
              </a:ext>
            </a:extLst>
          </a:blip>
          <a:stretch/>
        </p:blipFill>
        <p:spPr>
          <a:xfrm>
            <a:off x="4300538" y="1601566"/>
            <a:ext cx="3608387" cy="3096067"/>
          </a:xfrm>
        </p:spPr>
      </p:pic>
      <p:pic>
        <p:nvPicPr>
          <p:cNvPr id="17" name="Content Placeholder 16" descr="A group of people sitting at a table using a computer&#10;&#10;Description automatically generated">
            <a:extLst>
              <a:ext uri="{FF2B5EF4-FFF2-40B4-BE49-F238E27FC236}">
                <a16:creationId xmlns:a16="http://schemas.microsoft.com/office/drawing/2014/main" id="{72E3F682-9311-4D71-B94B-628A011B622E}"/>
              </a:ext>
            </a:extLst>
          </p:cNvPr>
          <p:cNvPicPr>
            <a:picLocks noGrp="1"/>
          </p:cNvPicPr>
          <p:nvPr>
            <p:ph sz="quarter" idx="19"/>
          </p:nvPr>
        </p:nvPicPr>
        <p:blipFill rotWithShape="1">
          <a:blip r:embed="rId4" cstate="hqprint">
            <a:extLst>
              <a:ext uri="{28A0092B-C50C-407E-A947-70E740481C1C}">
                <a14:useLocalDpi xmlns:a14="http://schemas.microsoft.com/office/drawing/2010/main"/>
              </a:ext>
            </a:extLst>
          </a:blip>
          <a:stretch/>
        </p:blipFill>
        <p:spPr>
          <a:xfrm>
            <a:off x="8146075" y="1600200"/>
            <a:ext cx="3605574" cy="3098800"/>
          </a:xfrm>
        </p:spPr>
      </p:pic>
      <p:sp>
        <p:nvSpPr>
          <p:cNvPr id="10" name="Text Placeholder 9">
            <a:extLst>
              <a:ext uri="{FF2B5EF4-FFF2-40B4-BE49-F238E27FC236}">
                <a16:creationId xmlns:a16="http://schemas.microsoft.com/office/drawing/2014/main" id="{E441EEF9-DC7F-40B9-ABF0-A23C4C05396D}"/>
              </a:ext>
            </a:extLst>
          </p:cNvPr>
          <p:cNvSpPr>
            <a:spLocks noGrp="1"/>
          </p:cNvSpPr>
          <p:nvPr>
            <p:ph type="body" sz="quarter" idx="20"/>
          </p:nvPr>
        </p:nvSpPr>
        <p:spPr/>
        <p:txBody>
          <a:bodyPr vert="horz" wrap="square" lIns="0" tIns="0" rIns="0" bIns="0" rtlCol="0" anchor="t">
            <a:spAutoFit/>
          </a:bodyPr>
          <a:lstStyle/>
          <a:p>
            <a:r>
              <a:rPr lang="en-US"/>
              <a:t>Extremely difficult for solution developers to transform low-level device messages into meaningful data, events, and workflows</a:t>
            </a:r>
          </a:p>
        </p:txBody>
      </p:sp>
      <p:sp>
        <p:nvSpPr>
          <p:cNvPr id="11" name="Rectangle 10">
            <a:extLst>
              <a:ext uri="{FF2B5EF4-FFF2-40B4-BE49-F238E27FC236}">
                <a16:creationId xmlns:a16="http://schemas.microsoft.com/office/drawing/2014/main" id="{06FF443A-8648-41AF-BFD4-B885987CC45E}"/>
              </a:ext>
            </a:extLst>
          </p:cNvPr>
          <p:cNvSpPr/>
          <p:nvPr/>
        </p:nvSpPr>
        <p:spPr>
          <a:xfrm>
            <a:off x="452931" y="5901526"/>
            <a:ext cx="10049853" cy="394082"/>
          </a:xfrm>
          <a:prstGeom prst="rect">
            <a:avLst/>
          </a:prstGeom>
        </p:spPr>
        <p:txBody>
          <a:bodyPr wrap="square">
            <a:spAutoFit/>
          </a:bodyPr>
          <a:lstStyle/>
          <a:p>
            <a:r>
              <a:rPr lang="en-US" sz="1961" i="1" dirty="0">
                <a:solidFill>
                  <a:schemeClr val="bg2"/>
                </a:solidFill>
              </a:rPr>
              <a:t>With IoT Plug and Play, Microsoft is simplifying how IoT devices integrate with IoT solutions</a:t>
            </a:r>
          </a:p>
        </p:txBody>
      </p:sp>
    </p:spTree>
    <p:extLst>
      <p:ext uri="{BB962C8B-B14F-4D97-AF65-F5344CB8AC3E}">
        <p14:creationId xmlns:p14="http://schemas.microsoft.com/office/powerpoint/2010/main" val="62386414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loud">
            <a:extLst>
              <a:ext uri="{FF2B5EF4-FFF2-40B4-BE49-F238E27FC236}">
                <a16:creationId xmlns:a16="http://schemas.microsoft.com/office/drawing/2014/main" id="{B1E5C1A8-5AE5-4BB1-AECD-E16A8932ACFC}"/>
              </a:ext>
            </a:extLst>
          </p:cNvPr>
          <p:cNvSpPr>
            <a:spLocks noChangeAspect="1"/>
          </p:cNvSpPr>
          <p:nvPr/>
        </p:nvSpPr>
        <p:spPr bwMode="black">
          <a:xfrm>
            <a:off x="3469971" y="1156174"/>
            <a:ext cx="8588486" cy="494988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ln w="2222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defTabSz="914102" fontAlgn="base">
              <a:spcBef>
                <a:spcPct val="0"/>
              </a:spcBef>
              <a:spcAft>
                <a:spcPct val="0"/>
              </a:spcAft>
              <a:defRPr/>
            </a:pPr>
            <a:endParaRPr lang="en-US" sz="1961">
              <a:solidFill>
                <a:srgbClr val="353535"/>
              </a:solidFill>
              <a:latin typeface="Segoe UI Semilight"/>
            </a:endParaRPr>
          </a:p>
        </p:txBody>
      </p:sp>
      <p:cxnSp>
        <p:nvCxnSpPr>
          <p:cNvPr id="168" name="Straight Arrow Connector 167">
            <a:extLst>
              <a:ext uri="{FF2B5EF4-FFF2-40B4-BE49-F238E27FC236}">
                <a16:creationId xmlns:a16="http://schemas.microsoft.com/office/drawing/2014/main" id="{B2BB0AA6-01B6-409A-B3AF-72BC40FACCC3}"/>
              </a:ext>
            </a:extLst>
          </p:cNvPr>
          <p:cNvCxnSpPr>
            <a:cxnSpLocks/>
            <a:stCxn id="18" idx="3"/>
            <a:endCxn id="16" idx="1"/>
          </p:cNvCxnSpPr>
          <p:nvPr/>
        </p:nvCxnSpPr>
        <p:spPr>
          <a:xfrm>
            <a:off x="2775462" y="4130862"/>
            <a:ext cx="3302770" cy="737726"/>
          </a:xfrm>
          <a:prstGeom prst="straightConnector1">
            <a:avLst/>
          </a:prstGeom>
          <a:ln w="1905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a16="http://schemas.microsoft.com/office/drawing/2014/main" id="{CA862D8F-6848-44EA-935F-5E5529FC89B6}"/>
              </a:ext>
            </a:extLst>
          </p:cNvPr>
          <p:cNvCxnSpPr>
            <a:cxnSpLocks/>
            <a:stCxn id="17" idx="3"/>
            <a:endCxn id="16" idx="1"/>
          </p:cNvCxnSpPr>
          <p:nvPr/>
        </p:nvCxnSpPr>
        <p:spPr>
          <a:xfrm>
            <a:off x="2787360" y="2916333"/>
            <a:ext cx="3290872" cy="1952255"/>
          </a:xfrm>
          <a:prstGeom prst="straightConnector1">
            <a:avLst/>
          </a:prstGeom>
          <a:ln w="1905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a:extLst>
              <a:ext uri="{FF2B5EF4-FFF2-40B4-BE49-F238E27FC236}">
                <a16:creationId xmlns:a16="http://schemas.microsoft.com/office/drawing/2014/main" id="{FA958B0D-8051-4649-979F-A68792D2816A}"/>
              </a:ext>
            </a:extLst>
          </p:cNvPr>
          <p:cNvCxnSpPr>
            <a:cxnSpLocks/>
            <a:stCxn id="32" idx="3"/>
            <a:endCxn id="16" idx="1"/>
          </p:cNvCxnSpPr>
          <p:nvPr/>
        </p:nvCxnSpPr>
        <p:spPr>
          <a:xfrm flipV="1">
            <a:off x="2823114" y="4868588"/>
            <a:ext cx="3255118" cy="649794"/>
          </a:xfrm>
          <a:prstGeom prst="straightConnector1">
            <a:avLst/>
          </a:prstGeom>
          <a:ln w="1905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A776F1AC-A667-466D-BC95-73B90E7A2C3A}"/>
              </a:ext>
            </a:extLst>
          </p:cNvPr>
          <p:cNvSpPr/>
          <p:nvPr/>
        </p:nvSpPr>
        <p:spPr bwMode="auto">
          <a:xfrm>
            <a:off x="3100019" y="2910365"/>
            <a:ext cx="1097042" cy="802782"/>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050" spc="-49">
                <a:solidFill>
                  <a:schemeClr val="bg1"/>
                </a:solidFill>
                <a:latin typeface="Segoe UI Semilight" panose="020B0402040204020203" pitchFamily="34" charset="0"/>
                <a:cs typeface="Segoe UI Semilight" panose="020B0402040204020203" pitchFamily="34" charset="0"/>
              </a:rPr>
              <a:t>D2C</a:t>
            </a:r>
          </a:p>
          <a:p>
            <a:pPr algn="ctr" defTabSz="914102" fontAlgn="base">
              <a:lnSpc>
                <a:spcPct val="90000"/>
              </a:lnSpc>
              <a:spcBef>
                <a:spcPct val="0"/>
              </a:spcBef>
              <a:spcAft>
                <a:spcPct val="0"/>
              </a:spcAft>
            </a:pPr>
            <a:r>
              <a:rPr lang="en-US" sz="900" spc="-49">
                <a:solidFill>
                  <a:schemeClr val="bg1"/>
                </a:solidFill>
                <a:latin typeface="Segoe UI Semilight" panose="020B0402040204020203" pitchFamily="34" charset="0"/>
                <a:cs typeface="Segoe UI Semilight" panose="020B0402040204020203" pitchFamily="34" charset="0"/>
              </a:rPr>
              <a:t>Message Routes</a:t>
            </a:r>
          </a:p>
          <a:p>
            <a:pPr algn="ctr" defTabSz="914102" fontAlgn="base">
              <a:lnSpc>
                <a:spcPct val="90000"/>
              </a:lnSpc>
              <a:spcBef>
                <a:spcPct val="0"/>
              </a:spcBef>
              <a:spcAft>
                <a:spcPct val="0"/>
              </a:spcAft>
            </a:pPr>
            <a:r>
              <a:rPr lang="en-US" sz="1050" spc="-49">
                <a:solidFill>
                  <a:schemeClr val="bg1"/>
                </a:solidFill>
                <a:latin typeface="Segoe UI Semilight" panose="020B0402040204020203" pitchFamily="34" charset="0"/>
                <a:cs typeface="Segoe UI Semilight" panose="020B0402040204020203" pitchFamily="34" charset="0"/>
              </a:rPr>
              <a:t>C2D/Methods</a:t>
            </a:r>
          </a:p>
          <a:p>
            <a:pPr algn="ctr" defTabSz="914102" fontAlgn="base">
              <a:lnSpc>
                <a:spcPct val="90000"/>
              </a:lnSpc>
              <a:spcBef>
                <a:spcPct val="0"/>
              </a:spcBef>
              <a:spcAft>
                <a:spcPct val="0"/>
              </a:spcAft>
            </a:pPr>
            <a:r>
              <a:rPr lang="en-US" sz="1050" spc="-49">
                <a:solidFill>
                  <a:schemeClr val="bg1"/>
                </a:solidFill>
                <a:latin typeface="Segoe UI Semilight" panose="020B0402040204020203" pitchFamily="34" charset="0"/>
                <a:cs typeface="Segoe UI Semilight" panose="020B0402040204020203" pitchFamily="34" charset="0"/>
              </a:rPr>
              <a:t>Device Twin</a:t>
            </a:r>
          </a:p>
        </p:txBody>
      </p:sp>
      <p:sp>
        <p:nvSpPr>
          <p:cNvPr id="51" name="Rectangle 50">
            <a:extLst>
              <a:ext uri="{FF2B5EF4-FFF2-40B4-BE49-F238E27FC236}">
                <a16:creationId xmlns:a16="http://schemas.microsoft.com/office/drawing/2014/main" id="{2757DB5A-3678-458B-8772-83C3390D011D}"/>
              </a:ext>
            </a:extLst>
          </p:cNvPr>
          <p:cNvSpPr/>
          <p:nvPr/>
        </p:nvSpPr>
        <p:spPr bwMode="auto">
          <a:xfrm>
            <a:off x="3129859" y="5070329"/>
            <a:ext cx="1097042" cy="802782"/>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050" spc="-49">
                <a:solidFill>
                  <a:schemeClr val="bg1"/>
                </a:solidFill>
                <a:latin typeface="Segoe UI Semilight" panose="020B0402040204020203" pitchFamily="34" charset="0"/>
                <a:cs typeface="Segoe UI Semilight" panose="020B0402040204020203" pitchFamily="34" charset="0"/>
              </a:rPr>
              <a:t>D2C</a:t>
            </a:r>
          </a:p>
          <a:p>
            <a:pPr algn="ctr" defTabSz="914102" fontAlgn="base">
              <a:lnSpc>
                <a:spcPct val="90000"/>
              </a:lnSpc>
              <a:spcBef>
                <a:spcPct val="0"/>
              </a:spcBef>
              <a:spcAft>
                <a:spcPct val="0"/>
              </a:spcAft>
            </a:pPr>
            <a:r>
              <a:rPr lang="en-US" sz="900" spc="-49">
                <a:solidFill>
                  <a:schemeClr val="bg1"/>
                </a:solidFill>
                <a:latin typeface="Segoe UI Semilight" panose="020B0402040204020203" pitchFamily="34" charset="0"/>
                <a:cs typeface="Segoe UI Semilight" panose="020B0402040204020203" pitchFamily="34" charset="0"/>
              </a:rPr>
              <a:t>Message Routes</a:t>
            </a:r>
          </a:p>
          <a:p>
            <a:pPr algn="ctr" defTabSz="914102" fontAlgn="base">
              <a:lnSpc>
                <a:spcPct val="90000"/>
              </a:lnSpc>
              <a:spcBef>
                <a:spcPct val="0"/>
              </a:spcBef>
              <a:spcAft>
                <a:spcPct val="0"/>
              </a:spcAft>
            </a:pPr>
            <a:r>
              <a:rPr lang="en-US" sz="1050" spc="-49">
                <a:solidFill>
                  <a:schemeClr val="bg1"/>
                </a:solidFill>
                <a:latin typeface="Segoe UI Semilight" panose="020B0402040204020203" pitchFamily="34" charset="0"/>
                <a:cs typeface="Segoe UI Semilight" panose="020B0402040204020203" pitchFamily="34" charset="0"/>
              </a:rPr>
              <a:t>C2D/Methods</a:t>
            </a:r>
          </a:p>
          <a:p>
            <a:pPr algn="ctr" defTabSz="914102" fontAlgn="base">
              <a:lnSpc>
                <a:spcPct val="90000"/>
              </a:lnSpc>
              <a:spcBef>
                <a:spcPct val="0"/>
              </a:spcBef>
              <a:spcAft>
                <a:spcPct val="0"/>
              </a:spcAft>
            </a:pPr>
            <a:r>
              <a:rPr lang="en-US" sz="1050" spc="-49">
                <a:solidFill>
                  <a:schemeClr val="bg1"/>
                </a:solidFill>
                <a:latin typeface="Segoe UI Semilight" panose="020B0402040204020203" pitchFamily="34" charset="0"/>
                <a:cs typeface="Segoe UI Semilight" panose="020B0402040204020203" pitchFamily="34" charset="0"/>
              </a:rPr>
              <a:t>Device Twin</a:t>
            </a:r>
          </a:p>
        </p:txBody>
      </p:sp>
      <p:sp>
        <p:nvSpPr>
          <p:cNvPr id="49" name="Rectangle 48">
            <a:extLst>
              <a:ext uri="{FF2B5EF4-FFF2-40B4-BE49-F238E27FC236}">
                <a16:creationId xmlns:a16="http://schemas.microsoft.com/office/drawing/2014/main" id="{222CF6D0-8F3C-4AC7-97A6-BA4D9FC57E39}"/>
              </a:ext>
            </a:extLst>
          </p:cNvPr>
          <p:cNvSpPr/>
          <p:nvPr/>
        </p:nvSpPr>
        <p:spPr bwMode="auto">
          <a:xfrm>
            <a:off x="3084049" y="3914184"/>
            <a:ext cx="1097042" cy="802782"/>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050" spc="-49">
                <a:solidFill>
                  <a:schemeClr val="bg1"/>
                </a:solidFill>
                <a:latin typeface="Segoe UI Semilight" panose="020B0402040204020203" pitchFamily="34" charset="0"/>
                <a:cs typeface="Segoe UI Semilight" panose="020B0402040204020203" pitchFamily="34" charset="0"/>
              </a:rPr>
              <a:t>D2C</a:t>
            </a:r>
          </a:p>
          <a:p>
            <a:pPr algn="ctr" defTabSz="914102" fontAlgn="base">
              <a:lnSpc>
                <a:spcPct val="90000"/>
              </a:lnSpc>
              <a:spcBef>
                <a:spcPct val="0"/>
              </a:spcBef>
              <a:spcAft>
                <a:spcPct val="0"/>
              </a:spcAft>
            </a:pPr>
            <a:r>
              <a:rPr lang="en-US" sz="900" spc="-49">
                <a:solidFill>
                  <a:schemeClr val="bg1"/>
                </a:solidFill>
                <a:latin typeface="Segoe UI Semilight" panose="020B0402040204020203" pitchFamily="34" charset="0"/>
                <a:cs typeface="Segoe UI Semilight" panose="020B0402040204020203" pitchFamily="34" charset="0"/>
              </a:rPr>
              <a:t>Message Routes</a:t>
            </a:r>
          </a:p>
          <a:p>
            <a:pPr algn="ctr" defTabSz="914102" fontAlgn="base">
              <a:lnSpc>
                <a:spcPct val="90000"/>
              </a:lnSpc>
              <a:spcBef>
                <a:spcPct val="0"/>
              </a:spcBef>
              <a:spcAft>
                <a:spcPct val="0"/>
              </a:spcAft>
            </a:pPr>
            <a:r>
              <a:rPr lang="en-US" sz="1050" spc="-49">
                <a:solidFill>
                  <a:schemeClr val="bg1"/>
                </a:solidFill>
                <a:latin typeface="Segoe UI Semilight" panose="020B0402040204020203" pitchFamily="34" charset="0"/>
                <a:cs typeface="Segoe UI Semilight" panose="020B0402040204020203" pitchFamily="34" charset="0"/>
              </a:rPr>
              <a:t>C2D/Methods</a:t>
            </a:r>
          </a:p>
          <a:p>
            <a:pPr algn="ctr" defTabSz="914102" fontAlgn="base">
              <a:lnSpc>
                <a:spcPct val="90000"/>
              </a:lnSpc>
              <a:spcBef>
                <a:spcPct val="0"/>
              </a:spcBef>
              <a:spcAft>
                <a:spcPct val="0"/>
              </a:spcAft>
            </a:pPr>
            <a:r>
              <a:rPr lang="en-US" sz="1050" spc="-49">
                <a:solidFill>
                  <a:schemeClr val="bg1"/>
                </a:solidFill>
                <a:latin typeface="Segoe UI Semilight" panose="020B0402040204020203" pitchFamily="34" charset="0"/>
                <a:cs typeface="Segoe UI Semilight" panose="020B0402040204020203" pitchFamily="34" charset="0"/>
              </a:rPr>
              <a:t>Device Twin</a:t>
            </a:r>
          </a:p>
        </p:txBody>
      </p:sp>
      <p:sp>
        <p:nvSpPr>
          <p:cNvPr id="2" name="Title 1"/>
          <p:cNvSpPr>
            <a:spLocks noGrp="1"/>
          </p:cNvSpPr>
          <p:nvPr>
            <p:ph type="title"/>
          </p:nvPr>
        </p:nvSpPr>
        <p:spPr>
          <a:xfrm>
            <a:off x="270066" y="289957"/>
            <a:ext cx="11654187" cy="430887"/>
          </a:xfrm>
        </p:spPr>
        <p:txBody>
          <a:bodyPr/>
          <a:lstStyle/>
          <a:p>
            <a:r>
              <a:rPr lang="en-US" sz="2800" dirty="0"/>
              <a:t>IoT Plug and Play in Azure IoT platform context</a:t>
            </a:r>
          </a:p>
        </p:txBody>
      </p:sp>
      <p:cxnSp>
        <p:nvCxnSpPr>
          <p:cNvPr id="8" name="Straight Arrow Connector 7">
            <a:extLst>
              <a:ext uri="{FF2B5EF4-FFF2-40B4-BE49-F238E27FC236}">
                <a16:creationId xmlns:a16="http://schemas.microsoft.com/office/drawing/2014/main" id="{C38F75DC-0DB4-48EC-8269-C13886996D61}"/>
              </a:ext>
            </a:extLst>
          </p:cNvPr>
          <p:cNvCxnSpPr>
            <a:cxnSpLocks/>
            <a:stCxn id="16" idx="3"/>
            <a:endCxn id="43" idx="1"/>
          </p:cNvCxnSpPr>
          <p:nvPr/>
        </p:nvCxnSpPr>
        <p:spPr>
          <a:xfrm>
            <a:off x="8050481" y="4868588"/>
            <a:ext cx="1209904" cy="174895"/>
          </a:xfrm>
          <a:prstGeom prst="straightConnector1">
            <a:avLst/>
          </a:prstGeom>
          <a:ln w="1905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078FE596-6B17-4610-B380-DEE3706267F8}"/>
              </a:ext>
            </a:extLst>
          </p:cNvPr>
          <p:cNvGrpSpPr/>
          <p:nvPr/>
        </p:nvGrpSpPr>
        <p:grpSpPr>
          <a:xfrm>
            <a:off x="1816812" y="2464648"/>
            <a:ext cx="970548" cy="903369"/>
            <a:chOff x="2385972" y="2339213"/>
            <a:chExt cx="970548" cy="903369"/>
          </a:xfrm>
        </p:grpSpPr>
        <p:sp>
          <p:nvSpPr>
            <p:cNvPr id="17" name="Rectangle: Rounded Corners 23">
              <a:extLst>
                <a:ext uri="{FF2B5EF4-FFF2-40B4-BE49-F238E27FC236}">
                  <a16:creationId xmlns:a16="http://schemas.microsoft.com/office/drawing/2014/main" id="{28216572-60FE-462C-90C3-0828D9A71684}"/>
                </a:ext>
              </a:extLst>
            </p:cNvPr>
            <p:cNvSpPr/>
            <p:nvPr/>
          </p:nvSpPr>
          <p:spPr bwMode="auto">
            <a:xfrm>
              <a:off x="2385972" y="2339213"/>
              <a:ext cx="970548" cy="903369"/>
            </a:xfrm>
            <a:prstGeom prst="roundRect">
              <a:avLst/>
            </a:prstGeom>
            <a:solidFill>
              <a:schemeClr val="bg1"/>
            </a:solidFill>
            <a:ln w="22225">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algn="ctr" defTabSz="914102" fontAlgn="base">
                <a:spcBef>
                  <a:spcPct val="0"/>
                </a:spcBef>
                <a:spcAft>
                  <a:spcPct val="0"/>
                </a:spcAft>
                <a:defRPr/>
              </a:pPr>
              <a:r>
                <a:rPr lang="en-US" sz="1400">
                  <a:solidFill>
                    <a:srgbClr val="353535"/>
                  </a:solidFill>
                  <a:latin typeface="Segoe UI Semilight"/>
                </a:rPr>
                <a:t>IoT Device</a:t>
              </a:r>
            </a:p>
          </p:txBody>
        </p:sp>
        <p:sp>
          <p:nvSpPr>
            <p:cNvPr id="23" name="Frame 5">
              <a:extLst>
                <a:ext uri="{FF2B5EF4-FFF2-40B4-BE49-F238E27FC236}">
                  <a16:creationId xmlns:a16="http://schemas.microsoft.com/office/drawing/2014/main" id="{243A4CA8-08D4-4F64-AD2C-AB02F750E43F}"/>
                </a:ext>
              </a:extLst>
            </p:cNvPr>
            <p:cNvSpPr>
              <a:spLocks noChangeAspect="1"/>
            </p:cNvSpPr>
            <p:nvPr/>
          </p:nvSpPr>
          <p:spPr bwMode="auto">
            <a:xfrm>
              <a:off x="2728578" y="2428513"/>
              <a:ext cx="281041" cy="28096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6350" cap="flat" cmpd="sng" algn="ctr">
              <a:solidFill>
                <a:schemeClr val="bg2"/>
              </a:solidFill>
              <a:prstDash val="solid"/>
              <a:miter lim="800000"/>
              <a:headEnd type="none" w="med" len="med"/>
              <a:tailEnd type="none" w="med" len="me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a:solidFill>
                  <a:prstClr val="black"/>
                </a:solidFill>
                <a:latin typeface="Segoe UI Light"/>
                <a:ea typeface="Segoe UI" pitchFamily="34" charset="0"/>
                <a:cs typeface="Segoe UI" pitchFamily="34" charset="0"/>
              </a:endParaRPr>
            </a:p>
          </p:txBody>
        </p:sp>
      </p:grpSp>
      <p:sp>
        <p:nvSpPr>
          <p:cNvPr id="18" name="Rectangle: Rounded Corners 23">
            <a:extLst>
              <a:ext uri="{FF2B5EF4-FFF2-40B4-BE49-F238E27FC236}">
                <a16:creationId xmlns:a16="http://schemas.microsoft.com/office/drawing/2014/main" id="{2EEAEC86-4A7A-412D-A5CA-DD5033158400}"/>
              </a:ext>
            </a:extLst>
          </p:cNvPr>
          <p:cNvSpPr/>
          <p:nvPr/>
        </p:nvSpPr>
        <p:spPr bwMode="auto">
          <a:xfrm>
            <a:off x="1804914" y="3679177"/>
            <a:ext cx="970548" cy="903369"/>
          </a:xfrm>
          <a:prstGeom prst="roundRect">
            <a:avLst/>
          </a:prstGeom>
          <a:solidFill>
            <a:schemeClr val="bg1"/>
          </a:solidFill>
          <a:ln w="222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algn="ctr" defTabSz="914102" fontAlgn="base">
              <a:spcBef>
                <a:spcPct val="0"/>
              </a:spcBef>
              <a:spcAft>
                <a:spcPct val="0"/>
              </a:spcAft>
              <a:defRPr/>
            </a:pPr>
            <a:r>
              <a:rPr lang="en-US" sz="1600">
                <a:solidFill>
                  <a:srgbClr val="353535"/>
                </a:solidFill>
                <a:latin typeface="Segoe UI Semilight"/>
              </a:rPr>
              <a:t>IoT Edge</a:t>
            </a:r>
          </a:p>
        </p:txBody>
      </p:sp>
      <p:pic>
        <p:nvPicPr>
          <p:cNvPr id="27" name="Picture 26">
            <a:extLst>
              <a:ext uri="{FF2B5EF4-FFF2-40B4-BE49-F238E27FC236}">
                <a16:creationId xmlns:a16="http://schemas.microsoft.com/office/drawing/2014/main" id="{46ADFE7C-E861-490F-B76A-E098E1C19B52}"/>
              </a:ext>
            </a:extLst>
          </p:cNvPr>
          <p:cNvPicPr>
            <a:picLocks noChangeAspect="1"/>
          </p:cNvPicPr>
          <p:nvPr/>
        </p:nvPicPr>
        <p:blipFill>
          <a:blip r:embed="rId3"/>
          <a:stretch>
            <a:fillRect/>
          </a:stretch>
        </p:blipFill>
        <p:spPr>
          <a:xfrm>
            <a:off x="1943329" y="3832200"/>
            <a:ext cx="693718" cy="207522"/>
          </a:xfrm>
          <a:prstGeom prst="rect">
            <a:avLst/>
          </a:prstGeom>
        </p:spPr>
      </p:pic>
      <p:grpSp>
        <p:nvGrpSpPr>
          <p:cNvPr id="29" name="Group 28">
            <a:extLst>
              <a:ext uri="{FF2B5EF4-FFF2-40B4-BE49-F238E27FC236}">
                <a16:creationId xmlns:a16="http://schemas.microsoft.com/office/drawing/2014/main" id="{EF84D805-1F1E-48E9-AC14-47B1874B2AC9}"/>
              </a:ext>
            </a:extLst>
          </p:cNvPr>
          <p:cNvGrpSpPr/>
          <p:nvPr/>
        </p:nvGrpSpPr>
        <p:grpSpPr>
          <a:xfrm>
            <a:off x="1852566" y="5066697"/>
            <a:ext cx="970548" cy="903369"/>
            <a:chOff x="2419579" y="3682421"/>
            <a:chExt cx="970548" cy="903369"/>
          </a:xfrm>
        </p:grpSpPr>
        <p:sp>
          <p:nvSpPr>
            <p:cNvPr id="32" name="Rectangle: Rounded Corners 23">
              <a:extLst>
                <a:ext uri="{FF2B5EF4-FFF2-40B4-BE49-F238E27FC236}">
                  <a16:creationId xmlns:a16="http://schemas.microsoft.com/office/drawing/2014/main" id="{2C96FF68-16A0-4F5F-A918-256118968D3B}"/>
                </a:ext>
              </a:extLst>
            </p:cNvPr>
            <p:cNvSpPr/>
            <p:nvPr/>
          </p:nvSpPr>
          <p:spPr bwMode="auto">
            <a:xfrm>
              <a:off x="2419579" y="3682421"/>
              <a:ext cx="970548" cy="903369"/>
            </a:xfrm>
            <a:prstGeom prst="roundRect">
              <a:avLst/>
            </a:prstGeom>
            <a:solidFill>
              <a:schemeClr val="bg1"/>
            </a:solidFill>
            <a:ln w="222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algn="ctr" defTabSz="914102" fontAlgn="base">
                <a:spcBef>
                  <a:spcPct val="0"/>
                </a:spcBef>
                <a:spcAft>
                  <a:spcPct val="0"/>
                </a:spcAft>
                <a:defRPr/>
              </a:pPr>
              <a:r>
                <a:rPr lang="en-US" sz="1600">
                  <a:solidFill>
                    <a:srgbClr val="353535"/>
                  </a:solidFill>
                  <a:latin typeface="Segoe UI Semilight"/>
                </a:rPr>
                <a:t>IoT Edge</a:t>
              </a:r>
            </a:p>
          </p:txBody>
        </p:sp>
        <p:pic>
          <p:nvPicPr>
            <p:cNvPr id="33" name="Picture 32">
              <a:extLst>
                <a:ext uri="{FF2B5EF4-FFF2-40B4-BE49-F238E27FC236}">
                  <a16:creationId xmlns:a16="http://schemas.microsoft.com/office/drawing/2014/main" id="{BD8A2640-6773-494F-969A-75713359AEAF}"/>
                </a:ext>
              </a:extLst>
            </p:cNvPr>
            <p:cNvPicPr>
              <a:picLocks noChangeAspect="1"/>
            </p:cNvPicPr>
            <p:nvPr/>
          </p:nvPicPr>
          <p:blipFill>
            <a:blip r:embed="rId3"/>
            <a:stretch>
              <a:fillRect/>
            </a:stretch>
          </p:blipFill>
          <p:spPr>
            <a:xfrm>
              <a:off x="2542067" y="3859196"/>
              <a:ext cx="693718" cy="207522"/>
            </a:xfrm>
            <a:prstGeom prst="rect">
              <a:avLst/>
            </a:prstGeom>
          </p:spPr>
        </p:pic>
      </p:grpSp>
      <p:grpSp>
        <p:nvGrpSpPr>
          <p:cNvPr id="34" name="Group 33">
            <a:extLst>
              <a:ext uri="{FF2B5EF4-FFF2-40B4-BE49-F238E27FC236}">
                <a16:creationId xmlns:a16="http://schemas.microsoft.com/office/drawing/2014/main" id="{9A5DFB33-DFF2-42C2-AA77-64C72192A3B8}"/>
              </a:ext>
            </a:extLst>
          </p:cNvPr>
          <p:cNvGrpSpPr/>
          <p:nvPr/>
        </p:nvGrpSpPr>
        <p:grpSpPr>
          <a:xfrm>
            <a:off x="233780" y="4724400"/>
            <a:ext cx="970548" cy="903369"/>
            <a:chOff x="2385972" y="2339213"/>
            <a:chExt cx="970548" cy="903369"/>
          </a:xfrm>
        </p:grpSpPr>
        <p:sp>
          <p:nvSpPr>
            <p:cNvPr id="35" name="Rectangle: Rounded Corners 23">
              <a:extLst>
                <a:ext uri="{FF2B5EF4-FFF2-40B4-BE49-F238E27FC236}">
                  <a16:creationId xmlns:a16="http://schemas.microsoft.com/office/drawing/2014/main" id="{F7394C1C-11F9-49F5-95F2-E2A2AC53449F}"/>
                </a:ext>
              </a:extLst>
            </p:cNvPr>
            <p:cNvSpPr/>
            <p:nvPr/>
          </p:nvSpPr>
          <p:spPr bwMode="auto">
            <a:xfrm>
              <a:off x="2385972" y="2339213"/>
              <a:ext cx="970548" cy="903369"/>
            </a:xfrm>
            <a:prstGeom prst="roundRect">
              <a:avLst/>
            </a:prstGeom>
            <a:solidFill>
              <a:schemeClr val="bg1"/>
            </a:solidFill>
            <a:ln w="22225">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algn="ctr" defTabSz="914102" fontAlgn="base">
                <a:spcBef>
                  <a:spcPct val="0"/>
                </a:spcBef>
                <a:spcAft>
                  <a:spcPct val="0"/>
                </a:spcAft>
                <a:defRPr/>
              </a:pPr>
              <a:r>
                <a:rPr lang="en-US" sz="1400">
                  <a:solidFill>
                    <a:srgbClr val="353535"/>
                  </a:solidFill>
                  <a:latin typeface="Segoe UI Semilight"/>
                </a:rPr>
                <a:t>IoT Device</a:t>
              </a:r>
            </a:p>
          </p:txBody>
        </p:sp>
        <p:sp>
          <p:nvSpPr>
            <p:cNvPr id="36" name="Frame 5">
              <a:extLst>
                <a:ext uri="{FF2B5EF4-FFF2-40B4-BE49-F238E27FC236}">
                  <a16:creationId xmlns:a16="http://schemas.microsoft.com/office/drawing/2014/main" id="{7F973092-A322-4270-8E4B-6080C8733B72}"/>
                </a:ext>
              </a:extLst>
            </p:cNvPr>
            <p:cNvSpPr>
              <a:spLocks noChangeAspect="1"/>
            </p:cNvSpPr>
            <p:nvPr/>
          </p:nvSpPr>
          <p:spPr bwMode="auto">
            <a:xfrm>
              <a:off x="2728578" y="2428513"/>
              <a:ext cx="281041" cy="28096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6350" cap="flat" cmpd="sng" algn="ctr">
              <a:solidFill>
                <a:schemeClr val="bg2"/>
              </a:solidFill>
              <a:prstDash val="solid"/>
              <a:miter lim="800000"/>
              <a:headEnd type="none" w="med" len="med"/>
              <a:tailEnd type="none" w="med" len="me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a:solidFill>
                  <a:prstClr val="black"/>
                </a:solidFill>
                <a:latin typeface="Segoe UI Light"/>
                <a:ea typeface="Segoe UI" pitchFamily="34" charset="0"/>
                <a:cs typeface="Segoe UI" pitchFamily="34" charset="0"/>
              </a:endParaRPr>
            </a:p>
          </p:txBody>
        </p:sp>
      </p:grpSp>
      <p:sp>
        <p:nvSpPr>
          <p:cNvPr id="38" name="Rectangle: Rounded Corners 23">
            <a:extLst>
              <a:ext uri="{FF2B5EF4-FFF2-40B4-BE49-F238E27FC236}">
                <a16:creationId xmlns:a16="http://schemas.microsoft.com/office/drawing/2014/main" id="{3C31E01D-DB43-464D-AEEA-15C0260EBFC7}"/>
              </a:ext>
            </a:extLst>
          </p:cNvPr>
          <p:cNvSpPr/>
          <p:nvPr/>
        </p:nvSpPr>
        <p:spPr bwMode="auto">
          <a:xfrm>
            <a:off x="235161" y="5744982"/>
            <a:ext cx="970548" cy="903369"/>
          </a:xfrm>
          <a:prstGeom prst="roundRect">
            <a:avLst/>
          </a:prstGeom>
          <a:solidFill>
            <a:schemeClr val="bg1"/>
          </a:solidFill>
          <a:ln w="222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algn="ctr" defTabSz="914102" fontAlgn="base">
              <a:spcBef>
                <a:spcPct val="0"/>
              </a:spcBef>
              <a:spcAft>
                <a:spcPct val="0"/>
              </a:spcAft>
              <a:defRPr/>
            </a:pPr>
            <a:r>
              <a:rPr lang="en-US" sz="1400">
                <a:solidFill>
                  <a:srgbClr val="353535"/>
                </a:solidFill>
                <a:latin typeface="Segoe UI Semilight"/>
              </a:rPr>
              <a:t>IoT Device</a:t>
            </a:r>
          </a:p>
        </p:txBody>
      </p:sp>
      <p:sp>
        <p:nvSpPr>
          <p:cNvPr id="39" name="Frame 5">
            <a:extLst>
              <a:ext uri="{FF2B5EF4-FFF2-40B4-BE49-F238E27FC236}">
                <a16:creationId xmlns:a16="http://schemas.microsoft.com/office/drawing/2014/main" id="{D5157AA5-2032-4B82-8A20-F275BE115A08}"/>
              </a:ext>
            </a:extLst>
          </p:cNvPr>
          <p:cNvSpPr>
            <a:spLocks noChangeAspect="1"/>
          </p:cNvSpPr>
          <p:nvPr/>
        </p:nvSpPr>
        <p:spPr bwMode="auto">
          <a:xfrm>
            <a:off x="577767" y="5834282"/>
            <a:ext cx="281041" cy="28096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6350" cap="flat" cmpd="sng" algn="ctr">
            <a:solidFill>
              <a:schemeClr val="bg2"/>
            </a:solidFill>
            <a:prstDash val="solid"/>
            <a:miter lim="800000"/>
            <a:headEnd type="none" w="med" len="med"/>
            <a:tailEnd type="none" w="med" len="me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a:solidFill>
                <a:prstClr val="black"/>
              </a:solidFill>
              <a:latin typeface="Segoe UI Light"/>
              <a:ea typeface="Segoe UI" pitchFamily="34" charset="0"/>
              <a:cs typeface="Segoe UI" pitchFamily="34" charset="0"/>
            </a:endParaRPr>
          </a:p>
        </p:txBody>
      </p:sp>
      <p:cxnSp>
        <p:nvCxnSpPr>
          <p:cNvPr id="40" name="Straight Arrow Connector 39">
            <a:extLst>
              <a:ext uri="{FF2B5EF4-FFF2-40B4-BE49-F238E27FC236}">
                <a16:creationId xmlns:a16="http://schemas.microsoft.com/office/drawing/2014/main" id="{6A2D663C-E872-44B0-A9D5-A3D2C6173FDD}"/>
              </a:ext>
            </a:extLst>
          </p:cNvPr>
          <p:cNvCxnSpPr>
            <a:cxnSpLocks/>
            <a:stCxn id="35" idx="3"/>
            <a:endCxn id="32" idx="1"/>
          </p:cNvCxnSpPr>
          <p:nvPr/>
        </p:nvCxnSpPr>
        <p:spPr>
          <a:xfrm>
            <a:off x="1204328" y="5176085"/>
            <a:ext cx="648238" cy="342297"/>
          </a:xfrm>
          <a:prstGeom prst="straightConnector1">
            <a:avLst/>
          </a:prstGeom>
          <a:ln w="1905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735DC6DE-A6D5-42AA-B5AB-7EF294AD8DBD}"/>
              </a:ext>
            </a:extLst>
          </p:cNvPr>
          <p:cNvCxnSpPr>
            <a:cxnSpLocks/>
            <a:stCxn id="38" idx="3"/>
            <a:endCxn id="32" idx="1"/>
          </p:cNvCxnSpPr>
          <p:nvPr/>
        </p:nvCxnSpPr>
        <p:spPr>
          <a:xfrm flipV="1">
            <a:off x="1205709" y="5518382"/>
            <a:ext cx="646857" cy="678285"/>
          </a:xfrm>
          <a:prstGeom prst="straightConnector1">
            <a:avLst/>
          </a:prstGeom>
          <a:ln w="1905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AA8B2CDD-8648-42A6-B214-DC9CF7D9B9C7}"/>
              </a:ext>
            </a:extLst>
          </p:cNvPr>
          <p:cNvGrpSpPr/>
          <p:nvPr/>
        </p:nvGrpSpPr>
        <p:grpSpPr>
          <a:xfrm>
            <a:off x="6078232" y="3631116"/>
            <a:ext cx="1972249" cy="2474943"/>
            <a:chOff x="4617688" y="3556824"/>
            <a:chExt cx="1972249" cy="2474943"/>
          </a:xfrm>
        </p:grpSpPr>
        <p:sp>
          <p:nvSpPr>
            <p:cNvPr id="16" name="Rectangle: Rounded Corners 23">
              <a:extLst>
                <a:ext uri="{FF2B5EF4-FFF2-40B4-BE49-F238E27FC236}">
                  <a16:creationId xmlns:a16="http://schemas.microsoft.com/office/drawing/2014/main" id="{2C485C4C-B3B1-43D4-8814-B9B252AD6ED0}"/>
                </a:ext>
              </a:extLst>
            </p:cNvPr>
            <p:cNvSpPr/>
            <p:nvPr/>
          </p:nvSpPr>
          <p:spPr bwMode="auto">
            <a:xfrm>
              <a:off x="4617688" y="3556824"/>
              <a:ext cx="1972249" cy="2474943"/>
            </a:xfrm>
            <a:prstGeom prst="roundRect">
              <a:avLst/>
            </a:prstGeom>
            <a:solidFill>
              <a:schemeClr val="bg1"/>
            </a:solidFill>
            <a:ln w="222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algn="ctr" defTabSz="914102" fontAlgn="base">
                <a:spcBef>
                  <a:spcPct val="0"/>
                </a:spcBef>
                <a:spcAft>
                  <a:spcPct val="0"/>
                </a:spcAft>
                <a:defRPr/>
              </a:pPr>
              <a:endParaRPr lang="en-US" sz="1300" dirty="0">
                <a:solidFill>
                  <a:srgbClr val="353535"/>
                </a:solidFill>
                <a:latin typeface="Segoe UI Semilight"/>
              </a:endParaRPr>
            </a:p>
            <a:p>
              <a:pPr algn="ctr" defTabSz="914102" fontAlgn="base">
                <a:spcBef>
                  <a:spcPct val="0"/>
                </a:spcBef>
                <a:spcAft>
                  <a:spcPct val="0"/>
                </a:spcAft>
                <a:defRPr/>
              </a:pPr>
              <a:endParaRPr lang="en-US" sz="1300" dirty="0">
                <a:solidFill>
                  <a:srgbClr val="353535"/>
                </a:solidFill>
                <a:latin typeface="Segoe UI Semilight"/>
              </a:endParaRPr>
            </a:p>
            <a:p>
              <a:pPr algn="ctr" defTabSz="914102" fontAlgn="base">
                <a:spcBef>
                  <a:spcPct val="0"/>
                </a:spcBef>
                <a:spcAft>
                  <a:spcPct val="0"/>
                </a:spcAft>
                <a:defRPr/>
              </a:pPr>
              <a:endParaRPr lang="en-US" sz="1300" dirty="0">
                <a:solidFill>
                  <a:srgbClr val="353535"/>
                </a:solidFill>
                <a:latin typeface="Segoe UI Semilight"/>
              </a:endParaRPr>
            </a:p>
            <a:p>
              <a:pPr algn="ctr" defTabSz="914102" fontAlgn="base">
                <a:spcBef>
                  <a:spcPct val="0"/>
                </a:spcBef>
                <a:spcAft>
                  <a:spcPct val="0"/>
                </a:spcAft>
                <a:defRPr/>
              </a:pPr>
              <a:r>
                <a:rPr lang="en-US" sz="1300" dirty="0">
                  <a:solidFill>
                    <a:srgbClr val="353535"/>
                  </a:solidFill>
                  <a:latin typeface="Segoe UI Semilight"/>
                </a:rPr>
                <a:t>Azure</a:t>
              </a:r>
            </a:p>
            <a:p>
              <a:pPr algn="ctr" defTabSz="914102" fontAlgn="base">
                <a:spcBef>
                  <a:spcPct val="0"/>
                </a:spcBef>
                <a:spcAft>
                  <a:spcPct val="0"/>
                </a:spcAft>
                <a:defRPr/>
              </a:pPr>
              <a:r>
                <a:rPr lang="en-US" sz="1300" dirty="0">
                  <a:solidFill>
                    <a:srgbClr val="353535"/>
                  </a:solidFill>
                  <a:latin typeface="Segoe UI Semilight"/>
                </a:rPr>
                <a:t>IoT Hub &amp; IoT Hub Device Provisioning Service</a:t>
              </a:r>
            </a:p>
          </p:txBody>
        </p:sp>
        <p:pic>
          <p:nvPicPr>
            <p:cNvPr id="28" name="Picture 27" descr="IoT Hub">
              <a:extLst>
                <a:ext uri="{FF2B5EF4-FFF2-40B4-BE49-F238E27FC236}">
                  <a16:creationId xmlns:a16="http://schemas.microsoft.com/office/drawing/2014/main" id="{5BEAD009-22EB-4F99-882E-0C53D9E419ED}"/>
                </a:ext>
              </a:extLst>
            </p:cNvPr>
            <p:cNvPicPr>
              <a:picLocks noChangeAspect="1"/>
            </p:cNvPicPr>
            <p:nvPr/>
          </p:nvPicPr>
          <p:blipFill>
            <a:blip r:embed="rId4"/>
            <a:stretch>
              <a:fillRect/>
            </a:stretch>
          </p:blipFill>
          <p:spPr>
            <a:xfrm>
              <a:off x="5319653" y="4510571"/>
              <a:ext cx="537166" cy="537353"/>
            </a:xfrm>
            <a:prstGeom prst="rect">
              <a:avLst/>
            </a:prstGeom>
          </p:spPr>
        </p:pic>
        <p:pic>
          <p:nvPicPr>
            <p:cNvPr id="42" name="Picture 41" descr="IoT Hub DPS">
              <a:extLst>
                <a:ext uri="{FF2B5EF4-FFF2-40B4-BE49-F238E27FC236}">
                  <a16:creationId xmlns:a16="http://schemas.microsoft.com/office/drawing/2014/main" id="{A6A85796-5C0B-459D-A58F-0D490E6DDBC7}"/>
                </a:ext>
              </a:extLst>
            </p:cNvPr>
            <p:cNvPicPr>
              <a:picLocks noChangeAspect="1"/>
            </p:cNvPicPr>
            <p:nvPr/>
          </p:nvPicPr>
          <p:blipFill>
            <a:blip r:embed="rId5"/>
            <a:stretch>
              <a:fillRect/>
            </a:stretch>
          </p:blipFill>
          <p:spPr>
            <a:xfrm>
              <a:off x="5291515" y="3702484"/>
              <a:ext cx="624594" cy="645991"/>
            </a:xfrm>
            <a:prstGeom prst="rect">
              <a:avLst/>
            </a:prstGeom>
          </p:spPr>
        </p:pic>
      </p:grpSp>
      <p:grpSp>
        <p:nvGrpSpPr>
          <p:cNvPr id="6" name="Group 5">
            <a:extLst>
              <a:ext uri="{FF2B5EF4-FFF2-40B4-BE49-F238E27FC236}">
                <a16:creationId xmlns:a16="http://schemas.microsoft.com/office/drawing/2014/main" id="{BA5CCBCB-775E-4D80-901C-6E1B1189A85E}"/>
              </a:ext>
            </a:extLst>
          </p:cNvPr>
          <p:cNvGrpSpPr/>
          <p:nvPr/>
        </p:nvGrpSpPr>
        <p:grpSpPr>
          <a:xfrm>
            <a:off x="9260385" y="4072414"/>
            <a:ext cx="1822113" cy="1942138"/>
            <a:chOff x="6894872" y="3964005"/>
            <a:chExt cx="1822113" cy="1942138"/>
          </a:xfrm>
        </p:grpSpPr>
        <p:sp>
          <p:nvSpPr>
            <p:cNvPr id="43" name="Rectangle: Rounded Corners 23">
              <a:extLst>
                <a:ext uri="{FF2B5EF4-FFF2-40B4-BE49-F238E27FC236}">
                  <a16:creationId xmlns:a16="http://schemas.microsoft.com/office/drawing/2014/main" id="{13975AA4-366B-4980-8403-C08DF9460021}"/>
                </a:ext>
              </a:extLst>
            </p:cNvPr>
            <p:cNvSpPr/>
            <p:nvPr/>
          </p:nvSpPr>
          <p:spPr bwMode="auto">
            <a:xfrm>
              <a:off x="6894872" y="3964005"/>
              <a:ext cx="1822113" cy="1942138"/>
            </a:xfrm>
            <a:prstGeom prst="roundRect">
              <a:avLst/>
            </a:prstGeom>
            <a:solidFill>
              <a:schemeClr val="bg1"/>
            </a:solidFill>
            <a:ln w="222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algn="ctr" defTabSz="914102" fontAlgn="base">
                <a:spcBef>
                  <a:spcPct val="0"/>
                </a:spcBef>
                <a:spcAft>
                  <a:spcPct val="0"/>
                </a:spcAft>
                <a:defRPr/>
              </a:pPr>
              <a:r>
                <a:rPr lang="en-US" sz="1961">
                  <a:solidFill>
                    <a:srgbClr val="353535"/>
                  </a:solidFill>
                  <a:latin typeface="Segoe UI Semilight"/>
                </a:rPr>
                <a:t>Azure IoT Central</a:t>
              </a:r>
            </a:p>
          </p:txBody>
        </p:sp>
        <p:pic>
          <p:nvPicPr>
            <p:cNvPr id="44" name="Picture 43" descr="IoT Central">
              <a:extLst>
                <a:ext uri="{FF2B5EF4-FFF2-40B4-BE49-F238E27FC236}">
                  <a16:creationId xmlns:a16="http://schemas.microsoft.com/office/drawing/2014/main" id="{E1E80324-A161-4F97-990D-97F790786698}"/>
                </a:ext>
              </a:extLst>
            </p:cNvPr>
            <p:cNvPicPr>
              <a:picLocks noChangeAspect="1"/>
            </p:cNvPicPr>
            <p:nvPr/>
          </p:nvPicPr>
          <p:blipFill>
            <a:blip r:embed="rId6"/>
            <a:stretch>
              <a:fillRect/>
            </a:stretch>
          </p:blipFill>
          <p:spPr>
            <a:xfrm>
              <a:off x="7395552" y="4147315"/>
              <a:ext cx="820752" cy="947350"/>
            </a:xfrm>
            <a:prstGeom prst="rect">
              <a:avLst/>
            </a:prstGeom>
          </p:spPr>
        </p:pic>
      </p:grpSp>
      <p:sp>
        <p:nvSpPr>
          <p:cNvPr id="58" name="Oval 57">
            <a:extLst>
              <a:ext uri="{FF2B5EF4-FFF2-40B4-BE49-F238E27FC236}">
                <a16:creationId xmlns:a16="http://schemas.microsoft.com/office/drawing/2014/main" id="{7D143AF9-4B2D-400B-BE3B-650F9B46127E}"/>
              </a:ext>
            </a:extLst>
          </p:cNvPr>
          <p:cNvSpPr>
            <a:spLocks noChangeArrowheads="1"/>
          </p:cNvSpPr>
          <p:nvPr/>
        </p:nvSpPr>
        <p:spPr bwMode="auto">
          <a:xfrm>
            <a:off x="7222797" y="2388951"/>
            <a:ext cx="10402" cy="1040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endParaRPr lang="en-US" sz="1667">
              <a:solidFill>
                <a:srgbClr val="505050"/>
              </a:solidFill>
              <a:latin typeface="Segoe UI"/>
            </a:endParaRPr>
          </a:p>
        </p:txBody>
      </p:sp>
      <p:cxnSp>
        <p:nvCxnSpPr>
          <p:cNvPr id="67" name="Straight Arrow Connector 66">
            <a:extLst>
              <a:ext uri="{FF2B5EF4-FFF2-40B4-BE49-F238E27FC236}">
                <a16:creationId xmlns:a16="http://schemas.microsoft.com/office/drawing/2014/main" id="{39F00DA6-E2E9-4F5A-92A1-AA4D9BF7BF80}"/>
              </a:ext>
            </a:extLst>
          </p:cNvPr>
          <p:cNvCxnSpPr>
            <a:cxnSpLocks/>
            <a:stCxn id="16" idx="3"/>
            <a:endCxn id="30" idx="1"/>
          </p:cNvCxnSpPr>
          <p:nvPr/>
        </p:nvCxnSpPr>
        <p:spPr>
          <a:xfrm flipV="1">
            <a:off x="8050481" y="3009690"/>
            <a:ext cx="1178179" cy="1858898"/>
          </a:xfrm>
          <a:prstGeom prst="straightConnector1">
            <a:avLst/>
          </a:prstGeom>
          <a:ln w="1905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a16="http://schemas.microsoft.com/office/drawing/2014/main" id="{62DD7260-E59F-4B42-B32E-BDF3BDCE7B90}"/>
              </a:ext>
            </a:extLst>
          </p:cNvPr>
          <p:cNvGrpSpPr/>
          <p:nvPr/>
        </p:nvGrpSpPr>
        <p:grpSpPr>
          <a:xfrm>
            <a:off x="9228660" y="2038621"/>
            <a:ext cx="1822113" cy="1942138"/>
            <a:chOff x="9228660" y="2038621"/>
            <a:chExt cx="1822113" cy="1942138"/>
          </a:xfrm>
        </p:grpSpPr>
        <p:sp>
          <p:nvSpPr>
            <p:cNvPr id="30" name="Rectangle: Rounded Corners 23">
              <a:extLst>
                <a:ext uri="{FF2B5EF4-FFF2-40B4-BE49-F238E27FC236}">
                  <a16:creationId xmlns:a16="http://schemas.microsoft.com/office/drawing/2014/main" id="{2C485C4C-B3B1-43D4-8814-B9B252AD6ED0}"/>
                </a:ext>
              </a:extLst>
            </p:cNvPr>
            <p:cNvSpPr/>
            <p:nvPr/>
          </p:nvSpPr>
          <p:spPr bwMode="auto">
            <a:xfrm>
              <a:off x="9228660" y="2038621"/>
              <a:ext cx="1822113" cy="1942138"/>
            </a:xfrm>
            <a:prstGeom prst="roundRect">
              <a:avLst/>
            </a:prstGeom>
            <a:solidFill>
              <a:schemeClr val="bg1"/>
            </a:solidFill>
            <a:ln w="222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algn="ctr" defTabSz="914102" fontAlgn="base">
                <a:spcBef>
                  <a:spcPct val="0"/>
                </a:spcBef>
                <a:spcAft>
                  <a:spcPct val="0"/>
                </a:spcAft>
                <a:defRPr/>
              </a:pPr>
              <a:r>
                <a:rPr lang="en-US" sz="1961">
                  <a:solidFill>
                    <a:srgbClr val="353535"/>
                  </a:solidFill>
                  <a:latin typeface="Segoe UI Semilight"/>
                </a:rPr>
                <a:t>Custom Solution</a:t>
              </a:r>
            </a:p>
          </p:txBody>
        </p:sp>
        <p:sp>
          <p:nvSpPr>
            <p:cNvPr id="71" name="Freeform 5">
              <a:extLst>
                <a:ext uri="{FF2B5EF4-FFF2-40B4-BE49-F238E27FC236}">
                  <a16:creationId xmlns:a16="http://schemas.microsoft.com/office/drawing/2014/main" id="{ABF5865B-49C1-4861-BD56-CE098B92B228}"/>
                </a:ext>
              </a:extLst>
            </p:cNvPr>
            <p:cNvSpPr>
              <a:spLocks/>
            </p:cNvSpPr>
            <p:nvPr/>
          </p:nvSpPr>
          <p:spPr bwMode="auto">
            <a:xfrm>
              <a:off x="9478561" y="2276646"/>
              <a:ext cx="1260714" cy="719072"/>
            </a:xfrm>
            <a:custGeom>
              <a:avLst/>
              <a:gdLst>
                <a:gd name="T0" fmla="*/ 113 w 172"/>
                <a:gd name="T1" fmla="*/ 103 h 104"/>
                <a:gd name="T2" fmla="*/ 146 w 172"/>
                <a:gd name="T3" fmla="*/ 103 h 104"/>
                <a:gd name="T4" fmla="*/ 172 w 172"/>
                <a:gd name="T5" fmla="*/ 77 h 104"/>
                <a:gd name="T6" fmla="*/ 146 w 172"/>
                <a:gd name="T7" fmla="*/ 51 h 104"/>
                <a:gd name="T8" fmla="*/ 135 w 172"/>
                <a:gd name="T9" fmla="*/ 54 h 104"/>
                <a:gd name="T10" fmla="*/ 138 w 172"/>
                <a:gd name="T11" fmla="*/ 40 h 104"/>
                <a:gd name="T12" fmla="*/ 98 w 172"/>
                <a:gd name="T13" fmla="*/ 0 h 104"/>
                <a:gd name="T14" fmla="*/ 60 w 172"/>
                <a:gd name="T15" fmla="*/ 31 h 104"/>
                <a:gd name="T16" fmla="*/ 44 w 172"/>
                <a:gd name="T17" fmla="*/ 24 h 104"/>
                <a:gd name="T18" fmla="*/ 23 w 172"/>
                <a:gd name="T19" fmla="*/ 46 h 104"/>
                <a:gd name="T20" fmla="*/ 23 w 172"/>
                <a:gd name="T21" fmla="*/ 46 h 104"/>
                <a:gd name="T22" fmla="*/ 0 w 172"/>
                <a:gd name="T23" fmla="*/ 74 h 104"/>
                <a:gd name="T24" fmla="*/ 29 w 172"/>
                <a:gd name="T25" fmla="*/ 103 h 104"/>
                <a:gd name="T26" fmla="*/ 55 w 172"/>
                <a:gd name="T27" fmla="*/ 104 h 104"/>
                <a:gd name="T28" fmla="*/ 99 w 172"/>
                <a:gd name="T29"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2" h="104">
                  <a:moveTo>
                    <a:pt x="113" y="103"/>
                  </a:moveTo>
                  <a:cubicBezTo>
                    <a:pt x="132" y="103"/>
                    <a:pt x="146" y="103"/>
                    <a:pt x="146" y="103"/>
                  </a:cubicBezTo>
                  <a:cubicBezTo>
                    <a:pt x="160" y="103"/>
                    <a:pt x="172" y="92"/>
                    <a:pt x="172" y="77"/>
                  </a:cubicBezTo>
                  <a:cubicBezTo>
                    <a:pt x="172" y="63"/>
                    <a:pt x="160" y="51"/>
                    <a:pt x="146" y="51"/>
                  </a:cubicBezTo>
                  <a:cubicBezTo>
                    <a:pt x="142" y="51"/>
                    <a:pt x="139" y="52"/>
                    <a:pt x="135" y="54"/>
                  </a:cubicBezTo>
                  <a:cubicBezTo>
                    <a:pt x="137" y="49"/>
                    <a:pt x="138" y="45"/>
                    <a:pt x="138" y="40"/>
                  </a:cubicBezTo>
                  <a:cubicBezTo>
                    <a:pt x="138" y="18"/>
                    <a:pt x="120" y="0"/>
                    <a:pt x="98" y="0"/>
                  </a:cubicBezTo>
                  <a:cubicBezTo>
                    <a:pt x="79" y="0"/>
                    <a:pt x="64" y="13"/>
                    <a:pt x="60" y="31"/>
                  </a:cubicBezTo>
                  <a:cubicBezTo>
                    <a:pt x="56" y="27"/>
                    <a:pt x="50" y="24"/>
                    <a:pt x="44" y="24"/>
                  </a:cubicBezTo>
                  <a:cubicBezTo>
                    <a:pt x="33" y="24"/>
                    <a:pt x="23" y="34"/>
                    <a:pt x="23" y="46"/>
                  </a:cubicBezTo>
                  <a:cubicBezTo>
                    <a:pt x="23" y="46"/>
                    <a:pt x="23" y="46"/>
                    <a:pt x="23" y="46"/>
                  </a:cubicBezTo>
                  <a:cubicBezTo>
                    <a:pt x="10" y="49"/>
                    <a:pt x="0" y="60"/>
                    <a:pt x="0" y="74"/>
                  </a:cubicBezTo>
                  <a:cubicBezTo>
                    <a:pt x="0" y="90"/>
                    <a:pt x="13" y="103"/>
                    <a:pt x="29" y="103"/>
                  </a:cubicBezTo>
                  <a:cubicBezTo>
                    <a:pt x="30" y="103"/>
                    <a:pt x="30" y="104"/>
                    <a:pt x="55" y="104"/>
                  </a:cubicBezTo>
                  <a:cubicBezTo>
                    <a:pt x="76" y="104"/>
                    <a:pt x="80" y="95"/>
                    <a:pt x="99" y="74"/>
                  </a:cubicBezTo>
                </a:path>
              </a:pathLst>
            </a:custGeom>
            <a:noFill/>
            <a:ln w="19050" cap="rnd">
              <a:solidFill>
                <a:srgbClr val="0078D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00"/>
            </a:p>
          </p:txBody>
        </p:sp>
      </p:grpSp>
      <p:grpSp>
        <p:nvGrpSpPr>
          <p:cNvPr id="79" name="Group 78">
            <a:extLst>
              <a:ext uri="{FF2B5EF4-FFF2-40B4-BE49-F238E27FC236}">
                <a16:creationId xmlns:a16="http://schemas.microsoft.com/office/drawing/2014/main" id="{7F157395-570A-4445-A12C-0ACF1A29E4BC}"/>
              </a:ext>
            </a:extLst>
          </p:cNvPr>
          <p:cNvGrpSpPr/>
          <p:nvPr/>
        </p:nvGrpSpPr>
        <p:grpSpPr>
          <a:xfrm>
            <a:off x="6237652" y="1435628"/>
            <a:ext cx="1653407" cy="1565155"/>
            <a:chOff x="6352491" y="1842100"/>
            <a:chExt cx="1653407" cy="1565155"/>
          </a:xfrm>
        </p:grpSpPr>
        <p:sp>
          <p:nvSpPr>
            <p:cNvPr id="50" name="Rectangle: Rounded Corners 23">
              <a:extLst>
                <a:ext uri="{FF2B5EF4-FFF2-40B4-BE49-F238E27FC236}">
                  <a16:creationId xmlns:a16="http://schemas.microsoft.com/office/drawing/2014/main" id="{B26A0C40-12DF-4E7C-8DAF-7993036D30A0}"/>
                </a:ext>
              </a:extLst>
            </p:cNvPr>
            <p:cNvSpPr/>
            <p:nvPr/>
          </p:nvSpPr>
          <p:spPr bwMode="auto">
            <a:xfrm>
              <a:off x="6352491" y="1842100"/>
              <a:ext cx="1653407" cy="1565155"/>
            </a:xfrm>
            <a:prstGeom prst="roundRect">
              <a:avLst/>
            </a:prstGeom>
            <a:solidFill>
              <a:schemeClr val="bg1"/>
            </a:solidFill>
            <a:ln w="222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algn="ctr" defTabSz="914102" fontAlgn="base">
                <a:spcBef>
                  <a:spcPct val="0"/>
                </a:spcBef>
                <a:spcAft>
                  <a:spcPct val="0"/>
                </a:spcAft>
                <a:defRPr/>
              </a:pPr>
              <a:r>
                <a:rPr lang="en-US" sz="1400">
                  <a:solidFill>
                    <a:srgbClr val="353535"/>
                  </a:solidFill>
                  <a:latin typeface="Segoe UI Semilight"/>
                </a:rPr>
                <a:t>Capability Model Repository</a:t>
              </a:r>
            </a:p>
            <a:p>
              <a:pPr algn="ctr" defTabSz="914102" fontAlgn="base">
                <a:spcBef>
                  <a:spcPct val="0"/>
                </a:spcBef>
                <a:spcAft>
                  <a:spcPct val="0"/>
                </a:spcAft>
                <a:defRPr/>
              </a:pPr>
              <a:r>
                <a:rPr lang="en-US" sz="1400">
                  <a:solidFill>
                    <a:srgbClr val="353535"/>
                  </a:solidFill>
                  <a:latin typeface="Segoe UI Semilight"/>
                </a:rPr>
                <a:t>(Optional)</a:t>
              </a:r>
            </a:p>
          </p:txBody>
        </p:sp>
        <p:pic>
          <p:nvPicPr>
            <p:cNvPr id="46" name="Graphic 45" descr="Third-party">
              <a:extLst>
                <a:ext uri="{FF2B5EF4-FFF2-40B4-BE49-F238E27FC236}">
                  <a16:creationId xmlns:a16="http://schemas.microsoft.com/office/drawing/2014/main" id="{1CB14808-23E3-4669-BBF3-D0C65BFDAEC3}"/>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798094" y="1867767"/>
              <a:ext cx="832495" cy="832495"/>
            </a:xfrm>
            <a:prstGeom prst="rect">
              <a:avLst/>
            </a:prstGeom>
          </p:spPr>
        </p:pic>
      </p:grpSp>
      <p:cxnSp>
        <p:nvCxnSpPr>
          <p:cNvPr id="81" name="Straight Arrow Connector 80">
            <a:extLst>
              <a:ext uri="{FF2B5EF4-FFF2-40B4-BE49-F238E27FC236}">
                <a16:creationId xmlns:a16="http://schemas.microsoft.com/office/drawing/2014/main" id="{3C01D0A8-F9B7-414E-8F96-09FDCB91A2E1}"/>
              </a:ext>
            </a:extLst>
          </p:cNvPr>
          <p:cNvCxnSpPr>
            <a:cxnSpLocks/>
            <a:stCxn id="50" idx="2"/>
            <a:endCxn id="16" idx="0"/>
          </p:cNvCxnSpPr>
          <p:nvPr/>
        </p:nvCxnSpPr>
        <p:spPr>
          <a:xfrm>
            <a:off x="7064356" y="3000783"/>
            <a:ext cx="1" cy="630333"/>
          </a:xfrm>
          <a:prstGeom prst="straightConnector1">
            <a:avLst/>
          </a:prstGeom>
          <a:ln>
            <a:solidFill>
              <a:schemeClr val="bg2"/>
            </a:solidFill>
            <a:prstDash val="dash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BA7828BE-30FC-4EF1-93E5-E9BF4E7E07D6}"/>
              </a:ext>
            </a:extLst>
          </p:cNvPr>
          <p:cNvSpPr/>
          <p:nvPr/>
        </p:nvSpPr>
        <p:spPr bwMode="auto">
          <a:xfrm>
            <a:off x="3128539" y="5063588"/>
            <a:ext cx="1097042" cy="802782"/>
          </a:xfrm>
          <a:prstGeom prst="rect">
            <a:avLst/>
          </a:prstGeom>
          <a:solidFill>
            <a:srgbClr val="0079D6"/>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00" spc="-49">
                <a:solidFill>
                  <a:schemeClr val="bg1"/>
                </a:solidFill>
                <a:latin typeface="Segoe UI Semilight" panose="020B0402040204020203" pitchFamily="34" charset="0"/>
                <a:cs typeface="Segoe UI Semilight" panose="020B0402040204020203" pitchFamily="34" charset="0"/>
              </a:rPr>
              <a:t>Interface</a:t>
            </a:r>
          </a:p>
          <a:p>
            <a:pPr algn="ctr" defTabSz="914102" fontAlgn="base">
              <a:lnSpc>
                <a:spcPct val="90000"/>
              </a:lnSpc>
              <a:spcBef>
                <a:spcPct val="0"/>
              </a:spcBef>
              <a:spcAft>
                <a:spcPct val="0"/>
              </a:spcAft>
            </a:pPr>
            <a:endParaRPr lang="en-US" sz="1100" spc="-49">
              <a:solidFill>
                <a:schemeClr val="bg1"/>
              </a:solidFill>
              <a:latin typeface="Segoe UI Semilight" panose="020B0402040204020203" pitchFamily="34" charset="0"/>
              <a:cs typeface="Segoe UI Semilight" panose="020B0402040204020203" pitchFamily="34" charset="0"/>
            </a:endParaRPr>
          </a:p>
          <a:p>
            <a:pPr algn="ctr" defTabSz="914102" fontAlgn="base">
              <a:lnSpc>
                <a:spcPct val="90000"/>
              </a:lnSpc>
              <a:spcBef>
                <a:spcPct val="0"/>
              </a:spcBef>
              <a:spcAft>
                <a:spcPct val="0"/>
              </a:spcAft>
            </a:pPr>
            <a:r>
              <a:rPr lang="en-US" sz="1100" spc="-49">
                <a:solidFill>
                  <a:schemeClr val="bg1"/>
                </a:solidFill>
                <a:latin typeface="Segoe UI Semilight" panose="020B0402040204020203" pitchFamily="34" charset="0"/>
                <a:cs typeface="Segoe UI Semilight" panose="020B0402040204020203" pitchFamily="34" charset="0"/>
              </a:rPr>
              <a:t>Telemetry</a:t>
            </a:r>
          </a:p>
          <a:p>
            <a:pPr algn="ctr" defTabSz="914102" fontAlgn="base">
              <a:lnSpc>
                <a:spcPct val="90000"/>
              </a:lnSpc>
              <a:spcBef>
                <a:spcPct val="0"/>
              </a:spcBef>
              <a:spcAft>
                <a:spcPct val="0"/>
              </a:spcAft>
            </a:pPr>
            <a:r>
              <a:rPr lang="en-US" sz="1100" spc="-49">
                <a:solidFill>
                  <a:schemeClr val="bg1"/>
                </a:solidFill>
                <a:latin typeface="Segoe UI Semilight" panose="020B0402040204020203" pitchFamily="34" charset="0"/>
                <a:cs typeface="Segoe UI Semilight" panose="020B0402040204020203" pitchFamily="34" charset="0"/>
              </a:rPr>
              <a:t>Properties</a:t>
            </a:r>
          </a:p>
          <a:p>
            <a:pPr algn="ctr" defTabSz="914102" fontAlgn="base">
              <a:lnSpc>
                <a:spcPct val="90000"/>
              </a:lnSpc>
              <a:spcBef>
                <a:spcPct val="0"/>
              </a:spcBef>
              <a:spcAft>
                <a:spcPct val="0"/>
              </a:spcAft>
            </a:pPr>
            <a:r>
              <a:rPr lang="en-US" sz="1100" spc="-49">
                <a:solidFill>
                  <a:schemeClr val="bg1"/>
                </a:solidFill>
                <a:latin typeface="Segoe UI Semilight" panose="020B0402040204020203" pitchFamily="34" charset="0"/>
                <a:cs typeface="Segoe UI Semilight" panose="020B0402040204020203" pitchFamily="34" charset="0"/>
              </a:rPr>
              <a:t>Commands</a:t>
            </a:r>
          </a:p>
        </p:txBody>
      </p:sp>
      <p:sp>
        <p:nvSpPr>
          <p:cNvPr id="89" name="Rectangle 88">
            <a:extLst>
              <a:ext uri="{FF2B5EF4-FFF2-40B4-BE49-F238E27FC236}">
                <a16:creationId xmlns:a16="http://schemas.microsoft.com/office/drawing/2014/main" id="{4D2DFC93-A488-4FDE-AC9C-4420218A1751}"/>
              </a:ext>
            </a:extLst>
          </p:cNvPr>
          <p:cNvSpPr/>
          <p:nvPr/>
        </p:nvSpPr>
        <p:spPr bwMode="auto">
          <a:xfrm>
            <a:off x="3084049" y="3920152"/>
            <a:ext cx="1097042" cy="802782"/>
          </a:xfrm>
          <a:prstGeom prst="rect">
            <a:avLst/>
          </a:prstGeom>
          <a:solidFill>
            <a:srgbClr val="0079D6"/>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00" spc="-49">
                <a:solidFill>
                  <a:schemeClr val="bg1"/>
                </a:solidFill>
                <a:latin typeface="Segoe UI Semilight" panose="020B0402040204020203" pitchFamily="34" charset="0"/>
                <a:cs typeface="Segoe UI Semilight" panose="020B0402040204020203" pitchFamily="34" charset="0"/>
              </a:rPr>
              <a:t>Interface</a:t>
            </a:r>
          </a:p>
          <a:p>
            <a:pPr algn="ctr" defTabSz="914102" fontAlgn="base">
              <a:lnSpc>
                <a:spcPct val="90000"/>
              </a:lnSpc>
              <a:spcBef>
                <a:spcPct val="0"/>
              </a:spcBef>
              <a:spcAft>
                <a:spcPct val="0"/>
              </a:spcAft>
            </a:pPr>
            <a:endParaRPr lang="en-US" sz="1100" spc="-49">
              <a:solidFill>
                <a:schemeClr val="bg1"/>
              </a:solidFill>
              <a:latin typeface="Segoe UI Semilight" panose="020B0402040204020203" pitchFamily="34" charset="0"/>
              <a:cs typeface="Segoe UI Semilight" panose="020B0402040204020203" pitchFamily="34" charset="0"/>
            </a:endParaRPr>
          </a:p>
          <a:p>
            <a:pPr algn="ctr" defTabSz="914102" fontAlgn="base">
              <a:lnSpc>
                <a:spcPct val="90000"/>
              </a:lnSpc>
              <a:spcBef>
                <a:spcPct val="0"/>
              </a:spcBef>
              <a:spcAft>
                <a:spcPct val="0"/>
              </a:spcAft>
            </a:pPr>
            <a:r>
              <a:rPr lang="en-US" sz="1100" spc="-49">
                <a:solidFill>
                  <a:schemeClr val="bg1"/>
                </a:solidFill>
                <a:latin typeface="Segoe UI Semilight" panose="020B0402040204020203" pitchFamily="34" charset="0"/>
                <a:cs typeface="Segoe UI Semilight" panose="020B0402040204020203" pitchFamily="34" charset="0"/>
              </a:rPr>
              <a:t>Telemetry</a:t>
            </a:r>
          </a:p>
          <a:p>
            <a:pPr algn="ctr" defTabSz="914102" fontAlgn="base">
              <a:lnSpc>
                <a:spcPct val="90000"/>
              </a:lnSpc>
              <a:spcBef>
                <a:spcPct val="0"/>
              </a:spcBef>
              <a:spcAft>
                <a:spcPct val="0"/>
              </a:spcAft>
            </a:pPr>
            <a:r>
              <a:rPr lang="en-US" sz="1100" spc="-49">
                <a:solidFill>
                  <a:schemeClr val="bg1"/>
                </a:solidFill>
                <a:latin typeface="Segoe UI Semilight" panose="020B0402040204020203" pitchFamily="34" charset="0"/>
                <a:cs typeface="Segoe UI Semilight" panose="020B0402040204020203" pitchFamily="34" charset="0"/>
              </a:rPr>
              <a:t>Properties</a:t>
            </a:r>
          </a:p>
          <a:p>
            <a:pPr algn="ctr" defTabSz="914102" fontAlgn="base">
              <a:lnSpc>
                <a:spcPct val="90000"/>
              </a:lnSpc>
              <a:spcBef>
                <a:spcPct val="0"/>
              </a:spcBef>
              <a:spcAft>
                <a:spcPct val="0"/>
              </a:spcAft>
            </a:pPr>
            <a:r>
              <a:rPr lang="en-US" sz="1100" spc="-49">
                <a:solidFill>
                  <a:schemeClr val="bg1"/>
                </a:solidFill>
                <a:latin typeface="Segoe UI Semilight" panose="020B0402040204020203" pitchFamily="34" charset="0"/>
                <a:cs typeface="Segoe UI Semilight" panose="020B0402040204020203" pitchFamily="34" charset="0"/>
              </a:rPr>
              <a:t>Commands</a:t>
            </a:r>
          </a:p>
        </p:txBody>
      </p:sp>
      <p:sp>
        <p:nvSpPr>
          <p:cNvPr id="90" name="Rectangle 89">
            <a:extLst>
              <a:ext uri="{FF2B5EF4-FFF2-40B4-BE49-F238E27FC236}">
                <a16:creationId xmlns:a16="http://schemas.microsoft.com/office/drawing/2014/main" id="{D05DC8EA-6BC5-4177-909B-5443DE26B450}"/>
              </a:ext>
            </a:extLst>
          </p:cNvPr>
          <p:cNvSpPr/>
          <p:nvPr/>
        </p:nvSpPr>
        <p:spPr bwMode="auto">
          <a:xfrm>
            <a:off x="3103643" y="2923319"/>
            <a:ext cx="1097042" cy="802782"/>
          </a:xfrm>
          <a:prstGeom prst="rect">
            <a:avLst/>
          </a:prstGeom>
          <a:solidFill>
            <a:srgbClr val="0079D6"/>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00" spc="-49">
                <a:solidFill>
                  <a:schemeClr val="bg1"/>
                </a:solidFill>
                <a:latin typeface="Segoe UI Semilight" panose="020B0402040204020203" pitchFamily="34" charset="0"/>
                <a:cs typeface="Segoe UI Semilight" panose="020B0402040204020203" pitchFamily="34" charset="0"/>
              </a:rPr>
              <a:t>Interface</a:t>
            </a:r>
          </a:p>
          <a:p>
            <a:pPr algn="ctr" defTabSz="914102" fontAlgn="base">
              <a:lnSpc>
                <a:spcPct val="90000"/>
              </a:lnSpc>
              <a:spcBef>
                <a:spcPct val="0"/>
              </a:spcBef>
              <a:spcAft>
                <a:spcPct val="0"/>
              </a:spcAft>
            </a:pPr>
            <a:endParaRPr lang="en-US" sz="1100" spc="-49">
              <a:solidFill>
                <a:schemeClr val="bg1"/>
              </a:solidFill>
              <a:latin typeface="Segoe UI Semilight" panose="020B0402040204020203" pitchFamily="34" charset="0"/>
              <a:cs typeface="Segoe UI Semilight" panose="020B0402040204020203" pitchFamily="34" charset="0"/>
            </a:endParaRPr>
          </a:p>
          <a:p>
            <a:pPr algn="ctr" defTabSz="914102" fontAlgn="base">
              <a:lnSpc>
                <a:spcPct val="90000"/>
              </a:lnSpc>
              <a:spcBef>
                <a:spcPct val="0"/>
              </a:spcBef>
              <a:spcAft>
                <a:spcPct val="0"/>
              </a:spcAft>
            </a:pPr>
            <a:r>
              <a:rPr lang="en-US" sz="1100" spc="-49">
                <a:solidFill>
                  <a:schemeClr val="bg1"/>
                </a:solidFill>
                <a:latin typeface="Segoe UI Semilight" panose="020B0402040204020203" pitchFamily="34" charset="0"/>
                <a:cs typeface="Segoe UI Semilight" panose="020B0402040204020203" pitchFamily="34" charset="0"/>
              </a:rPr>
              <a:t>Telemetry</a:t>
            </a:r>
          </a:p>
          <a:p>
            <a:pPr algn="ctr" defTabSz="914102" fontAlgn="base">
              <a:lnSpc>
                <a:spcPct val="90000"/>
              </a:lnSpc>
              <a:spcBef>
                <a:spcPct val="0"/>
              </a:spcBef>
              <a:spcAft>
                <a:spcPct val="0"/>
              </a:spcAft>
            </a:pPr>
            <a:r>
              <a:rPr lang="en-US" sz="1100" spc="-49">
                <a:solidFill>
                  <a:schemeClr val="bg1"/>
                </a:solidFill>
                <a:latin typeface="Segoe UI Semilight" panose="020B0402040204020203" pitchFamily="34" charset="0"/>
                <a:cs typeface="Segoe UI Semilight" panose="020B0402040204020203" pitchFamily="34" charset="0"/>
              </a:rPr>
              <a:t>Properties</a:t>
            </a:r>
          </a:p>
          <a:p>
            <a:pPr algn="ctr" defTabSz="914102" fontAlgn="base">
              <a:lnSpc>
                <a:spcPct val="90000"/>
              </a:lnSpc>
              <a:spcBef>
                <a:spcPct val="0"/>
              </a:spcBef>
              <a:spcAft>
                <a:spcPct val="0"/>
              </a:spcAft>
            </a:pPr>
            <a:r>
              <a:rPr lang="en-US" sz="1100" spc="-49">
                <a:solidFill>
                  <a:schemeClr val="bg1"/>
                </a:solidFill>
                <a:latin typeface="Segoe UI Semilight" panose="020B0402040204020203" pitchFamily="34" charset="0"/>
                <a:cs typeface="Segoe UI Semilight" panose="020B0402040204020203" pitchFamily="34" charset="0"/>
              </a:rPr>
              <a:t>Commands</a:t>
            </a:r>
          </a:p>
        </p:txBody>
      </p:sp>
      <p:pic>
        <p:nvPicPr>
          <p:cNvPr id="91" name="Picture 90" descr="A picture containing object&#10;&#10;Description automatically generated">
            <a:extLst>
              <a:ext uri="{FF2B5EF4-FFF2-40B4-BE49-F238E27FC236}">
                <a16:creationId xmlns:a16="http://schemas.microsoft.com/office/drawing/2014/main" id="{9E86A1D8-040B-4B06-BD82-B37AD62120AF}"/>
              </a:ext>
            </a:extLst>
          </p:cNvPr>
          <p:cNvPicPr>
            <a:picLocks noChangeAspect="1"/>
          </p:cNvPicPr>
          <p:nvPr/>
        </p:nvPicPr>
        <p:blipFill>
          <a:blip r:embed="rId9"/>
          <a:stretch>
            <a:fillRect/>
          </a:stretch>
        </p:blipFill>
        <p:spPr>
          <a:xfrm>
            <a:off x="2574096" y="2270432"/>
            <a:ext cx="355618" cy="355618"/>
          </a:xfrm>
          <a:prstGeom prst="rect">
            <a:avLst/>
          </a:prstGeom>
        </p:spPr>
      </p:pic>
      <p:pic>
        <p:nvPicPr>
          <p:cNvPr id="92" name="Picture 91" descr="A picture containing object&#10;&#10;Description automatically generated">
            <a:extLst>
              <a:ext uri="{FF2B5EF4-FFF2-40B4-BE49-F238E27FC236}">
                <a16:creationId xmlns:a16="http://schemas.microsoft.com/office/drawing/2014/main" id="{8211F8B3-3C52-434B-94AC-1827D39DFDD2}"/>
              </a:ext>
            </a:extLst>
          </p:cNvPr>
          <p:cNvPicPr>
            <a:picLocks noChangeAspect="1"/>
          </p:cNvPicPr>
          <p:nvPr/>
        </p:nvPicPr>
        <p:blipFill>
          <a:blip r:embed="rId9"/>
          <a:stretch>
            <a:fillRect/>
          </a:stretch>
        </p:blipFill>
        <p:spPr>
          <a:xfrm>
            <a:off x="2653509" y="3533169"/>
            <a:ext cx="355618" cy="355618"/>
          </a:xfrm>
          <a:prstGeom prst="rect">
            <a:avLst/>
          </a:prstGeom>
        </p:spPr>
      </p:pic>
      <p:pic>
        <p:nvPicPr>
          <p:cNvPr id="93" name="Picture 92" descr="A picture containing object&#10;&#10;Description automatically generated">
            <a:extLst>
              <a:ext uri="{FF2B5EF4-FFF2-40B4-BE49-F238E27FC236}">
                <a16:creationId xmlns:a16="http://schemas.microsoft.com/office/drawing/2014/main" id="{02AE596F-5EA2-4632-B4EA-68B401D59D6A}"/>
              </a:ext>
            </a:extLst>
          </p:cNvPr>
          <p:cNvPicPr>
            <a:picLocks noChangeAspect="1"/>
          </p:cNvPicPr>
          <p:nvPr/>
        </p:nvPicPr>
        <p:blipFill>
          <a:blip r:embed="rId9"/>
          <a:stretch>
            <a:fillRect/>
          </a:stretch>
        </p:blipFill>
        <p:spPr>
          <a:xfrm>
            <a:off x="2617925" y="4855055"/>
            <a:ext cx="355618" cy="355618"/>
          </a:xfrm>
          <a:prstGeom prst="rect">
            <a:avLst/>
          </a:prstGeom>
        </p:spPr>
      </p:pic>
    </p:spTree>
    <p:extLst>
      <p:ext uri="{BB962C8B-B14F-4D97-AF65-F5344CB8AC3E}">
        <p14:creationId xmlns:p14="http://schemas.microsoft.com/office/powerpoint/2010/main" val="165569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par>
                                <p:cTn id="17" presetID="1" presetClass="entr" presetSubtype="0"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childTnLst>
                          </p:cTn>
                        </p:par>
                        <p:par>
                          <p:cTn id="21" fill="hold">
                            <p:stCondLst>
                              <p:cond delay="1000"/>
                            </p:stCondLst>
                            <p:childTnLst>
                              <p:par>
                                <p:cTn id="22" presetID="16" presetClass="entr" presetSubtype="21" fill="hold" nodeType="afterEffect">
                                  <p:stCondLst>
                                    <p:cond delay="0"/>
                                  </p:stCondLst>
                                  <p:childTnLst>
                                    <p:set>
                                      <p:cBhvr>
                                        <p:cTn id="23" dur="1" fill="hold">
                                          <p:stCondLst>
                                            <p:cond delay="0"/>
                                          </p:stCondLst>
                                        </p:cTn>
                                        <p:tgtEl>
                                          <p:spTgt spid="167"/>
                                        </p:tgtEl>
                                        <p:attrNameLst>
                                          <p:attrName>style.visibility</p:attrName>
                                        </p:attrNameLst>
                                      </p:cBhvr>
                                      <p:to>
                                        <p:strVal val="visible"/>
                                      </p:to>
                                    </p:set>
                                    <p:animEffect transition="in" filter="barn(inVertical)">
                                      <p:cBhvr>
                                        <p:cTn id="24" dur="500"/>
                                        <p:tgtEl>
                                          <p:spTgt spid="167"/>
                                        </p:tgtEl>
                                      </p:cBhvr>
                                    </p:animEffect>
                                  </p:childTnLst>
                                </p:cTn>
                              </p:par>
                            </p:childTnLst>
                          </p:cTn>
                        </p:par>
                        <p:par>
                          <p:cTn id="25" fill="hold">
                            <p:stCondLst>
                              <p:cond delay="1500"/>
                            </p:stCondLst>
                            <p:childTnLst>
                              <p:par>
                                <p:cTn id="26" presetID="16" presetClass="entr" presetSubtype="21" fill="hold" nodeType="afterEffect">
                                  <p:stCondLst>
                                    <p:cond delay="0"/>
                                  </p:stCondLst>
                                  <p:childTnLst>
                                    <p:set>
                                      <p:cBhvr>
                                        <p:cTn id="27" dur="1" fill="hold">
                                          <p:stCondLst>
                                            <p:cond delay="0"/>
                                          </p:stCondLst>
                                        </p:cTn>
                                        <p:tgtEl>
                                          <p:spTgt spid="168"/>
                                        </p:tgtEl>
                                        <p:attrNameLst>
                                          <p:attrName>style.visibility</p:attrName>
                                        </p:attrNameLst>
                                      </p:cBhvr>
                                      <p:to>
                                        <p:strVal val="visible"/>
                                      </p:to>
                                    </p:set>
                                    <p:animEffect transition="in" filter="barn(inVertical)">
                                      <p:cBhvr>
                                        <p:cTn id="28" dur="500"/>
                                        <p:tgtEl>
                                          <p:spTgt spid="168"/>
                                        </p:tgtEl>
                                      </p:cBhvr>
                                    </p:animEffect>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29"/>
                                        </p:tgtEl>
                                        <p:attrNameLst>
                                          <p:attrName>style.visibility</p:attrName>
                                        </p:attrNameLst>
                                      </p:cBhvr>
                                      <p:to>
                                        <p:strVal val="visible"/>
                                      </p:to>
                                    </p:set>
                                    <p:animEffect transition="in" filter="fade">
                                      <p:cBhvr>
                                        <p:cTn id="33" dur="1000"/>
                                        <p:tgtEl>
                                          <p:spTgt spid="29"/>
                                        </p:tgtEl>
                                      </p:cBhvr>
                                    </p:animEffect>
                                    <p:anim calcmode="lin" valueType="num">
                                      <p:cBhvr>
                                        <p:cTn id="34" dur="1000" fill="hold"/>
                                        <p:tgtEl>
                                          <p:spTgt spid="29"/>
                                        </p:tgtEl>
                                        <p:attrNameLst>
                                          <p:attrName>ppt_x</p:attrName>
                                        </p:attrNameLst>
                                      </p:cBhvr>
                                      <p:tavLst>
                                        <p:tav tm="0">
                                          <p:val>
                                            <p:strVal val="#ppt_x"/>
                                          </p:val>
                                        </p:tav>
                                        <p:tav tm="100000">
                                          <p:val>
                                            <p:strVal val="#ppt_x"/>
                                          </p:val>
                                        </p:tav>
                                      </p:tavLst>
                                    </p:anim>
                                    <p:anim calcmode="lin" valueType="num">
                                      <p:cBhvr>
                                        <p:cTn id="35" dur="1000" fill="hold"/>
                                        <p:tgtEl>
                                          <p:spTgt spid="29"/>
                                        </p:tgtEl>
                                        <p:attrNameLst>
                                          <p:attrName>ppt_y</p:attrName>
                                        </p:attrNameLst>
                                      </p:cBhvr>
                                      <p:tavLst>
                                        <p:tav tm="0">
                                          <p:val>
                                            <p:strVal val="#ppt_y+.1"/>
                                          </p:val>
                                        </p:tav>
                                        <p:tav tm="100000">
                                          <p:val>
                                            <p:strVal val="#ppt_y"/>
                                          </p:val>
                                        </p:tav>
                                      </p:tavLst>
                                    </p:anim>
                                  </p:childTnLst>
                                </p:cTn>
                              </p:par>
                              <p:par>
                                <p:cTn id="36" presetID="1" presetClass="entr" presetSubtype="0" fill="hold" grpId="0" nodeType="withEffect">
                                  <p:stCondLst>
                                    <p:cond delay="0"/>
                                  </p:stCondLst>
                                  <p:childTnLst>
                                    <p:set>
                                      <p:cBhvr>
                                        <p:cTn id="37" dur="1" fill="hold">
                                          <p:stCondLst>
                                            <p:cond delay="0"/>
                                          </p:stCondLst>
                                        </p:cTn>
                                        <p:tgtEl>
                                          <p:spTgt spid="38"/>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39"/>
                                        </p:tgtEl>
                                        <p:attrNameLst>
                                          <p:attrName>style.visibility</p:attrName>
                                        </p:attrNameLst>
                                      </p:cBhvr>
                                      <p:to>
                                        <p:strVal val="visible"/>
                                      </p:to>
                                    </p:set>
                                  </p:childTnLst>
                                </p:cTn>
                              </p:par>
                            </p:childTnLst>
                          </p:cTn>
                        </p:par>
                        <p:par>
                          <p:cTn id="40" fill="hold">
                            <p:stCondLst>
                              <p:cond delay="1000"/>
                            </p:stCondLst>
                            <p:childTnLst>
                              <p:par>
                                <p:cTn id="41" presetID="42" presetClass="entr" presetSubtype="0" fill="hold" nodeType="afterEffect">
                                  <p:stCondLst>
                                    <p:cond delay="0"/>
                                  </p:stCondLst>
                                  <p:childTnLst>
                                    <p:set>
                                      <p:cBhvr>
                                        <p:cTn id="42" dur="1" fill="hold">
                                          <p:stCondLst>
                                            <p:cond delay="0"/>
                                          </p:stCondLst>
                                        </p:cTn>
                                        <p:tgtEl>
                                          <p:spTgt spid="34"/>
                                        </p:tgtEl>
                                        <p:attrNameLst>
                                          <p:attrName>style.visibility</p:attrName>
                                        </p:attrNameLst>
                                      </p:cBhvr>
                                      <p:to>
                                        <p:strVal val="visible"/>
                                      </p:to>
                                    </p:set>
                                    <p:animEffect transition="in" filter="fade">
                                      <p:cBhvr>
                                        <p:cTn id="43" dur="1000"/>
                                        <p:tgtEl>
                                          <p:spTgt spid="34"/>
                                        </p:tgtEl>
                                      </p:cBhvr>
                                    </p:animEffect>
                                    <p:anim calcmode="lin" valueType="num">
                                      <p:cBhvr>
                                        <p:cTn id="44" dur="1000" fill="hold"/>
                                        <p:tgtEl>
                                          <p:spTgt spid="34"/>
                                        </p:tgtEl>
                                        <p:attrNameLst>
                                          <p:attrName>ppt_x</p:attrName>
                                        </p:attrNameLst>
                                      </p:cBhvr>
                                      <p:tavLst>
                                        <p:tav tm="0">
                                          <p:val>
                                            <p:strVal val="#ppt_x"/>
                                          </p:val>
                                        </p:tav>
                                        <p:tav tm="100000">
                                          <p:val>
                                            <p:strVal val="#ppt_x"/>
                                          </p:val>
                                        </p:tav>
                                      </p:tavLst>
                                    </p:anim>
                                    <p:anim calcmode="lin" valueType="num">
                                      <p:cBhvr>
                                        <p:cTn id="45" dur="1000" fill="hold"/>
                                        <p:tgtEl>
                                          <p:spTgt spid="34"/>
                                        </p:tgtEl>
                                        <p:attrNameLst>
                                          <p:attrName>ppt_y</p:attrName>
                                        </p:attrNameLst>
                                      </p:cBhvr>
                                      <p:tavLst>
                                        <p:tav tm="0">
                                          <p:val>
                                            <p:strVal val="#ppt_y+.1"/>
                                          </p:val>
                                        </p:tav>
                                        <p:tav tm="100000">
                                          <p:val>
                                            <p:strVal val="#ppt_y"/>
                                          </p:val>
                                        </p:tav>
                                      </p:tavLst>
                                    </p:anim>
                                  </p:childTnLst>
                                </p:cTn>
                              </p:par>
                            </p:childTnLst>
                          </p:cTn>
                        </p:par>
                        <p:par>
                          <p:cTn id="46" fill="hold">
                            <p:stCondLst>
                              <p:cond delay="2000"/>
                            </p:stCondLst>
                            <p:childTnLst>
                              <p:par>
                                <p:cTn id="47" presetID="16" presetClass="entr" presetSubtype="21" fill="hold" nodeType="afterEffect">
                                  <p:stCondLst>
                                    <p:cond delay="0"/>
                                  </p:stCondLst>
                                  <p:childTnLst>
                                    <p:set>
                                      <p:cBhvr>
                                        <p:cTn id="48" dur="1" fill="hold">
                                          <p:stCondLst>
                                            <p:cond delay="0"/>
                                          </p:stCondLst>
                                        </p:cTn>
                                        <p:tgtEl>
                                          <p:spTgt spid="40"/>
                                        </p:tgtEl>
                                        <p:attrNameLst>
                                          <p:attrName>style.visibility</p:attrName>
                                        </p:attrNameLst>
                                      </p:cBhvr>
                                      <p:to>
                                        <p:strVal val="visible"/>
                                      </p:to>
                                    </p:set>
                                    <p:animEffect transition="in" filter="barn(inVertical)">
                                      <p:cBhvr>
                                        <p:cTn id="49" dur="500"/>
                                        <p:tgtEl>
                                          <p:spTgt spid="40"/>
                                        </p:tgtEl>
                                      </p:cBhvr>
                                    </p:animEffect>
                                  </p:childTnLst>
                                </p:cTn>
                              </p:par>
                            </p:childTnLst>
                          </p:cTn>
                        </p:par>
                        <p:par>
                          <p:cTn id="50" fill="hold">
                            <p:stCondLst>
                              <p:cond delay="2500"/>
                            </p:stCondLst>
                            <p:childTnLst>
                              <p:par>
                                <p:cTn id="51" presetID="16" presetClass="entr" presetSubtype="21" fill="hold" nodeType="afterEffect">
                                  <p:stCondLst>
                                    <p:cond delay="0"/>
                                  </p:stCondLst>
                                  <p:childTnLst>
                                    <p:set>
                                      <p:cBhvr>
                                        <p:cTn id="52" dur="1" fill="hold">
                                          <p:stCondLst>
                                            <p:cond delay="0"/>
                                          </p:stCondLst>
                                        </p:cTn>
                                        <p:tgtEl>
                                          <p:spTgt spid="41"/>
                                        </p:tgtEl>
                                        <p:attrNameLst>
                                          <p:attrName>style.visibility</p:attrName>
                                        </p:attrNameLst>
                                      </p:cBhvr>
                                      <p:to>
                                        <p:strVal val="visible"/>
                                      </p:to>
                                    </p:set>
                                    <p:animEffect transition="in" filter="barn(inVertical)">
                                      <p:cBhvr>
                                        <p:cTn id="53" dur="500"/>
                                        <p:tgtEl>
                                          <p:spTgt spid="41"/>
                                        </p:tgtEl>
                                      </p:cBhvr>
                                    </p:animEffect>
                                  </p:childTnLst>
                                </p:cTn>
                              </p:par>
                            </p:childTnLst>
                          </p:cTn>
                        </p:par>
                        <p:par>
                          <p:cTn id="54" fill="hold">
                            <p:stCondLst>
                              <p:cond delay="3000"/>
                            </p:stCondLst>
                            <p:childTnLst>
                              <p:par>
                                <p:cTn id="55" presetID="16" presetClass="entr" presetSubtype="21" fill="hold" nodeType="afterEffect">
                                  <p:stCondLst>
                                    <p:cond delay="0"/>
                                  </p:stCondLst>
                                  <p:childTnLst>
                                    <p:set>
                                      <p:cBhvr>
                                        <p:cTn id="56" dur="1" fill="hold">
                                          <p:stCondLst>
                                            <p:cond delay="0"/>
                                          </p:stCondLst>
                                        </p:cTn>
                                        <p:tgtEl>
                                          <p:spTgt spid="166"/>
                                        </p:tgtEl>
                                        <p:attrNameLst>
                                          <p:attrName>style.visibility</p:attrName>
                                        </p:attrNameLst>
                                      </p:cBhvr>
                                      <p:to>
                                        <p:strVal val="visible"/>
                                      </p:to>
                                    </p:set>
                                    <p:animEffect transition="in" filter="barn(inVertical)">
                                      <p:cBhvr>
                                        <p:cTn id="57" dur="500"/>
                                        <p:tgtEl>
                                          <p:spTgt spid="166"/>
                                        </p:tgtEl>
                                      </p:cBhvr>
                                    </p:animEffect>
                                  </p:childTnLst>
                                </p:cTn>
                              </p:par>
                            </p:childTnLst>
                          </p:cTn>
                        </p:par>
                      </p:childTnLst>
                    </p:cTn>
                  </p:par>
                  <p:par>
                    <p:cTn id="58" fill="hold">
                      <p:stCondLst>
                        <p:cond delay="indefinite"/>
                      </p:stCondLst>
                      <p:childTnLst>
                        <p:par>
                          <p:cTn id="59" fill="hold">
                            <p:stCondLst>
                              <p:cond delay="0"/>
                            </p:stCondLst>
                            <p:childTnLst>
                              <p:par>
                                <p:cTn id="60" presetID="42" presetClass="entr" presetSubtype="0" fill="hold" nodeType="clickEffect">
                                  <p:stCondLst>
                                    <p:cond delay="0"/>
                                  </p:stCondLst>
                                  <p:childTnLst>
                                    <p:set>
                                      <p:cBhvr>
                                        <p:cTn id="61" dur="1" fill="hold">
                                          <p:stCondLst>
                                            <p:cond delay="0"/>
                                          </p:stCondLst>
                                        </p:cTn>
                                        <p:tgtEl>
                                          <p:spTgt spid="69"/>
                                        </p:tgtEl>
                                        <p:attrNameLst>
                                          <p:attrName>style.visibility</p:attrName>
                                        </p:attrNameLst>
                                      </p:cBhvr>
                                      <p:to>
                                        <p:strVal val="visible"/>
                                      </p:to>
                                    </p:set>
                                    <p:animEffect transition="in" filter="fade">
                                      <p:cBhvr>
                                        <p:cTn id="62" dur="1000"/>
                                        <p:tgtEl>
                                          <p:spTgt spid="69"/>
                                        </p:tgtEl>
                                      </p:cBhvr>
                                    </p:animEffect>
                                    <p:anim calcmode="lin" valueType="num">
                                      <p:cBhvr>
                                        <p:cTn id="63" dur="1000" fill="hold"/>
                                        <p:tgtEl>
                                          <p:spTgt spid="69"/>
                                        </p:tgtEl>
                                        <p:attrNameLst>
                                          <p:attrName>ppt_x</p:attrName>
                                        </p:attrNameLst>
                                      </p:cBhvr>
                                      <p:tavLst>
                                        <p:tav tm="0">
                                          <p:val>
                                            <p:strVal val="#ppt_x"/>
                                          </p:val>
                                        </p:tav>
                                        <p:tav tm="100000">
                                          <p:val>
                                            <p:strVal val="#ppt_x"/>
                                          </p:val>
                                        </p:tav>
                                      </p:tavLst>
                                    </p:anim>
                                    <p:anim calcmode="lin" valueType="num">
                                      <p:cBhvr>
                                        <p:cTn id="64" dur="1000" fill="hold"/>
                                        <p:tgtEl>
                                          <p:spTgt spid="69"/>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0"/>
                                  </p:stCondLst>
                                  <p:childTnLst>
                                    <p:set>
                                      <p:cBhvr>
                                        <p:cTn id="66" dur="1" fill="hold">
                                          <p:stCondLst>
                                            <p:cond delay="0"/>
                                          </p:stCondLst>
                                        </p:cTn>
                                        <p:tgtEl>
                                          <p:spTgt spid="6"/>
                                        </p:tgtEl>
                                        <p:attrNameLst>
                                          <p:attrName>style.visibility</p:attrName>
                                        </p:attrNameLst>
                                      </p:cBhvr>
                                      <p:to>
                                        <p:strVal val="visible"/>
                                      </p:to>
                                    </p:set>
                                    <p:animEffect transition="in" filter="fade">
                                      <p:cBhvr>
                                        <p:cTn id="67" dur="1000"/>
                                        <p:tgtEl>
                                          <p:spTgt spid="6"/>
                                        </p:tgtEl>
                                      </p:cBhvr>
                                    </p:animEffect>
                                    <p:anim calcmode="lin" valueType="num">
                                      <p:cBhvr>
                                        <p:cTn id="68" dur="1000" fill="hold"/>
                                        <p:tgtEl>
                                          <p:spTgt spid="6"/>
                                        </p:tgtEl>
                                        <p:attrNameLst>
                                          <p:attrName>ppt_x</p:attrName>
                                        </p:attrNameLst>
                                      </p:cBhvr>
                                      <p:tavLst>
                                        <p:tav tm="0">
                                          <p:val>
                                            <p:strVal val="#ppt_x"/>
                                          </p:val>
                                        </p:tav>
                                        <p:tav tm="100000">
                                          <p:val>
                                            <p:strVal val="#ppt_x"/>
                                          </p:val>
                                        </p:tav>
                                      </p:tavLst>
                                    </p:anim>
                                    <p:anim calcmode="lin" valueType="num">
                                      <p:cBhvr>
                                        <p:cTn id="69" dur="1000" fill="hold"/>
                                        <p:tgtEl>
                                          <p:spTgt spid="6"/>
                                        </p:tgtEl>
                                        <p:attrNameLst>
                                          <p:attrName>ppt_y</p:attrName>
                                        </p:attrNameLst>
                                      </p:cBhvr>
                                      <p:tavLst>
                                        <p:tav tm="0">
                                          <p:val>
                                            <p:strVal val="#ppt_y+.1"/>
                                          </p:val>
                                        </p:tav>
                                        <p:tav tm="100000">
                                          <p:val>
                                            <p:strVal val="#ppt_y"/>
                                          </p:val>
                                        </p:tav>
                                      </p:tavLst>
                                    </p:anim>
                                  </p:childTnLst>
                                </p:cTn>
                              </p:par>
                            </p:childTnLst>
                          </p:cTn>
                        </p:par>
                        <p:par>
                          <p:cTn id="70" fill="hold">
                            <p:stCondLst>
                              <p:cond delay="1000"/>
                            </p:stCondLst>
                            <p:childTnLst>
                              <p:par>
                                <p:cTn id="71" presetID="16" presetClass="entr" presetSubtype="21" fill="hold" nodeType="afterEffect">
                                  <p:stCondLst>
                                    <p:cond delay="0"/>
                                  </p:stCondLst>
                                  <p:childTnLst>
                                    <p:set>
                                      <p:cBhvr>
                                        <p:cTn id="72" dur="1" fill="hold">
                                          <p:stCondLst>
                                            <p:cond delay="0"/>
                                          </p:stCondLst>
                                        </p:cTn>
                                        <p:tgtEl>
                                          <p:spTgt spid="67"/>
                                        </p:tgtEl>
                                        <p:attrNameLst>
                                          <p:attrName>style.visibility</p:attrName>
                                        </p:attrNameLst>
                                      </p:cBhvr>
                                      <p:to>
                                        <p:strVal val="visible"/>
                                      </p:to>
                                    </p:set>
                                    <p:animEffect transition="in" filter="barn(inVertical)">
                                      <p:cBhvr>
                                        <p:cTn id="73" dur="500"/>
                                        <p:tgtEl>
                                          <p:spTgt spid="67"/>
                                        </p:tgtEl>
                                      </p:cBhvr>
                                    </p:animEffect>
                                  </p:childTnLst>
                                </p:cTn>
                              </p:par>
                              <p:par>
                                <p:cTn id="74" presetID="16" presetClass="entr" presetSubtype="21" fill="hold" nodeType="withEffect">
                                  <p:stCondLst>
                                    <p:cond delay="0"/>
                                  </p:stCondLst>
                                  <p:childTnLst>
                                    <p:set>
                                      <p:cBhvr>
                                        <p:cTn id="75" dur="1" fill="hold">
                                          <p:stCondLst>
                                            <p:cond delay="0"/>
                                          </p:stCondLst>
                                        </p:cTn>
                                        <p:tgtEl>
                                          <p:spTgt spid="8"/>
                                        </p:tgtEl>
                                        <p:attrNameLst>
                                          <p:attrName>style.visibility</p:attrName>
                                        </p:attrNameLst>
                                      </p:cBhvr>
                                      <p:to>
                                        <p:strVal val="visible"/>
                                      </p:to>
                                    </p:set>
                                    <p:animEffect transition="in" filter="barn(inVertical)">
                                      <p:cBhvr>
                                        <p:cTn id="76" dur="500"/>
                                        <p:tgtEl>
                                          <p:spTgt spid="8"/>
                                        </p:tgtEl>
                                      </p:cBhvr>
                                    </p:animEffec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48"/>
                                        </p:tgtEl>
                                        <p:attrNameLst>
                                          <p:attrName>style.visibility</p:attrName>
                                        </p:attrNameLst>
                                      </p:cBhvr>
                                      <p:to>
                                        <p:strVal val="visible"/>
                                      </p:to>
                                    </p:set>
                                  </p:childTnLst>
                                </p:cTn>
                              </p:par>
                            </p:childTnLst>
                          </p:cTn>
                        </p:par>
                        <p:par>
                          <p:cTn id="81" fill="hold">
                            <p:stCondLst>
                              <p:cond delay="0"/>
                            </p:stCondLst>
                            <p:childTnLst>
                              <p:par>
                                <p:cTn id="82" presetID="1" presetClass="entr" presetSubtype="0" fill="hold" grpId="0" nodeType="afterEffect">
                                  <p:stCondLst>
                                    <p:cond delay="0"/>
                                  </p:stCondLst>
                                  <p:childTnLst>
                                    <p:set>
                                      <p:cBhvr>
                                        <p:cTn id="83" dur="1" fill="hold">
                                          <p:stCondLst>
                                            <p:cond delay="0"/>
                                          </p:stCondLst>
                                        </p:cTn>
                                        <p:tgtEl>
                                          <p:spTgt spid="49"/>
                                        </p:tgtEl>
                                        <p:attrNameLst>
                                          <p:attrName>style.visibility</p:attrName>
                                        </p:attrNameLst>
                                      </p:cBhvr>
                                      <p:to>
                                        <p:strVal val="visible"/>
                                      </p:to>
                                    </p:set>
                                  </p:childTnLst>
                                </p:cTn>
                              </p:par>
                            </p:childTnLst>
                          </p:cTn>
                        </p:par>
                        <p:par>
                          <p:cTn id="84" fill="hold">
                            <p:stCondLst>
                              <p:cond delay="0"/>
                            </p:stCondLst>
                            <p:childTnLst>
                              <p:par>
                                <p:cTn id="85" presetID="1" presetClass="entr" presetSubtype="0" fill="hold" grpId="0" nodeType="afterEffect">
                                  <p:stCondLst>
                                    <p:cond delay="0"/>
                                  </p:stCondLst>
                                  <p:childTnLst>
                                    <p:set>
                                      <p:cBhvr>
                                        <p:cTn id="86" dur="1" fill="hold">
                                          <p:stCondLst>
                                            <p:cond delay="0"/>
                                          </p:stCondLst>
                                        </p:cTn>
                                        <p:tgtEl>
                                          <p:spTgt spid="51"/>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nodeType="clickEffect">
                                  <p:stCondLst>
                                    <p:cond delay="0"/>
                                  </p:stCondLst>
                                  <p:childTnLst>
                                    <p:set>
                                      <p:cBhvr>
                                        <p:cTn id="90" dur="1" fill="hold">
                                          <p:stCondLst>
                                            <p:cond delay="0"/>
                                          </p:stCondLst>
                                        </p:cTn>
                                        <p:tgtEl>
                                          <p:spTgt spid="91"/>
                                        </p:tgtEl>
                                        <p:attrNameLst>
                                          <p:attrName>style.visibility</p:attrName>
                                        </p:attrNameLst>
                                      </p:cBhvr>
                                      <p:to>
                                        <p:strVal val="visible"/>
                                      </p:to>
                                    </p:set>
                                  </p:childTnLst>
                                </p:cTn>
                              </p:par>
                            </p:childTnLst>
                          </p:cTn>
                        </p:par>
                        <p:par>
                          <p:cTn id="91" fill="hold">
                            <p:stCondLst>
                              <p:cond delay="0"/>
                            </p:stCondLst>
                            <p:childTnLst>
                              <p:par>
                                <p:cTn id="92" presetID="1" presetClass="entr" presetSubtype="0" fill="hold" nodeType="afterEffect">
                                  <p:stCondLst>
                                    <p:cond delay="0"/>
                                  </p:stCondLst>
                                  <p:childTnLst>
                                    <p:set>
                                      <p:cBhvr>
                                        <p:cTn id="93" dur="1" fill="hold">
                                          <p:stCondLst>
                                            <p:cond delay="0"/>
                                          </p:stCondLst>
                                        </p:cTn>
                                        <p:tgtEl>
                                          <p:spTgt spid="92"/>
                                        </p:tgtEl>
                                        <p:attrNameLst>
                                          <p:attrName>style.visibility</p:attrName>
                                        </p:attrNameLst>
                                      </p:cBhvr>
                                      <p:to>
                                        <p:strVal val="visible"/>
                                      </p:to>
                                    </p:set>
                                  </p:childTnLst>
                                </p:cTn>
                              </p:par>
                            </p:childTnLst>
                          </p:cTn>
                        </p:par>
                        <p:par>
                          <p:cTn id="94" fill="hold">
                            <p:stCondLst>
                              <p:cond delay="0"/>
                            </p:stCondLst>
                            <p:childTnLst>
                              <p:par>
                                <p:cTn id="95" presetID="1" presetClass="entr" presetSubtype="0" fill="hold" nodeType="afterEffect">
                                  <p:stCondLst>
                                    <p:cond delay="0"/>
                                  </p:stCondLst>
                                  <p:childTnLst>
                                    <p:set>
                                      <p:cBhvr>
                                        <p:cTn id="96" dur="1" fill="hold">
                                          <p:stCondLst>
                                            <p:cond delay="0"/>
                                          </p:stCondLst>
                                        </p:cTn>
                                        <p:tgtEl>
                                          <p:spTgt spid="93"/>
                                        </p:tgtEl>
                                        <p:attrNameLst>
                                          <p:attrName>style.visibility</p:attrName>
                                        </p:attrNameLst>
                                      </p:cBhvr>
                                      <p:to>
                                        <p:strVal val="visible"/>
                                      </p:to>
                                    </p:set>
                                  </p:childTnLst>
                                </p:cTn>
                              </p:par>
                            </p:childTnLst>
                          </p:cTn>
                        </p:par>
                        <p:par>
                          <p:cTn id="97" fill="hold">
                            <p:stCondLst>
                              <p:cond delay="0"/>
                            </p:stCondLst>
                            <p:childTnLst>
                              <p:par>
                                <p:cTn id="98" presetID="10" presetClass="entr" presetSubtype="0" fill="hold" grpId="0" nodeType="afterEffect">
                                  <p:stCondLst>
                                    <p:cond delay="0"/>
                                  </p:stCondLst>
                                  <p:childTnLst>
                                    <p:set>
                                      <p:cBhvr>
                                        <p:cTn id="99" dur="1" fill="hold">
                                          <p:stCondLst>
                                            <p:cond delay="0"/>
                                          </p:stCondLst>
                                        </p:cTn>
                                        <p:tgtEl>
                                          <p:spTgt spid="90"/>
                                        </p:tgtEl>
                                        <p:attrNameLst>
                                          <p:attrName>style.visibility</p:attrName>
                                        </p:attrNameLst>
                                      </p:cBhvr>
                                      <p:to>
                                        <p:strVal val="visible"/>
                                      </p:to>
                                    </p:set>
                                    <p:animEffect transition="in" filter="fade">
                                      <p:cBhvr>
                                        <p:cTn id="100" dur="500"/>
                                        <p:tgtEl>
                                          <p:spTgt spid="90"/>
                                        </p:tgtEl>
                                      </p:cBhvr>
                                    </p:animEffect>
                                  </p:childTnLst>
                                </p:cTn>
                              </p:par>
                            </p:childTnLst>
                          </p:cTn>
                        </p:par>
                        <p:par>
                          <p:cTn id="101" fill="hold">
                            <p:stCondLst>
                              <p:cond delay="500"/>
                            </p:stCondLst>
                            <p:childTnLst>
                              <p:par>
                                <p:cTn id="102" presetID="10" presetClass="entr" presetSubtype="0" fill="hold" grpId="0" nodeType="afterEffect">
                                  <p:stCondLst>
                                    <p:cond delay="0"/>
                                  </p:stCondLst>
                                  <p:childTnLst>
                                    <p:set>
                                      <p:cBhvr>
                                        <p:cTn id="103" dur="1" fill="hold">
                                          <p:stCondLst>
                                            <p:cond delay="0"/>
                                          </p:stCondLst>
                                        </p:cTn>
                                        <p:tgtEl>
                                          <p:spTgt spid="89"/>
                                        </p:tgtEl>
                                        <p:attrNameLst>
                                          <p:attrName>style.visibility</p:attrName>
                                        </p:attrNameLst>
                                      </p:cBhvr>
                                      <p:to>
                                        <p:strVal val="visible"/>
                                      </p:to>
                                    </p:set>
                                    <p:animEffect transition="in" filter="fade">
                                      <p:cBhvr>
                                        <p:cTn id="104" dur="500"/>
                                        <p:tgtEl>
                                          <p:spTgt spid="89"/>
                                        </p:tgtEl>
                                      </p:cBhvr>
                                    </p:animEffect>
                                  </p:childTnLst>
                                </p:cTn>
                              </p:par>
                            </p:childTnLst>
                          </p:cTn>
                        </p:par>
                        <p:par>
                          <p:cTn id="105" fill="hold">
                            <p:stCondLst>
                              <p:cond delay="1000"/>
                            </p:stCondLst>
                            <p:childTnLst>
                              <p:par>
                                <p:cTn id="106" presetID="10" presetClass="entr" presetSubtype="0" fill="hold" grpId="0" nodeType="afterEffect">
                                  <p:stCondLst>
                                    <p:cond delay="0"/>
                                  </p:stCondLst>
                                  <p:childTnLst>
                                    <p:set>
                                      <p:cBhvr>
                                        <p:cTn id="107" dur="1" fill="hold">
                                          <p:stCondLst>
                                            <p:cond delay="0"/>
                                          </p:stCondLst>
                                        </p:cTn>
                                        <p:tgtEl>
                                          <p:spTgt spid="88"/>
                                        </p:tgtEl>
                                        <p:attrNameLst>
                                          <p:attrName>style.visibility</p:attrName>
                                        </p:attrNameLst>
                                      </p:cBhvr>
                                      <p:to>
                                        <p:strVal val="visible"/>
                                      </p:to>
                                    </p:set>
                                    <p:animEffect transition="in" filter="fade">
                                      <p:cBhvr>
                                        <p:cTn id="108" dur="500"/>
                                        <p:tgtEl>
                                          <p:spTgt spid="88"/>
                                        </p:tgtEl>
                                      </p:cBhvr>
                                    </p:animEffect>
                                  </p:childTnLst>
                                </p:cTn>
                              </p:par>
                            </p:childTnLst>
                          </p:cTn>
                        </p:par>
                      </p:childTnLst>
                    </p:cTn>
                  </p:par>
                  <p:par>
                    <p:cTn id="109" fill="hold">
                      <p:stCondLst>
                        <p:cond delay="indefinite"/>
                      </p:stCondLst>
                      <p:childTnLst>
                        <p:par>
                          <p:cTn id="110" fill="hold">
                            <p:stCondLst>
                              <p:cond delay="0"/>
                            </p:stCondLst>
                            <p:childTnLst>
                              <p:par>
                                <p:cTn id="111" presetID="42" presetClass="entr" presetSubtype="0" fill="hold" nodeType="clickEffect">
                                  <p:stCondLst>
                                    <p:cond delay="0"/>
                                  </p:stCondLst>
                                  <p:childTnLst>
                                    <p:set>
                                      <p:cBhvr>
                                        <p:cTn id="112" dur="1" fill="hold">
                                          <p:stCondLst>
                                            <p:cond delay="0"/>
                                          </p:stCondLst>
                                        </p:cTn>
                                        <p:tgtEl>
                                          <p:spTgt spid="79"/>
                                        </p:tgtEl>
                                        <p:attrNameLst>
                                          <p:attrName>style.visibility</p:attrName>
                                        </p:attrNameLst>
                                      </p:cBhvr>
                                      <p:to>
                                        <p:strVal val="visible"/>
                                      </p:to>
                                    </p:set>
                                    <p:animEffect transition="in" filter="fade">
                                      <p:cBhvr>
                                        <p:cTn id="113" dur="1000"/>
                                        <p:tgtEl>
                                          <p:spTgt spid="79"/>
                                        </p:tgtEl>
                                      </p:cBhvr>
                                    </p:animEffect>
                                    <p:anim calcmode="lin" valueType="num">
                                      <p:cBhvr>
                                        <p:cTn id="114" dur="1000" fill="hold"/>
                                        <p:tgtEl>
                                          <p:spTgt spid="79"/>
                                        </p:tgtEl>
                                        <p:attrNameLst>
                                          <p:attrName>ppt_x</p:attrName>
                                        </p:attrNameLst>
                                      </p:cBhvr>
                                      <p:tavLst>
                                        <p:tav tm="0">
                                          <p:val>
                                            <p:strVal val="#ppt_x"/>
                                          </p:val>
                                        </p:tav>
                                        <p:tav tm="100000">
                                          <p:val>
                                            <p:strVal val="#ppt_x"/>
                                          </p:val>
                                        </p:tav>
                                      </p:tavLst>
                                    </p:anim>
                                    <p:anim calcmode="lin" valueType="num">
                                      <p:cBhvr>
                                        <p:cTn id="115" dur="1000" fill="hold"/>
                                        <p:tgtEl>
                                          <p:spTgt spid="79"/>
                                        </p:tgtEl>
                                        <p:attrNameLst>
                                          <p:attrName>ppt_y</p:attrName>
                                        </p:attrNameLst>
                                      </p:cBhvr>
                                      <p:tavLst>
                                        <p:tav tm="0">
                                          <p:val>
                                            <p:strVal val="#ppt_y+.1"/>
                                          </p:val>
                                        </p:tav>
                                        <p:tav tm="100000">
                                          <p:val>
                                            <p:strVal val="#ppt_y"/>
                                          </p:val>
                                        </p:tav>
                                      </p:tavLst>
                                    </p:anim>
                                  </p:childTnLst>
                                </p:cTn>
                              </p:par>
                            </p:childTnLst>
                          </p:cTn>
                        </p:par>
                        <p:par>
                          <p:cTn id="116" fill="hold">
                            <p:stCondLst>
                              <p:cond delay="1000"/>
                            </p:stCondLst>
                            <p:childTnLst>
                              <p:par>
                                <p:cTn id="117" presetID="16" presetClass="entr" presetSubtype="21" fill="hold" nodeType="afterEffect">
                                  <p:stCondLst>
                                    <p:cond delay="0"/>
                                  </p:stCondLst>
                                  <p:childTnLst>
                                    <p:set>
                                      <p:cBhvr>
                                        <p:cTn id="118" dur="1" fill="hold">
                                          <p:stCondLst>
                                            <p:cond delay="0"/>
                                          </p:stCondLst>
                                        </p:cTn>
                                        <p:tgtEl>
                                          <p:spTgt spid="81"/>
                                        </p:tgtEl>
                                        <p:attrNameLst>
                                          <p:attrName>style.visibility</p:attrName>
                                        </p:attrNameLst>
                                      </p:cBhvr>
                                      <p:to>
                                        <p:strVal val="visible"/>
                                      </p:to>
                                    </p:set>
                                    <p:animEffect transition="in" filter="barn(inVertical)">
                                      <p:cBhvr>
                                        <p:cTn id="119"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51" grpId="0" animBg="1"/>
      <p:bldP spid="49" grpId="0" animBg="1"/>
      <p:bldP spid="18" grpId="0" animBg="1"/>
      <p:bldP spid="38" grpId="0" animBg="1"/>
      <p:bldP spid="39" grpId="0" animBg="1"/>
      <p:bldP spid="88" grpId="0" animBg="1"/>
      <p:bldP spid="89" grpId="0" animBg="1"/>
      <p:bldP spid="90"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8BC4EE-2401-46E4-8401-B65A7B7E127E}"/>
              </a:ext>
            </a:extLst>
          </p:cNvPr>
          <p:cNvSpPr>
            <a:spLocks noGrp="1"/>
          </p:cNvSpPr>
          <p:nvPr>
            <p:ph type="title"/>
          </p:nvPr>
        </p:nvSpPr>
        <p:spPr/>
        <p:txBody>
          <a:bodyPr/>
          <a:lstStyle/>
          <a:p>
            <a:r>
              <a:rPr lang="en-US"/>
              <a:t>Azure Time Series insights</a:t>
            </a:r>
          </a:p>
        </p:txBody>
      </p:sp>
      <p:sp>
        <p:nvSpPr>
          <p:cNvPr id="2" name="Text Placeholder 1">
            <a:extLst>
              <a:ext uri="{FF2B5EF4-FFF2-40B4-BE49-F238E27FC236}">
                <a16:creationId xmlns:a16="http://schemas.microsoft.com/office/drawing/2014/main" id="{93FEC44F-CDFC-411D-A205-56178F7966BF}"/>
              </a:ext>
            </a:extLst>
          </p:cNvPr>
          <p:cNvSpPr>
            <a:spLocks noGrp="1"/>
          </p:cNvSpPr>
          <p:nvPr>
            <p:ph type="body" sz="quarter" idx="10"/>
          </p:nvPr>
        </p:nvSpPr>
        <p:spPr>
          <a:xfrm>
            <a:off x="586390" y="1434370"/>
            <a:ext cx="5362506" cy="4311950"/>
          </a:xfrm>
        </p:spPr>
        <p:txBody>
          <a:bodyPr/>
          <a:lstStyle/>
          <a:p>
            <a:pPr lvl="0">
              <a:lnSpc>
                <a:spcPct val="90000"/>
              </a:lnSpc>
              <a:spcBef>
                <a:spcPts val="1800"/>
              </a:spcBef>
            </a:pPr>
            <a:r>
              <a:rPr lang="en-US">
                <a:latin typeface="+mj-lt"/>
              </a:rPr>
              <a:t>New features coming!</a:t>
            </a:r>
          </a:p>
          <a:p>
            <a:pPr marL="0" lvl="1">
              <a:lnSpc>
                <a:spcPct val="90000"/>
              </a:lnSpc>
              <a:spcBef>
                <a:spcPts val="1800"/>
              </a:spcBef>
            </a:pPr>
            <a:r>
              <a:rPr lang="en-US"/>
              <a:t>“Tag-based” user experience that makes it </a:t>
            </a:r>
            <a:br>
              <a:rPr lang="en-US"/>
            </a:br>
            <a:r>
              <a:rPr lang="en-US"/>
              <a:t>easy to group time series data into logical “things” and hierarchies of “things” </a:t>
            </a:r>
          </a:p>
          <a:p>
            <a:pPr marL="0" lvl="1">
              <a:lnSpc>
                <a:spcPct val="90000"/>
              </a:lnSpc>
              <a:spcBef>
                <a:spcPts val="1800"/>
              </a:spcBef>
            </a:pPr>
            <a:r>
              <a:rPr lang="en-US"/>
              <a:t>Business reports with Power BI integration </a:t>
            </a:r>
          </a:p>
          <a:p>
            <a:pPr marL="0" lvl="1">
              <a:lnSpc>
                <a:spcPct val="90000"/>
              </a:lnSpc>
              <a:spcBef>
                <a:spcPts val="1800"/>
              </a:spcBef>
            </a:pPr>
            <a:r>
              <a:rPr lang="en-US"/>
              <a:t>Predictive analytics with Azure Machine </a:t>
            </a:r>
            <a:br>
              <a:rPr lang="en-US"/>
            </a:br>
            <a:r>
              <a:rPr lang="en-US"/>
              <a:t>Learning integration</a:t>
            </a:r>
          </a:p>
          <a:p>
            <a:pPr marL="0" lvl="1">
              <a:lnSpc>
                <a:spcPct val="90000"/>
              </a:lnSpc>
              <a:spcBef>
                <a:spcPts val="1800"/>
              </a:spcBef>
            </a:pPr>
            <a:r>
              <a:rPr lang="en-US"/>
              <a:t>Data analysis with </a:t>
            </a:r>
            <a:r>
              <a:rPr lang="en-US" err="1"/>
              <a:t>Jupyter</a:t>
            </a:r>
            <a:r>
              <a:rPr lang="en-US"/>
              <a:t> and Apache </a:t>
            </a:r>
            <a:br>
              <a:rPr lang="en-US"/>
            </a:br>
            <a:r>
              <a:rPr lang="en-US"/>
              <a:t>Zeppelin notebook integration</a:t>
            </a:r>
          </a:p>
          <a:p>
            <a:pPr marL="0" lvl="1">
              <a:lnSpc>
                <a:spcPct val="90000"/>
              </a:lnSpc>
              <a:spcBef>
                <a:spcPts val="1800"/>
              </a:spcBef>
            </a:pPr>
            <a:r>
              <a:rPr lang="en-US"/>
              <a:t>Advanced analytics with Azure Databricks, </a:t>
            </a:r>
            <a:br>
              <a:rPr lang="en-US"/>
            </a:br>
            <a:r>
              <a:rPr lang="en-US"/>
              <a:t>Apache Hadoop, and Apache Spark integration</a:t>
            </a:r>
          </a:p>
        </p:txBody>
      </p:sp>
      <p:grpSp>
        <p:nvGrpSpPr>
          <p:cNvPr id="4" name="Group 3">
            <a:extLst>
              <a:ext uri="{FF2B5EF4-FFF2-40B4-BE49-F238E27FC236}">
                <a16:creationId xmlns:a16="http://schemas.microsoft.com/office/drawing/2014/main" id="{A7DE13BF-21AF-4B0B-9CA4-F3FB01D2A3BE}"/>
              </a:ext>
            </a:extLst>
          </p:cNvPr>
          <p:cNvGrpSpPr/>
          <p:nvPr/>
        </p:nvGrpSpPr>
        <p:grpSpPr>
          <a:xfrm>
            <a:off x="5948896" y="1553508"/>
            <a:ext cx="5656714" cy="3378098"/>
            <a:chOff x="6218237" y="1725467"/>
            <a:chExt cx="5772150" cy="3447034"/>
          </a:xfrm>
        </p:grpSpPr>
        <p:sp>
          <p:nvSpPr>
            <p:cNvPr id="5" name="Rectangle 4">
              <a:extLst>
                <a:ext uri="{FF2B5EF4-FFF2-40B4-BE49-F238E27FC236}">
                  <a16:creationId xmlns:a16="http://schemas.microsoft.com/office/drawing/2014/main" id="{996B7954-067A-4650-9E63-AF43C63D8DA5}"/>
                </a:ext>
              </a:extLst>
            </p:cNvPr>
            <p:cNvSpPr/>
            <p:nvPr/>
          </p:nvSpPr>
          <p:spPr bwMode="auto">
            <a:xfrm>
              <a:off x="6218237" y="1725467"/>
              <a:ext cx="5772150" cy="3447034"/>
            </a:xfrm>
            <a:prstGeom prst="rect">
              <a:avLst/>
            </a:prstGeom>
            <a:solidFill>
              <a:schemeClr val="bg1"/>
            </a:solidFill>
            <a:ln>
              <a:noFill/>
            </a:ln>
            <a:effectLst>
              <a:outerShdw blurRad="292100" dist="38100" dir="3600000" sx="101000" sy="101000" algn="tl" rotWithShape="0">
                <a:prstClr val="black">
                  <a:alpha val="1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6" name="Picture 5">
              <a:extLst>
                <a:ext uri="{FF2B5EF4-FFF2-40B4-BE49-F238E27FC236}">
                  <a16:creationId xmlns:a16="http://schemas.microsoft.com/office/drawing/2014/main" id="{838380E7-010A-480A-A10F-BCDEDAB78EE0}"/>
                </a:ext>
              </a:extLst>
            </p:cNvPr>
            <p:cNvPicPr>
              <a:picLocks noChangeAspect="1"/>
            </p:cNvPicPr>
            <p:nvPr/>
          </p:nvPicPr>
          <p:blipFill>
            <a:blip r:embed="rId3"/>
            <a:stretch>
              <a:fillRect/>
            </a:stretch>
          </p:blipFill>
          <p:spPr>
            <a:xfrm>
              <a:off x="6367425" y="1863695"/>
              <a:ext cx="5473775" cy="3170579"/>
            </a:xfrm>
            <a:prstGeom prst="rect">
              <a:avLst/>
            </a:prstGeom>
          </p:spPr>
        </p:pic>
      </p:grpSp>
    </p:spTree>
    <p:extLst>
      <p:ext uri="{BB962C8B-B14F-4D97-AF65-F5344CB8AC3E}">
        <p14:creationId xmlns:p14="http://schemas.microsoft.com/office/powerpoint/2010/main" val="1587235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650"/>
                                        <p:tgtEl>
                                          <p:spTgt spid="4"/>
                                        </p:tgtEl>
                                      </p:cBhvr>
                                    </p:animEffect>
                                  </p:childTnLst>
                                </p:cTn>
                              </p:par>
                              <p:par>
                                <p:cTn id="8" presetID="63" presetClass="path" presetSubtype="0" decel="100000" fill="hold" nodeType="withEffect">
                                  <p:stCondLst>
                                    <p:cond delay="0"/>
                                  </p:stCondLst>
                                  <p:childTnLst>
                                    <p:animMotion origin="layout" path="M -2.70833E-6 -3.7037E-6 L 0.01472 -3.7037E-6 " pathEditMode="relative" rAng="0" ptsTypes="AA">
                                      <p:cBhvr>
                                        <p:cTn id="9" dur="650" spd="-100000" fill="hold"/>
                                        <p:tgtEl>
                                          <p:spTgt spid="4"/>
                                        </p:tgtEl>
                                        <p:attrNameLst>
                                          <p:attrName>ppt_x</p:attrName>
                                          <p:attrName>ppt_y</p:attrName>
                                        </p:attrNameLst>
                                      </p:cBhvr>
                                      <p:rCtr x="7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 name="Group 51">
            <a:extLst>
              <a:ext uri="{FF2B5EF4-FFF2-40B4-BE49-F238E27FC236}">
                <a16:creationId xmlns:a16="http://schemas.microsoft.com/office/drawing/2014/main" id="{B1D0005B-3A13-4D47-A5EE-1EF34CAE8D9A}"/>
              </a:ext>
            </a:extLst>
          </p:cNvPr>
          <p:cNvGrpSpPr/>
          <p:nvPr/>
        </p:nvGrpSpPr>
        <p:grpSpPr>
          <a:xfrm>
            <a:off x="-122237" y="-73198"/>
            <a:ext cx="6218237" cy="7017620"/>
            <a:chOff x="-122237" y="-73198"/>
            <a:chExt cx="6218237" cy="7017620"/>
          </a:xfrm>
        </p:grpSpPr>
        <p:pic>
          <p:nvPicPr>
            <p:cNvPr id="2" name="Picture 1">
              <a:extLst>
                <a:ext uri="{FF2B5EF4-FFF2-40B4-BE49-F238E27FC236}">
                  <a16:creationId xmlns:a16="http://schemas.microsoft.com/office/drawing/2014/main" id="{EA013A5C-8171-4E65-926F-F09C5371190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1341" r="3200"/>
            <a:stretch/>
          </p:blipFill>
          <p:spPr>
            <a:xfrm>
              <a:off x="-118099" y="-73198"/>
              <a:ext cx="6214099" cy="6994525"/>
            </a:xfrm>
            <a:prstGeom prst="rect">
              <a:avLst/>
            </a:prstGeom>
          </p:spPr>
        </p:pic>
        <p:sp>
          <p:nvSpPr>
            <p:cNvPr id="3" name="Rectangle 2">
              <a:extLst>
                <a:ext uri="{FF2B5EF4-FFF2-40B4-BE49-F238E27FC236}">
                  <a16:creationId xmlns:a16="http://schemas.microsoft.com/office/drawing/2014/main" id="{093447B6-D3E7-4AE1-95CD-9950C4CBF0A7}"/>
                </a:ext>
              </a:extLst>
            </p:cNvPr>
            <p:cNvSpPr/>
            <p:nvPr/>
          </p:nvSpPr>
          <p:spPr bwMode="auto">
            <a:xfrm>
              <a:off x="-122237" y="-73198"/>
              <a:ext cx="6218237" cy="7017620"/>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 name="Rectangle 3">
            <a:extLst>
              <a:ext uri="{FF2B5EF4-FFF2-40B4-BE49-F238E27FC236}">
                <a16:creationId xmlns:a16="http://schemas.microsoft.com/office/drawing/2014/main" id="{869EB5F5-2847-4B8C-9FDE-89A81A1BA68E}"/>
              </a:ext>
            </a:extLst>
          </p:cNvPr>
          <p:cNvSpPr/>
          <p:nvPr/>
        </p:nvSpPr>
        <p:spPr>
          <a:xfrm>
            <a:off x="312738" y="2932798"/>
            <a:ext cx="5654157" cy="992404"/>
          </a:xfrm>
          <a:prstGeom prst="rect">
            <a:avLst/>
          </a:prstGeom>
        </p:spPr>
        <p:txBody>
          <a:bodyPr wrap="square" lIns="0" tIns="0" rIns="274320" bIns="0" anchor="ctr">
            <a:noAutofit/>
          </a:bodyPr>
          <a:lstStyle/>
          <a:p>
            <a:pPr marL="0" marR="0" lvl="0" indent="0" algn="r" defTabSz="932688"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Headings)"/>
                <a:ea typeface="+mn-ea"/>
                <a:cs typeface="+mn-cs"/>
              </a:rPr>
              <a:t>Azure</a:t>
            </a:r>
            <a:r>
              <a:rPr kumimoji="0" lang="en-US" sz="3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mn-cs"/>
              </a:rPr>
              <a:t> </a:t>
            </a:r>
            <a:r>
              <a:rPr kumimoji="0" lang="en-US" sz="3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Maps</a:t>
            </a:r>
          </a:p>
        </p:txBody>
      </p:sp>
      <p:sp>
        <p:nvSpPr>
          <p:cNvPr id="5" name="Rectangle 4">
            <a:extLst>
              <a:ext uri="{FF2B5EF4-FFF2-40B4-BE49-F238E27FC236}">
                <a16:creationId xmlns:a16="http://schemas.microsoft.com/office/drawing/2014/main" id="{75B1EF99-F7EB-4416-BD52-05B0C5873905}"/>
              </a:ext>
            </a:extLst>
          </p:cNvPr>
          <p:cNvSpPr/>
          <p:nvPr/>
        </p:nvSpPr>
        <p:spPr>
          <a:xfrm>
            <a:off x="6555306" y="249906"/>
            <a:ext cx="5135958" cy="707886"/>
          </a:xfrm>
          <a:prstGeom prst="rect">
            <a:avLst/>
          </a:prstGeom>
        </p:spPr>
        <p:txBody>
          <a:bodyPr wrap="non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gradFill>
                  <a:gsLst>
                    <a:gs pos="5660">
                      <a:srgbClr val="0078D7"/>
                    </a:gs>
                    <a:gs pos="19000">
                      <a:srgbClr val="0078D7"/>
                    </a:gs>
                  </a:gsLst>
                  <a:lin ang="5400000" scaled="0"/>
                </a:gradFill>
                <a:effectLst/>
                <a:uLnTx/>
                <a:uFillTx/>
                <a:latin typeface="Segoe UI Semibold"/>
                <a:ea typeface="+mn-ea"/>
                <a:cs typeface="Segoe UI" pitchFamily="34" charset="0"/>
              </a:rPr>
              <a:t>Azure IoT solution accelerators integration</a:t>
            </a:r>
          </a:p>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gradFill>
                  <a:gsLst>
                    <a:gs pos="5660">
                      <a:srgbClr val="0078D7"/>
                    </a:gs>
                    <a:gs pos="19000">
                      <a:srgbClr val="0078D7"/>
                    </a:gs>
                  </a:gsLst>
                  <a:lin ang="5400000" scaled="0"/>
                </a:gradFill>
                <a:effectLst/>
                <a:uLnTx/>
                <a:uFillTx/>
                <a:latin typeface="Segoe UI Semibold"/>
                <a:ea typeface="+mn-ea"/>
                <a:cs typeface="Segoe UI" pitchFamily="34" charset="0"/>
              </a:rPr>
              <a:t>Azure IoT Central integration in progress</a:t>
            </a:r>
          </a:p>
        </p:txBody>
      </p:sp>
      <p:grpSp>
        <p:nvGrpSpPr>
          <p:cNvPr id="6" name="Group 5">
            <a:extLst>
              <a:ext uri="{FF2B5EF4-FFF2-40B4-BE49-F238E27FC236}">
                <a16:creationId xmlns:a16="http://schemas.microsoft.com/office/drawing/2014/main" id="{C3E63931-1544-41B3-AE46-797E26144575}"/>
              </a:ext>
            </a:extLst>
          </p:cNvPr>
          <p:cNvGrpSpPr/>
          <p:nvPr/>
        </p:nvGrpSpPr>
        <p:grpSpPr>
          <a:xfrm>
            <a:off x="6511276" y="1189347"/>
            <a:ext cx="5450755" cy="777602"/>
            <a:chOff x="6633512" y="1392504"/>
            <a:chExt cx="5450755" cy="777602"/>
          </a:xfrm>
        </p:grpSpPr>
        <p:grpSp>
          <p:nvGrpSpPr>
            <p:cNvPr id="7" name="Group 6">
              <a:extLst>
                <a:ext uri="{FF2B5EF4-FFF2-40B4-BE49-F238E27FC236}">
                  <a16:creationId xmlns:a16="http://schemas.microsoft.com/office/drawing/2014/main" id="{B8D9C8A0-FF1D-4678-8A6A-345CE40044DC}"/>
                </a:ext>
              </a:extLst>
            </p:cNvPr>
            <p:cNvGrpSpPr/>
            <p:nvPr/>
          </p:nvGrpSpPr>
          <p:grpSpPr>
            <a:xfrm>
              <a:off x="6633512" y="1392504"/>
              <a:ext cx="745939" cy="745939"/>
              <a:chOff x="6791087" y="1392504"/>
              <a:chExt cx="745939" cy="745939"/>
            </a:xfrm>
          </p:grpSpPr>
          <p:sp>
            <p:nvSpPr>
              <p:cNvPr id="10" name="Oval 9">
                <a:extLst>
                  <a:ext uri="{FF2B5EF4-FFF2-40B4-BE49-F238E27FC236}">
                    <a16:creationId xmlns:a16="http://schemas.microsoft.com/office/drawing/2014/main" id="{4B48E0DD-1A42-4AAE-9024-2CD25219E9B8}"/>
                  </a:ext>
                </a:extLst>
              </p:cNvPr>
              <p:cNvSpPr/>
              <p:nvPr/>
            </p:nvSpPr>
            <p:spPr bwMode="auto">
              <a:xfrm>
                <a:off x="6791087" y="1392504"/>
                <a:ext cx="745939" cy="745939"/>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1250">
                        <a:srgbClr val="000000"/>
                      </a:gs>
                      <a:gs pos="100000">
                        <a:srgbClr val="000000"/>
                      </a:gs>
                    </a:gsLst>
                    <a:lin ang="5400000" scaled="0"/>
                  </a:gradFill>
                  <a:effectLst/>
                  <a:uLnTx/>
                  <a:uFillTx/>
                  <a:latin typeface="Segoe UI Semilight"/>
                  <a:ea typeface="+mn-ea"/>
                  <a:cs typeface="+mn-cs"/>
                </a:endParaRPr>
              </a:p>
            </p:txBody>
          </p:sp>
          <p:sp>
            <p:nvSpPr>
              <p:cNvPr id="11" name="DownloadMap_E826" title="Icon of a folded map with a download symbol in the lower right corner">
                <a:extLst>
                  <a:ext uri="{FF2B5EF4-FFF2-40B4-BE49-F238E27FC236}">
                    <a16:creationId xmlns:a16="http://schemas.microsoft.com/office/drawing/2014/main" id="{2D1CDEFA-B899-49C5-AD86-92BBB27571E8}"/>
                  </a:ext>
                </a:extLst>
              </p:cNvPr>
              <p:cNvSpPr>
                <a:spLocks noChangeAspect="1" noEditPoints="1"/>
              </p:cNvSpPr>
              <p:nvPr/>
            </p:nvSpPr>
            <p:spPr bwMode="auto">
              <a:xfrm>
                <a:off x="6942221" y="1540543"/>
                <a:ext cx="443671" cy="362898"/>
              </a:xfrm>
              <a:custGeom>
                <a:avLst/>
                <a:gdLst>
                  <a:gd name="T0" fmla="*/ 1290 w 4993"/>
                  <a:gd name="T1" fmla="*/ 0 h 4084"/>
                  <a:gd name="T2" fmla="*/ 1290 w 4993"/>
                  <a:gd name="T3" fmla="*/ 2794 h 4084"/>
                  <a:gd name="T4" fmla="*/ 4190 w 4993"/>
                  <a:gd name="T5" fmla="*/ 1666 h 4084"/>
                  <a:gd name="T6" fmla="*/ 4190 w 4993"/>
                  <a:gd name="T7" fmla="*/ 3277 h 4084"/>
                  <a:gd name="T8" fmla="*/ 3506 w 4993"/>
                  <a:gd name="T9" fmla="*/ 2754 h 4084"/>
                  <a:gd name="T10" fmla="*/ 4190 w 4993"/>
                  <a:gd name="T11" fmla="*/ 3438 h 4084"/>
                  <a:gd name="T12" fmla="*/ 4875 w 4993"/>
                  <a:gd name="T13" fmla="*/ 2754 h 4084"/>
                  <a:gd name="T14" fmla="*/ 4190 w 4993"/>
                  <a:gd name="T15" fmla="*/ 1344 h 4084"/>
                  <a:gd name="T16" fmla="*/ 4190 w 4993"/>
                  <a:gd name="T17" fmla="*/ 107 h 4084"/>
                  <a:gd name="T18" fmla="*/ 2901 w 4993"/>
                  <a:gd name="T19" fmla="*/ 537 h 4084"/>
                  <a:gd name="T20" fmla="*/ 1290 w 4993"/>
                  <a:gd name="T21" fmla="*/ 0 h 4084"/>
                  <a:gd name="T22" fmla="*/ 0 w 4993"/>
                  <a:gd name="T23" fmla="*/ 430 h 4084"/>
                  <a:gd name="T24" fmla="*/ 0 w 4993"/>
                  <a:gd name="T25" fmla="*/ 3225 h 4084"/>
                  <a:gd name="T26" fmla="*/ 1290 w 4993"/>
                  <a:gd name="T27" fmla="*/ 2794 h 4084"/>
                  <a:gd name="T28" fmla="*/ 2901 w 4993"/>
                  <a:gd name="T29" fmla="*/ 3332 h 4084"/>
                  <a:gd name="T30" fmla="*/ 2901 w 4993"/>
                  <a:gd name="T31" fmla="*/ 537 h 4084"/>
                  <a:gd name="T32" fmla="*/ 3385 w 4993"/>
                  <a:gd name="T33" fmla="*/ 4084 h 4084"/>
                  <a:gd name="T34" fmla="*/ 4993 w 4993"/>
                  <a:gd name="T35" fmla="*/ 4084 h 4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93" h="4084">
                    <a:moveTo>
                      <a:pt x="1290" y="0"/>
                    </a:moveTo>
                    <a:lnTo>
                      <a:pt x="1290" y="2794"/>
                    </a:lnTo>
                    <a:moveTo>
                      <a:pt x="4190" y="1666"/>
                    </a:moveTo>
                    <a:lnTo>
                      <a:pt x="4190" y="3277"/>
                    </a:lnTo>
                    <a:moveTo>
                      <a:pt x="3506" y="2754"/>
                    </a:moveTo>
                    <a:lnTo>
                      <a:pt x="4190" y="3438"/>
                    </a:lnTo>
                    <a:lnTo>
                      <a:pt x="4875" y="2754"/>
                    </a:lnTo>
                    <a:moveTo>
                      <a:pt x="4190" y="1344"/>
                    </a:moveTo>
                    <a:lnTo>
                      <a:pt x="4190" y="107"/>
                    </a:lnTo>
                    <a:lnTo>
                      <a:pt x="2901" y="537"/>
                    </a:lnTo>
                    <a:lnTo>
                      <a:pt x="1290" y="0"/>
                    </a:lnTo>
                    <a:lnTo>
                      <a:pt x="0" y="430"/>
                    </a:lnTo>
                    <a:lnTo>
                      <a:pt x="0" y="3225"/>
                    </a:lnTo>
                    <a:lnTo>
                      <a:pt x="1290" y="2794"/>
                    </a:lnTo>
                    <a:lnTo>
                      <a:pt x="2901" y="3332"/>
                    </a:lnTo>
                    <a:lnTo>
                      <a:pt x="2901" y="537"/>
                    </a:lnTo>
                    <a:moveTo>
                      <a:pt x="3385" y="4084"/>
                    </a:moveTo>
                    <a:lnTo>
                      <a:pt x="4993" y="4084"/>
                    </a:ln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mn-cs"/>
                </a:endParaRPr>
              </a:p>
            </p:txBody>
          </p:sp>
        </p:grpSp>
        <p:cxnSp>
          <p:nvCxnSpPr>
            <p:cNvPr id="8" name="Straight Connector 7">
              <a:extLst>
                <a:ext uri="{FF2B5EF4-FFF2-40B4-BE49-F238E27FC236}">
                  <a16:creationId xmlns:a16="http://schemas.microsoft.com/office/drawing/2014/main" id="{CC562778-FE4F-4077-B733-B5DD22438592}"/>
                </a:ext>
              </a:extLst>
            </p:cNvPr>
            <p:cNvCxnSpPr>
              <a:cxnSpLocks/>
            </p:cNvCxnSpPr>
            <p:nvPr/>
          </p:nvCxnSpPr>
          <p:spPr>
            <a:xfrm>
              <a:off x="6633512" y="2170106"/>
              <a:ext cx="5394960" cy="0"/>
            </a:xfrm>
            <a:prstGeom prst="line">
              <a:avLst/>
            </a:prstGeom>
            <a:noFill/>
            <a:ln w="9525" cap="flat" cmpd="sng" algn="ctr">
              <a:solidFill>
                <a:srgbClr val="0078D7"/>
              </a:solidFill>
              <a:prstDash val="solid"/>
              <a:headEnd type="none"/>
              <a:tailEnd type="none"/>
            </a:ln>
            <a:effectLst/>
          </p:spPr>
        </p:cxnSp>
        <p:sp>
          <p:nvSpPr>
            <p:cNvPr id="9" name="Rectangle 8">
              <a:extLst>
                <a:ext uri="{FF2B5EF4-FFF2-40B4-BE49-F238E27FC236}">
                  <a16:creationId xmlns:a16="http://schemas.microsoft.com/office/drawing/2014/main" id="{AF5944BE-8A87-4CA2-B7E2-5A4E84B145EE}"/>
                </a:ext>
              </a:extLst>
            </p:cNvPr>
            <p:cNvSpPr/>
            <p:nvPr/>
          </p:nvSpPr>
          <p:spPr>
            <a:xfrm>
              <a:off x="7530585" y="1398450"/>
              <a:ext cx="4553682" cy="734047"/>
            </a:xfrm>
            <a:prstGeom prst="rect">
              <a:avLst/>
            </a:prstGeom>
          </p:spPr>
          <p:txBody>
            <a:bodyPr wrap="square">
              <a:spAutoFit/>
            </a:bodyPr>
            <a:lstStyle/>
            <a:p>
              <a:pPr marL="0" marR="0" lvl="1" indent="0" algn="l" defTabSz="932688"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gradFill>
                    <a:gsLst>
                      <a:gs pos="1250">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Maps</a:t>
              </a:r>
            </a:p>
            <a:p>
              <a:pPr marL="0" marR="0" lvl="0" indent="0" algn="l" defTabSz="932114" rtl="0" eaLnBrk="1" fontAlgn="base" latinLnBrk="0" hangingPunct="1">
                <a:lnSpc>
                  <a:spcPct val="90000"/>
                </a:lnSpc>
                <a:spcBef>
                  <a:spcPts val="300"/>
                </a:spcBef>
                <a:spcAft>
                  <a:spcPct val="0"/>
                </a:spcAft>
                <a:buClrTx/>
                <a:buSzTx/>
                <a:buFontTx/>
                <a:buNone/>
                <a:tabLst/>
                <a:defRPr/>
              </a:pPr>
              <a:r>
                <a:rPr kumimoji="0" lang="en-US" sz="1400" b="0" i="0" u="none" strike="noStrike" kern="0" cap="none" spc="0" normalizeH="0" baseline="0" noProof="0">
                  <a:ln>
                    <a:noFill/>
                  </a:ln>
                  <a:gradFill>
                    <a:gsLst>
                      <a:gs pos="1250">
                        <a:srgbClr val="000000"/>
                      </a:gs>
                      <a:gs pos="100000">
                        <a:srgbClr val="000000"/>
                      </a:gs>
                    </a:gsLst>
                    <a:lin ang="5400000" scaled="0"/>
                  </a:gradFill>
                  <a:effectLst/>
                  <a:uLnTx/>
                  <a:uFillTx/>
                  <a:latin typeface="Segoe UI Semibold"/>
                  <a:ea typeface="+mn-ea"/>
                  <a:cs typeface="Segoe UI Semilight" panose="020B0402040204020203" pitchFamily="34" charset="0"/>
                </a:rPr>
                <a:t>Render maps and satellite imagery across </a:t>
              </a:r>
              <a:br>
                <a:rPr kumimoji="0" lang="en-US" sz="1400" b="0" i="0" u="none" strike="noStrike" kern="0" cap="none" spc="0" normalizeH="0" baseline="0" noProof="0">
                  <a:ln>
                    <a:noFill/>
                  </a:ln>
                  <a:gradFill>
                    <a:gsLst>
                      <a:gs pos="1250">
                        <a:srgbClr val="000000"/>
                      </a:gs>
                      <a:gs pos="100000">
                        <a:srgbClr val="000000"/>
                      </a:gs>
                    </a:gsLst>
                    <a:lin ang="5400000" scaled="0"/>
                  </a:gradFill>
                  <a:effectLst/>
                  <a:uLnTx/>
                  <a:uFillTx/>
                  <a:latin typeface="Segoe UI Semibold"/>
                  <a:ea typeface="+mn-ea"/>
                  <a:cs typeface="Segoe UI Semilight" panose="020B0402040204020203" pitchFamily="34" charset="0"/>
                </a:rPr>
              </a:br>
              <a:r>
                <a:rPr kumimoji="0" lang="en-US" sz="1400" b="0" i="0" u="none" strike="noStrike" kern="0" cap="none" spc="0" normalizeH="0" baseline="0" noProof="0">
                  <a:ln>
                    <a:noFill/>
                  </a:ln>
                  <a:gradFill>
                    <a:gsLst>
                      <a:gs pos="1250">
                        <a:srgbClr val="000000"/>
                      </a:gs>
                      <a:gs pos="100000">
                        <a:srgbClr val="000000"/>
                      </a:gs>
                    </a:gsLst>
                    <a:lin ang="5400000" scaled="0"/>
                  </a:gradFill>
                  <a:effectLst/>
                  <a:uLnTx/>
                  <a:uFillTx/>
                  <a:latin typeface="Segoe UI Semibold"/>
                  <a:ea typeface="+mn-ea"/>
                  <a:cs typeface="Segoe UI Semilight" panose="020B0402040204020203" pitchFamily="34" charset="0"/>
                </a:rPr>
                <a:t>many geographies</a:t>
              </a:r>
            </a:p>
          </p:txBody>
        </p:sp>
      </p:grpSp>
      <p:grpSp>
        <p:nvGrpSpPr>
          <p:cNvPr id="12" name="Group 11">
            <a:extLst>
              <a:ext uri="{FF2B5EF4-FFF2-40B4-BE49-F238E27FC236}">
                <a16:creationId xmlns:a16="http://schemas.microsoft.com/office/drawing/2014/main" id="{C9E9F64A-E267-486C-9160-2E61D3E94411}"/>
              </a:ext>
            </a:extLst>
          </p:cNvPr>
          <p:cNvGrpSpPr/>
          <p:nvPr/>
        </p:nvGrpSpPr>
        <p:grpSpPr>
          <a:xfrm>
            <a:off x="6507854" y="2069165"/>
            <a:ext cx="5684145" cy="821083"/>
            <a:chOff x="6630090" y="2245250"/>
            <a:chExt cx="5684145" cy="821083"/>
          </a:xfrm>
        </p:grpSpPr>
        <p:grpSp>
          <p:nvGrpSpPr>
            <p:cNvPr id="13" name="Group 12">
              <a:extLst>
                <a:ext uri="{FF2B5EF4-FFF2-40B4-BE49-F238E27FC236}">
                  <a16:creationId xmlns:a16="http://schemas.microsoft.com/office/drawing/2014/main" id="{F520640D-9BBE-43AE-9A1D-813449CB9A41}"/>
                </a:ext>
              </a:extLst>
            </p:cNvPr>
            <p:cNvGrpSpPr/>
            <p:nvPr/>
          </p:nvGrpSpPr>
          <p:grpSpPr>
            <a:xfrm>
              <a:off x="6630090" y="2245250"/>
              <a:ext cx="745939" cy="745939"/>
              <a:chOff x="6787665" y="2135627"/>
              <a:chExt cx="745939" cy="745939"/>
            </a:xfrm>
          </p:grpSpPr>
          <p:sp>
            <p:nvSpPr>
              <p:cNvPr id="16" name="Oval 15">
                <a:extLst>
                  <a:ext uri="{FF2B5EF4-FFF2-40B4-BE49-F238E27FC236}">
                    <a16:creationId xmlns:a16="http://schemas.microsoft.com/office/drawing/2014/main" id="{680DC8B6-5929-4348-839D-A5F19A5AE8F4}"/>
                  </a:ext>
                </a:extLst>
              </p:cNvPr>
              <p:cNvSpPr/>
              <p:nvPr/>
            </p:nvSpPr>
            <p:spPr bwMode="auto">
              <a:xfrm>
                <a:off x="6787665" y="2135627"/>
                <a:ext cx="745939" cy="745939"/>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1250">
                        <a:srgbClr val="000000"/>
                      </a:gs>
                      <a:gs pos="100000">
                        <a:srgbClr val="000000"/>
                      </a:gs>
                    </a:gsLst>
                    <a:lin ang="5400000" scaled="0"/>
                  </a:gradFill>
                  <a:effectLst/>
                  <a:uLnTx/>
                  <a:uFillTx/>
                  <a:latin typeface="Segoe UI Semilight"/>
                  <a:ea typeface="+mn-ea"/>
                  <a:cs typeface="+mn-cs"/>
                </a:endParaRPr>
              </a:p>
            </p:txBody>
          </p:sp>
          <p:sp>
            <p:nvSpPr>
              <p:cNvPr id="17" name="location_3" title="Icon of a map with a pin in it">
                <a:extLst>
                  <a:ext uri="{FF2B5EF4-FFF2-40B4-BE49-F238E27FC236}">
                    <a16:creationId xmlns:a16="http://schemas.microsoft.com/office/drawing/2014/main" id="{A2EE8891-42FD-4617-BDBC-9710CBA0E53E}"/>
                  </a:ext>
                </a:extLst>
              </p:cNvPr>
              <p:cNvSpPr>
                <a:spLocks noChangeAspect="1" noEditPoints="1"/>
              </p:cNvSpPr>
              <p:nvPr/>
            </p:nvSpPr>
            <p:spPr bwMode="auto">
              <a:xfrm>
                <a:off x="6942952" y="2296027"/>
                <a:ext cx="435364" cy="365760"/>
              </a:xfrm>
              <a:custGeom>
                <a:avLst/>
                <a:gdLst>
                  <a:gd name="T0" fmla="*/ 84 w 360"/>
                  <a:gd name="T1" fmla="*/ 109 h 302"/>
                  <a:gd name="T2" fmla="*/ 276 w 360"/>
                  <a:gd name="T3" fmla="*/ 109 h 302"/>
                  <a:gd name="T4" fmla="*/ 360 w 360"/>
                  <a:gd name="T5" fmla="*/ 302 h 302"/>
                  <a:gd name="T6" fmla="*/ 0 w 360"/>
                  <a:gd name="T7" fmla="*/ 302 h 302"/>
                  <a:gd name="T8" fmla="*/ 84 w 360"/>
                  <a:gd name="T9" fmla="*/ 109 h 302"/>
                  <a:gd name="T10" fmla="*/ 180 w 360"/>
                  <a:gd name="T11" fmla="*/ 72 h 302"/>
                  <a:gd name="T12" fmla="*/ 216 w 360"/>
                  <a:gd name="T13" fmla="*/ 36 h 302"/>
                  <a:gd name="T14" fmla="*/ 180 w 360"/>
                  <a:gd name="T15" fmla="*/ 0 h 302"/>
                  <a:gd name="T16" fmla="*/ 144 w 360"/>
                  <a:gd name="T17" fmla="*/ 36 h 302"/>
                  <a:gd name="T18" fmla="*/ 180 w 360"/>
                  <a:gd name="T19" fmla="*/ 72 h 302"/>
                  <a:gd name="T20" fmla="*/ 180 w 360"/>
                  <a:gd name="T21" fmla="*/ 72 h 302"/>
                  <a:gd name="T22" fmla="*/ 180 w 360"/>
                  <a:gd name="T23" fmla="*/ 216 h 302"/>
                  <a:gd name="T24" fmla="*/ 36 w 360"/>
                  <a:gd name="T25" fmla="*/ 218 h 302"/>
                  <a:gd name="T26" fmla="*/ 323 w 360"/>
                  <a:gd name="T27" fmla="*/ 218 h 302"/>
                  <a:gd name="T28" fmla="*/ 111 w 360"/>
                  <a:gd name="T29" fmla="*/ 218 h 302"/>
                  <a:gd name="T30" fmla="*/ 94 w 360"/>
                  <a:gd name="T31" fmla="*/ 302 h 302"/>
                  <a:gd name="T32" fmla="*/ 267 w 360"/>
                  <a:gd name="T33" fmla="*/ 302 h 302"/>
                  <a:gd name="T34" fmla="*/ 222 w 360"/>
                  <a:gd name="T35" fmla="*/ 109 h 302"/>
                  <a:gd name="T36" fmla="*/ 236 w 360"/>
                  <a:gd name="T37" fmla="*/ 169 h 302"/>
                  <a:gd name="T38" fmla="*/ 302 w 360"/>
                  <a:gd name="T39" fmla="*/ 16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0" h="302">
                    <a:moveTo>
                      <a:pt x="84" y="109"/>
                    </a:moveTo>
                    <a:cubicBezTo>
                      <a:pt x="276" y="109"/>
                      <a:pt x="276" y="109"/>
                      <a:pt x="276" y="109"/>
                    </a:cubicBezTo>
                    <a:cubicBezTo>
                      <a:pt x="360" y="302"/>
                      <a:pt x="360" y="302"/>
                      <a:pt x="360" y="302"/>
                    </a:cubicBezTo>
                    <a:cubicBezTo>
                      <a:pt x="0" y="302"/>
                      <a:pt x="0" y="302"/>
                      <a:pt x="0" y="302"/>
                    </a:cubicBezTo>
                    <a:lnTo>
                      <a:pt x="84" y="109"/>
                    </a:lnTo>
                    <a:close/>
                    <a:moveTo>
                      <a:pt x="180" y="72"/>
                    </a:moveTo>
                    <a:cubicBezTo>
                      <a:pt x="200" y="72"/>
                      <a:pt x="216" y="56"/>
                      <a:pt x="216" y="36"/>
                    </a:cubicBezTo>
                    <a:cubicBezTo>
                      <a:pt x="216" y="16"/>
                      <a:pt x="200" y="0"/>
                      <a:pt x="180" y="0"/>
                    </a:cubicBezTo>
                    <a:cubicBezTo>
                      <a:pt x="160" y="0"/>
                      <a:pt x="144" y="16"/>
                      <a:pt x="144" y="36"/>
                    </a:cubicBezTo>
                    <a:cubicBezTo>
                      <a:pt x="144" y="56"/>
                      <a:pt x="160" y="72"/>
                      <a:pt x="180" y="72"/>
                    </a:cubicBezTo>
                    <a:close/>
                    <a:moveTo>
                      <a:pt x="180" y="72"/>
                    </a:moveTo>
                    <a:cubicBezTo>
                      <a:pt x="180" y="216"/>
                      <a:pt x="180" y="216"/>
                      <a:pt x="180" y="216"/>
                    </a:cubicBezTo>
                    <a:moveTo>
                      <a:pt x="36" y="218"/>
                    </a:moveTo>
                    <a:cubicBezTo>
                      <a:pt x="323" y="218"/>
                      <a:pt x="323" y="218"/>
                      <a:pt x="323" y="218"/>
                    </a:cubicBezTo>
                    <a:moveTo>
                      <a:pt x="111" y="218"/>
                    </a:moveTo>
                    <a:cubicBezTo>
                      <a:pt x="94" y="302"/>
                      <a:pt x="94" y="302"/>
                      <a:pt x="94" y="302"/>
                    </a:cubicBezTo>
                    <a:moveTo>
                      <a:pt x="267" y="302"/>
                    </a:moveTo>
                    <a:cubicBezTo>
                      <a:pt x="222" y="109"/>
                      <a:pt x="222" y="109"/>
                      <a:pt x="222" y="109"/>
                    </a:cubicBezTo>
                    <a:moveTo>
                      <a:pt x="236" y="169"/>
                    </a:moveTo>
                    <a:cubicBezTo>
                      <a:pt x="302" y="169"/>
                      <a:pt x="302" y="169"/>
                      <a:pt x="302" y="169"/>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mn-cs"/>
                </a:endParaRPr>
              </a:p>
            </p:txBody>
          </p:sp>
        </p:grpSp>
        <p:cxnSp>
          <p:nvCxnSpPr>
            <p:cNvPr id="14" name="Straight Connector 13">
              <a:extLst>
                <a:ext uri="{FF2B5EF4-FFF2-40B4-BE49-F238E27FC236}">
                  <a16:creationId xmlns:a16="http://schemas.microsoft.com/office/drawing/2014/main" id="{7033EC5F-25C9-4087-A826-84A7D60B0AD3}"/>
                </a:ext>
              </a:extLst>
            </p:cNvPr>
            <p:cNvCxnSpPr>
              <a:cxnSpLocks/>
            </p:cNvCxnSpPr>
            <p:nvPr/>
          </p:nvCxnSpPr>
          <p:spPr>
            <a:xfrm>
              <a:off x="6633512" y="3066333"/>
              <a:ext cx="5394960" cy="0"/>
            </a:xfrm>
            <a:prstGeom prst="line">
              <a:avLst/>
            </a:prstGeom>
            <a:noFill/>
            <a:ln w="9525" cap="flat" cmpd="sng" algn="ctr">
              <a:solidFill>
                <a:srgbClr val="0078D7"/>
              </a:solidFill>
              <a:prstDash val="solid"/>
              <a:headEnd type="none"/>
              <a:tailEnd type="none"/>
            </a:ln>
            <a:effectLst/>
          </p:spPr>
        </p:cxnSp>
        <p:sp>
          <p:nvSpPr>
            <p:cNvPr id="15" name="Rectangle 14">
              <a:extLst>
                <a:ext uri="{FF2B5EF4-FFF2-40B4-BE49-F238E27FC236}">
                  <a16:creationId xmlns:a16="http://schemas.microsoft.com/office/drawing/2014/main" id="{7CA7D384-2D95-44DC-BBF3-913F6737661A}"/>
                </a:ext>
              </a:extLst>
            </p:cNvPr>
            <p:cNvSpPr/>
            <p:nvPr/>
          </p:nvSpPr>
          <p:spPr>
            <a:xfrm>
              <a:off x="7530584" y="2348145"/>
              <a:ext cx="4783651" cy="540148"/>
            </a:xfrm>
            <a:prstGeom prst="rect">
              <a:avLst/>
            </a:prstGeom>
          </p:spPr>
          <p:txBody>
            <a:bodyPr wrap="square">
              <a:spAutoFit/>
            </a:bodyPr>
            <a:lstStyle/>
            <a:p>
              <a:pPr marL="0" marR="0" lvl="1" indent="0" algn="l" defTabSz="932688"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gradFill>
                    <a:gsLst>
                      <a:gs pos="1250">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Map Control</a:t>
              </a:r>
            </a:p>
            <a:p>
              <a:pPr marL="0" marR="0" lvl="0" indent="0" algn="l" defTabSz="932114" rtl="0" eaLnBrk="1" fontAlgn="base" latinLnBrk="0" hangingPunct="1">
                <a:lnSpc>
                  <a:spcPct val="90000"/>
                </a:lnSpc>
                <a:spcBef>
                  <a:spcPts val="300"/>
                </a:spcBef>
                <a:spcAft>
                  <a:spcPct val="0"/>
                </a:spcAft>
                <a:buClrTx/>
                <a:buSzTx/>
                <a:buFontTx/>
                <a:buNone/>
                <a:tabLst/>
                <a:defRPr/>
              </a:pPr>
              <a:r>
                <a:rPr kumimoji="0" lang="en-US" sz="1400" b="0" i="0" u="none" strike="noStrike" kern="0" cap="none" spc="0" normalizeH="0" baseline="0" noProof="0">
                  <a:ln>
                    <a:noFill/>
                  </a:ln>
                  <a:gradFill>
                    <a:gsLst>
                      <a:gs pos="1250">
                        <a:srgbClr val="000000"/>
                      </a:gs>
                      <a:gs pos="100000">
                        <a:srgbClr val="000000"/>
                      </a:gs>
                    </a:gsLst>
                    <a:lin ang="5400000" scaled="0"/>
                  </a:gradFill>
                  <a:effectLst/>
                  <a:uLnTx/>
                  <a:uFillTx/>
                  <a:latin typeface="Segoe UI Semibold"/>
                  <a:ea typeface="+mn-ea"/>
                  <a:cs typeface="Segoe UI Semilight" panose="020B0402040204020203" pitchFamily="34" charset="0"/>
                </a:rPr>
                <a:t>Integrate rich mapping visualizations into applications</a:t>
              </a:r>
            </a:p>
          </p:txBody>
        </p:sp>
      </p:grpSp>
      <p:grpSp>
        <p:nvGrpSpPr>
          <p:cNvPr id="18" name="Group 17">
            <a:extLst>
              <a:ext uri="{FF2B5EF4-FFF2-40B4-BE49-F238E27FC236}">
                <a16:creationId xmlns:a16="http://schemas.microsoft.com/office/drawing/2014/main" id="{36964B00-3117-4369-B7A7-E01356B2E0C3}"/>
              </a:ext>
            </a:extLst>
          </p:cNvPr>
          <p:cNvGrpSpPr/>
          <p:nvPr/>
        </p:nvGrpSpPr>
        <p:grpSpPr>
          <a:xfrm>
            <a:off x="6494166" y="3024076"/>
            <a:ext cx="5467865" cy="810951"/>
            <a:chOff x="6616402" y="3151609"/>
            <a:chExt cx="5467865" cy="810951"/>
          </a:xfrm>
        </p:grpSpPr>
        <p:grpSp>
          <p:nvGrpSpPr>
            <p:cNvPr id="19" name="Group 18">
              <a:extLst>
                <a:ext uri="{FF2B5EF4-FFF2-40B4-BE49-F238E27FC236}">
                  <a16:creationId xmlns:a16="http://schemas.microsoft.com/office/drawing/2014/main" id="{9D8C7F7D-673B-4512-8B35-F0622914AF67}"/>
                </a:ext>
              </a:extLst>
            </p:cNvPr>
            <p:cNvGrpSpPr/>
            <p:nvPr/>
          </p:nvGrpSpPr>
          <p:grpSpPr>
            <a:xfrm>
              <a:off x="6616402" y="3151609"/>
              <a:ext cx="745939" cy="745939"/>
              <a:chOff x="6773977" y="3092763"/>
              <a:chExt cx="745939" cy="745939"/>
            </a:xfrm>
          </p:grpSpPr>
          <p:sp>
            <p:nvSpPr>
              <p:cNvPr id="22" name="Oval 21">
                <a:extLst>
                  <a:ext uri="{FF2B5EF4-FFF2-40B4-BE49-F238E27FC236}">
                    <a16:creationId xmlns:a16="http://schemas.microsoft.com/office/drawing/2014/main" id="{F931C1E8-8A92-4DC7-B7A4-425C8C18066A}"/>
                  </a:ext>
                </a:extLst>
              </p:cNvPr>
              <p:cNvSpPr/>
              <p:nvPr/>
            </p:nvSpPr>
            <p:spPr bwMode="auto">
              <a:xfrm>
                <a:off x="6773977" y="3092763"/>
                <a:ext cx="745939" cy="745939"/>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1250">
                        <a:srgbClr val="000000"/>
                      </a:gs>
                      <a:gs pos="100000">
                        <a:srgbClr val="000000"/>
                      </a:gs>
                    </a:gsLst>
                    <a:lin ang="5400000" scaled="0"/>
                  </a:gradFill>
                  <a:effectLst/>
                  <a:uLnTx/>
                  <a:uFillTx/>
                  <a:latin typeface="Segoe UI Semilight"/>
                  <a:ea typeface="+mn-ea"/>
                  <a:cs typeface="+mn-cs"/>
                </a:endParaRPr>
              </a:p>
            </p:txBody>
          </p:sp>
          <p:grpSp>
            <p:nvGrpSpPr>
              <p:cNvPr id="23" name="Routing">
                <a:extLst>
                  <a:ext uri="{FF2B5EF4-FFF2-40B4-BE49-F238E27FC236}">
                    <a16:creationId xmlns:a16="http://schemas.microsoft.com/office/drawing/2014/main" id="{0BF1E7E6-F494-4670-8C3F-56B317849E43}"/>
                  </a:ext>
                </a:extLst>
              </p:cNvPr>
              <p:cNvGrpSpPr>
                <a:grpSpLocks noChangeAspect="1"/>
              </p:cNvGrpSpPr>
              <p:nvPr/>
            </p:nvGrpSpPr>
            <p:grpSpPr>
              <a:xfrm>
                <a:off x="6903635" y="3241990"/>
                <a:ext cx="486623" cy="427221"/>
                <a:chOff x="304708" y="3781185"/>
                <a:chExt cx="511162" cy="494899"/>
              </a:xfrm>
            </p:grpSpPr>
            <p:sp>
              <p:nvSpPr>
                <p:cNvPr id="24" name="Rectangle 23">
                  <a:extLst>
                    <a:ext uri="{FF2B5EF4-FFF2-40B4-BE49-F238E27FC236}">
                      <a16:creationId xmlns:a16="http://schemas.microsoft.com/office/drawing/2014/main" id="{7CF4AB6D-A8D5-4E82-8651-152AB26EACDA}"/>
                    </a:ext>
                  </a:extLst>
                </p:cNvPr>
                <p:cNvSpPr/>
                <p:nvPr/>
              </p:nvSpPr>
              <p:spPr>
                <a:xfrm>
                  <a:off x="304708" y="3781185"/>
                  <a:ext cx="197298" cy="219354"/>
                </a:xfrm>
                <a:prstGeom prst="rect">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mn-cs"/>
                  </a:endParaRPr>
                </a:p>
              </p:txBody>
            </p:sp>
            <p:grpSp>
              <p:nvGrpSpPr>
                <p:cNvPr id="25" name="Group 24">
                  <a:extLst>
                    <a:ext uri="{FF2B5EF4-FFF2-40B4-BE49-F238E27FC236}">
                      <a16:creationId xmlns:a16="http://schemas.microsoft.com/office/drawing/2014/main" id="{80619FC7-3541-41B2-82D2-928F2B9D97D8}"/>
                    </a:ext>
                  </a:extLst>
                </p:cNvPr>
                <p:cNvGrpSpPr/>
                <p:nvPr/>
              </p:nvGrpSpPr>
              <p:grpSpPr>
                <a:xfrm rot="2240659">
                  <a:off x="336099" y="4061104"/>
                  <a:ext cx="457212" cy="214980"/>
                  <a:chOff x="2084017" y="8025663"/>
                  <a:chExt cx="358620" cy="168621"/>
                </a:xfrm>
              </p:grpSpPr>
              <p:sp>
                <p:nvSpPr>
                  <p:cNvPr id="29" name="Freeform: Shape 28">
                    <a:extLst>
                      <a:ext uri="{FF2B5EF4-FFF2-40B4-BE49-F238E27FC236}">
                        <a16:creationId xmlns:a16="http://schemas.microsoft.com/office/drawing/2014/main" id="{F7CC7F0E-203B-4D12-96CA-F9C6E79BF4F8}"/>
                      </a:ext>
                    </a:extLst>
                  </p:cNvPr>
                  <p:cNvSpPr/>
                  <p:nvPr/>
                </p:nvSpPr>
                <p:spPr>
                  <a:xfrm rot="3139152">
                    <a:off x="2178207" y="8013666"/>
                    <a:ext cx="168621" cy="192616"/>
                  </a:xfrm>
                  <a:custGeom>
                    <a:avLst/>
                    <a:gdLst>
                      <a:gd name="connsiteX0" fmla="*/ 0 w 1171575"/>
                      <a:gd name="connsiteY0" fmla="*/ 1543050 h 1543050"/>
                      <a:gd name="connsiteX1" fmla="*/ 0 w 1171575"/>
                      <a:gd name="connsiteY1" fmla="*/ 571500 h 1543050"/>
                      <a:gd name="connsiteX2" fmla="*/ 1171575 w 1171575"/>
                      <a:gd name="connsiteY2" fmla="*/ 557213 h 1543050"/>
                      <a:gd name="connsiteX3" fmla="*/ 1171575 w 1171575"/>
                      <a:gd name="connsiteY3" fmla="*/ 0 h 1543050"/>
                      <a:gd name="connsiteX0" fmla="*/ 0 w 1171575"/>
                      <a:gd name="connsiteY0" fmla="*/ 1543050 h 1543050"/>
                      <a:gd name="connsiteX1" fmla="*/ 9525 w 1171575"/>
                      <a:gd name="connsiteY1" fmla="*/ 552450 h 1543050"/>
                      <a:gd name="connsiteX2" fmla="*/ 1171575 w 1171575"/>
                      <a:gd name="connsiteY2" fmla="*/ 557213 h 1543050"/>
                      <a:gd name="connsiteX3" fmla="*/ 1171575 w 1171575"/>
                      <a:gd name="connsiteY3" fmla="*/ 0 h 1543050"/>
                      <a:gd name="connsiteX0" fmla="*/ 0 w 1171575"/>
                      <a:gd name="connsiteY0" fmla="*/ 1123950 h 1123950"/>
                      <a:gd name="connsiteX1" fmla="*/ 9525 w 1171575"/>
                      <a:gd name="connsiteY1" fmla="*/ 552450 h 1123950"/>
                      <a:gd name="connsiteX2" fmla="*/ 1171575 w 1171575"/>
                      <a:gd name="connsiteY2" fmla="*/ 557213 h 1123950"/>
                      <a:gd name="connsiteX3" fmla="*/ 1171575 w 1171575"/>
                      <a:gd name="connsiteY3" fmla="*/ 0 h 1123950"/>
                      <a:gd name="connsiteX0" fmla="*/ 0 w 1171575"/>
                      <a:gd name="connsiteY0" fmla="*/ 1123950 h 1123950"/>
                      <a:gd name="connsiteX1" fmla="*/ 9525 w 1171575"/>
                      <a:gd name="connsiteY1" fmla="*/ 552450 h 1123950"/>
                      <a:gd name="connsiteX2" fmla="*/ 1171575 w 1171575"/>
                      <a:gd name="connsiteY2" fmla="*/ 557213 h 1123950"/>
                      <a:gd name="connsiteX3" fmla="*/ 1171575 w 1171575"/>
                      <a:gd name="connsiteY3" fmla="*/ 0 h 1123950"/>
                      <a:gd name="connsiteX0" fmla="*/ 0 w 1171575"/>
                      <a:gd name="connsiteY0" fmla="*/ 1143000 h 1143000"/>
                      <a:gd name="connsiteX1" fmla="*/ 9525 w 1171575"/>
                      <a:gd name="connsiteY1" fmla="*/ 552450 h 1143000"/>
                      <a:gd name="connsiteX2" fmla="*/ 1171575 w 1171575"/>
                      <a:gd name="connsiteY2" fmla="*/ 557213 h 1143000"/>
                      <a:gd name="connsiteX3" fmla="*/ 1171575 w 1171575"/>
                      <a:gd name="connsiteY3" fmla="*/ 0 h 1143000"/>
                      <a:gd name="connsiteX0" fmla="*/ 0 w 1162050"/>
                      <a:gd name="connsiteY0" fmla="*/ 1143000 h 1143000"/>
                      <a:gd name="connsiteX1" fmla="*/ 0 w 1162050"/>
                      <a:gd name="connsiteY1" fmla="*/ 552450 h 1143000"/>
                      <a:gd name="connsiteX2" fmla="*/ 1162050 w 1162050"/>
                      <a:gd name="connsiteY2" fmla="*/ 557213 h 1143000"/>
                      <a:gd name="connsiteX3" fmla="*/ 1162050 w 1162050"/>
                      <a:gd name="connsiteY3" fmla="*/ 0 h 1143000"/>
                      <a:gd name="connsiteX0" fmla="*/ 3783 w 1162050"/>
                      <a:gd name="connsiteY0" fmla="*/ 1130675 h 1130675"/>
                      <a:gd name="connsiteX1" fmla="*/ 0 w 1162050"/>
                      <a:gd name="connsiteY1" fmla="*/ 552450 h 1130675"/>
                      <a:gd name="connsiteX2" fmla="*/ 1162050 w 1162050"/>
                      <a:gd name="connsiteY2" fmla="*/ 557213 h 1130675"/>
                      <a:gd name="connsiteX3" fmla="*/ 1162050 w 1162050"/>
                      <a:gd name="connsiteY3" fmla="*/ 0 h 1130675"/>
                      <a:gd name="connsiteX0" fmla="*/ 0 w 1165638"/>
                      <a:gd name="connsiteY0" fmla="*/ 1127552 h 1127552"/>
                      <a:gd name="connsiteX1" fmla="*/ 3588 w 1165638"/>
                      <a:gd name="connsiteY1" fmla="*/ 552450 h 1127552"/>
                      <a:gd name="connsiteX2" fmla="*/ 1165638 w 1165638"/>
                      <a:gd name="connsiteY2" fmla="*/ 557213 h 1127552"/>
                      <a:gd name="connsiteX3" fmla="*/ 1165638 w 1165638"/>
                      <a:gd name="connsiteY3" fmla="*/ 0 h 1127552"/>
                      <a:gd name="connsiteX0" fmla="*/ 0 w 1165638"/>
                      <a:gd name="connsiteY0" fmla="*/ 1115228 h 1115228"/>
                      <a:gd name="connsiteX1" fmla="*/ 3588 w 1165638"/>
                      <a:gd name="connsiteY1" fmla="*/ 540126 h 1115228"/>
                      <a:gd name="connsiteX2" fmla="*/ 1165638 w 1165638"/>
                      <a:gd name="connsiteY2" fmla="*/ 544889 h 1115228"/>
                      <a:gd name="connsiteX3" fmla="*/ 1161856 w 1165638"/>
                      <a:gd name="connsiteY3" fmla="*/ 0 h 1115228"/>
                      <a:gd name="connsiteX0" fmla="*/ 0 w 1165638"/>
                      <a:gd name="connsiteY0" fmla="*/ 1115246 h 1115246"/>
                      <a:gd name="connsiteX1" fmla="*/ 3588 w 1165638"/>
                      <a:gd name="connsiteY1" fmla="*/ 540144 h 1115246"/>
                      <a:gd name="connsiteX2" fmla="*/ 1165638 w 1165638"/>
                      <a:gd name="connsiteY2" fmla="*/ 544907 h 1115246"/>
                      <a:gd name="connsiteX3" fmla="*/ 1158160 w 1165638"/>
                      <a:gd name="connsiteY3" fmla="*/ 0 h 1115246"/>
                      <a:gd name="connsiteX0" fmla="*/ 0 w 1173056"/>
                      <a:gd name="connsiteY0" fmla="*/ 1115174 h 1115174"/>
                      <a:gd name="connsiteX1" fmla="*/ 3588 w 1173056"/>
                      <a:gd name="connsiteY1" fmla="*/ 540072 h 1115174"/>
                      <a:gd name="connsiteX2" fmla="*/ 1165638 w 1173056"/>
                      <a:gd name="connsiteY2" fmla="*/ 544835 h 1115174"/>
                      <a:gd name="connsiteX3" fmla="*/ 1172944 w 1173056"/>
                      <a:gd name="connsiteY3" fmla="*/ 0 h 1115174"/>
                      <a:gd name="connsiteX0" fmla="*/ 0 w 1176723"/>
                      <a:gd name="connsiteY0" fmla="*/ 1115156 h 1115156"/>
                      <a:gd name="connsiteX1" fmla="*/ 3588 w 1176723"/>
                      <a:gd name="connsiteY1" fmla="*/ 540054 h 1115156"/>
                      <a:gd name="connsiteX2" fmla="*/ 1165638 w 1176723"/>
                      <a:gd name="connsiteY2" fmla="*/ 544817 h 1115156"/>
                      <a:gd name="connsiteX3" fmla="*/ 1176640 w 1176723"/>
                      <a:gd name="connsiteY3" fmla="*/ 0 h 1115156"/>
                      <a:gd name="connsiteX0" fmla="*/ 0 w 1176723"/>
                      <a:gd name="connsiteY0" fmla="*/ 1115156 h 1115156"/>
                      <a:gd name="connsiteX1" fmla="*/ 3588 w 1176723"/>
                      <a:gd name="connsiteY1" fmla="*/ 540054 h 1115156"/>
                      <a:gd name="connsiteX2" fmla="*/ 1165638 w 1176723"/>
                      <a:gd name="connsiteY2" fmla="*/ 544817 h 1115156"/>
                      <a:gd name="connsiteX3" fmla="*/ 1176640 w 1176723"/>
                      <a:gd name="connsiteY3" fmla="*/ 0 h 1115156"/>
                      <a:gd name="connsiteX0" fmla="*/ 0 w 1169419"/>
                      <a:gd name="connsiteY0" fmla="*/ 1115193 h 1115193"/>
                      <a:gd name="connsiteX1" fmla="*/ 3588 w 1169419"/>
                      <a:gd name="connsiteY1" fmla="*/ 540091 h 1115193"/>
                      <a:gd name="connsiteX2" fmla="*/ 1165638 w 1169419"/>
                      <a:gd name="connsiteY2" fmla="*/ 544854 h 1115193"/>
                      <a:gd name="connsiteX3" fmla="*/ 1169248 w 1169419"/>
                      <a:gd name="connsiteY3" fmla="*/ 0 h 1115193"/>
                    </a:gdLst>
                    <a:ahLst/>
                    <a:cxnLst>
                      <a:cxn ang="0">
                        <a:pos x="connsiteX0" y="connsiteY0"/>
                      </a:cxn>
                      <a:cxn ang="0">
                        <a:pos x="connsiteX1" y="connsiteY1"/>
                      </a:cxn>
                      <a:cxn ang="0">
                        <a:pos x="connsiteX2" y="connsiteY2"/>
                      </a:cxn>
                      <a:cxn ang="0">
                        <a:pos x="connsiteX3" y="connsiteY3"/>
                      </a:cxn>
                    </a:cxnLst>
                    <a:rect l="l" t="t" r="r" b="b"/>
                    <a:pathLst>
                      <a:path w="1169419" h="1115193">
                        <a:moveTo>
                          <a:pt x="0" y="1115193"/>
                        </a:moveTo>
                        <a:lnTo>
                          <a:pt x="3588" y="540091"/>
                        </a:lnTo>
                        <a:lnTo>
                          <a:pt x="1165638" y="544854"/>
                        </a:lnTo>
                        <a:cubicBezTo>
                          <a:pt x="1164377" y="363224"/>
                          <a:pt x="1170509" y="181630"/>
                          <a:pt x="1169248" y="0"/>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mn-cs"/>
                    </a:endParaRPr>
                  </a:p>
                </p:txBody>
              </p:sp>
              <p:sp>
                <p:nvSpPr>
                  <p:cNvPr id="30" name="Oval 29">
                    <a:extLst>
                      <a:ext uri="{FF2B5EF4-FFF2-40B4-BE49-F238E27FC236}">
                        <a16:creationId xmlns:a16="http://schemas.microsoft.com/office/drawing/2014/main" id="{4234FF45-4C52-406E-928A-3752A711CE12}"/>
                      </a:ext>
                    </a:extLst>
                  </p:cNvPr>
                  <p:cNvSpPr/>
                  <p:nvPr/>
                </p:nvSpPr>
                <p:spPr>
                  <a:xfrm>
                    <a:off x="2084017" y="8092518"/>
                    <a:ext cx="57376" cy="57376"/>
                  </a:xfrm>
                  <a:prstGeom prst="ellips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mn-cs"/>
                    </a:endParaRPr>
                  </a:p>
                </p:txBody>
              </p:sp>
              <p:sp>
                <p:nvSpPr>
                  <p:cNvPr id="31" name="Oval 30">
                    <a:extLst>
                      <a:ext uri="{FF2B5EF4-FFF2-40B4-BE49-F238E27FC236}">
                        <a16:creationId xmlns:a16="http://schemas.microsoft.com/office/drawing/2014/main" id="{2A919BC8-D88E-4BB8-8DAA-D583DFE35AD2}"/>
                      </a:ext>
                    </a:extLst>
                  </p:cNvPr>
                  <p:cNvSpPr/>
                  <p:nvPr/>
                </p:nvSpPr>
                <p:spPr>
                  <a:xfrm>
                    <a:off x="2385261" y="8071895"/>
                    <a:ext cx="57376" cy="57376"/>
                  </a:xfrm>
                  <a:prstGeom prst="ellips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mn-cs"/>
                    </a:endParaRPr>
                  </a:p>
                </p:txBody>
              </p:sp>
            </p:grpSp>
            <p:sp>
              <p:nvSpPr>
                <p:cNvPr id="26" name="Rectangle 25">
                  <a:extLst>
                    <a:ext uri="{FF2B5EF4-FFF2-40B4-BE49-F238E27FC236}">
                      <a16:creationId xmlns:a16="http://schemas.microsoft.com/office/drawing/2014/main" id="{C998FCF4-0996-44D1-A229-DF3361E2F691}"/>
                    </a:ext>
                  </a:extLst>
                </p:cNvPr>
                <p:cNvSpPr/>
                <p:nvPr/>
              </p:nvSpPr>
              <p:spPr>
                <a:xfrm>
                  <a:off x="618572" y="4000544"/>
                  <a:ext cx="197298" cy="219354"/>
                </a:xfrm>
                <a:prstGeom prst="rect">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A2A47FAE-64BD-4F3F-8B9C-F077BFFE99DF}"/>
                    </a:ext>
                  </a:extLst>
                </p:cNvPr>
                <p:cNvSpPr/>
                <p:nvPr/>
              </p:nvSpPr>
              <p:spPr>
                <a:xfrm>
                  <a:off x="357793" y="3839657"/>
                  <a:ext cx="91128" cy="102414"/>
                </a:xfrm>
                <a:custGeom>
                  <a:avLst/>
                  <a:gdLst/>
                  <a:ahLst/>
                  <a:cxnLst/>
                  <a:rect l="l" t="t" r="r" b="b"/>
                  <a:pathLst>
                    <a:path w="142428" h="160065">
                      <a:moveTo>
                        <a:pt x="70544" y="19422"/>
                      </a:moveTo>
                      <a:cubicBezTo>
                        <a:pt x="69800" y="23962"/>
                        <a:pt x="68945" y="27534"/>
                        <a:pt x="67977" y="30138"/>
                      </a:cubicBezTo>
                      <a:lnTo>
                        <a:pt x="43086" y="98339"/>
                      </a:lnTo>
                      <a:lnTo>
                        <a:pt x="98561" y="98339"/>
                      </a:lnTo>
                      <a:lnTo>
                        <a:pt x="73447" y="30138"/>
                      </a:lnTo>
                      <a:cubicBezTo>
                        <a:pt x="72628" y="27906"/>
                        <a:pt x="71809" y="24334"/>
                        <a:pt x="70991" y="19422"/>
                      </a:cubicBezTo>
                      <a:close/>
                      <a:moveTo>
                        <a:pt x="61392" y="0"/>
                      </a:moveTo>
                      <a:lnTo>
                        <a:pt x="80814" y="0"/>
                      </a:lnTo>
                      <a:lnTo>
                        <a:pt x="142428" y="160065"/>
                      </a:lnTo>
                      <a:lnTo>
                        <a:pt x="121667" y="160065"/>
                      </a:lnTo>
                      <a:lnTo>
                        <a:pt x="104700" y="115193"/>
                      </a:lnTo>
                      <a:lnTo>
                        <a:pt x="36835" y="115193"/>
                      </a:lnTo>
                      <a:lnTo>
                        <a:pt x="20873" y="160065"/>
                      </a:lnTo>
                      <a:lnTo>
                        <a:pt x="0" y="160065"/>
                      </a:lnTo>
                      <a:close/>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808015B9-AE56-4D5E-B7F1-89A6C2DE7340}"/>
                    </a:ext>
                  </a:extLst>
                </p:cNvPr>
                <p:cNvSpPr/>
                <p:nvPr/>
              </p:nvSpPr>
              <p:spPr bwMode="auto">
                <a:xfrm>
                  <a:off x="685691" y="4058996"/>
                  <a:ext cx="63062" cy="102414"/>
                </a:xfrm>
                <a:custGeom>
                  <a:avLst/>
                  <a:gdLst/>
                  <a:ahLst/>
                  <a:cxnLst/>
                  <a:rect l="l" t="t" r="r" b="b"/>
                  <a:pathLst>
                    <a:path w="98561" h="160065">
                      <a:moveTo>
                        <a:pt x="18752" y="85502"/>
                      </a:moveTo>
                      <a:lnTo>
                        <a:pt x="18752" y="143099"/>
                      </a:lnTo>
                      <a:lnTo>
                        <a:pt x="44201" y="143099"/>
                      </a:lnTo>
                      <a:cubicBezTo>
                        <a:pt x="55215" y="143099"/>
                        <a:pt x="63754" y="140494"/>
                        <a:pt x="69819" y="135285"/>
                      </a:cubicBezTo>
                      <a:cubicBezTo>
                        <a:pt x="75883" y="130076"/>
                        <a:pt x="78916" y="122932"/>
                        <a:pt x="78916" y="113854"/>
                      </a:cubicBezTo>
                      <a:cubicBezTo>
                        <a:pt x="78916" y="94953"/>
                        <a:pt x="66042" y="85502"/>
                        <a:pt x="40295" y="85502"/>
                      </a:cubicBezTo>
                      <a:close/>
                      <a:moveTo>
                        <a:pt x="18752" y="16967"/>
                      </a:moveTo>
                      <a:lnTo>
                        <a:pt x="18752" y="68647"/>
                      </a:lnTo>
                      <a:lnTo>
                        <a:pt x="37951" y="68647"/>
                      </a:lnTo>
                      <a:cubicBezTo>
                        <a:pt x="48220" y="68647"/>
                        <a:pt x="56294" y="66173"/>
                        <a:pt x="62172" y="61225"/>
                      </a:cubicBezTo>
                      <a:cubicBezTo>
                        <a:pt x="68051" y="56276"/>
                        <a:pt x="70991" y="49300"/>
                        <a:pt x="70991" y="40296"/>
                      </a:cubicBezTo>
                      <a:cubicBezTo>
                        <a:pt x="70991" y="24743"/>
                        <a:pt x="60759" y="16967"/>
                        <a:pt x="40295" y="16967"/>
                      </a:cubicBezTo>
                      <a:close/>
                      <a:moveTo>
                        <a:pt x="0" y="0"/>
                      </a:moveTo>
                      <a:lnTo>
                        <a:pt x="45541" y="0"/>
                      </a:lnTo>
                      <a:cubicBezTo>
                        <a:pt x="59382" y="0"/>
                        <a:pt x="70358" y="3386"/>
                        <a:pt x="78469" y="10158"/>
                      </a:cubicBezTo>
                      <a:cubicBezTo>
                        <a:pt x="86580" y="16930"/>
                        <a:pt x="90636" y="25748"/>
                        <a:pt x="90636" y="36612"/>
                      </a:cubicBezTo>
                      <a:cubicBezTo>
                        <a:pt x="90636" y="45691"/>
                        <a:pt x="88180" y="53579"/>
                        <a:pt x="83269" y="60276"/>
                      </a:cubicBezTo>
                      <a:cubicBezTo>
                        <a:pt x="78358" y="66973"/>
                        <a:pt x="71586" y="71736"/>
                        <a:pt x="62954" y="74563"/>
                      </a:cubicBezTo>
                      <a:lnTo>
                        <a:pt x="62954" y="75010"/>
                      </a:lnTo>
                      <a:cubicBezTo>
                        <a:pt x="73744" y="76275"/>
                        <a:pt x="82376" y="80349"/>
                        <a:pt x="88850" y="87232"/>
                      </a:cubicBezTo>
                      <a:cubicBezTo>
                        <a:pt x="95324" y="94116"/>
                        <a:pt x="98561" y="103064"/>
                        <a:pt x="98561" y="114077"/>
                      </a:cubicBezTo>
                      <a:cubicBezTo>
                        <a:pt x="98561" y="127769"/>
                        <a:pt x="93650" y="138857"/>
                        <a:pt x="83827" y="147340"/>
                      </a:cubicBezTo>
                      <a:cubicBezTo>
                        <a:pt x="74004" y="155823"/>
                        <a:pt x="61614" y="160065"/>
                        <a:pt x="46657" y="160065"/>
                      </a:cubicBezTo>
                      <a:lnTo>
                        <a:pt x="0" y="160065"/>
                      </a:lnTo>
                      <a:close/>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1250">
                          <a:srgbClr val="000000"/>
                        </a:gs>
                        <a:gs pos="100000">
                          <a:srgbClr val="000000"/>
                        </a:gs>
                      </a:gsLst>
                      <a:lin ang="5400000" scaled="0"/>
                    </a:gradFill>
                    <a:effectLst/>
                    <a:uLnTx/>
                    <a:uFillTx/>
                    <a:latin typeface="Segoe UI"/>
                    <a:ea typeface="+mn-ea"/>
                    <a:cs typeface="+mn-cs"/>
                  </a:endParaRPr>
                </a:p>
              </p:txBody>
            </p:sp>
          </p:grpSp>
        </p:grpSp>
        <p:cxnSp>
          <p:nvCxnSpPr>
            <p:cNvPr id="20" name="Straight Connector 19">
              <a:extLst>
                <a:ext uri="{FF2B5EF4-FFF2-40B4-BE49-F238E27FC236}">
                  <a16:creationId xmlns:a16="http://schemas.microsoft.com/office/drawing/2014/main" id="{BD0BF44E-5573-4C19-9F98-1CFBEE31A1F8}"/>
                </a:ext>
              </a:extLst>
            </p:cNvPr>
            <p:cNvCxnSpPr>
              <a:cxnSpLocks/>
            </p:cNvCxnSpPr>
            <p:nvPr/>
          </p:nvCxnSpPr>
          <p:spPr>
            <a:xfrm>
              <a:off x="6633512" y="3962560"/>
              <a:ext cx="5394960" cy="0"/>
            </a:xfrm>
            <a:prstGeom prst="line">
              <a:avLst/>
            </a:prstGeom>
            <a:noFill/>
            <a:ln w="9525" cap="flat" cmpd="sng" algn="ctr">
              <a:solidFill>
                <a:srgbClr val="0078D7"/>
              </a:solidFill>
              <a:prstDash val="solid"/>
              <a:headEnd type="none"/>
              <a:tailEnd type="none"/>
            </a:ln>
            <a:effectLst/>
          </p:spPr>
        </p:cxnSp>
        <p:sp>
          <p:nvSpPr>
            <p:cNvPr id="21" name="Rectangle 20">
              <a:extLst>
                <a:ext uri="{FF2B5EF4-FFF2-40B4-BE49-F238E27FC236}">
                  <a16:creationId xmlns:a16="http://schemas.microsoft.com/office/drawing/2014/main" id="{12F08D56-074A-4AF9-8733-8D3DC220EB84}"/>
                </a:ext>
              </a:extLst>
            </p:cNvPr>
            <p:cNvSpPr/>
            <p:nvPr/>
          </p:nvSpPr>
          <p:spPr>
            <a:xfrm>
              <a:off x="7530585" y="3157555"/>
              <a:ext cx="4553682" cy="734047"/>
            </a:xfrm>
            <a:prstGeom prst="rect">
              <a:avLst/>
            </a:prstGeom>
          </p:spPr>
          <p:txBody>
            <a:bodyPr wrap="square">
              <a:spAutoFit/>
            </a:bodyPr>
            <a:lstStyle/>
            <a:p>
              <a:pPr marL="0" marR="0" lvl="1" indent="0" algn="l" defTabSz="932688"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gradFill>
                    <a:gsLst>
                      <a:gs pos="1250">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Routing</a:t>
              </a:r>
            </a:p>
            <a:p>
              <a:pPr marL="0" marR="0" lvl="0" indent="0" algn="l" defTabSz="932114" rtl="0" eaLnBrk="1" fontAlgn="base" latinLnBrk="0" hangingPunct="1">
                <a:lnSpc>
                  <a:spcPct val="90000"/>
                </a:lnSpc>
                <a:spcBef>
                  <a:spcPts val="300"/>
                </a:spcBef>
                <a:spcAft>
                  <a:spcPct val="0"/>
                </a:spcAft>
                <a:buClrTx/>
                <a:buSzTx/>
                <a:buFontTx/>
                <a:buNone/>
                <a:tabLst/>
                <a:defRPr/>
              </a:pPr>
              <a:r>
                <a:rPr kumimoji="0" lang="en-US" sz="1400" b="0" i="0" u="none" strike="noStrike" kern="0" cap="none" spc="0" normalizeH="0" baseline="0" noProof="0">
                  <a:ln>
                    <a:noFill/>
                  </a:ln>
                  <a:gradFill>
                    <a:gsLst>
                      <a:gs pos="1250">
                        <a:srgbClr val="000000"/>
                      </a:gs>
                      <a:gs pos="100000">
                        <a:srgbClr val="000000"/>
                      </a:gs>
                    </a:gsLst>
                    <a:lin ang="5400000" scaled="0"/>
                  </a:gradFill>
                  <a:effectLst/>
                  <a:uLnTx/>
                  <a:uFillTx/>
                  <a:latin typeface="Segoe UI Semibold"/>
                  <a:ea typeface="+mn-ea"/>
                  <a:cs typeface="Segoe UI Semilight" panose="020B0402040204020203" pitchFamily="34" charset="0"/>
                </a:rPr>
                <a:t>Calculate routes from N to N points for </a:t>
              </a:r>
              <a:br>
                <a:rPr kumimoji="0" lang="en-US" sz="1400" b="0" i="0" u="none" strike="noStrike" kern="0" cap="none" spc="0" normalizeH="0" baseline="0" noProof="0">
                  <a:ln>
                    <a:noFill/>
                  </a:ln>
                  <a:gradFill>
                    <a:gsLst>
                      <a:gs pos="1250">
                        <a:srgbClr val="000000"/>
                      </a:gs>
                      <a:gs pos="100000">
                        <a:srgbClr val="000000"/>
                      </a:gs>
                    </a:gsLst>
                    <a:lin ang="5400000" scaled="0"/>
                  </a:gradFill>
                  <a:effectLst/>
                  <a:uLnTx/>
                  <a:uFillTx/>
                  <a:latin typeface="Segoe UI Semibold"/>
                  <a:ea typeface="+mn-ea"/>
                  <a:cs typeface="Segoe UI Semilight" panose="020B0402040204020203" pitchFamily="34" charset="0"/>
                </a:rPr>
              </a:br>
              <a:r>
                <a:rPr kumimoji="0" lang="en-US" sz="1400" b="0" i="0" u="none" strike="noStrike" kern="0" cap="none" spc="0" normalizeH="0" baseline="0" noProof="0">
                  <a:ln>
                    <a:noFill/>
                  </a:ln>
                  <a:gradFill>
                    <a:gsLst>
                      <a:gs pos="1250">
                        <a:srgbClr val="000000"/>
                      </a:gs>
                      <a:gs pos="100000">
                        <a:srgbClr val="000000"/>
                      </a:gs>
                    </a:gsLst>
                    <a:lin ang="5400000" scaled="0"/>
                  </a:gradFill>
                  <a:effectLst/>
                  <a:uLnTx/>
                  <a:uFillTx/>
                  <a:latin typeface="Segoe UI Semibold"/>
                  <a:ea typeface="+mn-ea"/>
                  <a:cs typeface="Segoe UI Semilight" panose="020B0402040204020203" pitchFamily="34" charset="0"/>
                </a:rPr>
                <a:t>optimal calculations</a:t>
              </a:r>
            </a:p>
          </p:txBody>
        </p:sp>
      </p:grpSp>
      <p:grpSp>
        <p:nvGrpSpPr>
          <p:cNvPr id="32" name="Group 31">
            <a:extLst>
              <a:ext uri="{FF2B5EF4-FFF2-40B4-BE49-F238E27FC236}">
                <a16:creationId xmlns:a16="http://schemas.microsoft.com/office/drawing/2014/main" id="{60328E37-CE8A-4E58-9239-8C02290ABCBC}"/>
              </a:ext>
            </a:extLst>
          </p:cNvPr>
          <p:cNvGrpSpPr/>
          <p:nvPr/>
        </p:nvGrpSpPr>
        <p:grpSpPr>
          <a:xfrm>
            <a:off x="6497588" y="3941540"/>
            <a:ext cx="5464443" cy="821083"/>
            <a:chOff x="6619824" y="4037704"/>
            <a:chExt cx="5464443" cy="821083"/>
          </a:xfrm>
        </p:grpSpPr>
        <p:grpSp>
          <p:nvGrpSpPr>
            <p:cNvPr id="33" name="Group 32">
              <a:extLst>
                <a:ext uri="{FF2B5EF4-FFF2-40B4-BE49-F238E27FC236}">
                  <a16:creationId xmlns:a16="http://schemas.microsoft.com/office/drawing/2014/main" id="{FD9ABAAF-89D6-43BC-8497-AC60727FE00B}"/>
                </a:ext>
              </a:extLst>
            </p:cNvPr>
            <p:cNvGrpSpPr/>
            <p:nvPr/>
          </p:nvGrpSpPr>
          <p:grpSpPr>
            <a:xfrm>
              <a:off x="6619824" y="4037704"/>
              <a:ext cx="745939" cy="745939"/>
              <a:chOff x="6777399" y="4121585"/>
              <a:chExt cx="745939" cy="745939"/>
            </a:xfrm>
          </p:grpSpPr>
          <p:sp>
            <p:nvSpPr>
              <p:cNvPr id="36" name="Oval 35">
                <a:extLst>
                  <a:ext uri="{FF2B5EF4-FFF2-40B4-BE49-F238E27FC236}">
                    <a16:creationId xmlns:a16="http://schemas.microsoft.com/office/drawing/2014/main" id="{63652831-DEF0-476E-9BB6-ABCCFF4A4645}"/>
                  </a:ext>
                </a:extLst>
              </p:cNvPr>
              <p:cNvSpPr/>
              <p:nvPr/>
            </p:nvSpPr>
            <p:spPr bwMode="auto">
              <a:xfrm>
                <a:off x="6777399" y="4121585"/>
                <a:ext cx="745939" cy="745939"/>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1250">
                        <a:srgbClr val="000000"/>
                      </a:gs>
                      <a:gs pos="100000">
                        <a:srgbClr val="000000"/>
                      </a:gs>
                    </a:gsLst>
                    <a:lin ang="5400000" scaled="0"/>
                  </a:gradFill>
                  <a:effectLst/>
                  <a:uLnTx/>
                  <a:uFillTx/>
                  <a:latin typeface="Segoe UI Semilight"/>
                  <a:ea typeface="+mn-ea"/>
                  <a:cs typeface="+mn-cs"/>
                </a:endParaRPr>
              </a:p>
            </p:txBody>
          </p:sp>
          <p:sp>
            <p:nvSpPr>
              <p:cNvPr id="37" name="magnify" title="Icon of a magnifying glass">
                <a:extLst>
                  <a:ext uri="{FF2B5EF4-FFF2-40B4-BE49-F238E27FC236}">
                    <a16:creationId xmlns:a16="http://schemas.microsoft.com/office/drawing/2014/main" id="{D0CAB49E-C746-46CE-BDC4-0547FB00F627}"/>
                  </a:ext>
                </a:extLst>
              </p:cNvPr>
              <p:cNvSpPr>
                <a:spLocks noChangeAspect="1" noEditPoints="1"/>
              </p:cNvSpPr>
              <p:nvPr/>
            </p:nvSpPr>
            <p:spPr bwMode="auto">
              <a:xfrm flipH="1">
                <a:off x="6963925" y="4311674"/>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mn-cs"/>
                </a:endParaRPr>
              </a:p>
            </p:txBody>
          </p:sp>
        </p:grpSp>
        <p:cxnSp>
          <p:nvCxnSpPr>
            <p:cNvPr id="34" name="Straight Connector 33">
              <a:extLst>
                <a:ext uri="{FF2B5EF4-FFF2-40B4-BE49-F238E27FC236}">
                  <a16:creationId xmlns:a16="http://schemas.microsoft.com/office/drawing/2014/main" id="{D66A2332-EEBA-438F-97D4-B79D0B021D7F}"/>
                </a:ext>
              </a:extLst>
            </p:cNvPr>
            <p:cNvCxnSpPr>
              <a:cxnSpLocks/>
            </p:cNvCxnSpPr>
            <p:nvPr/>
          </p:nvCxnSpPr>
          <p:spPr>
            <a:xfrm>
              <a:off x="6633512" y="4858787"/>
              <a:ext cx="5394960" cy="0"/>
            </a:xfrm>
            <a:prstGeom prst="line">
              <a:avLst/>
            </a:prstGeom>
            <a:noFill/>
            <a:ln w="9525" cap="flat" cmpd="sng" algn="ctr">
              <a:solidFill>
                <a:srgbClr val="0078D7"/>
              </a:solidFill>
              <a:prstDash val="solid"/>
              <a:headEnd type="none"/>
              <a:tailEnd type="none"/>
            </a:ln>
            <a:effectLst/>
          </p:spPr>
        </p:cxnSp>
        <p:sp>
          <p:nvSpPr>
            <p:cNvPr id="35" name="Rectangle 34">
              <a:extLst>
                <a:ext uri="{FF2B5EF4-FFF2-40B4-BE49-F238E27FC236}">
                  <a16:creationId xmlns:a16="http://schemas.microsoft.com/office/drawing/2014/main" id="{E1AC754E-982F-4A34-A5E3-055DBDD0DCD4}"/>
                </a:ext>
              </a:extLst>
            </p:cNvPr>
            <p:cNvSpPr/>
            <p:nvPr/>
          </p:nvSpPr>
          <p:spPr>
            <a:xfrm>
              <a:off x="7530585" y="4055275"/>
              <a:ext cx="4553682" cy="734047"/>
            </a:xfrm>
            <a:prstGeom prst="rect">
              <a:avLst/>
            </a:prstGeom>
          </p:spPr>
          <p:txBody>
            <a:bodyPr wrap="square">
              <a:spAutoFit/>
            </a:bodyPr>
            <a:lstStyle/>
            <a:p>
              <a:pPr marL="0" marR="0" lvl="1" indent="0" algn="l" defTabSz="932688"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gradFill>
                    <a:gsLst>
                      <a:gs pos="1250">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Search and Geocoding</a:t>
              </a:r>
            </a:p>
            <a:p>
              <a:pPr marL="0" marR="0" lvl="0" indent="0" algn="l" defTabSz="932114" rtl="0" eaLnBrk="1" fontAlgn="base" latinLnBrk="0" hangingPunct="1">
                <a:lnSpc>
                  <a:spcPct val="90000"/>
                </a:lnSpc>
                <a:spcBef>
                  <a:spcPts val="300"/>
                </a:spcBef>
                <a:spcAft>
                  <a:spcPct val="0"/>
                </a:spcAft>
                <a:buClrTx/>
                <a:buSzTx/>
                <a:buFontTx/>
                <a:buNone/>
                <a:tabLst/>
                <a:defRPr/>
              </a:pPr>
              <a:r>
                <a:rPr kumimoji="0" lang="en-US" sz="1400" b="0" i="0" u="none" strike="noStrike" kern="0" cap="none" spc="0" normalizeH="0" baseline="0" noProof="0">
                  <a:ln>
                    <a:noFill/>
                  </a:ln>
                  <a:gradFill>
                    <a:gsLst>
                      <a:gs pos="1250">
                        <a:srgbClr val="000000"/>
                      </a:gs>
                      <a:gs pos="100000">
                        <a:srgbClr val="000000"/>
                      </a:gs>
                    </a:gsLst>
                    <a:lin ang="5400000" scaled="0"/>
                  </a:gradFill>
                  <a:effectLst/>
                  <a:uLnTx/>
                  <a:uFillTx/>
                  <a:latin typeface="Segoe UI Semibold"/>
                  <a:ea typeface="+mn-ea"/>
                  <a:cs typeface="Segoe UI Semilight" panose="020B0402040204020203" pitchFamily="34" charset="0"/>
                </a:rPr>
                <a:t>Convert places and addresses to coordinates; or, convert coordinates to addresses or cross streets</a:t>
              </a:r>
            </a:p>
          </p:txBody>
        </p:sp>
      </p:grpSp>
      <p:grpSp>
        <p:nvGrpSpPr>
          <p:cNvPr id="38" name="Group 37">
            <a:extLst>
              <a:ext uri="{FF2B5EF4-FFF2-40B4-BE49-F238E27FC236}">
                <a16:creationId xmlns:a16="http://schemas.microsoft.com/office/drawing/2014/main" id="{A9FDF1B7-D7CE-4B91-AC3A-17076E2CBF3D}"/>
              </a:ext>
            </a:extLst>
          </p:cNvPr>
          <p:cNvGrpSpPr/>
          <p:nvPr/>
        </p:nvGrpSpPr>
        <p:grpSpPr>
          <a:xfrm>
            <a:off x="6501010" y="4869135"/>
            <a:ext cx="5461021" cy="821083"/>
            <a:chOff x="6623246" y="4933931"/>
            <a:chExt cx="5461021" cy="821083"/>
          </a:xfrm>
        </p:grpSpPr>
        <p:grpSp>
          <p:nvGrpSpPr>
            <p:cNvPr id="39" name="Group 38">
              <a:extLst>
                <a:ext uri="{FF2B5EF4-FFF2-40B4-BE49-F238E27FC236}">
                  <a16:creationId xmlns:a16="http://schemas.microsoft.com/office/drawing/2014/main" id="{BF881776-9F71-4749-9093-AB44B1E261C0}"/>
                </a:ext>
              </a:extLst>
            </p:cNvPr>
            <p:cNvGrpSpPr/>
            <p:nvPr/>
          </p:nvGrpSpPr>
          <p:grpSpPr>
            <a:xfrm>
              <a:off x="6623246" y="4933931"/>
              <a:ext cx="745939" cy="745939"/>
              <a:chOff x="6780821" y="5160539"/>
              <a:chExt cx="745939" cy="745939"/>
            </a:xfrm>
          </p:grpSpPr>
          <p:sp>
            <p:nvSpPr>
              <p:cNvPr id="42" name="Oval 41">
                <a:extLst>
                  <a:ext uri="{FF2B5EF4-FFF2-40B4-BE49-F238E27FC236}">
                    <a16:creationId xmlns:a16="http://schemas.microsoft.com/office/drawing/2014/main" id="{233A0E7F-B6A6-4D0F-A0CC-5CFB07CD378A}"/>
                  </a:ext>
                </a:extLst>
              </p:cNvPr>
              <p:cNvSpPr/>
              <p:nvPr/>
            </p:nvSpPr>
            <p:spPr bwMode="auto">
              <a:xfrm>
                <a:off x="6780821" y="5160539"/>
                <a:ext cx="745939" cy="745939"/>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1250">
                        <a:srgbClr val="000000"/>
                      </a:gs>
                      <a:gs pos="100000">
                        <a:srgbClr val="000000"/>
                      </a:gs>
                    </a:gsLst>
                    <a:lin ang="5400000" scaled="0"/>
                  </a:gradFill>
                  <a:effectLst/>
                  <a:uLnTx/>
                  <a:uFillTx/>
                  <a:latin typeface="Segoe UI Semilight"/>
                  <a:ea typeface="+mn-ea"/>
                  <a:cs typeface="+mn-cs"/>
                </a:endParaRPr>
              </a:p>
            </p:txBody>
          </p:sp>
          <p:sp>
            <p:nvSpPr>
              <p:cNvPr id="43" name="cone" title="Icon of a traffic cone">
                <a:extLst>
                  <a:ext uri="{FF2B5EF4-FFF2-40B4-BE49-F238E27FC236}">
                    <a16:creationId xmlns:a16="http://schemas.microsoft.com/office/drawing/2014/main" id="{1A01B418-C3D8-469F-A237-7CBBA1A77B28}"/>
                  </a:ext>
                </a:extLst>
              </p:cNvPr>
              <p:cNvSpPr>
                <a:spLocks noChangeAspect="1" noEditPoints="1"/>
              </p:cNvSpPr>
              <p:nvPr/>
            </p:nvSpPr>
            <p:spPr bwMode="auto">
              <a:xfrm>
                <a:off x="6969263" y="5350628"/>
                <a:ext cx="369055" cy="365760"/>
              </a:xfrm>
              <a:custGeom>
                <a:avLst/>
                <a:gdLst>
                  <a:gd name="T0" fmla="*/ 192 w 448"/>
                  <a:gd name="T1" fmla="*/ 0 h 444"/>
                  <a:gd name="T2" fmla="*/ 253 w 448"/>
                  <a:gd name="T3" fmla="*/ 0 h 444"/>
                  <a:gd name="T4" fmla="*/ 370 w 448"/>
                  <a:gd name="T5" fmla="*/ 444 h 444"/>
                  <a:gd name="T6" fmla="*/ 78 w 448"/>
                  <a:gd name="T7" fmla="*/ 444 h 444"/>
                  <a:gd name="T8" fmla="*/ 192 w 448"/>
                  <a:gd name="T9" fmla="*/ 0 h 444"/>
                  <a:gd name="T10" fmla="*/ 78 w 448"/>
                  <a:gd name="T11" fmla="*/ 444 h 444"/>
                  <a:gd name="T12" fmla="*/ 0 w 448"/>
                  <a:gd name="T13" fmla="*/ 444 h 444"/>
                  <a:gd name="T14" fmla="*/ 448 w 448"/>
                  <a:gd name="T15" fmla="*/ 444 h 444"/>
                  <a:gd name="T16" fmla="*/ 370 w 448"/>
                  <a:gd name="T17" fmla="*/ 444 h 444"/>
                  <a:gd name="T18" fmla="*/ 260 w 448"/>
                  <a:gd name="T19" fmla="*/ 218 h 444"/>
                  <a:gd name="T20" fmla="*/ 135 w 448"/>
                  <a:gd name="T21" fmla="*/ 218 h 444"/>
                  <a:gd name="T22" fmla="*/ 110 w 448"/>
                  <a:gd name="T23" fmla="*/ 314 h 444"/>
                  <a:gd name="T24" fmla="*/ 285 w 448"/>
                  <a:gd name="T25" fmla="*/ 31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8" h="444">
                    <a:moveTo>
                      <a:pt x="192" y="0"/>
                    </a:moveTo>
                    <a:lnTo>
                      <a:pt x="253" y="0"/>
                    </a:lnTo>
                    <a:lnTo>
                      <a:pt x="370" y="444"/>
                    </a:lnTo>
                    <a:lnTo>
                      <a:pt x="78" y="444"/>
                    </a:lnTo>
                    <a:lnTo>
                      <a:pt x="192" y="0"/>
                    </a:lnTo>
                    <a:moveTo>
                      <a:pt x="78" y="444"/>
                    </a:moveTo>
                    <a:lnTo>
                      <a:pt x="0" y="444"/>
                    </a:lnTo>
                    <a:moveTo>
                      <a:pt x="448" y="444"/>
                    </a:moveTo>
                    <a:lnTo>
                      <a:pt x="370" y="444"/>
                    </a:lnTo>
                    <a:moveTo>
                      <a:pt x="260" y="218"/>
                    </a:moveTo>
                    <a:lnTo>
                      <a:pt x="135" y="218"/>
                    </a:lnTo>
                    <a:lnTo>
                      <a:pt x="110" y="314"/>
                    </a:lnTo>
                    <a:lnTo>
                      <a:pt x="285" y="314"/>
                    </a:ln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mn-cs"/>
                </a:endParaRPr>
              </a:p>
            </p:txBody>
          </p:sp>
        </p:grpSp>
        <p:cxnSp>
          <p:nvCxnSpPr>
            <p:cNvPr id="40" name="Straight Connector 39">
              <a:extLst>
                <a:ext uri="{FF2B5EF4-FFF2-40B4-BE49-F238E27FC236}">
                  <a16:creationId xmlns:a16="http://schemas.microsoft.com/office/drawing/2014/main" id="{F43B72B3-5173-4F7C-8563-7DEAA050C57B}"/>
                </a:ext>
              </a:extLst>
            </p:cNvPr>
            <p:cNvCxnSpPr>
              <a:cxnSpLocks/>
            </p:cNvCxnSpPr>
            <p:nvPr/>
          </p:nvCxnSpPr>
          <p:spPr>
            <a:xfrm>
              <a:off x="6633512" y="5755014"/>
              <a:ext cx="5394960" cy="0"/>
            </a:xfrm>
            <a:prstGeom prst="line">
              <a:avLst/>
            </a:prstGeom>
            <a:noFill/>
            <a:ln w="9525" cap="flat" cmpd="sng" algn="ctr">
              <a:solidFill>
                <a:srgbClr val="0078D7"/>
              </a:solidFill>
              <a:prstDash val="solid"/>
              <a:headEnd type="none"/>
              <a:tailEnd type="none"/>
            </a:ln>
            <a:effectLst/>
          </p:spPr>
        </p:cxnSp>
        <p:sp>
          <p:nvSpPr>
            <p:cNvPr id="41" name="Rectangle 40">
              <a:extLst>
                <a:ext uri="{FF2B5EF4-FFF2-40B4-BE49-F238E27FC236}">
                  <a16:creationId xmlns:a16="http://schemas.microsoft.com/office/drawing/2014/main" id="{90088EDB-7072-47B2-816F-72952B8F6F92}"/>
                </a:ext>
              </a:extLst>
            </p:cNvPr>
            <p:cNvSpPr/>
            <p:nvPr/>
          </p:nvSpPr>
          <p:spPr>
            <a:xfrm>
              <a:off x="7530585" y="4951501"/>
              <a:ext cx="4553682" cy="540148"/>
            </a:xfrm>
            <a:prstGeom prst="rect">
              <a:avLst/>
            </a:prstGeom>
          </p:spPr>
          <p:txBody>
            <a:bodyPr wrap="square">
              <a:spAutoFit/>
            </a:bodyPr>
            <a:lstStyle/>
            <a:p>
              <a:pPr marL="0" marR="0" lvl="1" indent="0" algn="l" defTabSz="932688"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gradFill>
                    <a:gsLst>
                      <a:gs pos="1250">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Traffic </a:t>
              </a:r>
            </a:p>
            <a:p>
              <a:pPr marL="0" marR="0" lvl="0" indent="0" algn="l" defTabSz="932114" rtl="0" eaLnBrk="1" fontAlgn="base" latinLnBrk="0" hangingPunct="1">
                <a:lnSpc>
                  <a:spcPct val="90000"/>
                </a:lnSpc>
                <a:spcBef>
                  <a:spcPts val="300"/>
                </a:spcBef>
                <a:spcAft>
                  <a:spcPct val="0"/>
                </a:spcAft>
                <a:buClrTx/>
                <a:buSzTx/>
                <a:buFontTx/>
                <a:buNone/>
                <a:tabLst/>
                <a:defRPr/>
              </a:pPr>
              <a:r>
                <a:rPr kumimoji="0" lang="en-US" sz="1400" b="0" i="0" u="none" strike="noStrike" kern="0" cap="none" spc="0" normalizeH="0" baseline="0" noProof="0">
                  <a:ln>
                    <a:noFill/>
                  </a:ln>
                  <a:gradFill>
                    <a:gsLst>
                      <a:gs pos="1250">
                        <a:srgbClr val="000000"/>
                      </a:gs>
                      <a:gs pos="100000">
                        <a:srgbClr val="000000"/>
                      </a:gs>
                    </a:gsLst>
                    <a:lin ang="5400000" scaled="0"/>
                  </a:gradFill>
                  <a:effectLst/>
                  <a:uLnTx/>
                  <a:uFillTx/>
                  <a:latin typeface="Segoe UI Semibold"/>
                  <a:ea typeface="+mn-ea"/>
                  <a:cs typeface="Segoe UI Semilight" panose="020B0402040204020203" pitchFamily="34" charset="0"/>
                </a:rPr>
                <a:t>Show real time traffic information</a:t>
              </a:r>
            </a:p>
          </p:txBody>
        </p:sp>
      </p:grpSp>
      <p:grpSp>
        <p:nvGrpSpPr>
          <p:cNvPr id="44" name="Group 43">
            <a:extLst>
              <a:ext uri="{FF2B5EF4-FFF2-40B4-BE49-F238E27FC236}">
                <a16:creationId xmlns:a16="http://schemas.microsoft.com/office/drawing/2014/main" id="{9F384B96-C4EA-4A4D-9413-3F8F9596ADB3}"/>
              </a:ext>
            </a:extLst>
          </p:cNvPr>
          <p:cNvGrpSpPr/>
          <p:nvPr/>
        </p:nvGrpSpPr>
        <p:grpSpPr>
          <a:xfrm>
            <a:off x="6504432" y="5761898"/>
            <a:ext cx="5475994" cy="745939"/>
            <a:chOff x="6626668" y="5830159"/>
            <a:chExt cx="5475994" cy="745939"/>
          </a:xfrm>
        </p:grpSpPr>
        <p:grpSp>
          <p:nvGrpSpPr>
            <p:cNvPr id="45" name="Group 44">
              <a:extLst>
                <a:ext uri="{FF2B5EF4-FFF2-40B4-BE49-F238E27FC236}">
                  <a16:creationId xmlns:a16="http://schemas.microsoft.com/office/drawing/2014/main" id="{27A125A6-2238-42C8-89DC-2575460F1664}"/>
                </a:ext>
              </a:extLst>
            </p:cNvPr>
            <p:cNvGrpSpPr/>
            <p:nvPr/>
          </p:nvGrpSpPr>
          <p:grpSpPr>
            <a:xfrm>
              <a:off x="6626668" y="5830159"/>
              <a:ext cx="745939" cy="745939"/>
              <a:chOff x="6784243" y="6199493"/>
              <a:chExt cx="745939" cy="745939"/>
            </a:xfrm>
          </p:grpSpPr>
          <p:sp>
            <p:nvSpPr>
              <p:cNvPr id="47" name="Oval 46">
                <a:extLst>
                  <a:ext uri="{FF2B5EF4-FFF2-40B4-BE49-F238E27FC236}">
                    <a16:creationId xmlns:a16="http://schemas.microsoft.com/office/drawing/2014/main" id="{23DA5A8C-7A5C-4527-8043-2CBEB0194464}"/>
                  </a:ext>
                </a:extLst>
              </p:cNvPr>
              <p:cNvSpPr/>
              <p:nvPr/>
            </p:nvSpPr>
            <p:spPr bwMode="auto">
              <a:xfrm>
                <a:off x="6784243" y="6199493"/>
                <a:ext cx="745939" cy="745939"/>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1250">
                        <a:srgbClr val="000000"/>
                      </a:gs>
                      <a:gs pos="100000">
                        <a:srgbClr val="000000"/>
                      </a:gs>
                    </a:gsLst>
                    <a:lin ang="5400000" scaled="0"/>
                  </a:gradFill>
                  <a:effectLst/>
                  <a:uLnTx/>
                  <a:uFillTx/>
                  <a:latin typeface="Segoe UI Semilight"/>
                  <a:ea typeface="+mn-ea"/>
                  <a:cs typeface="+mn-cs"/>
                </a:endParaRPr>
              </a:p>
            </p:txBody>
          </p:sp>
          <p:sp>
            <p:nvSpPr>
              <p:cNvPr id="48" name="DevUpdate_ECC5" title="Icon of a clock with an arrow around it pointing clockwise">
                <a:extLst>
                  <a:ext uri="{FF2B5EF4-FFF2-40B4-BE49-F238E27FC236}">
                    <a16:creationId xmlns:a16="http://schemas.microsoft.com/office/drawing/2014/main" id="{433876E2-A716-4330-A647-549E82764F76}"/>
                  </a:ext>
                </a:extLst>
              </p:cNvPr>
              <p:cNvSpPr>
                <a:spLocks noChangeAspect="1" noEditPoints="1"/>
              </p:cNvSpPr>
              <p:nvPr/>
            </p:nvSpPr>
            <p:spPr bwMode="auto">
              <a:xfrm>
                <a:off x="6960616" y="6375819"/>
                <a:ext cx="393192" cy="393287"/>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mn-cs"/>
                </a:endParaRPr>
              </a:p>
            </p:txBody>
          </p:sp>
        </p:grpSp>
        <p:sp>
          <p:nvSpPr>
            <p:cNvPr id="46" name="Rectangle 45">
              <a:extLst>
                <a:ext uri="{FF2B5EF4-FFF2-40B4-BE49-F238E27FC236}">
                  <a16:creationId xmlns:a16="http://schemas.microsoft.com/office/drawing/2014/main" id="{8B7C8350-2A60-4988-8C1D-09D6EB1A1AB2}"/>
                </a:ext>
              </a:extLst>
            </p:cNvPr>
            <p:cNvSpPr/>
            <p:nvPr/>
          </p:nvSpPr>
          <p:spPr>
            <a:xfrm>
              <a:off x="7548980" y="5922282"/>
              <a:ext cx="4553682" cy="561692"/>
            </a:xfrm>
            <a:prstGeom prst="rect">
              <a:avLst/>
            </a:prstGeom>
          </p:spPr>
          <p:txBody>
            <a:bodyPr wrap="square">
              <a:spAutoFit/>
            </a:bodyPr>
            <a:lstStyle/>
            <a:p>
              <a:pPr marL="0" marR="0" lvl="1" indent="0" algn="l" defTabSz="93268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1250">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Time Zones</a:t>
              </a:r>
            </a:p>
            <a:p>
              <a:pPr marL="0" marR="0" lvl="1" indent="0" algn="l" defTabSz="932688" rtl="0" eaLnBrk="1" fontAlgn="auto" latinLnBrk="0" hangingPunct="1">
                <a:lnSpc>
                  <a:spcPct val="100000"/>
                </a:lnSpc>
                <a:spcBef>
                  <a:spcPts val="300"/>
                </a:spcBef>
                <a:spcAft>
                  <a:spcPts val="0"/>
                </a:spcAft>
                <a:buClrTx/>
                <a:buSzTx/>
                <a:buFontTx/>
                <a:buNone/>
                <a:tabLst/>
                <a:defRPr/>
              </a:pPr>
              <a:r>
                <a:rPr kumimoji="0" lang="en-US" sz="1400" b="0" i="0" u="none" strike="noStrike" kern="0" cap="none" spc="0" normalizeH="0" baseline="0" noProof="0">
                  <a:ln>
                    <a:noFill/>
                  </a:ln>
                  <a:gradFill>
                    <a:gsLst>
                      <a:gs pos="1250">
                        <a:srgbClr val="000000"/>
                      </a:gs>
                      <a:gs pos="100000">
                        <a:srgbClr val="000000"/>
                      </a:gs>
                    </a:gsLst>
                    <a:lin ang="5400000" scaled="0"/>
                  </a:gradFill>
                  <a:effectLst/>
                  <a:uLnTx/>
                  <a:uFillTx/>
                  <a:latin typeface="Segoe UI Semibold"/>
                  <a:ea typeface="+mn-ea"/>
                  <a:cs typeface="Segoe UI Semilight" panose="020B0402040204020203" pitchFamily="34" charset="0"/>
                </a:rPr>
                <a:t>Obtain time zone and current time information</a:t>
              </a:r>
            </a:p>
          </p:txBody>
        </p:sp>
      </p:grpSp>
      <p:grpSp>
        <p:nvGrpSpPr>
          <p:cNvPr id="49" name="Group 48">
            <a:extLst>
              <a:ext uri="{FF2B5EF4-FFF2-40B4-BE49-F238E27FC236}">
                <a16:creationId xmlns:a16="http://schemas.microsoft.com/office/drawing/2014/main" id="{430B8F7F-F6C5-4489-9C40-ADF97C727E22}"/>
              </a:ext>
            </a:extLst>
          </p:cNvPr>
          <p:cNvGrpSpPr/>
          <p:nvPr/>
        </p:nvGrpSpPr>
        <p:grpSpPr>
          <a:xfrm>
            <a:off x="-220896" y="-48126"/>
            <a:ext cx="2829962" cy="2441199"/>
            <a:chOff x="-72861" y="0"/>
            <a:chExt cx="2073111" cy="1838325"/>
          </a:xfrm>
        </p:grpSpPr>
        <p:sp>
          <p:nvSpPr>
            <p:cNvPr id="50" name="Diagonal Stripe 49">
              <a:extLst>
                <a:ext uri="{FF2B5EF4-FFF2-40B4-BE49-F238E27FC236}">
                  <a16:creationId xmlns:a16="http://schemas.microsoft.com/office/drawing/2014/main" id="{3AC5EFBD-E51E-47A9-A7F3-FEBECBE6918B}"/>
                </a:ext>
              </a:extLst>
            </p:cNvPr>
            <p:cNvSpPr/>
            <p:nvPr/>
          </p:nvSpPr>
          <p:spPr bwMode="auto">
            <a:xfrm>
              <a:off x="0" y="0"/>
              <a:ext cx="2000250" cy="1838325"/>
            </a:xfrm>
            <a:prstGeom prst="diagStripe">
              <a:avLst>
                <a:gd name="adj" fmla="val 62953"/>
              </a:avLst>
            </a:prstGeom>
            <a:solidFill>
              <a:srgbClr val="C00000"/>
            </a:solidFill>
            <a:ln>
              <a:noFill/>
            </a:ln>
          </p:spPr>
          <p:style>
            <a:lnRef idx="0">
              <a:scrgbClr r="0" g="0" b="0"/>
            </a:lnRef>
            <a:fillRef idx="0">
              <a:scrgbClr r="0" g="0" b="0"/>
            </a:fillRef>
            <a:effectRef idx="0">
              <a:scrgbClr r="0" g="0" b="0"/>
            </a:effectRef>
            <a:fontRef idx="minor">
              <a:schemeClr val="lt1"/>
            </a:fontRef>
          </p:style>
          <p:txBody>
            <a:bodyPr vert="horz" wrap="square" lIns="0" tIns="46637" rIns="0" bIns="46637"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a:ea typeface="+mn-ea"/>
                <a:cs typeface="+mn-cs"/>
              </a:endParaRPr>
            </a:p>
          </p:txBody>
        </p:sp>
        <p:sp>
          <p:nvSpPr>
            <p:cNvPr id="51" name="Rectangle 50">
              <a:extLst>
                <a:ext uri="{FF2B5EF4-FFF2-40B4-BE49-F238E27FC236}">
                  <a16:creationId xmlns:a16="http://schemas.microsoft.com/office/drawing/2014/main" id="{3D90CEF5-04EF-4883-8392-29F8002C1CD5}"/>
                </a:ext>
              </a:extLst>
            </p:cNvPr>
            <p:cNvSpPr/>
            <p:nvPr/>
          </p:nvSpPr>
          <p:spPr>
            <a:xfrm rot="19074741">
              <a:off x="-72861" y="577088"/>
              <a:ext cx="1801083" cy="301300"/>
            </a:xfrm>
            <a:prstGeom prst="rect">
              <a:avLst/>
            </a:prstGeom>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Segoe UI"/>
                  <a:ea typeface="+mn-ea"/>
                  <a:cs typeface="Segoe UI Semibold" panose="020B0702040204020203" pitchFamily="34" charset="0"/>
                </a:rPr>
                <a:t>Generally available</a:t>
              </a:r>
            </a:p>
          </p:txBody>
        </p:sp>
      </p:grpSp>
    </p:spTree>
    <p:extLst>
      <p:ext uri="{BB962C8B-B14F-4D97-AF65-F5344CB8AC3E}">
        <p14:creationId xmlns:p14="http://schemas.microsoft.com/office/powerpoint/2010/main" val="3154848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750" fill="hold"/>
                                        <p:tgtEl>
                                          <p:spTgt spid="52"/>
                                        </p:tgtEl>
                                        <p:attrNameLst>
                                          <p:attrName>ppt_x</p:attrName>
                                        </p:attrNameLst>
                                      </p:cBhvr>
                                      <p:tavLst>
                                        <p:tav tm="0">
                                          <p:val>
                                            <p:strVal val="0-#ppt_w/2"/>
                                          </p:val>
                                        </p:tav>
                                        <p:tav tm="100000">
                                          <p:val>
                                            <p:strVal val="#ppt_x"/>
                                          </p:val>
                                        </p:tav>
                                      </p:tavLst>
                                    </p:anim>
                                    <p:anim calcmode="lin" valueType="num">
                                      <p:cBhvr additive="base">
                                        <p:cTn id="8" dur="750" fill="hold"/>
                                        <p:tgtEl>
                                          <p:spTgt spid="52"/>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750" fill="hold"/>
                                        <p:tgtEl>
                                          <p:spTgt spid="4"/>
                                        </p:tgtEl>
                                        <p:attrNameLst>
                                          <p:attrName>ppt_x</p:attrName>
                                        </p:attrNameLst>
                                      </p:cBhvr>
                                      <p:tavLst>
                                        <p:tav tm="0">
                                          <p:val>
                                            <p:strVal val="0-#ppt_w/2"/>
                                          </p:val>
                                        </p:tav>
                                        <p:tav tm="100000">
                                          <p:val>
                                            <p:strVal val="#ppt_x"/>
                                          </p:val>
                                        </p:tav>
                                      </p:tavLst>
                                    </p:anim>
                                    <p:anim calcmode="lin" valueType="num">
                                      <p:cBhvr additive="base">
                                        <p:cTn id="12" dur="750" fill="hold"/>
                                        <p:tgtEl>
                                          <p:spTgt spid="4"/>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10" presetClass="entr" presetSubtype="0" fill="hold" nodeType="after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fade">
                                      <p:cBhvr>
                                        <p:cTn id="16" dur="750"/>
                                        <p:tgtEl>
                                          <p:spTgt spid="49"/>
                                        </p:tgtEl>
                                      </p:cBhvr>
                                    </p:animEffect>
                                  </p:childTnLst>
                                </p:cTn>
                              </p:par>
                              <p:par>
                                <p:cTn id="17" presetID="64" presetClass="path" presetSubtype="0" decel="100000" fill="hold" nodeType="withEffect">
                                  <p:stCondLst>
                                    <p:cond delay="0"/>
                                  </p:stCondLst>
                                  <p:childTnLst>
                                    <p:animMotion origin="layout" path="M 3.33333E-6 -3.33333E-6 L -0.10118 -0.17801 " pathEditMode="relative" rAng="0" ptsTypes="AA">
                                      <p:cBhvr>
                                        <p:cTn id="18" dur="750" spd="-100000" fill="hold"/>
                                        <p:tgtEl>
                                          <p:spTgt spid="49"/>
                                        </p:tgtEl>
                                        <p:attrNameLst>
                                          <p:attrName>ppt_x</p:attrName>
                                          <p:attrName>ppt_y</p:attrName>
                                        </p:attrNameLst>
                                      </p:cBhvr>
                                      <p:rCtr x="-5065" y="-8912"/>
                                    </p:animMotion>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par>
                          <p:cTn id="23" fill="hold">
                            <p:stCondLst>
                              <p:cond delay="2000"/>
                            </p:stCondLst>
                            <p:childTnLst>
                              <p:par>
                                <p:cTn id="24" presetID="10" presetClass="entr" presetSubtype="0" fill="hold" nodeType="afterEffect">
                                  <p:stCondLst>
                                    <p:cond delay="10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650"/>
                                        <p:tgtEl>
                                          <p:spTgt spid="6"/>
                                        </p:tgtEl>
                                      </p:cBhvr>
                                    </p:animEffect>
                                  </p:childTnLst>
                                </p:cTn>
                              </p:par>
                              <p:par>
                                <p:cTn id="27" presetID="63" presetClass="path" presetSubtype="0" decel="100000" fill="hold" nodeType="withEffect">
                                  <p:stCondLst>
                                    <p:cond delay="100"/>
                                  </p:stCondLst>
                                  <p:childTnLst>
                                    <p:animMotion origin="layout" path="M -2.70833E-6 -3.7037E-6 L 0.01472 -3.7037E-6 " pathEditMode="relative" rAng="0" ptsTypes="AA">
                                      <p:cBhvr>
                                        <p:cTn id="28" dur="650" spd="-100000" fill="hold"/>
                                        <p:tgtEl>
                                          <p:spTgt spid="6"/>
                                        </p:tgtEl>
                                        <p:attrNameLst>
                                          <p:attrName>ppt_x</p:attrName>
                                          <p:attrName>ppt_y</p:attrName>
                                        </p:attrNameLst>
                                      </p:cBhvr>
                                      <p:rCtr x="729" y="0"/>
                                    </p:animMotion>
                                  </p:childTnLst>
                                </p:cTn>
                              </p:par>
                              <p:par>
                                <p:cTn id="29" presetID="10" presetClass="entr" presetSubtype="0" fill="hold" nodeType="withEffect">
                                  <p:stCondLst>
                                    <p:cond delay="20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650"/>
                                        <p:tgtEl>
                                          <p:spTgt spid="12"/>
                                        </p:tgtEl>
                                      </p:cBhvr>
                                    </p:animEffect>
                                  </p:childTnLst>
                                </p:cTn>
                              </p:par>
                              <p:par>
                                <p:cTn id="32" presetID="63" presetClass="path" presetSubtype="0" decel="100000" fill="hold" nodeType="withEffect">
                                  <p:stCondLst>
                                    <p:cond delay="200"/>
                                  </p:stCondLst>
                                  <p:childTnLst>
                                    <p:animMotion origin="layout" path="M -2.70833E-6 -3.7037E-6 L 0.01472 -3.7037E-6 " pathEditMode="relative" rAng="0" ptsTypes="AA">
                                      <p:cBhvr>
                                        <p:cTn id="33" dur="650" spd="-100000" fill="hold"/>
                                        <p:tgtEl>
                                          <p:spTgt spid="12"/>
                                        </p:tgtEl>
                                        <p:attrNameLst>
                                          <p:attrName>ppt_x</p:attrName>
                                          <p:attrName>ppt_y</p:attrName>
                                        </p:attrNameLst>
                                      </p:cBhvr>
                                      <p:rCtr x="729" y="0"/>
                                    </p:animMotion>
                                  </p:childTnLst>
                                </p:cTn>
                              </p:par>
                              <p:par>
                                <p:cTn id="34" presetID="10" presetClass="entr" presetSubtype="0" fill="hold" nodeType="withEffect">
                                  <p:stCondLst>
                                    <p:cond delay="300"/>
                                  </p:stCondLst>
                                  <p:childTnLst>
                                    <p:set>
                                      <p:cBhvr>
                                        <p:cTn id="35" dur="1" fill="hold">
                                          <p:stCondLst>
                                            <p:cond delay="0"/>
                                          </p:stCondLst>
                                        </p:cTn>
                                        <p:tgtEl>
                                          <p:spTgt spid="18"/>
                                        </p:tgtEl>
                                        <p:attrNameLst>
                                          <p:attrName>style.visibility</p:attrName>
                                        </p:attrNameLst>
                                      </p:cBhvr>
                                      <p:to>
                                        <p:strVal val="visible"/>
                                      </p:to>
                                    </p:set>
                                    <p:animEffect transition="in" filter="fade">
                                      <p:cBhvr>
                                        <p:cTn id="36" dur="650"/>
                                        <p:tgtEl>
                                          <p:spTgt spid="18"/>
                                        </p:tgtEl>
                                      </p:cBhvr>
                                    </p:animEffect>
                                  </p:childTnLst>
                                </p:cTn>
                              </p:par>
                              <p:par>
                                <p:cTn id="37" presetID="63" presetClass="path" presetSubtype="0" decel="100000" fill="hold" nodeType="withEffect">
                                  <p:stCondLst>
                                    <p:cond delay="300"/>
                                  </p:stCondLst>
                                  <p:childTnLst>
                                    <p:animMotion origin="layout" path="M -2.70833E-6 -3.7037E-6 L 0.01472 -3.7037E-6 " pathEditMode="relative" rAng="0" ptsTypes="AA">
                                      <p:cBhvr>
                                        <p:cTn id="38" dur="650" spd="-100000" fill="hold"/>
                                        <p:tgtEl>
                                          <p:spTgt spid="18"/>
                                        </p:tgtEl>
                                        <p:attrNameLst>
                                          <p:attrName>ppt_x</p:attrName>
                                          <p:attrName>ppt_y</p:attrName>
                                        </p:attrNameLst>
                                      </p:cBhvr>
                                      <p:rCtr x="729" y="0"/>
                                    </p:animMotion>
                                  </p:childTnLst>
                                </p:cTn>
                              </p:par>
                              <p:par>
                                <p:cTn id="39" presetID="10" presetClass="entr" presetSubtype="0" fill="hold" nodeType="withEffect">
                                  <p:stCondLst>
                                    <p:cond delay="400"/>
                                  </p:stCondLst>
                                  <p:childTnLst>
                                    <p:set>
                                      <p:cBhvr>
                                        <p:cTn id="40" dur="1" fill="hold">
                                          <p:stCondLst>
                                            <p:cond delay="0"/>
                                          </p:stCondLst>
                                        </p:cTn>
                                        <p:tgtEl>
                                          <p:spTgt spid="32"/>
                                        </p:tgtEl>
                                        <p:attrNameLst>
                                          <p:attrName>style.visibility</p:attrName>
                                        </p:attrNameLst>
                                      </p:cBhvr>
                                      <p:to>
                                        <p:strVal val="visible"/>
                                      </p:to>
                                    </p:set>
                                    <p:animEffect transition="in" filter="fade">
                                      <p:cBhvr>
                                        <p:cTn id="41" dur="650"/>
                                        <p:tgtEl>
                                          <p:spTgt spid="32"/>
                                        </p:tgtEl>
                                      </p:cBhvr>
                                    </p:animEffect>
                                  </p:childTnLst>
                                </p:cTn>
                              </p:par>
                              <p:par>
                                <p:cTn id="42" presetID="63" presetClass="path" presetSubtype="0" decel="100000" fill="hold" nodeType="withEffect">
                                  <p:stCondLst>
                                    <p:cond delay="400"/>
                                  </p:stCondLst>
                                  <p:childTnLst>
                                    <p:animMotion origin="layout" path="M -2.70833E-6 -3.7037E-6 L 0.01472 -3.7037E-6 " pathEditMode="relative" rAng="0" ptsTypes="AA">
                                      <p:cBhvr>
                                        <p:cTn id="43" dur="650" spd="-100000" fill="hold"/>
                                        <p:tgtEl>
                                          <p:spTgt spid="32"/>
                                        </p:tgtEl>
                                        <p:attrNameLst>
                                          <p:attrName>ppt_x</p:attrName>
                                          <p:attrName>ppt_y</p:attrName>
                                        </p:attrNameLst>
                                      </p:cBhvr>
                                      <p:rCtr x="729" y="0"/>
                                    </p:animMotion>
                                  </p:childTnLst>
                                </p:cTn>
                              </p:par>
                              <p:par>
                                <p:cTn id="44" presetID="10" presetClass="entr" presetSubtype="0" fill="hold" nodeType="withEffect">
                                  <p:stCondLst>
                                    <p:cond delay="500"/>
                                  </p:stCondLst>
                                  <p:childTnLst>
                                    <p:set>
                                      <p:cBhvr>
                                        <p:cTn id="45" dur="1" fill="hold">
                                          <p:stCondLst>
                                            <p:cond delay="0"/>
                                          </p:stCondLst>
                                        </p:cTn>
                                        <p:tgtEl>
                                          <p:spTgt spid="38"/>
                                        </p:tgtEl>
                                        <p:attrNameLst>
                                          <p:attrName>style.visibility</p:attrName>
                                        </p:attrNameLst>
                                      </p:cBhvr>
                                      <p:to>
                                        <p:strVal val="visible"/>
                                      </p:to>
                                    </p:set>
                                    <p:animEffect transition="in" filter="fade">
                                      <p:cBhvr>
                                        <p:cTn id="46" dur="650"/>
                                        <p:tgtEl>
                                          <p:spTgt spid="38"/>
                                        </p:tgtEl>
                                      </p:cBhvr>
                                    </p:animEffect>
                                  </p:childTnLst>
                                </p:cTn>
                              </p:par>
                              <p:par>
                                <p:cTn id="47" presetID="63" presetClass="path" presetSubtype="0" decel="100000" fill="hold" nodeType="withEffect">
                                  <p:stCondLst>
                                    <p:cond delay="500"/>
                                  </p:stCondLst>
                                  <p:childTnLst>
                                    <p:animMotion origin="layout" path="M -2.70833E-6 -3.7037E-6 L 0.01472 -3.7037E-6 " pathEditMode="relative" rAng="0" ptsTypes="AA">
                                      <p:cBhvr>
                                        <p:cTn id="48" dur="650" spd="-100000" fill="hold"/>
                                        <p:tgtEl>
                                          <p:spTgt spid="38"/>
                                        </p:tgtEl>
                                        <p:attrNameLst>
                                          <p:attrName>ppt_x</p:attrName>
                                          <p:attrName>ppt_y</p:attrName>
                                        </p:attrNameLst>
                                      </p:cBhvr>
                                      <p:rCtr x="729" y="0"/>
                                    </p:animMotion>
                                  </p:childTnLst>
                                </p:cTn>
                              </p:par>
                              <p:par>
                                <p:cTn id="49" presetID="10" presetClass="entr" presetSubtype="0" fill="hold" nodeType="withEffect">
                                  <p:stCondLst>
                                    <p:cond delay="600"/>
                                  </p:stCondLst>
                                  <p:childTnLst>
                                    <p:set>
                                      <p:cBhvr>
                                        <p:cTn id="50" dur="1" fill="hold">
                                          <p:stCondLst>
                                            <p:cond delay="0"/>
                                          </p:stCondLst>
                                        </p:cTn>
                                        <p:tgtEl>
                                          <p:spTgt spid="44"/>
                                        </p:tgtEl>
                                        <p:attrNameLst>
                                          <p:attrName>style.visibility</p:attrName>
                                        </p:attrNameLst>
                                      </p:cBhvr>
                                      <p:to>
                                        <p:strVal val="visible"/>
                                      </p:to>
                                    </p:set>
                                    <p:animEffect transition="in" filter="fade">
                                      <p:cBhvr>
                                        <p:cTn id="51" dur="650"/>
                                        <p:tgtEl>
                                          <p:spTgt spid="44"/>
                                        </p:tgtEl>
                                      </p:cBhvr>
                                    </p:animEffect>
                                  </p:childTnLst>
                                </p:cTn>
                              </p:par>
                              <p:par>
                                <p:cTn id="52" presetID="63" presetClass="path" presetSubtype="0" decel="100000" fill="hold" nodeType="withEffect">
                                  <p:stCondLst>
                                    <p:cond delay="600"/>
                                  </p:stCondLst>
                                  <p:childTnLst>
                                    <p:animMotion origin="layout" path="M -2.70833E-6 -3.7037E-6 L 0.01472 -3.7037E-6 " pathEditMode="relative" rAng="0" ptsTypes="AA">
                                      <p:cBhvr>
                                        <p:cTn id="53" dur="650" spd="-100000" fill="hold"/>
                                        <p:tgtEl>
                                          <p:spTgt spid="44"/>
                                        </p:tgtEl>
                                        <p:attrNameLst>
                                          <p:attrName>ppt_x</p:attrName>
                                          <p:attrName>ppt_y</p:attrName>
                                        </p:attrNameLst>
                                      </p:cBhvr>
                                      <p:rCtr x="7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8BC4EE-2401-46E4-8401-B65A7B7E127E}"/>
              </a:ext>
            </a:extLst>
          </p:cNvPr>
          <p:cNvSpPr>
            <a:spLocks noGrp="1"/>
          </p:cNvSpPr>
          <p:nvPr>
            <p:ph type="title"/>
          </p:nvPr>
        </p:nvSpPr>
        <p:spPr>
          <a:xfrm>
            <a:off x="586740" y="457200"/>
            <a:ext cx="11018520" cy="553998"/>
          </a:xfrm>
        </p:spPr>
        <p:txBody>
          <a:bodyPr/>
          <a:lstStyle/>
          <a:p>
            <a:r>
              <a:rPr lang="en-US"/>
              <a:t>Azure Maps</a:t>
            </a:r>
          </a:p>
        </p:txBody>
      </p:sp>
      <p:sp>
        <p:nvSpPr>
          <p:cNvPr id="9" name="Rectangle 8">
            <a:extLst>
              <a:ext uri="{FF2B5EF4-FFF2-40B4-BE49-F238E27FC236}">
                <a16:creationId xmlns:a16="http://schemas.microsoft.com/office/drawing/2014/main" id="{EDEFB7F4-A688-4127-AE32-9FCBCE5CDD44}"/>
              </a:ext>
            </a:extLst>
          </p:cNvPr>
          <p:cNvSpPr/>
          <p:nvPr/>
        </p:nvSpPr>
        <p:spPr>
          <a:xfrm>
            <a:off x="586740" y="1357383"/>
            <a:ext cx="11035086" cy="995914"/>
          </a:xfrm>
          <a:prstGeom prst="rect">
            <a:avLst/>
          </a:prstGeom>
        </p:spPr>
        <p:txBody>
          <a:bodyPr wrap="square" lIns="0" tIns="0" r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5660">
                      <a:srgbClr val="0078D7"/>
                    </a:gs>
                    <a:gs pos="19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Location is at the heart of everything</a:t>
            </a:r>
            <a:endParaRPr kumimoji="0" lang="en-US" sz="2000" b="0" i="0" u="none" strike="noStrike" kern="1200" cap="none" spc="0" normalizeH="0" baseline="0" noProof="0">
              <a:ln>
                <a:noFill/>
              </a:ln>
              <a:gradFill>
                <a:gsLst>
                  <a:gs pos="5660">
                    <a:srgbClr val="0078D7"/>
                  </a:gs>
                  <a:gs pos="19000">
                    <a:srgbClr val="0078D7"/>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1" indent="0" algn="l" defTabSz="914367" rtl="0" eaLnBrk="1" fontAlgn="auto" latinLnBrk="0" hangingPunct="1">
              <a:lnSpc>
                <a:spcPct val="100000"/>
              </a:lnSpc>
              <a:spcBef>
                <a:spcPts val="294"/>
              </a:spcBef>
              <a:spcAft>
                <a:spcPts val="0"/>
              </a:spcAft>
              <a:buClrTx/>
              <a:buSzTx/>
              <a:buFontTx/>
              <a:buNone/>
              <a:tabLst/>
              <a:defRPr/>
            </a:pPr>
            <a:r>
              <a:rPr kumimoji="0" lang="en-US" sz="1961" b="0" i="0" u="none" strike="noStrike" kern="1200" cap="none" spc="0" normalizeH="0" baseline="0" noProof="0">
                <a:ln>
                  <a:noFill/>
                </a:ln>
                <a:gradFill>
                  <a:gsLst>
                    <a:gs pos="5660">
                      <a:srgbClr val="0D0D0D"/>
                    </a:gs>
                    <a:gs pos="19000">
                      <a:srgbClr val="0D0D0D"/>
                    </a:gs>
                  </a:gsLst>
                  <a:lin ang="5400000" scaled="0"/>
                </a:gradFill>
                <a:effectLst/>
                <a:uLnTx/>
                <a:uFillTx/>
                <a:latin typeface="Segoe UI"/>
                <a:ea typeface="+mn-ea"/>
                <a:cs typeface="+mn-cs"/>
              </a:rPr>
              <a:t>Accurate, real time geospatial data is fundamental to the digital transformation of a wide range of industries and use cases, among them…</a:t>
            </a:r>
          </a:p>
        </p:txBody>
      </p:sp>
      <p:sp>
        <p:nvSpPr>
          <p:cNvPr id="11" name="object 14">
            <a:extLst>
              <a:ext uri="{FF2B5EF4-FFF2-40B4-BE49-F238E27FC236}">
                <a16:creationId xmlns:a16="http://schemas.microsoft.com/office/drawing/2014/main" id="{84C24164-1336-4B1E-A0C2-24AA27E233B1}"/>
              </a:ext>
            </a:extLst>
          </p:cNvPr>
          <p:cNvSpPr txBox="1"/>
          <p:nvPr/>
        </p:nvSpPr>
        <p:spPr>
          <a:xfrm>
            <a:off x="1122622" y="2482830"/>
            <a:ext cx="3075997" cy="822960"/>
          </a:xfrm>
          <a:prstGeom prst="rect">
            <a:avLst/>
          </a:prstGeom>
        </p:spPr>
        <p:txBody>
          <a:bodyPr vert="horz" wrap="square" lIns="182880" tIns="146304" rIns="0" bIns="146304" rtlCol="0" anchor="ctr" anchorCtr="0">
            <a:noAutofit/>
          </a:bodyPr>
          <a:lstStyle/>
          <a:p>
            <a:pPr marL="12450" marR="0" lvl="0" indent="0" algn="l" defTabSz="914367" rtl="0" eaLnBrk="1" fontAlgn="auto" latinLnBrk="0" hangingPunct="1">
              <a:lnSpc>
                <a:spcPct val="90000"/>
              </a:lnSpc>
              <a:spcBef>
                <a:spcPts val="98"/>
              </a:spcBef>
              <a:spcAft>
                <a:spcPts val="0"/>
              </a:spcAft>
              <a:buClrTx/>
              <a:buSzTx/>
              <a:buFontTx/>
              <a:buNone/>
              <a:tabLst/>
              <a:defRPr/>
            </a:pPr>
            <a:r>
              <a:rPr kumimoji="0" lang="en-US" sz="1765"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t>Mobility solutions</a:t>
            </a:r>
            <a:endParaRPr kumimoji="0" lang="en-US" sz="1765" b="0" i="0" u="none" strike="noStrike" kern="1200" cap="none" spc="0" normalizeH="0" baseline="0" noProof="0">
              <a:ln>
                <a:noFill/>
              </a:ln>
              <a:gradFill>
                <a:gsLst>
                  <a:gs pos="5660">
                    <a:srgbClr val="0D0D0D"/>
                  </a:gs>
                  <a:gs pos="19000">
                    <a:srgbClr val="0D0D0D"/>
                  </a:gs>
                </a:gsLst>
                <a:lin ang="5400000" scaled="0"/>
              </a:gradFill>
              <a:effectLst/>
              <a:uLnTx/>
              <a:uFillTx/>
              <a:latin typeface="Segoe UI"/>
              <a:ea typeface="+mn-ea"/>
              <a:cs typeface="Segoe UI"/>
            </a:endParaRPr>
          </a:p>
        </p:txBody>
      </p:sp>
      <p:sp>
        <p:nvSpPr>
          <p:cNvPr id="14" name="building_8">
            <a:extLst>
              <a:ext uri="{FF2B5EF4-FFF2-40B4-BE49-F238E27FC236}">
                <a16:creationId xmlns:a16="http://schemas.microsoft.com/office/drawing/2014/main" id="{0E4A10FF-A136-46A5-ADED-D4CC01CA9F6B}"/>
              </a:ext>
            </a:extLst>
          </p:cNvPr>
          <p:cNvSpPr>
            <a:spLocks noChangeAspect="1" noEditPoints="1"/>
          </p:cNvSpPr>
          <p:nvPr/>
        </p:nvSpPr>
        <p:spPr bwMode="auto">
          <a:xfrm>
            <a:off x="664223" y="2622624"/>
            <a:ext cx="430148" cy="467172"/>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1A1A1A"/>
              </a:solidFill>
              <a:effectLst/>
              <a:uLnTx/>
              <a:uFillTx/>
              <a:latin typeface="Segoe UI"/>
              <a:ea typeface="+mn-ea"/>
              <a:cs typeface="+mn-cs"/>
            </a:endParaRPr>
          </a:p>
        </p:txBody>
      </p:sp>
      <p:sp>
        <p:nvSpPr>
          <p:cNvPr id="12" name="object 14">
            <a:extLst>
              <a:ext uri="{FF2B5EF4-FFF2-40B4-BE49-F238E27FC236}">
                <a16:creationId xmlns:a16="http://schemas.microsoft.com/office/drawing/2014/main" id="{AFA52910-F937-4F6A-893B-B77FCBC7F297}"/>
              </a:ext>
            </a:extLst>
          </p:cNvPr>
          <p:cNvSpPr txBox="1"/>
          <p:nvPr/>
        </p:nvSpPr>
        <p:spPr>
          <a:xfrm>
            <a:off x="1122622" y="3397363"/>
            <a:ext cx="3075997" cy="822960"/>
          </a:xfrm>
          <a:prstGeom prst="rect">
            <a:avLst/>
          </a:prstGeom>
        </p:spPr>
        <p:txBody>
          <a:bodyPr vert="horz" wrap="square" lIns="182880" tIns="146304" rIns="0" bIns="146304" rtlCol="0" anchor="ctr" anchorCtr="0">
            <a:noAutofit/>
          </a:bodyPr>
          <a:lstStyle/>
          <a:p>
            <a:pPr marL="12450" marR="0" lvl="0" indent="0" algn="l" defTabSz="914367" rtl="0" eaLnBrk="1" fontAlgn="auto" latinLnBrk="0" hangingPunct="1">
              <a:lnSpc>
                <a:spcPct val="90000"/>
              </a:lnSpc>
              <a:spcBef>
                <a:spcPts val="98"/>
              </a:spcBef>
              <a:spcAft>
                <a:spcPts val="0"/>
              </a:spcAft>
              <a:buClrTx/>
              <a:buSzTx/>
              <a:buFontTx/>
              <a:buNone/>
              <a:tabLst/>
              <a:defRPr/>
            </a:pPr>
            <a:r>
              <a:rPr kumimoji="0" lang="en-US" sz="1765"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t>Internet of Things </a:t>
            </a:r>
            <a:br>
              <a:rPr kumimoji="0" lang="en-US" sz="1765"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br>
            <a:r>
              <a:rPr kumimoji="0" lang="en-US" sz="1765"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t>(IoT)</a:t>
            </a:r>
            <a:endParaRPr kumimoji="0" lang="en-US" sz="1765" b="0" i="0" u="none" strike="noStrike" kern="1200" cap="none" spc="0" normalizeH="0" baseline="0" noProof="0">
              <a:ln>
                <a:noFill/>
              </a:ln>
              <a:gradFill>
                <a:gsLst>
                  <a:gs pos="5660">
                    <a:srgbClr val="0D0D0D"/>
                  </a:gs>
                  <a:gs pos="19000">
                    <a:srgbClr val="0D0D0D"/>
                  </a:gs>
                </a:gsLst>
                <a:lin ang="5400000" scaled="0"/>
              </a:gradFill>
              <a:effectLst/>
              <a:uLnTx/>
              <a:uFillTx/>
              <a:latin typeface="Segoe UI"/>
              <a:ea typeface="+mn-ea"/>
              <a:cs typeface="Segoe UI"/>
            </a:endParaRPr>
          </a:p>
        </p:txBody>
      </p:sp>
      <p:grpSp>
        <p:nvGrpSpPr>
          <p:cNvPr id="15" name="Group 14">
            <a:extLst>
              <a:ext uri="{FF2B5EF4-FFF2-40B4-BE49-F238E27FC236}">
                <a16:creationId xmlns:a16="http://schemas.microsoft.com/office/drawing/2014/main" id="{0AA17876-AE1A-4271-9023-696B9E249478}"/>
              </a:ext>
            </a:extLst>
          </p:cNvPr>
          <p:cNvGrpSpPr>
            <a:grpSpLocks noChangeAspect="1"/>
          </p:cNvGrpSpPr>
          <p:nvPr/>
        </p:nvGrpSpPr>
        <p:grpSpPr>
          <a:xfrm>
            <a:off x="664223" y="3615488"/>
            <a:ext cx="430148" cy="361312"/>
            <a:chOff x="2569376" y="1647414"/>
            <a:chExt cx="613977" cy="492018"/>
          </a:xfrm>
        </p:grpSpPr>
        <p:grpSp>
          <p:nvGrpSpPr>
            <p:cNvPr id="22" name="Group 21">
              <a:extLst>
                <a:ext uri="{FF2B5EF4-FFF2-40B4-BE49-F238E27FC236}">
                  <a16:creationId xmlns:a16="http://schemas.microsoft.com/office/drawing/2014/main" id="{C0912D19-19D0-4D48-8FEF-1B2696760A03}"/>
                </a:ext>
              </a:extLst>
            </p:cNvPr>
            <p:cNvGrpSpPr/>
            <p:nvPr/>
          </p:nvGrpSpPr>
          <p:grpSpPr>
            <a:xfrm>
              <a:off x="3017242" y="1662133"/>
              <a:ext cx="166111" cy="172417"/>
              <a:chOff x="3017242" y="1662133"/>
              <a:chExt cx="166111" cy="172417"/>
            </a:xfrm>
          </p:grpSpPr>
          <p:sp>
            <p:nvSpPr>
              <p:cNvPr id="31" name="Freeform 5">
                <a:extLst>
                  <a:ext uri="{FF2B5EF4-FFF2-40B4-BE49-F238E27FC236}">
                    <a16:creationId xmlns:a16="http://schemas.microsoft.com/office/drawing/2014/main" id="{06E4B206-C990-4B7A-B383-FFA0D235752E}"/>
                  </a:ext>
                </a:extLst>
              </p:cNvPr>
              <p:cNvSpPr>
                <a:spLocks/>
              </p:cNvSpPr>
              <p:nvPr/>
            </p:nvSpPr>
            <p:spPr bwMode="auto">
              <a:xfrm>
                <a:off x="3017242" y="1662133"/>
                <a:ext cx="166111" cy="172417"/>
              </a:xfrm>
              <a:custGeom>
                <a:avLst/>
                <a:gdLst>
                  <a:gd name="T0" fmla="*/ 0 w 160"/>
                  <a:gd name="T1" fmla="*/ 0 h 161"/>
                  <a:gd name="T2" fmla="*/ 160 w 160"/>
                  <a:gd name="T3" fmla="*/ 161 h 161"/>
                </a:gdLst>
                <a:ahLst/>
                <a:cxnLst>
                  <a:cxn ang="0">
                    <a:pos x="T0" y="T1"/>
                  </a:cxn>
                  <a:cxn ang="0">
                    <a:pos x="T2" y="T3"/>
                  </a:cxn>
                </a:cxnLst>
                <a:rect l="0" t="0" r="r" b="b"/>
                <a:pathLst>
                  <a:path w="160" h="161">
                    <a:moveTo>
                      <a:pt x="0" y="0"/>
                    </a:moveTo>
                    <a:cubicBezTo>
                      <a:pt x="88" y="0"/>
                      <a:pt x="160" y="72"/>
                      <a:pt x="160" y="16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32" name="Freeform 6">
                <a:extLst>
                  <a:ext uri="{FF2B5EF4-FFF2-40B4-BE49-F238E27FC236}">
                    <a16:creationId xmlns:a16="http://schemas.microsoft.com/office/drawing/2014/main" id="{C81FBA17-9375-4D2C-900E-8391C63E2496}"/>
                  </a:ext>
                </a:extLst>
              </p:cNvPr>
              <p:cNvSpPr>
                <a:spLocks/>
              </p:cNvSpPr>
              <p:nvPr/>
            </p:nvSpPr>
            <p:spPr bwMode="auto">
              <a:xfrm>
                <a:off x="3017242" y="1710493"/>
                <a:ext cx="121954" cy="124056"/>
              </a:xfrm>
              <a:custGeom>
                <a:avLst/>
                <a:gdLst>
                  <a:gd name="T0" fmla="*/ 0 w 116"/>
                  <a:gd name="T1" fmla="*/ 0 h 116"/>
                  <a:gd name="T2" fmla="*/ 116 w 116"/>
                  <a:gd name="T3" fmla="*/ 116 h 116"/>
                </a:gdLst>
                <a:ahLst/>
                <a:cxnLst>
                  <a:cxn ang="0">
                    <a:pos x="T0" y="T1"/>
                  </a:cxn>
                  <a:cxn ang="0">
                    <a:pos x="T2" y="T3"/>
                  </a:cxn>
                </a:cxnLst>
                <a:rect l="0" t="0" r="r" b="b"/>
                <a:pathLst>
                  <a:path w="116" h="116">
                    <a:moveTo>
                      <a:pt x="0" y="0"/>
                    </a:moveTo>
                    <a:cubicBezTo>
                      <a:pt x="64" y="0"/>
                      <a:pt x="116" y="52"/>
                      <a:pt x="116" y="116"/>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33" name="Freeform 7">
                <a:extLst>
                  <a:ext uri="{FF2B5EF4-FFF2-40B4-BE49-F238E27FC236}">
                    <a16:creationId xmlns:a16="http://schemas.microsoft.com/office/drawing/2014/main" id="{E8F16A0E-D44F-4938-94F7-ACBC260AB136}"/>
                  </a:ext>
                </a:extLst>
              </p:cNvPr>
              <p:cNvSpPr>
                <a:spLocks/>
              </p:cNvSpPr>
              <p:nvPr/>
            </p:nvSpPr>
            <p:spPr bwMode="auto">
              <a:xfrm>
                <a:off x="3017242" y="1760957"/>
                <a:ext cx="71490" cy="73593"/>
              </a:xfrm>
              <a:custGeom>
                <a:avLst/>
                <a:gdLst>
                  <a:gd name="T0" fmla="*/ 0 w 68"/>
                  <a:gd name="T1" fmla="*/ 0 h 68"/>
                  <a:gd name="T2" fmla="*/ 68 w 68"/>
                  <a:gd name="T3" fmla="*/ 68 h 68"/>
                </a:gdLst>
                <a:ahLst/>
                <a:cxnLst>
                  <a:cxn ang="0">
                    <a:pos x="T0" y="T1"/>
                  </a:cxn>
                  <a:cxn ang="0">
                    <a:pos x="T2" y="T3"/>
                  </a:cxn>
                </a:cxnLst>
                <a:rect l="0" t="0" r="r" b="b"/>
                <a:pathLst>
                  <a:path w="68" h="68">
                    <a:moveTo>
                      <a:pt x="0" y="0"/>
                    </a:moveTo>
                    <a:cubicBezTo>
                      <a:pt x="37" y="0"/>
                      <a:pt x="68" y="30"/>
                      <a:pt x="68" y="68"/>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grpSp>
        <p:grpSp>
          <p:nvGrpSpPr>
            <p:cNvPr id="23" name="Group 22">
              <a:extLst>
                <a:ext uri="{FF2B5EF4-FFF2-40B4-BE49-F238E27FC236}">
                  <a16:creationId xmlns:a16="http://schemas.microsoft.com/office/drawing/2014/main" id="{03B7A525-D442-41AC-8CC3-ED50F43256FC}"/>
                </a:ext>
              </a:extLst>
            </p:cNvPr>
            <p:cNvGrpSpPr/>
            <p:nvPr/>
          </p:nvGrpSpPr>
          <p:grpSpPr>
            <a:xfrm>
              <a:off x="2569376" y="1647414"/>
              <a:ext cx="447867" cy="492018"/>
              <a:chOff x="2569376" y="1647414"/>
              <a:chExt cx="447867" cy="492018"/>
            </a:xfrm>
          </p:grpSpPr>
          <p:sp>
            <p:nvSpPr>
              <p:cNvPr id="24" name="Line 8">
                <a:extLst>
                  <a:ext uri="{FF2B5EF4-FFF2-40B4-BE49-F238E27FC236}">
                    <a16:creationId xmlns:a16="http://schemas.microsoft.com/office/drawing/2014/main" id="{378AC9D8-B8BB-4048-A424-9FCFA6D7163F}"/>
                  </a:ext>
                </a:extLst>
              </p:cNvPr>
              <p:cNvSpPr>
                <a:spLocks noChangeShapeType="1"/>
              </p:cNvSpPr>
              <p:nvPr/>
            </p:nvSpPr>
            <p:spPr bwMode="auto">
              <a:xfrm flipH="1">
                <a:off x="2796463" y="1943887"/>
                <a:ext cx="86210" cy="94620"/>
              </a:xfrm>
              <a:prstGeom prst="line">
                <a:avLst/>
              </a:prstGeom>
              <a:noFill/>
              <a:ln w="1587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25" name="Line 9">
                <a:extLst>
                  <a:ext uri="{FF2B5EF4-FFF2-40B4-BE49-F238E27FC236}">
                    <a16:creationId xmlns:a16="http://schemas.microsoft.com/office/drawing/2014/main" id="{E7867CA8-D15B-46C4-88C5-417495D9B9AE}"/>
                  </a:ext>
                </a:extLst>
              </p:cNvPr>
              <p:cNvSpPr>
                <a:spLocks noChangeShapeType="1"/>
              </p:cNvSpPr>
              <p:nvPr/>
            </p:nvSpPr>
            <p:spPr bwMode="auto">
              <a:xfrm flipH="1">
                <a:off x="2682920" y="1908141"/>
                <a:ext cx="176624" cy="46258"/>
              </a:xfrm>
              <a:prstGeom prst="line">
                <a:avLst/>
              </a:prstGeom>
              <a:noFill/>
              <a:ln w="1587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26" name="Line 10">
                <a:extLst>
                  <a:ext uri="{FF2B5EF4-FFF2-40B4-BE49-F238E27FC236}">
                    <a16:creationId xmlns:a16="http://schemas.microsoft.com/office/drawing/2014/main" id="{7F66D344-1458-4D44-A137-657B32BB415E}"/>
                  </a:ext>
                </a:extLst>
              </p:cNvPr>
              <p:cNvSpPr>
                <a:spLocks noChangeShapeType="1"/>
              </p:cNvSpPr>
              <p:nvPr/>
            </p:nvSpPr>
            <p:spPr bwMode="auto">
              <a:xfrm flipH="1" flipV="1">
                <a:off x="2748102" y="1735725"/>
                <a:ext cx="126160" cy="103030"/>
              </a:xfrm>
              <a:prstGeom prst="line">
                <a:avLst/>
              </a:prstGeom>
              <a:noFill/>
              <a:ln w="1587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27" name="Oval 11">
                <a:extLst>
                  <a:ext uri="{FF2B5EF4-FFF2-40B4-BE49-F238E27FC236}">
                    <a16:creationId xmlns:a16="http://schemas.microsoft.com/office/drawing/2014/main" id="{47AC3208-501A-4D83-A6FA-1B74E242F3F8}"/>
                  </a:ext>
                </a:extLst>
              </p:cNvPr>
              <p:cNvSpPr>
                <a:spLocks noChangeArrowheads="1"/>
              </p:cNvSpPr>
              <p:nvPr/>
            </p:nvSpPr>
            <p:spPr bwMode="auto">
              <a:xfrm>
                <a:off x="2697638" y="2021684"/>
                <a:ext cx="115647" cy="117748"/>
              </a:xfrm>
              <a:prstGeom prst="ellipse">
                <a:avLst/>
              </a:pr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28" name="Oval 12">
                <a:extLst>
                  <a:ext uri="{FF2B5EF4-FFF2-40B4-BE49-F238E27FC236}">
                    <a16:creationId xmlns:a16="http://schemas.microsoft.com/office/drawing/2014/main" id="{B859A437-7E41-49CD-87C0-99B1B59BC940}"/>
                  </a:ext>
                </a:extLst>
              </p:cNvPr>
              <p:cNvSpPr>
                <a:spLocks noChangeArrowheads="1"/>
              </p:cNvSpPr>
              <p:nvPr/>
            </p:nvSpPr>
            <p:spPr bwMode="auto">
              <a:xfrm>
                <a:off x="2642968" y="1647414"/>
                <a:ext cx="115647" cy="117748"/>
              </a:xfrm>
              <a:prstGeom prst="ellipse">
                <a:avLst/>
              </a:pr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29" name="Oval 13">
                <a:extLst>
                  <a:ext uri="{FF2B5EF4-FFF2-40B4-BE49-F238E27FC236}">
                    <a16:creationId xmlns:a16="http://schemas.microsoft.com/office/drawing/2014/main" id="{7C6533E9-A672-46AA-BC9A-25FA91C2D793}"/>
                  </a:ext>
                </a:extLst>
              </p:cNvPr>
              <p:cNvSpPr>
                <a:spLocks noChangeArrowheads="1"/>
              </p:cNvSpPr>
              <p:nvPr/>
            </p:nvSpPr>
            <p:spPr bwMode="auto">
              <a:xfrm>
                <a:off x="2859543" y="1807215"/>
                <a:ext cx="157700" cy="159801"/>
              </a:xfrm>
              <a:prstGeom prst="ellipse">
                <a:avLst/>
              </a:pr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30" name="Oval 14">
                <a:extLst>
                  <a:ext uri="{FF2B5EF4-FFF2-40B4-BE49-F238E27FC236}">
                    <a16:creationId xmlns:a16="http://schemas.microsoft.com/office/drawing/2014/main" id="{9B784F16-3FA3-401C-B958-AC62EAC2A51B}"/>
                  </a:ext>
                </a:extLst>
              </p:cNvPr>
              <p:cNvSpPr>
                <a:spLocks noChangeArrowheads="1"/>
              </p:cNvSpPr>
              <p:nvPr/>
            </p:nvSpPr>
            <p:spPr bwMode="auto">
              <a:xfrm>
                <a:off x="2569376" y="1912347"/>
                <a:ext cx="115647" cy="117748"/>
              </a:xfrm>
              <a:prstGeom prst="ellipse">
                <a:avLst/>
              </a:pr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grpSp>
      </p:grpSp>
      <p:sp>
        <p:nvSpPr>
          <p:cNvPr id="36" name="object 14">
            <a:extLst>
              <a:ext uri="{FF2B5EF4-FFF2-40B4-BE49-F238E27FC236}">
                <a16:creationId xmlns:a16="http://schemas.microsoft.com/office/drawing/2014/main" id="{CD52F9B3-9F6C-4EF5-AE81-CC0EEB1DDEB8}"/>
              </a:ext>
            </a:extLst>
          </p:cNvPr>
          <p:cNvSpPr txBox="1"/>
          <p:nvPr/>
        </p:nvSpPr>
        <p:spPr>
          <a:xfrm>
            <a:off x="9130028" y="2470130"/>
            <a:ext cx="3075997" cy="822960"/>
          </a:xfrm>
          <a:prstGeom prst="rect">
            <a:avLst/>
          </a:prstGeom>
        </p:spPr>
        <p:txBody>
          <a:bodyPr vert="horz" wrap="square" lIns="182880" tIns="146304" rIns="0" bIns="146304" rtlCol="0" anchor="ctr" anchorCtr="0">
            <a:noAutofit/>
          </a:bodyPr>
          <a:lstStyle>
            <a:defPPr>
              <a:defRPr lang="en-US"/>
            </a:defPPr>
            <a:lvl1pPr marL="12450">
              <a:lnSpc>
                <a:spcPct val="90000"/>
              </a:lnSpc>
              <a:spcBef>
                <a:spcPts val="98"/>
              </a:spcBef>
              <a:defRPr sz="2200" spc="-5">
                <a:gradFill>
                  <a:gsLst>
                    <a:gs pos="5660">
                      <a:schemeClr val="tx2"/>
                    </a:gs>
                    <a:gs pos="19000">
                      <a:schemeClr val="tx2"/>
                    </a:gs>
                  </a:gsLst>
                  <a:lin ang="5400000" scaled="0"/>
                </a:gradFill>
                <a:cs typeface="Segoe UI"/>
              </a:defRPr>
            </a:lvl1pPr>
          </a:lstStyle>
          <a:p>
            <a:pPr marL="12450" marR="0" lvl="0" indent="0" algn="l" defTabSz="914367" rtl="0" eaLnBrk="1" fontAlgn="auto" latinLnBrk="0" hangingPunct="1">
              <a:lnSpc>
                <a:spcPct val="90000"/>
              </a:lnSpc>
              <a:spcBef>
                <a:spcPts val="98"/>
              </a:spcBef>
              <a:spcAft>
                <a:spcPts val="0"/>
              </a:spcAft>
              <a:buClrTx/>
              <a:buSzTx/>
              <a:buFontTx/>
              <a:buNone/>
              <a:tabLst/>
              <a:defRPr/>
            </a:pPr>
            <a:r>
              <a:rPr kumimoji="0" lang="en-US" sz="1800"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t>Automotive </a:t>
            </a:r>
          </a:p>
        </p:txBody>
      </p:sp>
      <p:sp>
        <p:nvSpPr>
          <p:cNvPr id="41" name="car_3" title="Icon of a car with signal lines on top">
            <a:extLst>
              <a:ext uri="{FF2B5EF4-FFF2-40B4-BE49-F238E27FC236}">
                <a16:creationId xmlns:a16="http://schemas.microsoft.com/office/drawing/2014/main" id="{949AB800-FF77-477E-B38B-F158F0A2173C}"/>
              </a:ext>
            </a:extLst>
          </p:cNvPr>
          <p:cNvSpPr>
            <a:spLocks noChangeAspect="1" noEditPoints="1"/>
          </p:cNvSpPr>
          <p:nvPr/>
        </p:nvSpPr>
        <p:spPr bwMode="auto">
          <a:xfrm>
            <a:off x="8675021" y="2695615"/>
            <a:ext cx="454086" cy="341050"/>
          </a:xfrm>
          <a:custGeom>
            <a:avLst/>
            <a:gdLst>
              <a:gd name="T0" fmla="*/ 27 w 339"/>
              <a:gd name="T1" fmla="*/ 121 h 255"/>
              <a:gd name="T2" fmla="*/ 287 w 339"/>
              <a:gd name="T3" fmla="*/ 121 h 255"/>
              <a:gd name="T4" fmla="*/ 339 w 339"/>
              <a:gd name="T5" fmla="*/ 173 h 255"/>
              <a:gd name="T6" fmla="*/ 339 w 339"/>
              <a:gd name="T7" fmla="*/ 211 h 255"/>
              <a:gd name="T8" fmla="*/ 318 w 339"/>
              <a:gd name="T9" fmla="*/ 233 h 255"/>
              <a:gd name="T10" fmla="*/ 294 w 339"/>
              <a:gd name="T11" fmla="*/ 233 h 255"/>
              <a:gd name="T12" fmla="*/ 297 w 339"/>
              <a:gd name="T13" fmla="*/ 219 h 255"/>
              <a:gd name="T14" fmla="*/ 261 w 339"/>
              <a:gd name="T15" fmla="*/ 182 h 255"/>
              <a:gd name="T16" fmla="*/ 224 w 339"/>
              <a:gd name="T17" fmla="*/ 219 h 255"/>
              <a:gd name="T18" fmla="*/ 261 w 339"/>
              <a:gd name="T19" fmla="*/ 255 h 255"/>
              <a:gd name="T20" fmla="*/ 297 w 339"/>
              <a:gd name="T21" fmla="*/ 219 h 255"/>
              <a:gd name="T22" fmla="*/ 95 w 339"/>
              <a:gd name="T23" fmla="*/ 219 h 255"/>
              <a:gd name="T24" fmla="*/ 59 w 339"/>
              <a:gd name="T25" fmla="*/ 182 h 255"/>
              <a:gd name="T26" fmla="*/ 22 w 339"/>
              <a:gd name="T27" fmla="*/ 219 h 255"/>
              <a:gd name="T28" fmla="*/ 59 w 339"/>
              <a:gd name="T29" fmla="*/ 255 h 255"/>
              <a:gd name="T30" fmla="*/ 95 w 339"/>
              <a:gd name="T31" fmla="*/ 219 h 255"/>
              <a:gd name="T32" fmla="*/ 63 w 339"/>
              <a:gd name="T33" fmla="*/ 51 h 255"/>
              <a:gd name="T34" fmla="*/ 10 w 339"/>
              <a:gd name="T35" fmla="*/ 156 h 255"/>
              <a:gd name="T36" fmla="*/ 0 w 339"/>
              <a:gd name="T37" fmla="*/ 190 h 255"/>
              <a:gd name="T38" fmla="*/ 24 w 339"/>
              <a:gd name="T39" fmla="*/ 229 h 255"/>
              <a:gd name="T40" fmla="*/ 271 w 339"/>
              <a:gd name="T41" fmla="*/ 121 h 255"/>
              <a:gd name="T42" fmla="*/ 222 w 339"/>
              <a:gd name="T43" fmla="*/ 66 h 255"/>
              <a:gd name="T44" fmla="*/ 194 w 339"/>
              <a:gd name="T45" fmla="*/ 51 h 255"/>
              <a:gd name="T46" fmla="*/ 37 w 339"/>
              <a:gd name="T47" fmla="*/ 51 h 255"/>
              <a:gd name="T48" fmla="*/ 227 w 339"/>
              <a:gd name="T49" fmla="*/ 233 h 255"/>
              <a:gd name="T50" fmla="*/ 92 w 339"/>
              <a:gd name="T51" fmla="*/ 233 h 255"/>
              <a:gd name="T52" fmla="*/ 134 w 339"/>
              <a:gd name="T53" fmla="*/ 233 h 255"/>
              <a:gd name="T54" fmla="*/ 134 w 339"/>
              <a:gd name="T55" fmla="*/ 51 h 255"/>
              <a:gd name="T56" fmla="*/ 258 w 339"/>
              <a:gd name="T57" fmla="*/ 66 h 255"/>
              <a:gd name="T58" fmla="*/ 269 w 339"/>
              <a:gd name="T59" fmla="*/ 70 h 255"/>
              <a:gd name="T60" fmla="*/ 273 w 339"/>
              <a:gd name="T61" fmla="*/ 79 h 255"/>
              <a:gd name="T62" fmla="*/ 305 w 339"/>
              <a:gd name="T63" fmla="*/ 79 h 255"/>
              <a:gd name="T64" fmla="*/ 292 w 339"/>
              <a:gd name="T65" fmla="*/ 47 h 255"/>
              <a:gd name="T66" fmla="*/ 258 w 339"/>
              <a:gd name="T67" fmla="*/ 33 h 255"/>
              <a:gd name="T68" fmla="*/ 339 w 339"/>
              <a:gd name="T69" fmla="*/ 79 h 255"/>
              <a:gd name="T70" fmla="*/ 316 w 339"/>
              <a:gd name="T71" fmla="*/ 23 h 255"/>
              <a:gd name="T72" fmla="*/ 258 w 339"/>
              <a:gd name="T7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9" h="255">
                <a:moveTo>
                  <a:pt x="27" y="121"/>
                </a:moveTo>
                <a:cubicBezTo>
                  <a:pt x="287" y="121"/>
                  <a:pt x="287" y="121"/>
                  <a:pt x="287" y="121"/>
                </a:cubicBezTo>
                <a:cubicBezTo>
                  <a:pt x="316" y="121"/>
                  <a:pt x="339" y="145"/>
                  <a:pt x="339" y="173"/>
                </a:cubicBezTo>
                <a:cubicBezTo>
                  <a:pt x="339" y="211"/>
                  <a:pt x="339" y="211"/>
                  <a:pt x="339" y="211"/>
                </a:cubicBezTo>
                <a:cubicBezTo>
                  <a:pt x="339" y="223"/>
                  <a:pt x="330" y="233"/>
                  <a:pt x="318" y="233"/>
                </a:cubicBezTo>
                <a:cubicBezTo>
                  <a:pt x="294" y="233"/>
                  <a:pt x="294" y="233"/>
                  <a:pt x="294" y="233"/>
                </a:cubicBezTo>
                <a:moveTo>
                  <a:pt x="297" y="219"/>
                </a:moveTo>
                <a:cubicBezTo>
                  <a:pt x="297" y="199"/>
                  <a:pt x="281" y="182"/>
                  <a:pt x="261" y="182"/>
                </a:cubicBezTo>
                <a:cubicBezTo>
                  <a:pt x="241" y="182"/>
                  <a:pt x="224" y="199"/>
                  <a:pt x="224" y="219"/>
                </a:cubicBezTo>
                <a:cubicBezTo>
                  <a:pt x="224" y="239"/>
                  <a:pt x="241" y="255"/>
                  <a:pt x="261" y="255"/>
                </a:cubicBezTo>
                <a:cubicBezTo>
                  <a:pt x="281" y="255"/>
                  <a:pt x="297" y="239"/>
                  <a:pt x="297" y="219"/>
                </a:cubicBezTo>
                <a:close/>
                <a:moveTo>
                  <a:pt x="95" y="219"/>
                </a:moveTo>
                <a:cubicBezTo>
                  <a:pt x="95" y="199"/>
                  <a:pt x="79" y="182"/>
                  <a:pt x="59" y="182"/>
                </a:cubicBezTo>
                <a:cubicBezTo>
                  <a:pt x="39" y="182"/>
                  <a:pt x="22" y="199"/>
                  <a:pt x="22" y="219"/>
                </a:cubicBezTo>
                <a:cubicBezTo>
                  <a:pt x="22" y="239"/>
                  <a:pt x="39" y="255"/>
                  <a:pt x="59" y="255"/>
                </a:cubicBezTo>
                <a:cubicBezTo>
                  <a:pt x="79" y="255"/>
                  <a:pt x="95" y="239"/>
                  <a:pt x="95" y="219"/>
                </a:cubicBezTo>
                <a:close/>
                <a:moveTo>
                  <a:pt x="63" y="51"/>
                </a:moveTo>
                <a:cubicBezTo>
                  <a:pt x="63" y="51"/>
                  <a:pt x="20" y="135"/>
                  <a:pt x="10" y="156"/>
                </a:cubicBezTo>
                <a:cubicBezTo>
                  <a:pt x="0" y="178"/>
                  <a:pt x="0" y="190"/>
                  <a:pt x="0" y="190"/>
                </a:cubicBezTo>
                <a:cubicBezTo>
                  <a:pt x="0" y="205"/>
                  <a:pt x="9" y="224"/>
                  <a:pt x="24" y="229"/>
                </a:cubicBezTo>
                <a:moveTo>
                  <a:pt x="271" y="121"/>
                </a:moveTo>
                <a:cubicBezTo>
                  <a:pt x="222" y="66"/>
                  <a:pt x="222" y="66"/>
                  <a:pt x="222" y="66"/>
                </a:cubicBezTo>
                <a:cubicBezTo>
                  <a:pt x="214" y="56"/>
                  <a:pt x="206" y="51"/>
                  <a:pt x="194" y="51"/>
                </a:cubicBezTo>
                <a:cubicBezTo>
                  <a:pt x="37" y="51"/>
                  <a:pt x="37" y="51"/>
                  <a:pt x="37" y="51"/>
                </a:cubicBezTo>
                <a:moveTo>
                  <a:pt x="227" y="233"/>
                </a:moveTo>
                <a:cubicBezTo>
                  <a:pt x="92" y="233"/>
                  <a:pt x="92" y="233"/>
                  <a:pt x="92" y="233"/>
                </a:cubicBezTo>
                <a:moveTo>
                  <a:pt x="134" y="233"/>
                </a:moveTo>
                <a:cubicBezTo>
                  <a:pt x="134" y="51"/>
                  <a:pt x="134" y="51"/>
                  <a:pt x="134" y="51"/>
                </a:cubicBezTo>
                <a:moveTo>
                  <a:pt x="258" y="66"/>
                </a:moveTo>
                <a:cubicBezTo>
                  <a:pt x="262" y="66"/>
                  <a:pt x="266" y="67"/>
                  <a:pt x="269" y="70"/>
                </a:cubicBezTo>
                <a:cubicBezTo>
                  <a:pt x="271" y="73"/>
                  <a:pt x="273" y="76"/>
                  <a:pt x="273" y="79"/>
                </a:cubicBezTo>
                <a:moveTo>
                  <a:pt x="305" y="79"/>
                </a:moveTo>
                <a:cubicBezTo>
                  <a:pt x="305" y="67"/>
                  <a:pt x="301" y="56"/>
                  <a:pt x="292" y="47"/>
                </a:cubicBezTo>
                <a:cubicBezTo>
                  <a:pt x="283" y="38"/>
                  <a:pt x="270" y="33"/>
                  <a:pt x="258" y="33"/>
                </a:cubicBezTo>
                <a:moveTo>
                  <a:pt x="339" y="79"/>
                </a:moveTo>
                <a:cubicBezTo>
                  <a:pt x="339" y="59"/>
                  <a:pt x="331" y="39"/>
                  <a:pt x="316" y="23"/>
                </a:cubicBezTo>
                <a:cubicBezTo>
                  <a:pt x="300" y="7"/>
                  <a:pt x="279" y="0"/>
                  <a:pt x="258" y="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 name="object 14">
            <a:extLst>
              <a:ext uri="{FF2B5EF4-FFF2-40B4-BE49-F238E27FC236}">
                <a16:creationId xmlns:a16="http://schemas.microsoft.com/office/drawing/2014/main" id="{5F06A28F-6AA9-43F0-8A84-E8E24335EBAD}"/>
              </a:ext>
            </a:extLst>
          </p:cNvPr>
          <p:cNvSpPr txBox="1"/>
          <p:nvPr/>
        </p:nvSpPr>
        <p:spPr>
          <a:xfrm>
            <a:off x="9130028" y="3397363"/>
            <a:ext cx="3075997" cy="822960"/>
          </a:xfrm>
          <a:prstGeom prst="rect">
            <a:avLst/>
          </a:prstGeom>
        </p:spPr>
        <p:txBody>
          <a:bodyPr vert="horz" wrap="square" lIns="182880" tIns="146304" rIns="0" bIns="146304" rtlCol="0" anchor="ctr" anchorCtr="0">
            <a:noAutofit/>
          </a:bodyPr>
          <a:lstStyle/>
          <a:p>
            <a:pPr marL="12450" marR="0" lvl="0" indent="0" algn="l" defTabSz="914367" rtl="0" eaLnBrk="1" fontAlgn="auto" latinLnBrk="0" hangingPunct="1">
              <a:lnSpc>
                <a:spcPct val="90000"/>
              </a:lnSpc>
              <a:spcBef>
                <a:spcPts val="98"/>
              </a:spcBef>
              <a:spcAft>
                <a:spcPts val="0"/>
              </a:spcAft>
              <a:buClrTx/>
              <a:buSzTx/>
              <a:buFontTx/>
              <a:buNone/>
              <a:tabLst/>
              <a:defRPr/>
            </a:pPr>
            <a:r>
              <a:rPr kumimoji="0" lang="en-US" sz="1765"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t>Web and </a:t>
            </a:r>
            <a:br>
              <a:rPr kumimoji="0" lang="en-US" sz="1765"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br>
            <a:r>
              <a:rPr kumimoji="0" lang="en-US" sz="1765"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t>mobile apps</a:t>
            </a:r>
            <a:endParaRPr kumimoji="0" lang="en-US" sz="1765" b="0" i="0" u="none" strike="noStrike" kern="1200" cap="none" spc="0" normalizeH="0" baseline="0" noProof="0">
              <a:ln>
                <a:noFill/>
              </a:ln>
              <a:gradFill>
                <a:gsLst>
                  <a:gs pos="5660">
                    <a:srgbClr val="0D0D0D"/>
                  </a:gs>
                  <a:gs pos="19000">
                    <a:srgbClr val="0D0D0D"/>
                  </a:gs>
                </a:gsLst>
                <a:lin ang="5400000" scaled="0"/>
              </a:gradFill>
              <a:effectLst/>
              <a:uLnTx/>
              <a:uFillTx/>
              <a:latin typeface="Segoe UI"/>
              <a:ea typeface="+mn-ea"/>
              <a:cs typeface="Segoe UI"/>
            </a:endParaRPr>
          </a:p>
        </p:txBody>
      </p:sp>
      <p:grpSp>
        <p:nvGrpSpPr>
          <p:cNvPr id="42" name="Group 41">
            <a:extLst>
              <a:ext uri="{FF2B5EF4-FFF2-40B4-BE49-F238E27FC236}">
                <a16:creationId xmlns:a16="http://schemas.microsoft.com/office/drawing/2014/main" id="{23EC4C92-BEA2-4452-9E5E-3BA4EB957378}"/>
              </a:ext>
            </a:extLst>
          </p:cNvPr>
          <p:cNvGrpSpPr/>
          <p:nvPr/>
        </p:nvGrpSpPr>
        <p:grpSpPr>
          <a:xfrm>
            <a:off x="8680133" y="3589158"/>
            <a:ext cx="443862" cy="516152"/>
            <a:chOff x="3707430" y="5632011"/>
            <a:chExt cx="373615" cy="434466"/>
          </a:xfrm>
        </p:grpSpPr>
        <p:sp>
          <p:nvSpPr>
            <p:cNvPr id="43" name="globe_2" title="Icon of a sphere made of lines">
              <a:extLst>
                <a:ext uri="{FF2B5EF4-FFF2-40B4-BE49-F238E27FC236}">
                  <a16:creationId xmlns:a16="http://schemas.microsoft.com/office/drawing/2014/main" id="{51ACF41C-DB01-4A41-AD1D-90ED4726EF2A}"/>
                </a:ext>
              </a:extLst>
            </p:cNvPr>
            <p:cNvSpPr>
              <a:spLocks noChangeAspect="1" noEditPoints="1"/>
            </p:cNvSpPr>
            <p:nvPr/>
          </p:nvSpPr>
          <p:spPr bwMode="auto">
            <a:xfrm>
              <a:off x="3707430" y="5632011"/>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 name="CellPhone_E8EA" title="Icon of a cellphone">
              <a:extLst>
                <a:ext uri="{FF2B5EF4-FFF2-40B4-BE49-F238E27FC236}">
                  <a16:creationId xmlns:a16="http://schemas.microsoft.com/office/drawing/2014/main" id="{5E30CB37-6211-4CAC-858F-7FE9A7E85C24}"/>
                </a:ext>
              </a:extLst>
            </p:cNvPr>
            <p:cNvSpPr>
              <a:spLocks noChangeAspect="1" noEditPoints="1"/>
            </p:cNvSpPr>
            <p:nvPr/>
          </p:nvSpPr>
          <p:spPr bwMode="auto">
            <a:xfrm>
              <a:off x="3927563" y="5810715"/>
              <a:ext cx="153482" cy="25576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solidFill>
              <a:schemeClr val="bg2"/>
            </a:solidFill>
            <a:ln w="15875"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38" name="Rectangle 37">
            <a:extLst>
              <a:ext uri="{FF2B5EF4-FFF2-40B4-BE49-F238E27FC236}">
                <a16:creationId xmlns:a16="http://schemas.microsoft.com/office/drawing/2014/main" id="{A0B47D20-8375-4141-B44F-9293135C9630}"/>
              </a:ext>
            </a:extLst>
          </p:cNvPr>
          <p:cNvSpPr/>
          <p:nvPr/>
        </p:nvSpPr>
        <p:spPr>
          <a:xfrm>
            <a:off x="586740" y="4411564"/>
            <a:ext cx="11022648" cy="694164"/>
          </a:xfrm>
          <a:prstGeom prst="rect">
            <a:avLst/>
          </a:prstGeom>
        </p:spPr>
        <p:txBody>
          <a:bodyPr wrap="square" lIns="0" tIns="0" r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5660">
                      <a:srgbClr val="0078D7"/>
                    </a:gs>
                    <a:gs pos="19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Why use Azure Maps?</a:t>
            </a:r>
          </a:p>
          <a:p>
            <a:pPr marL="0" marR="0" lvl="1" indent="0" algn="l" defTabSz="914367" rtl="0" eaLnBrk="1" fontAlgn="auto" latinLnBrk="0" hangingPunct="1">
              <a:lnSpc>
                <a:spcPct val="100000"/>
              </a:lnSpc>
              <a:spcBef>
                <a:spcPts val="294"/>
              </a:spcBef>
              <a:spcAft>
                <a:spcPts val="0"/>
              </a:spcAft>
              <a:buClrTx/>
              <a:buSzTx/>
              <a:buFontTx/>
              <a:buNone/>
              <a:tabLst/>
              <a:defRPr/>
            </a:pPr>
            <a:r>
              <a:rPr kumimoji="0" lang="en-US" sz="1961" b="0" i="0" u="none" strike="noStrike" kern="1200" cap="none" spc="0" normalizeH="0" baseline="0" noProof="0">
                <a:ln>
                  <a:noFill/>
                </a:ln>
                <a:gradFill>
                  <a:gsLst>
                    <a:gs pos="5660">
                      <a:srgbClr val="0D0D0D"/>
                    </a:gs>
                    <a:gs pos="19000">
                      <a:srgbClr val="0D0D0D"/>
                    </a:gs>
                  </a:gsLst>
                  <a:lin ang="5400000" scaled="0"/>
                </a:gradFill>
                <a:effectLst/>
                <a:uLnTx/>
                <a:uFillTx/>
                <a:latin typeface="Segoe UI"/>
                <a:ea typeface="+mn-ea"/>
                <a:cs typeface="+mn-cs"/>
              </a:rPr>
              <a:t>Key reasons for customers to opt for Azure Maps for their geospatial needs</a:t>
            </a:r>
          </a:p>
        </p:txBody>
      </p:sp>
      <p:sp>
        <p:nvSpPr>
          <p:cNvPr id="51" name="object 14">
            <a:extLst>
              <a:ext uri="{FF2B5EF4-FFF2-40B4-BE49-F238E27FC236}">
                <a16:creationId xmlns:a16="http://schemas.microsoft.com/office/drawing/2014/main" id="{F151961D-C88A-4A48-8762-B41F6689ED7E}"/>
              </a:ext>
            </a:extLst>
          </p:cNvPr>
          <p:cNvSpPr txBox="1"/>
          <p:nvPr/>
        </p:nvSpPr>
        <p:spPr>
          <a:xfrm>
            <a:off x="2437464" y="5870112"/>
            <a:ext cx="1828800" cy="731520"/>
          </a:xfrm>
          <a:prstGeom prst="rect">
            <a:avLst/>
          </a:prstGeom>
        </p:spPr>
        <p:txBody>
          <a:bodyPr vert="horz" wrap="square" lIns="45720" tIns="45720" rIns="45720" bIns="45720" rtlCol="0" anchor="t" anchorCtr="0">
            <a:noAutofit/>
          </a:bodyPr>
          <a:lstStyle>
            <a:defPPr>
              <a:defRPr lang="en-US"/>
            </a:defPPr>
            <a:lvl1pPr marL="12700" algn="ctr">
              <a:lnSpc>
                <a:spcPct val="90000"/>
              </a:lnSpc>
              <a:spcBef>
                <a:spcPts val="100"/>
              </a:spcBef>
              <a:defRPr sz="1400" spc="-5">
                <a:gradFill>
                  <a:gsLst>
                    <a:gs pos="5660">
                      <a:schemeClr val="tx2"/>
                    </a:gs>
                    <a:gs pos="19000">
                      <a:schemeClr val="tx2"/>
                    </a:gs>
                  </a:gsLst>
                  <a:lin ang="5400000" scaled="0"/>
                </a:gradFill>
                <a:cs typeface="Segoe UI"/>
              </a:defRPr>
            </a:lvl1pPr>
          </a:lstStyle>
          <a:p>
            <a:pPr marL="12700" marR="0" lvl="0" indent="0" algn="ctr" defTabSz="914367" rtl="0" eaLnBrk="1" fontAlgn="auto" latinLnBrk="0" hangingPunct="1">
              <a:lnSpc>
                <a:spcPct val="90000"/>
              </a:lnSpc>
              <a:spcBef>
                <a:spcPts val="100"/>
              </a:spcBef>
              <a:spcAft>
                <a:spcPts val="0"/>
              </a:spcAft>
              <a:buClrTx/>
              <a:buSzTx/>
              <a:buFontTx/>
              <a:buNone/>
              <a:tabLst/>
              <a:defRPr/>
            </a:pPr>
            <a:r>
              <a:rPr kumimoji="0" lang="en-US" sz="1300"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t>Integrated into </a:t>
            </a:r>
            <a:br>
              <a:rPr kumimoji="0" lang="en-US" sz="1300"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br>
            <a:r>
              <a:rPr kumimoji="0" lang="en-US" sz="1300"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t>Azure IoT</a:t>
            </a:r>
          </a:p>
        </p:txBody>
      </p:sp>
      <p:sp>
        <p:nvSpPr>
          <p:cNvPr id="39" name="object 14">
            <a:extLst>
              <a:ext uri="{FF2B5EF4-FFF2-40B4-BE49-F238E27FC236}">
                <a16:creationId xmlns:a16="http://schemas.microsoft.com/office/drawing/2014/main" id="{40CEF0F8-9D87-4975-AB13-9C1B71DCF859}"/>
              </a:ext>
            </a:extLst>
          </p:cNvPr>
          <p:cNvSpPr txBox="1"/>
          <p:nvPr/>
        </p:nvSpPr>
        <p:spPr>
          <a:xfrm>
            <a:off x="601980" y="5870112"/>
            <a:ext cx="1828800" cy="731520"/>
          </a:xfrm>
          <a:prstGeom prst="rect">
            <a:avLst/>
          </a:prstGeom>
        </p:spPr>
        <p:txBody>
          <a:bodyPr vert="horz" wrap="square" lIns="45720" tIns="45720" rIns="45720" bIns="45720" rtlCol="0" anchor="t" anchorCtr="0">
            <a:noAutofit/>
          </a:bodyPr>
          <a:lstStyle>
            <a:defPPr>
              <a:defRPr lang="en-US"/>
            </a:defPPr>
            <a:lvl1pPr marL="12700" algn="ctr">
              <a:lnSpc>
                <a:spcPct val="90000"/>
              </a:lnSpc>
              <a:spcBef>
                <a:spcPts val="100"/>
              </a:spcBef>
              <a:defRPr sz="1400" spc="-5">
                <a:gradFill>
                  <a:gsLst>
                    <a:gs pos="5660">
                      <a:schemeClr val="tx2"/>
                    </a:gs>
                    <a:gs pos="19000">
                      <a:schemeClr val="tx2"/>
                    </a:gs>
                  </a:gsLst>
                  <a:lin ang="5400000" scaled="0"/>
                </a:gradFill>
                <a:cs typeface="Segoe UI"/>
              </a:defRPr>
            </a:lvl1pPr>
          </a:lstStyle>
          <a:p>
            <a:pPr marL="12700" marR="0" lvl="0" indent="0" algn="ctr" defTabSz="914367" rtl="0" eaLnBrk="1" fontAlgn="auto" latinLnBrk="0" hangingPunct="1">
              <a:lnSpc>
                <a:spcPct val="90000"/>
              </a:lnSpc>
              <a:spcBef>
                <a:spcPts val="100"/>
              </a:spcBef>
              <a:spcAft>
                <a:spcPts val="0"/>
              </a:spcAft>
              <a:buClrTx/>
              <a:buSzTx/>
              <a:buFontTx/>
              <a:buNone/>
              <a:tabLst/>
              <a:defRPr/>
            </a:pPr>
            <a:r>
              <a:rPr kumimoji="0" lang="en-US" sz="1300"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t>In-vehicle use </a:t>
            </a:r>
            <a:br>
              <a:rPr kumimoji="0" lang="en-US" sz="1300"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br>
            <a:r>
              <a:rPr kumimoji="0" lang="en-US" sz="1300"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t>licensing rights</a:t>
            </a:r>
          </a:p>
        </p:txBody>
      </p:sp>
      <p:sp>
        <p:nvSpPr>
          <p:cNvPr id="57" name="object 14">
            <a:extLst>
              <a:ext uri="{FF2B5EF4-FFF2-40B4-BE49-F238E27FC236}">
                <a16:creationId xmlns:a16="http://schemas.microsoft.com/office/drawing/2014/main" id="{E72EF25D-C59A-4BD4-97DE-B29A6620D2F8}"/>
              </a:ext>
            </a:extLst>
          </p:cNvPr>
          <p:cNvSpPr txBox="1"/>
          <p:nvPr/>
        </p:nvSpPr>
        <p:spPr>
          <a:xfrm>
            <a:off x="4272948" y="5870112"/>
            <a:ext cx="1828800" cy="731520"/>
          </a:xfrm>
          <a:prstGeom prst="rect">
            <a:avLst/>
          </a:prstGeom>
        </p:spPr>
        <p:txBody>
          <a:bodyPr vert="horz" wrap="square" lIns="45720" tIns="45720" rIns="45720" bIns="45720" rtlCol="0" anchor="t" anchorCtr="0">
            <a:noAutofit/>
          </a:bodyPr>
          <a:lstStyle>
            <a:defPPr>
              <a:defRPr lang="en-US"/>
            </a:defPPr>
            <a:lvl1pPr marL="12700" algn="ctr">
              <a:lnSpc>
                <a:spcPct val="90000"/>
              </a:lnSpc>
              <a:spcBef>
                <a:spcPts val="100"/>
              </a:spcBef>
              <a:defRPr sz="1400" spc="-5">
                <a:gradFill>
                  <a:gsLst>
                    <a:gs pos="5660">
                      <a:schemeClr val="tx2"/>
                    </a:gs>
                    <a:gs pos="19000">
                      <a:schemeClr val="tx2"/>
                    </a:gs>
                  </a:gsLst>
                  <a:lin ang="5400000" scaled="0"/>
                </a:gradFill>
                <a:cs typeface="Segoe UI"/>
              </a:defRPr>
            </a:lvl1pPr>
          </a:lstStyle>
          <a:p>
            <a:pPr marL="12700" marR="0" lvl="0" indent="0" algn="ctr" defTabSz="914367" rtl="0" eaLnBrk="1" fontAlgn="auto" latinLnBrk="0" hangingPunct="1">
              <a:lnSpc>
                <a:spcPct val="90000"/>
              </a:lnSpc>
              <a:spcBef>
                <a:spcPts val="100"/>
              </a:spcBef>
              <a:spcAft>
                <a:spcPts val="0"/>
              </a:spcAft>
              <a:buClrTx/>
              <a:buSzTx/>
              <a:buFontTx/>
              <a:buNone/>
              <a:tabLst/>
              <a:defRPr/>
            </a:pPr>
            <a:r>
              <a:rPr kumimoji="0" lang="en-US" sz="1300"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t>Unrivalled traffic data </a:t>
            </a:r>
          </a:p>
          <a:p>
            <a:pPr marL="12700" marR="0" lvl="0" indent="0" algn="ctr" defTabSz="914367" rtl="0" eaLnBrk="1" fontAlgn="auto" latinLnBrk="0" hangingPunct="1">
              <a:lnSpc>
                <a:spcPct val="90000"/>
              </a:lnSpc>
              <a:spcBef>
                <a:spcPts val="100"/>
              </a:spcBef>
              <a:spcAft>
                <a:spcPts val="0"/>
              </a:spcAft>
              <a:buClrTx/>
              <a:buSzTx/>
              <a:buFontTx/>
              <a:buNone/>
              <a:tabLst/>
              <a:defRPr/>
            </a:pPr>
            <a:r>
              <a:rPr kumimoji="0" lang="en-US" sz="1300"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t>and commercial routing</a:t>
            </a:r>
          </a:p>
        </p:txBody>
      </p:sp>
      <p:cxnSp>
        <p:nvCxnSpPr>
          <p:cNvPr id="59" name="Straight Connector 58">
            <a:extLst>
              <a:ext uri="{FF2B5EF4-FFF2-40B4-BE49-F238E27FC236}">
                <a16:creationId xmlns:a16="http://schemas.microsoft.com/office/drawing/2014/main" id="{9AC68010-1CE2-4A35-A21E-A44DAE9E4778}"/>
              </a:ext>
            </a:extLst>
          </p:cNvPr>
          <p:cNvCxnSpPr>
            <a:cxnSpLocks/>
          </p:cNvCxnSpPr>
          <p:nvPr/>
        </p:nvCxnSpPr>
        <p:spPr>
          <a:xfrm>
            <a:off x="3242747" y="7225753"/>
            <a:ext cx="2371309" cy="0"/>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object 35">
            <a:extLst>
              <a:ext uri="{FF2B5EF4-FFF2-40B4-BE49-F238E27FC236}">
                <a16:creationId xmlns:a16="http://schemas.microsoft.com/office/drawing/2014/main" id="{1B6CAEAF-F525-4FE4-9307-4398ED82DC72}"/>
              </a:ext>
            </a:extLst>
          </p:cNvPr>
          <p:cNvSpPr txBox="1"/>
          <p:nvPr/>
        </p:nvSpPr>
        <p:spPr>
          <a:xfrm>
            <a:off x="6108432" y="5870112"/>
            <a:ext cx="1828800" cy="731520"/>
          </a:xfrm>
          <a:prstGeom prst="rect">
            <a:avLst/>
          </a:prstGeom>
        </p:spPr>
        <p:txBody>
          <a:bodyPr vert="horz" wrap="square" lIns="45720" tIns="45720" rIns="45720" bIns="45720" rtlCol="0" anchor="t" anchorCtr="0">
            <a:noAutofit/>
          </a:bodyPr>
          <a:lstStyle>
            <a:defPPr>
              <a:defRPr lang="en-US"/>
            </a:defPPr>
            <a:lvl1pPr marL="12700" algn="ctr">
              <a:lnSpc>
                <a:spcPct val="90000"/>
              </a:lnSpc>
              <a:spcBef>
                <a:spcPts val="100"/>
              </a:spcBef>
              <a:defRPr sz="1400" spc="-5">
                <a:gradFill>
                  <a:gsLst>
                    <a:gs pos="5660">
                      <a:schemeClr val="tx2"/>
                    </a:gs>
                    <a:gs pos="19000">
                      <a:schemeClr val="tx2"/>
                    </a:gs>
                  </a:gsLst>
                  <a:lin ang="5400000" scaled="0"/>
                </a:gradFill>
                <a:cs typeface="Segoe UI"/>
              </a:defRPr>
            </a:lvl1pPr>
          </a:lstStyle>
          <a:p>
            <a:pPr marL="12700" marR="0" lvl="0" indent="0" algn="ctr" defTabSz="914367" rtl="0" eaLnBrk="1" fontAlgn="auto" latinLnBrk="0" hangingPunct="1">
              <a:lnSpc>
                <a:spcPct val="90000"/>
              </a:lnSpc>
              <a:spcBef>
                <a:spcPts val="100"/>
              </a:spcBef>
              <a:spcAft>
                <a:spcPts val="0"/>
              </a:spcAft>
              <a:buClrTx/>
              <a:buSzTx/>
              <a:buFontTx/>
              <a:buNone/>
              <a:tabLst/>
              <a:defRPr/>
            </a:pPr>
            <a:r>
              <a:rPr kumimoji="0" lang="en-US" sz="1300"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t>Custom data visualizations </a:t>
            </a:r>
            <a:endParaRPr kumimoji="0" sz="1300"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endParaRPr>
          </a:p>
        </p:txBody>
      </p:sp>
      <p:sp>
        <p:nvSpPr>
          <p:cNvPr id="68" name="object 14">
            <a:extLst>
              <a:ext uri="{FF2B5EF4-FFF2-40B4-BE49-F238E27FC236}">
                <a16:creationId xmlns:a16="http://schemas.microsoft.com/office/drawing/2014/main" id="{F055BE1C-C58A-4413-94A3-EBF4DA007E51}"/>
              </a:ext>
            </a:extLst>
          </p:cNvPr>
          <p:cNvSpPr txBox="1"/>
          <p:nvPr/>
        </p:nvSpPr>
        <p:spPr>
          <a:xfrm>
            <a:off x="7943916" y="5870112"/>
            <a:ext cx="1828800" cy="731520"/>
          </a:xfrm>
          <a:prstGeom prst="rect">
            <a:avLst/>
          </a:prstGeom>
        </p:spPr>
        <p:txBody>
          <a:bodyPr vert="horz" wrap="square" lIns="45720" tIns="45720" rIns="45720" bIns="45720" rtlCol="0" anchor="t" anchorCtr="0">
            <a:noAutofit/>
          </a:bodyPr>
          <a:lstStyle>
            <a:defPPr>
              <a:defRPr lang="en-US"/>
            </a:defPPr>
            <a:lvl1pPr marL="12700" algn="ctr">
              <a:lnSpc>
                <a:spcPct val="90000"/>
              </a:lnSpc>
              <a:spcBef>
                <a:spcPts val="100"/>
              </a:spcBef>
              <a:defRPr sz="1400" spc="-5">
                <a:gradFill>
                  <a:gsLst>
                    <a:gs pos="5660">
                      <a:schemeClr val="tx2"/>
                    </a:gs>
                    <a:gs pos="19000">
                      <a:schemeClr val="tx2"/>
                    </a:gs>
                  </a:gsLst>
                  <a:lin ang="5400000" scaled="0"/>
                </a:gradFill>
                <a:cs typeface="Segoe UI"/>
              </a:defRPr>
            </a:lvl1pPr>
          </a:lstStyle>
          <a:p>
            <a:pPr marL="12700" marR="0" lvl="0" indent="0" algn="ctr" defTabSz="914367" rtl="0" eaLnBrk="1" fontAlgn="auto" latinLnBrk="0" hangingPunct="1">
              <a:lnSpc>
                <a:spcPct val="90000"/>
              </a:lnSpc>
              <a:spcBef>
                <a:spcPts val="100"/>
              </a:spcBef>
              <a:spcAft>
                <a:spcPts val="0"/>
              </a:spcAft>
              <a:buClrTx/>
              <a:buSzTx/>
              <a:buFontTx/>
              <a:buNone/>
              <a:tabLst/>
              <a:defRPr/>
            </a:pPr>
            <a:r>
              <a:rPr kumimoji="0" lang="en-US" sz="1300"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t>30+ languages </a:t>
            </a:r>
            <a:br>
              <a:rPr kumimoji="0" lang="en-US" sz="1300"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br>
            <a:r>
              <a:rPr kumimoji="0" lang="en-US" sz="1300"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t>supported</a:t>
            </a:r>
          </a:p>
        </p:txBody>
      </p:sp>
      <p:sp>
        <p:nvSpPr>
          <p:cNvPr id="73" name="object 14">
            <a:extLst>
              <a:ext uri="{FF2B5EF4-FFF2-40B4-BE49-F238E27FC236}">
                <a16:creationId xmlns:a16="http://schemas.microsoft.com/office/drawing/2014/main" id="{1AF9D17E-4CD7-4F2E-9FA2-C0BF4CF1A828}"/>
              </a:ext>
            </a:extLst>
          </p:cNvPr>
          <p:cNvSpPr txBox="1"/>
          <p:nvPr/>
        </p:nvSpPr>
        <p:spPr>
          <a:xfrm>
            <a:off x="9779399" y="5870112"/>
            <a:ext cx="1828800" cy="731520"/>
          </a:xfrm>
          <a:prstGeom prst="rect">
            <a:avLst/>
          </a:prstGeom>
        </p:spPr>
        <p:txBody>
          <a:bodyPr vert="horz" wrap="square" lIns="45720" tIns="45720" rIns="45720" bIns="45720" rtlCol="0" anchor="t" anchorCtr="0">
            <a:noAutofit/>
          </a:bodyPr>
          <a:lstStyle>
            <a:defPPr>
              <a:defRPr lang="en-US"/>
            </a:defPPr>
            <a:lvl1pPr marL="12700" algn="ctr">
              <a:lnSpc>
                <a:spcPct val="90000"/>
              </a:lnSpc>
              <a:spcBef>
                <a:spcPts val="100"/>
              </a:spcBef>
              <a:defRPr sz="1400" spc="-5">
                <a:gradFill>
                  <a:gsLst>
                    <a:gs pos="5660">
                      <a:schemeClr val="tx2"/>
                    </a:gs>
                    <a:gs pos="19000">
                      <a:schemeClr val="tx2"/>
                    </a:gs>
                  </a:gsLst>
                  <a:lin ang="5400000" scaled="0"/>
                </a:gradFill>
                <a:cs typeface="Segoe UI"/>
              </a:defRPr>
            </a:lvl1pPr>
          </a:lstStyle>
          <a:p>
            <a:pPr marL="12700" marR="0" lvl="0" indent="0" algn="ctr" defTabSz="914367" rtl="0" eaLnBrk="1" fontAlgn="auto" latinLnBrk="0" hangingPunct="1">
              <a:lnSpc>
                <a:spcPct val="90000"/>
              </a:lnSpc>
              <a:spcBef>
                <a:spcPts val="100"/>
              </a:spcBef>
              <a:spcAft>
                <a:spcPts val="0"/>
              </a:spcAft>
              <a:buClrTx/>
              <a:buSzTx/>
              <a:buFontTx/>
              <a:buNone/>
              <a:tabLst/>
              <a:defRPr/>
            </a:pPr>
            <a:r>
              <a:rPr kumimoji="0" lang="en-US" sz="1300"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t>Enterprise </a:t>
            </a:r>
            <a:br>
              <a:rPr kumimoji="0" lang="en-US" sz="1300"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br>
            <a:r>
              <a:rPr kumimoji="0" lang="en-US" sz="1300"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t>scale</a:t>
            </a:r>
          </a:p>
        </p:txBody>
      </p:sp>
      <p:sp>
        <p:nvSpPr>
          <p:cNvPr id="45" name="object 14">
            <a:extLst>
              <a:ext uri="{FF2B5EF4-FFF2-40B4-BE49-F238E27FC236}">
                <a16:creationId xmlns:a16="http://schemas.microsoft.com/office/drawing/2014/main" id="{5BA83E0B-C224-479A-8BE7-2DF6E30C2A34}"/>
              </a:ext>
            </a:extLst>
          </p:cNvPr>
          <p:cNvSpPr txBox="1"/>
          <p:nvPr/>
        </p:nvSpPr>
        <p:spPr>
          <a:xfrm>
            <a:off x="5367625" y="2482830"/>
            <a:ext cx="3075997" cy="822960"/>
          </a:xfrm>
          <a:prstGeom prst="rect">
            <a:avLst/>
          </a:prstGeom>
        </p:spPr>
        <p:txBody>
          <a:bodyPr vert="horz" wrap="square" lIns="182880" tIns="146304" rIns="0" bIns="146304" rtlCol="0" anchor="ctr" anchorCtr="0">
            <a:noAutofit/>
          </a:bodyPr>
          <a:lstStyle/>
          <a:p>
            <a:pPr marL="12450" marR="0" lvl="0" indent="0" algn="l" defTabSz="914367" rtl="0" eaLnBrk="1" fontAlgn="auto" latinLnBrk="0" hangingPunct="1">
              <a:lnSpc>
                <a:spcPct val="90000"/>
              </a:lnSpc>
              <a:spcBef>
                <a:spcPts val="98"/>
              </a:spcBef>
              <a:spcAft>
                <a:spcPts val="0"/>
              </a:spcAft>
              <a:buClrTx/>
              <a:buSzTx/>
              <a:buFontTx/>
              <a:buNone/>
              <a:tabLst/>
              <a:defRPr/>
            </a:pPr>
            <a:r>
              <a:rPr kumimoji="0" lang="en-US" sz="1765"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t>Field service</a:t>
            </a:r>
            <a:endParaRPr kumimoji="0" lang="en-US" sz="1765" b="0" i="0" u="none" strike="noStrike" kern="1200" cap="none" spc="0" normalizeH="0" baseline="0" noProof="0">
              <a:ln>
                <a:noFill/>
              </a:ln>
              <a:gradFill>
                <a:gsLst>
                  <a:gs pos="5660">
                    <a:srgbClr val="0D0D0D"/>
                  </a:gs>
                  <a:gs pos="19000">
                    <a:srgbClr val="0D0D0D"/>
                  </a:gs>
                </a:gsLst>
                <a:lin ang="5400000" scaled="0"/>
              </a:gradFill>
              <a:effectLst/>
              <a:uLnTx/>
              <a:uFillTx/>
              <a:latin typeface="Segoe UI"/>
              <a:ea typeface="+mn-ea"/>
              <a:cs typeface="Segoe UI"/>
            </a:endParaRPr>
          </a:p>
        </p:txBody>
      </p:sp>
      <p:sp>
        <p:nvSpPr>
          <p:cNvPr id="58" name="tool">
            <a:extLst>
              <a:ext uri="{FF2B5EF4-FFF2-40B4-BE49-F238E27FC236}">
                <a16:creationId xmlns:a16="http://schemas.microsoft.com/office/drawing/2014/main" id="{970B5D13-2114-4126-9207-4DABDBF01CD4}"/>
              </a:ext>
            </a:extLst>
          </p:cNvPr>
          <p:cNvSpPr>
            <a:spLocks noChangeAspect="1" noEditPoints="1"/>
          </p:cNvSpPr>
          <p:nvPr/>
        </p:nvSpPr>
        <p:spPr bwMode="auto">
          <a:xfrm>
            <a:off x="4965903" y="2619952"/>
            <a:ext cx="335450" cy="472516"/>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 name="object 14">
            <a:extLst>
              <a:ext uri="{FF2B5EF4-FFF2-40B4-BE49-F238E27FC236}">
                <a16:creationId xmlns:a16="http://schemas.microsoft.com/office/drawing/2014/main" id="{28C9C5A7-551A-42D9-BD1C-EC1C7AFCBA02}"/>
              </a:ext>
            </a:extLst>
          </p:cNvPr>
          <p:cNvSpPr txBox="1"/>
          <p:nvPr/>
        </p:nvSpPr>
        <p:spPr>
          <a:xfrm>
            <a:off x="5367625" y="3397363"/>
            <a:ext cx="3075997" cy="822960"/>
          </a:xfrm>
          <a:prstGeom prst="rect">
            <a:avLst/>
          </a:prstGeom>
        </p:spPr>
        <p:txBody>
          <a:bodyPr vert="horz" wrap="square" lIns="182880" tIns="146304" rIns="0" bIns="146304" rtlCol="0" anchor="ctr" anchorCtr="0">
            <a:noAutofit/>
          </a:bodyPr>
          <a:lstStyle/>
          <a:p>
            <a:pPr marL="12450" marR="0" lvl="0" indent="0" algn="l" defTabSz="914367" rtl="0" eaLnBrk="1" fontAlgn="auto" latinLnBrk="0" hangingPunct="1">
              <a:lnSpc>
                <a:spcPct val="90000"/>
              </a:lnSpc>
              <a:spcBef>
                <a:spcPts val="98"/>
              </a:spcBef>
              <a:spcAft>
                <a:spcPts val="0"/>
              </a:spcAft>
              <a:buClrTx/>
              <a:buSzTx/>
              <a:buFontTx/>
              <a:buNone/>
              <a:tabLst/>
              <a:defRPr/>
            </a:pPr>
            <a:r>
              <a:rPr kumimoji="0" lang="en-US" sz="1765" b="0" i="0" u="none" strike="noStrike" kern="1200" cap="none" spc="-5" normalizeH="0" baseline="0" noProof="0">
                <a:ln>
                  <a:noFill/>
                </a:ln>
                <a:gradFill>
                  <a:gsLst>
                    <a:gs pos="5660">
                      <a:srgbClr val="0D0D0D"/>
                    </a:gs>
                    <a:gs pos="19000">
                      <a:srgbClr val="0D0D0D"/>
                    </a:gs>
                  </a:gsLst>
                  <a:lin ang="5400000" scaled="0"/>
                </a:gradFill>
                <a:effectLst/>
                <a:uLnTx/>
                <a:uFillTx/>
                <a:latin typeface="Segoe UI"/>
                <a:ea typeface="+mn-ea"/>
                <a:cs typeface="Segoe UI"/>
              </a:rPr>
              <a:t>Logistics</a:t>
            </a:r>
            <a:endParaRPr kumimoji="0" lang="en-US" sz="1765" b="0" i="0" u="none" strike="noStrike" kern="1200" cap="none" spc="0" normalizeH="0" baseline="0" noProof="0">
              <a:ln>
                <a:noFill/>
              </a:ln>
              <a:gradFill>
                <a:gsLst>
                  <a:gs pos="5660">
                    <a:srgbClr val="0D0D0D"/>
                  </a:gs>
                  <a:gs pos="19000">
                    <a:srgbClr val="0D0D0D"/>
                  </a:gs>
                </a:gsLst>
                <a:lin ang="5400000" scaled="0"/>
              </a:gradFill>
              <a:effectLst/>
              <a:uLnTx/>
              <a:uFillTx/>
              <a:latin typeface="Segoe UI"/>
              <a:ea typeface="+mn-ea"/>
              <a:cs typeface="Segoe UI"/>
            </a:endParaRPr>
          </a:p>
        </p:txBody>
      </p:sp>
      <p:sp>
        <p:nvSpPr>
          <p:cNvPr id="69" name="globe_2">
            <a:extLst>
              <a:ext uri="{FF2B5EF4-FFF2-40B4-BE49-F238E27FC236}">
                <a16:creationId xmlns:a16="http://schemas.microsoft.com/office/drawing/2014/main" id="{6E0113FD-0474-48D3-B93B-84ACB073EDB3}"/>
              </a:ext>
            </a:extLst>
          </p:cNvPr>
          <p:cNvSpPr>
            <a:spLocks noChangeAspect="1" noEditPoints="1"/>
          </p:cNvSpPr>
          <p:nvPr/>
        </p:nvSpPr>
        <p:spPr bwMode="auto">
          <a:xfrm>
            <a:off x="4911697" y="3574212"/>
            <a:ext cx="443862" cy="443862"/>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 name="car_3" title="Icon of a car with signal lines on top">
            <a:extLst>
              <a:ext uri="{FF2B5EF4-FFF2-40B4-BE49-F238E27FC236}">
                <a16:creationId xmlns:a16="http://schemas.microsoft.com/office/drawing/2014/main" id="{37C578C5-C2E3-4560-AB2D-CE13A933DF5B}"/>
              </a:ext>
            </a:extLst>
          </p:cNvPr>
          <p:cNvSpPr>
            <a:spLocks noChangeAspect="1" noEditPoints="1"/>
          </p:cNvSpPr>
          <p:nvPr/>
        </p:nvSpPr>
        <p:spPr bwMode="auto">
          <a:xfrm flipH="1">
            <a:off x="1207541" y="5309965"/>
            <a:ext cx="617678" cy="463921"/>
          </a:xfrm>
          <a:custGeom>
            <a:avLst/>
            <a:gdLst>
              <a:gd name="T0" fmla="*/ 27 w 339"/>
              <a:gd name="T1" fmla="*/ 121 h 255"/>
              <a:gd name="T2" fmla="*/ 287 w 339"/>
              <a:gd name="T3" fmla="*/ 121 h 255"/>
              <a:gd name="T4" fmla="*/ 339 w 339"/>
              <a:gd name="T5" fmla="*/ 173 h 255"/>
              <a:gd name="T6" fmla="*/ 339 w 339"/>
              <a:gd name="T7" fmla="*/ 211 h 255"/>
              <a:gd name="T8" fmla="*/ 318 w 339"/>
              <a:gd name="T9" fmla="*/ 233 h 255"/>
              <a:gd name="T10" fmla="*/ 294 w 339"/>
              <a:gd name="T11" fmla="*/ 233 h 255"/>
              <a:gd name="T12" fmla="*/ 297 w 339"/>
              <a:gd name="T13" fmla="*/ 219 h 255"/>
              <a:gd name="T14" fmla="*/ 261 w 339"/>
              <a:gd name="T15" fmla="*/ 182 h 255"/>
              <a:gd name="T16" fmla="*/ 224 w 339"/>
              <a:gd name="T17" fmla="*/ 219 h 255"/>
              <a:gd name="T18" fmla="*/ 261 w 339"/>
              <a:gd name="T19" fmla="*/ 255 h 255"/>
              <a:gd name="T20" fmla="*/ 297 w 339"/>
              <a:gd name="T21" fmla="*/ 219 h 255"/>
              <a:gd name="T22" fmla="*/ 95 w 339"/>
              <a:gd name="T23" fmla="*/ 219 h 255"/>
              <a:gd name="T24" fmla="*/ 59 w 339"/>
              <a:gd name="T25" fmla="*/ 182 h 255"/>
              <a:gd name="T26" fmla="*/ 22 w 339"/>
              <a:gd name="T27" fmla="*/ 219 h 255"/>
              <a:gd name="T28" fmla="*/ 59 w 339"/>
              <a:gd name="T29" fmla="*/ 255 h 255"/>
              <a:gd name="T30" fmla="*/ 95 w 339"/>
              <a:gd name="T31" fmla="*/ 219 h 255"/>
              <a:gd name="T32" fmla="*/ 63 w 339"/>
              <a:gd name="T33" fmla="*/ 51 h 255"/>
              <a:gd name="T34" fmla="*/ 10 w 339"/>
              <a:gd name="T35" fmla="*/ 156 h 255"/>
              <a:gd name="T36" fmla="*/ 0 w 339"/>
              <a:gd name="T37" fmla="*/ 190 h 255"/>
              <a:gd name="T38" fmla="*/ 24 w 339"/>
              <a:gd name="T39" fmla="*/ 229 h 255"/>
              <a:gd name="T40" fmla="*/ 271 w 339"/>
              <a:gd name="T41" fmla="*/ 121 h 255"/>
              <a:gd name="T42" fmla="*/ 222 w 339"/>
              <a:gd name="T43" fmla="*/ 66 h 255"/>
              <a:gd name="T44" fmla="*/ 194 w 339"/>
              <a:gd name="T45" fmla="*/ 51 h 255"/>
              <a:gd name="T46" fmla="*/ 37 w 339"/>
              <a:gd name="T47" fmla="*/ 51 h 255"/>
              <a:gd name="T48" fmla="*/ 227 w 339"/>
              <a:gd name="T49" fmla="*/ 233 h 255"/>
              <a:gd name="T50" fmla="*/ 92 w 339"/>
              <a:gd name="T51" fmla="*/ 233 h 255"/>
              <a:gd name="T52" fmla="*/ 134 w 339"/>
              <a:gd name="T53" fmla="*/ 233 h 255"/>
              <a:gd name="T54" fmla="*/ 134 w 339"/>
              <a:gd name="T55" fmla="*/ 51 h 255"/>
              <a:gd name="T56" fmla="*/ 258 w 339"/>
              <a:gd name="T57" fmla="*/ 66 h 255"/>
              <a:gd name="T58" fmla="*/ 269 w 339"/>
              <a:gd name="T59" fmla="*/ 70 h 255"/>
              <a:gd name="T60" fmla="*/ 273 w 339"/>
              <a:gd name="T61" fmla="*/ 79 h 255"/>
              <a:gd name="T62" fmla="*/ 305 w 339"/>
              <a:gd name="T63" fmla="*/ 79 h 255"/>
              <a:gd name="T64" fmla="*/ 292 w 339"/>
              <a:gd name="T65" fmla="*/ 47 h 255"/>
              <a:gd name="T66" fmla="*/ 258 w 339"/>
              <a:gd name="T67" fmla="*/ 33 h 255"/>
              <a:gd name="T68" fmla="*/ 339 w 339"/>
              <a:gd name="T69" fmla="*/ 79 h 255"/>
              <a:gd name="T70" fmla="*/ 316 w 339"/>
              <a:gd name="T71" fmla="*/ 23 h 255"/>
              <a:gd name="T72" fmla="*/ 258 w 339"/>
              <a:gd name="T7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9" h="255">
                <a:moveTo>
                  <a:pt x="27" y="121"/>
                </a:moveTo>
                <a:cubicBezTo>
                  <a:pt x="287" y="121"/>
                  <a:pt x="287" y="121"/>
                  <a:pt x="287" y="121"/>
                </a:cubicBezTo>
                <a:cubicBezTo>
                  <a:pt x="316" y="121"/>
                  <a:pt x="339" y="145"/>
                  <a:pt x="339" y="173"/>
                </a:cubicBezTo>
                <a:cubicBezTo>
                  <a:pt x="339" y="211"/>
                  <a:pt x="339" y="211"/>
                  <a:pt x="339" y="211"/>
                </a:cubicBezTo>
                <a:cubicBezTo>
                  <a:pt x="339" y="223"/>
                  <a:pt x="330" y="233"/>
                  <a:pt x="318" y="233"/>
                </a:cubicBezTo>
                <a:cubicBezTo>
                  <a:pt x="294" y="233"/>
                  <a:pt x="294" y="233"/>
                  <a:pt x="294" y="233"/>
                </a:cubicBezTo>
                <a:moveTo>
                  <a:pt x="297" y="219"/>
                </a:moveTo>
                <a:cubicBezTo>
                  <a:pt x="297" y="199"/>
                  <a:pt x="281" y="182"/>
                  <a:pt x="261" y="182"/>
                </a:cubicBezTo>
                <a:cubicBezTo>
                  <a:pt x="241" y="182"/>
                  <a:pt x="224" y="199"/>
                  <a:pt x="224" y="219"/>
                </a:cubicBezTo>
                <a:cubicBezTo>
                  <a:pt x="224" y="239"/>
                  <a:pt x="241" y="255"/>
                  <a:pt x="261" y="255"/>
                </a:cubicBezTo>
                <a:cubicBezTo>
                  <a:pt x="281" y="255"/>
                  <a:pt x="297" y="239"/>
                  <a:pt x="297" y="219"/>
                </a:cubicBezTo>
                <a:close/>
                <a:moveTo>
                  <a:pt x="95" y="219"/>
                </a:moveTo>
                <a:cubicBezTo>
                  <a:pt x="95" y="199"/>
                  <a:pt x="79" y="182"/>
                  <a:pt x="59" y="182"/>
                </a:cubicBezTo>
                <a:cubicBezTo>
                  <a:pt x="39" y="182"/>
                  <a:pt x="22" y="199"/>
                  <a:pt x="22" y="219"/>
                </a:cubicBezTo>
                <a:cubicBezTo>
                  <a:pt x="22" y="239"/>
                  <a:pt x="39" y="255"/>
                  <a:pt x="59" y="255"/>
                </a:cubicBezTo>
                <a:cubicBezTo>
                  <a:pt x="79" y="255"/>
                  <a:pt x="95" y="239"/>
                  <a:pt x="95" y="219"/>
                </a:cubicBezTo>
                <a:close/>
                <a:moveTo>
                  <a:pt x="63" y="51"/>
                </a:moveTo>
                <a:cubicBezTo>
                  <a:pt x="63" y="51"/>
                  <a:pt x="20" y="135"/>
                  <a:pt x="10" y="156"/>
                </a:cubicBezTo>
                <a:cubicBezTo>
                  <a:pt x="0" y="178"/>
                  <a:pt x="0" y="190"/>
                  <a:pt x="0" y="190"/>
                </a:cubicBezTo>
                <a:cubicBezTo>
                  <a:pt x="0" y="205"/>
                  <a:pt x="9" y="224"/>
                  <a:pt x="24" y="229"/>
                </a:cubicBezTo>
                <a:moveTo>
                  <a:pt x="271" y="121"/>
                </a:moveTo>
                <a:cubicBezTo>
                  <a:pt x="222" y="66"/>
                  <a:pt x="222" y="66"/>
                  <a:pt x="222" y="66"/>
                </a:cubicBezTo>
                <a:cubicBezTo>
                  <a:pt x="214" y="56"/>
                  <a:pt x="206" y="51"/>
                  <a:pt x="194" y="51"/>
                </a:cubicBezTo>
                <a:cubicBezTo>
                  <a:pt x="37" y="51"/>
                  <a:pt x="37" y="51"/>
                  <a:pt x="37" y="51"/>
                </a:cubicBezTo>
                <a:moveTo>
                  <a:pt x="227" y="233"/>
                </a:moveTo>
                <a:cubicBezTo>
                  <a:pt x="92" y="233"/>
                  <a:pt x="92" y="233"/>
                  <a:pt x="92" y="233"/>
                </a:cubicBezTo>
                <a:moveTo>
                  <a:pt x="134" y="233"/>
                </a:moveTo>
                <a:cubicBezTo>
                  <a:pt x="134" y="51"/>
                  <a:pt x="134" y="51"/>
                  <a:pt x="134" y="51"/>
                </a:cubicBezTo>
                <a:moveTo>
                  <a:pt x="258" y="66"/>
                </a:moveTo>
                <a:cubicBezTo>
                  <a:pt x="262" y="66"/>
                  <a:pt x="266" y="67"/>
                  <a:pt x="269" y="70"/>
                </a:cubicBezTo>
                <a:cubicBezTo>
                  <a:pt x="271" y="73"/>
                  <a:pt x="273" y="76"/>
                  <a:pt x="273" y="79"/>
                </a:cubicBezTo>
                <a:moveTo>
                  <a:pt x="305" y="79"/>
                </a:moveTo>
                <a:cubicBezTo>
                  <a:pt x="305" y="67"/>
                  <a:pt x="301" y="56"/>
                  <a:pt x="292" y="47"/>
                </a:cubicBezTo>
                <a:cubicBezTo>
                  <a:pt x="283" y="38"/>
                  <a:pt x="270" y="33"/>
                  <a:pt x="258" y="33"/>
                </a:cubicBezTo>
                <a:moveTo>
                  <a:pt x="339" y="79"/>
                </a:moveTo>
                <a:cubicBezTo>
                  <a:pt x="339" y="59"/>
                  <a:pt x="331" y="39"/>
                  <a:pt x="316" y="23"/>
                </a:cubicBezTo>
                <a:cubicBezTo>
                  <a:pt x="300" y="7"/>
                  <a:pt x="279" y="0"/>
                  <a:pt x="258" y="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 name="location_3">
            <a:extLst>
              <a:ext uri="{FF2B5EF4-FFF2-40B4-BE49-F238E27FC236}">
                <a16:creationId xmlns:a16="http://schemas.microsoft.com/office/drawing/2014/main" id="{8026EC85-D252-4682-9E82-E5C351273022}"/>
              </a:ext>
            </a:extLst>
          </p:cNvPr>
          <p:cNvSpPr>
            <a:spLocks noChangeAspect="1" noEditPoints="1"/>
          </p:cNvSpPr>
          <p:nvPr/>
        </p:nvSpPr>
        <p:spPr bwMode="auto">
          <a:xfrm>
            <a:off x="3074019" y="5309965"/>
            <a:ext cx="555690" cy="466849"/>
          </a:xfrm>
          <a:custGeom>
            <a:avLst/>
            <a:gdLst>
              <a:gd name="T0" fmla="*/ 84 w 360"/>
              <a:gd name="T1" fmla="*/ 109 h 302"/>
              <a:gd name="T2" fmla="*/ 276 w 360"/>
              <a:gd name="T3" fmla="*/ 109 h 302"/>
              <a:gd name="T4" fmla="*/ 360 w 360"/>
              <a:gd name="T5" fmla="*/ 302 h 302"/>
              <a:gd name="T6" fmla="*/ 0 w 360"/>
              <a:gd name="T7" fmla="*/ 302 h 302"/>
              <a:gd name="T8" fmla="*/ 84 w 360"/>
              <a:gd name="T9" fmla="*/ 109 h 302"/>
              <a:gd name="T10" fmla="*/ 180 w 360"/>
              <a:gd name="T11" fmla="*/ 72 h 302"/>
              <a:gd name="T12" fmla="*/ 216 w 360"/>
              <a:gd name="T13" fmla="*/ 36 h 302"/>
              <a:gd name="T14" fmla="*/ 180 w 360"/>
              <a:gd name="T15" fmla="*/ 0 h 302"/>
              <a:gd name="T16" fmla="*/ 144 w 360"/>
              <a:gd name="T17" fmla="*/ 36 h 302"/>
              <a:gd name="T18" fmla="*/ 180 w 360"/>
              <a:gd name="T19" fmla="*/ 72 h 302"/>
              <a:gd name="T20" fmla="*/ 180 w 360"/>
              <a:gd name="T21" fmla="*/ 72 h 302"/>
              <a:gd name="T22" fmla="*/ 180 w 360"/>
              <a:gd name="T23" fmla="*/ 216 h 302"/>
              <a:gd name="T24" fmla="*/ 36 w 360"/>
              <a:gd name="T25" fmla="*/ 218 h 302"/>
              <a:gd name="T26" fmla="*/ 323 w 360"/>
              <a:gd name="T27" fmla="*/ 218 h 302"/>
              <a:gd name="T28" fmla="*/ 111 w 360"/>
              <a:gd name="T29" fmla="*/ 218 h 302"/>
              <a:gd name="T30" fmla="*/ 94 w 360"/>
              <a:gd name="T31" fmla="*/ 302 h 302"/>
              <a:gd name="T32" fmla="*/ 267 w 360"/>
              <a:gd name="T33" fmla="*/ 302 h 302"/>
              <a:gd name="T34" fmla="*/ 222 w 360"/>
              <a:gd name="T35" fmla="*/ 109 h 302"/>
              <a:gd name="T36" fmla="*/ 236 w 360"/>
              <a:gd name="T37" fmla="*/ 169 h 302"/>
              <a:gd name="T38" fmla="*/ 302 w 360"/>
              <a:gd name="T39" fmla="*/ 16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0" h="302">
                <a:moveTo>
                  <a:pt x="84" y="109"/>
                </a:moveTo>
                <a:cubicBezTo>
                  <a:pt x="276" y="109"/>
                  <a:pt x="276" y="109"/>
                  <a:pt x="276" y="109"/>
                </a:cubicBezTo>
                <a:cubicBezTo>
                  <a:pt x="360" y="302"/>
                  <a:pt x="360" y="302"/>
                  <a:pt x="360" y="302"/>
                </a:cubicBezTo>
                <a:cubicBezTo>
                  <a:pt x="0" y="302"/>
                  <a:pt x="0" y="302"/>
                  <a:pt x="0" y="302"/>
                </a:cubicBezTo>
                <a:lnTo>
                  <a:pt x="84" y="109"/>
                </a:lnTo>
                <a:close/>
                <a:moveTo>
                  <a:pt x="180" y="72"/>
                </a:moveTo>
                <a:cubicBezTo>
                  <a:pt x="200" y="72"/>
                  <a:pt x="216" y="56"/>
                  <a:pt x="216" y="36"/>
                </a:cubicBezTo>
                <a:cubicBezTo>
                  <a:pt x="216" y="16"/>
                  <a:pt x="200" y="0"/>
                  <a:pt x="180" y="0"/>
                </a:cubicBezTo>
                <a:cubicBezTo>
                  <a:pt x="160" y="0"/>
                  <a:pt x="144" y="16"/>
                  <a:pt x="144" y="36"/>
                </a:cubicBezTo>
                <a:cubicBezTo>
                  <a:pt x="144" y="56"/>
                  <a:pt x="160" y="72"/>
                  <a:pt x="180" y="72"/>
                </a:cubicBezTo>
                <a:close/>
                <a:moveTo>
                  <a:pt x="180" y="72"/>
                </a:moveTo>
                <a:cubicBezTo>
                  <a:pt x="180" y="216"/>
                  <a:pt x="180" y="216"/>
                  <a:pt x="180" y="216"/>
                </a:cubicBezTo>
                <a:moveTo>
                  <a:pt x="36" y="218"/>
                </a:moveTo>
                <a:cubicBezTo>
                  <a:pt x="323" y="218"/>
                  <a:pt x="323" y="218"/>
                  <a:pt x="323" y="218"/>
                </a:cubicBezTo>
                <a:moveTo>
                  <a:pt x="111" y="218"/>
                </a:moveTo>
                <a:cubicBezTo>
                  <a:pt x="94" y="302"/>
                  <a:pt x="94" y="302"/>
                  <a:pt x="94" y="302"/>
                </a:cubicBezTo>
                <a:moveTo>
                  <a:pt x="267" y="302"/>
                </a:moveTo>
                <a:cubicBezTo>
                  <a:pt x="222" y="109"/>
                  <a:pt x="222" y="109"/>
                  <a:pt x="222" y="109"/>
                </a:cubicBezTo>
                <a:moveTo>
                  <a:pt x="236" y="169"/>
                </a:moveTo>
                <a:cubicBezTo>
                  <a:pt x="302" y="169"/>
                  <a:pt x="302" y="169"/>
                  <a:pt x="302" y="16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5" name="DownloadMap_E826">
            <a:extLst>
              <a:ext uri="{FF2B5EF4-FFF2-40B4-BE49-F238E27FC236}">
                <a16:creationId xmlns:a16="http://schemas.microsoft.com/office/drawing/2014/main" id="{EFECAD71-31C4-4798-8943-C77C67EB7888}"/>
              </a:ext>
            </a:extLst>
          </p:cNvPr>
          <p:cNvSpPr>
            <a:spLocks noChangeAspect="1" noEditPoints="1"/>
          </p:cNvSpPr>
          <p:nvPr/>
        </p:nvSpPr>
        <p:spPr bwMode="auto">
          <a:xfrm>
            <a:off x="4901969" y="5309965"/>
            <a:ext cx="570759" cy="466849"/>
          </a:xfrm>
          <a:custGeom>
            <a:avLst/>
            <a:gdLst>
              <a:gd name="T0" fmla="*/ 1290 w 4993"/>
              <a:gd name="T1" fmla="*/ 0 h 4084"/>
              <a:gd name="T2" fmla="*/ 1290 w 4993"/>
              <a:gd name="T3" fmla="*/ 2794 h 4084"/>
              <a:gd name="T4" fmla="*/ 4190 w 4993"/>
              <a:gd name="T5" fmla="*/ 1666 h 4084"/>
              <a:gd name="T6" fmla="*/ 4190 w 4993"/>
              <a:gd name="T7" fmla="*/ 3277 h 4084"/>
              <a:gd name="T8" fmla="*/ 3506 w 4993"/>
              <a:gd name="T9" fmla="*/ 2754 h 4084"/>
              <a:gd name="T10" fmla="*/ 4190 w 4993"/>
              <a:gd name="T11" fmla="*/ 3438 h 4084"/>
              <a:gd name="T12" fmla="*/ 4875 w 4993"/>
              <a:gd name="T13" fmla="*/ 2754 h 4084"/>
              <a:gd name="T14" fmla="*/ 4190 w 4993"/>
              <a:gd name="T15" fmla="*/ 1344 h 4084"/>
              <a:gd name="T16" fmla="*/ 4190 w 4993"/>
              <a:gd name="T17" fmla="*/ 107 h 4084"/>
              <a:gd name="T18" fmla="*/ 2901 w 4993"/>
              <a:gd name="T19" fmla="*/ 537 h 4084"/>
              <a:gd name="T20" fmla="*/ 1290 w 4993"/>
              <a:gd name="T21" fmla="*/ 0 h 4084"/>
              <a:gd name="T22" fmla="*/ 0 w 4993"/>
              <a:gd name="T23" fmla="*/ 430 h 4084"/>
              <a:gd name="T24" fmla="*/ 0 w 4993"/>
              <a:gd name="T25" fmla="*/ 3225 h 4084"/>
              <a:gd name="T26" fmla="*/ 1290 w 4993"/>
              <a:gd name="T27" fmla="*/ 2794 h 4084"/>
              <a:gd name="T28" fmla="*/ 2901 w 4993"/>
              <a:gd name="T29" fmla="*/ 3332 h 4084"/>
              <a:gd name="T30" fmla="*/ 2901 w 4993"/>
              <a:gd name="T31" fmla="*/ 537 h 4084"/>
              <a:gd name="T32" fmla="*/ 3385 w 4993"/>
              <a:gd name="T33" fmla="*/ 4084 h 4084"/>
              <a:gd name="T34" fmla="*/ 4993 w 4993"/>
              <a:gd name="T35" fmla="*/ 4084 h 4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93" h="4084">
                <a:moveTo>
                  <a:pt x="1290" y="0"/>
                </a:moveTo>
                <a:lnTo>
                  <a:pt x="1290" y="2794"/>
                </a:lnTo>
                <a:moveTo>
                  <a:pt x="4190" y="1666"/>
                </a:moveTo>
                <a:lnTo>
                  <a:pt x="4190" y="3277"/>
                </a:lnTo>
                <a:moveTo>
                  <a:pt x="3506" y="2754"/>
                </a:moveTo>
                <a:lnTo>
                  <a:pt x="4190" y="3438"/>
                </a:lnTo>
                <a:lnTo>
                  <a:pt x="4875" y="2754"/>
                </a:lnTo>
                <a:moveTo>
                  <a:pt x="4190" y="1344"/>
                </a:moveTo>
                <a:lnTo>
                  <a:pt x="4190" y="107"/>
                </a:lnTo>
                <a:lnTo>
                  <a:pt x="2901" y="537"/>
                </a:lnTo>
                <a:lnTo>
                  <a:pt x="1290" y="0"/>
                </a:lnTo>
                <a:lnTo>
                  <a:pt x="0" y="430"/>
                </a:lnTo>
                <a:lnTo>
                  <a:pt x="0" y="3225"/>
                </a:lnTo>
                <a:lnTo>
                  <a:pt x="1290" y="2794"/>
                </a:lnTo>
                <a:lnTo>
                  <a:pt x="2901" y="3332"/>
                </a:lnTo>
                <a:lnTo>
                  <a:pt x="2901" y="537"/>
                </a:lnTo>
                <a:moveTo>
                  <a:pt x="3385" y="4084"/>
                </a:moveTo>
                <a:lnTo>
                  <a:pt x="4993" y="4084"/>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 name="graph_9">
            <a:extLst>
              <a:ext uri="{FF2B5EF4-FFF2-40B4-BE49-F238E27FC236}">
                <a16:creationId xmlns:a16="http://schemas.microsoft.com/office/drawing/2014/main" id="{87C77D4C-3135-4164-8D49-CEEE6EE0A130}"/>
              </a:ext>
            </a:extLst>
          </p:cNvPr>
          <p:cNvSpPr>
            <a:spLocks noChangeAspect="1" noEditPoints="1"/>
          </p:cNvSpPr>
          <p:nvPr/>
        </p:nvSpPr>
        <p:spPr bwMode="auto">
          <a:xfrm>
            <a:off x="6764146" y="5309965"/>
            <a:ext cx="517373" cy="466849"/>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 name="Characters_E8C1">
            <a:extLst>
              <a:ext uri="{FF2B5EF4-FFF2-40B4-BE49-F238E27FC236}">
                <a16:creationId xmlns:a16="http://schemas.microsoft.com/office/drawing/2014/main" id="{2AE4BA65-FA88-4B63-8EAB-A95DAF34A9CB}"/>
              </a:ext>
            </a:extLst>
          </p:cNvPr>
          <p:cNvSpPr>
            <a:spLocks noChangeAspect="1" noEditPoints="1"/>
          </p:cNvSpPr>
          <p:nvPr/>
        </p:nvSpPr>
        <p:spPr bwMode="auto">
          <a:xfrm>
            <a:off x="8633444" y="5309965"/>
            <a:ext cx="449745" cy="463920"/>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chemeClr val="accent1"/>
          </a:solidFill>
          <a:ln cap="sq">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8" name="MiniExpand_E93A">
            <a:extLst>
              <a:ext uri="{FF2B5EF4-FFF2-40B4-BE49-F238E27FC236}">
                <a16:creationId xmlns:a16="http://schemas.microsoft.com/office/drawing/2014/main" id="{48B3EDA5-8D15-4A40-9941-68094BBF521C}"/>
              </a:ext>
            </a:extLst>
          </p:cNvPr>
          <p:cNvSpPr>
            <a:spLocks noChangeAspect="1" noEditPoints="1"/>
          </p:cNvSpPr>
          <p:nvPr/>
        </p:nvSpPr>
        <p:spPr bwMode="auto">
          <a:xfrm>
            <a:off x="10419769" y="5309965"/>
            <a:ext cx="548061" cy="463920"/>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Tree>
    <p:extLst>
      <p:ext uri="{BB962C8B-B14F-4D97-AF65-F5344CB8AC3E}">
        <p14:creationId xmlns:p14="http://schemas.microsoft.com/office/powerpoint/2010/main" val="923155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B9B0A51C-65B5-4583-ABEC-6B2844706B7B}"/>
              </a:ext>
            </a:extLst>
          </p:cNvPr>
          <p:cNvSpPr/>
          <p:nvPr/>
        </p:nvSpPr>
        <p:spPr bwMode="auto">
          <a:xfrm>
            <a:off x="0" y="2931285"/>
            <a:ext cx="12191999" cy="6558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D1FF9E17-8D86-4208-8C89-DE52FD754A7C}"/>
              </a:ext>
            </a:extLst>
          </p:cNvPr>
          <p:cNvSpPr>
            <a:spLocks noGrp="1"/>
          </p:cNvSpPr>
          <p:nvPr>
            <p:ph type="title"/>
          </p:nvPr>
        </p:nvSpPr>
        <p:spPr/>
        <p:txBody>
          <a:bodyPr/>
          <a:lstStyle/>
          <a:p>
            <a:r>
              <a:rPr lang="en-US"/>
              <a:t>Azure, Azure Stack, IoT Edge, and IoT</a:t>
            </a:r>
          </a:p>
        </p:txBody>
      </p:sp>
      <p:sp>
        <p:nvSpPr>
          <p:cNvPr id="50" name="Freeform 14">
            <a:extLst>
              <a:ext uri="{FF2B5EF4-FFF2-40B4-BE49-F238E27FC236}">
                <a16:creationId xmlns:a16="http://schemas.microsoft.com/office/drawing/2014/main" id="{E8F92733-5AC8-49B3-9AFD-C7C1E69275A1}"/>
              </a:ext>
            </a:extLst>
          </p:cNvPr>
          <p:cNvSpPr>
            <a:spLocks/>
          </p:cNvSpPr>
          <p:nvPr/>
        </p:nvSpPr>
        <p:spPr bwMode="auto">
          <a:xfrm>
            <a:off x="7937119" y="1423161"/>
            <a:ext cx="2387166" cy="1249564"/>
          </a:xfrm>
          <a:custGeom>
            <a:avLst/>
            <a:gdLst>
              <a:gd name="T0" fmla="*/ 352 w 432"/>
              <a:gd name="T1" fmla="*/ 64 h 225"/>
              <a:gd name="T2" fmla="*/ 290 w 432"/>
              <a:gd name="T3" fmla="*/ 93 h 225"/>
              <a:gd name="T4" fmla="*/ 183 w 432"/>
              <a:gd name="T5" fmla="*/ 0 h 225"/>
              <a:gd name="T6" fmla="*/ 75 w 432"/>
              <a:gd name="T7" fmla="*/ 108 h 225"/>
              <a:gd name="T8" fmla="*/ 75 w 432"/>
              <a:gd name="T9" fmla="*/ 110 h 225"/>
              <a:gd name="T10" fmla="*/ 59 w 432"/>
              <a:gd name="T11" fmla="*/ 108 h 225"/>
              <a:gd name="T12" fmla="*/ 0 w 432"/>
              <a:gd name="T13" fmla="*/ 166 h 225"/>
              <a:gd name="T14" fmla="*/ 59 w 432"/>
              <a:gd name="T15" fmla="*/ 225 h 225"/>
              <a:gd name="T16" fmla="*/ 352 w 432"/>
              <a:gd name="T17" fmla="*/ 225 h 225"/>
              <a:gd name="T18" fmla="*/ 432 w 432"/>
              <a:gd name="T19" fmla="*/ 144 h 225"/>
              <a:gd name="T20" fmla="*/ 352 w 432"/>
              <a:gd name="T21" fmla="*/ 64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2" h="225">
                <a:moveTo>
                  <a:pt x="352" y="64"/>
                </a:moveTo>
                <a:cubicBezTo>
                  <a:pt x="327" y="64"/>
                  <a:pt x="305" y="75"/>
                  <a:pt x="290" y="93"/>
                </a:cubicBezTo>
                <a:cubicBezTo>
                  <a:pt x="282" y="40"/>
                  <a:pt x="237" y="0"/>
                  <a:pt x="183" y="0"/>
                </a:cubicBezTo>
                <a:cubicBezTo>
                  <a:pt x="123" y="0"/>
                  <a:pt x="75" y="49"/>
                  <a:pt x="75" y="108"/>
                </a:cubicBezTo>
                <a:cubicBezTo>
                  <a:pt x="75" y="110"/>
                  <a:pt x="75" y="110"/>
                  <a:pt x="75" y="110"/>
                </a:cubicBezTo>
                <a:cubicBezTo>
                  <a:pt x="70" y="108"/>
                  <a:pt x="64" y="108"/>
                  <a:pt x="59" y="108"/>
                </a:cubicBezTo>
                <a:cubicBezTo>
                  <a:pt x="26" y="108"/>
                  <a:pt x="0" y="134"/>
                  <a:pt x="0" y="166"/>
                </a:cubicBezTo>
                <a:cubicBezTo>
                  <a:pt x="0" y="199"/>
                  <a:pt x="26" y="225"/>
                  <a:pt x="59" y="225"/>
                </a:cubicBezTo>
                <a:cubicBezTo>
                  <a:pt x="64" y="225"/>
                  <a:pt x="341" y="225"/>
                  <a:pt x="352" y="225"/>
                </a:cubicBezTo>
                <a:cubicBezTo>
                  <a:pt x="396" y="225"/>
                  <a:pt x="432" y="189"/>
                  <a:pt x="432" y="144"/>
                </a:cubicBezTo>
                <a:cubicBezTo>
                  <a:pt x="432" y="100"/>
                  <a:pt x="396" y="64"/>
                  <a:pt x="352" y="64"/>
                </a:cubicBezTo>
                <a:close/>
              </a:path>
            </a:pathLst>
          </a:custGeom>
          <a:solidFill>
            <a:schemeClr val="bg2">
              <a:alpha val="25000"/>
            </a:schemeClr>
          </a:solidFill>
          <a:ln w="12700" cap="flat" cmpd="sng" algn="ctr">
            <a:gradFill flip="none" rotWithShape="1">
              <a:gsLst>
                <a:gs pos="0">
                  <a:srgbClr val="002050"/>
                </a:gs>
                <a:gs pos="100000">
                  <a:srgbClr val="002050"/>
                </a:gs>
              </a:gsLst>
              <a:lin ang="16200000" scaled="1"/>
              <a:tileRect/>
            </a:gra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5" name="TextBox 54">
            <a:extLst>
              <a:ext uri="{FF2B5EF4-FFF2-40B4-BE49-F238E27FC236}">
                <a16:creationId xmlns:a16="http://schemas.microsoft.com/office/drawing/2014/main" id="{E591324E-74EE-4A82-9CF8-BECE86565520}"/>
              </a:ext>
            </a:extLst>
          </p:cNvPr>
          <p:cNvSpPr txBox="1"/>
          <p:nvPr/>
        </p:nvSpPr>
        <p:spPr>
          <a:xfrm>
            <a:off x="2926842" y="1817111"/>
            <a:ext cx="3474720" cy="461665"/>
          </a:xfrm>
          <a:prstGeom prst="rect">
            <a:avLst/>
          </a:prstGeom>
          <a:noFill/>
        </p:spPr>
        <p:txBody>
          <a:bodyPr wrap="square" lIns="0" rtlCol="0">
            <a:spAutoFit/>
          </a:bodyPr>
          <a:lstStyle/>
          <a:p>
            <a:pPr marL="114300" indent="-114300">
              <a:buFont typeface="Arial" panose="020B0604020202020204" pitchFamily="34" charset="0"/>
              <a:buChar char="•"/>
            </a:pPr>
            <a:r>
              <a:rPr lang="en-US" sz="1200">
                <a:gradFill>
                  <a:gsLst>
                    <a:gs pos="0">
                      <a:schemeClr val="tx1"/>
                    </a:gs>
                    <a:gs pos="100000">
                      <a:schemeClr val="tx1"/>
                    </a:gs>
                  </a:gsLst>
                  <a:lin ang="5400000" scaled="1"/>
                </a:gradFill>
              </a:rPr>
              <a:t>Available in Azure Regions</a:t>
            </a:r>
          </a:p>
          <a:p>
            <a:pPr marL="114300" indent="-114300">
              <a:buFont typeface="Arial" panose="020B0604020202020204" pitchFamily="34" charset="0"/>
              <a:buChar char="•"/>
            </a:pPr>
            <a:r>
              <a:rPr lang="en-US" sz="1200">
                <a:gradFill>
                  <a:gsLst>
                    <a:gs pos="0">
                      <a:schemeClr val="tx1"/>
                    </a:gs>
                    <a:gs pos="100000">
                      <a:schemeClr val="tx1"/>
                    </a:gs>
                  </a:gsLst>
                  <a:lin ang="5400000" scaled="1"/>
                </a:gradFill>
              </a:rPr>
              <a:t>Full functionality</a:t>
            </a:r>
          </a:p>
        </p:txBody>
      </p:sp>
      <p:sp>
        <p:nvSpPr>
          <p:cNvPr id="66" name="TextBox 65">
            <a:extLst>
              <a:ext uri="{FF2B5EF4-FFF2-40B4-BE49-F238E27FC236}">
                <a16:creationId xmlns:a16="http://schemas.microsoft.com/office/drawing/2014/main" id="{259AE1BC-DB4A-4933-896C-0F4D8A9A3FC3}"/>
              </a:ext>
            </a:extLst>
          </p:cNvPr>
          <p:cNvSpPr txBox="1"/>
          <p:nvPr/>
        </p:nvSpPr>
        <p:spPr>
          <a:xfrm>
            <a:off x="588263" y="1878666"/>
            <a:ext cx="2194560" cy="338554"/>
          </a:xfrm>
          <a:prstGeom prst="rect">
            <a:avLst/>
          </a:prstGeom>
          <a:noFill/>
        </p:spPr>
        <p:txBody>
          <a:bodyPr wrap="square" lIns="0" rtlCol="0">
            <a:spAutoFit/>
          </a:bodyPr>
          <a:lstStyle/>
          <a:p>
            <a:r>
              <a:rPr lang="en-US" sz="1600">
                <a:gradFill>
                  <a:gsLst>
                    <a:gs pos="0">
                      <a:schemeClr val="accent1"/>
                    </a:gs>
                    <a:gs pos="100000">
                      <a:schemeClr val="accent1"/>
                    </a:gs>
                  </a:gsLst>
                  <a:lin ang="16200000" scaled="1"/>
                </a:gradFill>
                <a:latin typeface="+mj-lt"/>
              </a:rPr>
              <a:t>Azure</a:t>
            </a:r>
          </a:p>
        </p:txBody>
      </p:sp>
      <p:sp>
        <p:nvSpPr>
          <p:cNvPr id="57" name="TextBox 56">
            <a:extLst>
              <a:ext uri="{FF2B5EF4-FFF2-40B4-BE49-F238E27FC236}">
                <a16:creationId xmlns:a16="http://schemas.microsoft.com/office/drawing/2014/main" id="{FF3582BA-1B4B-478F-AB74-644AEC14860B}"/>
              </a:ext>
            </a:extLst>
          </p:cNvPr>
          <p:cNvSpPr txBox="1"/>
          <p:nvPr/>
        </p:nvSpPr>
        <p:spPr>
          <a:xfrm>
            <a:off x="2926842" y="3028373"/>
            <a:ext cx="3474720" cy="461665"/>
          </a:xfrm>
          <a:prstGeom prst="rect">
            <a:avLst/>
          </a:prstGeom>
          <a:noFill/>
        </p:spPr>
        <p:txBody>
          <a:bodyPr wrap="square" lIns="0" rtlCol="0">
            <a:spAutoFit/>
          </a:bodyPr>
          <a:lstStyle/>
          <a:p>
            <a:pPr marL="114300" indent="-114300">
              <a:buFont typeface="Arial" panose="020B0604020202020204" pitchFamily="34" charset="0"/>
              <a:buChar char="•"/>
            </a:pPr>
            <a:r>
              <a:rPr lang="en-US" sz="1200" dirty="0"/>
              <a:t>Azure Services &amp; Management on-prem</a:t>
            </a:r>
          </a:p>
          <a:p>
            <a:pPr marL="114300" indent="-114300">
              <a:buFont typeface="Arial" panose="020B0604020202020204" pitchFamily="34" charset="0"/>
              <a:buChar char="•"/>
            </a:pPr>
            <a:r>
              <a:rPr lang="en-US" sz="1200" dirty="0"/>
              <a:t>Managed by Azure or Locally</a:t>
            </a:r>
          </a:p>
        </p:txBody>
      </p:sp>
      <p:sp>
        <p:nvSpPr>
          <p:cNvPr id="68" name="TextBox 67">
            <a:extLst>
              <a:ext uri="{FF2B5EF4-FFF2-40B4-BE49-F238E27FC236}">
                <a16:creationId xmlns:a16="http://schemas.microsoft.com/office/drawing/2014/main" id="{B83EE1C0-EB62-41D9-8C03-24B14CFD8A78}"/>
              </a:ext>
            </a:extLst>
          </p:cNvPr>
          <p:cNvSpPr txBox="1"/>
          <p:nvPr/>
        </p:nvSpPr>
        <p:spPr>
          <a:xfrm>
            <a:off x="588263" y="3089928"/>
            <a:ext cx="2194560" cy="338554"/>
          </a:xfrm>
          <a:prstGeom prst="rect">
            <a:avLst/>
          </a:prstGeom>
          <a:noFill/>
        </p:spPr>
        <p:txBody>
          <a:bodyPr wrap="square" lIns="0" rtlCol="0">
            <a:spAutoFit/>
          </a:bodyPr>
          <a:lstStyle/>
          <a:p>
            <a:r>
              <a:rPr lang="en-US" sz="1600">
                <a:solidFill>
                  <a:srgbClr val="0072C6"/>
                </a:solidFill>
                <a:latin typeface="+mj-lt"/>
              </a:rPr>
              <a:t>Azure Stack</a:t>
            </a:r>
          </a:p>
        </p:txBody>
      </p:sp>
      <p:sp>
        <p:nvSpPr>
          <p:cNvPr id="56" name="TextBox 55">
            <a:extLst>
              <a:ext uri="{FF2B5EF4-FFF2-40B4-BE49-F238E27FC236}">
                <a16:creationId xmlns:a16="http://schemas.microsoft.com/office/drawing/2014/main" id="{240466D7-38EA-4684-9764-F94736D50D5E}"/>
              </a:ext>
            </a:extLst>
          </p:cNvPr>
          <p:cNvSpPr txBox="1"/>
          <p:nvPr/>
        </p:nvSpPr>
        <p:spPr>
          <a:xfrm>
            <a:off x="2926842" y="3638152"/>
            <a:ext cx="3474720" cy="461665"/>
          </a:xfrm>
          <a:prstGeom prst="rect">
            <a:avLst/>
          </a:prstGeom>
          <a:noFill/>
        </p:spPr>
        <p:txBody>
          <a:bodyPr wrap="square" lIns="0" rtlCol="0">
            <a:spAutoFit/>
          </a:bodyPr>
          <a:lstStyle/>
          <a:p>
            <a:pPr marL="114300" indent="-114300">
              <a:buFont typeface="Arial" panose="020B0604020202020204" pitchFamily="34" charset="0"/>
              <a:buChar char="•"/>
            </a:pPr>
            <a:r>
              <a:rPr lang="en-US" sz="1200">
                <a:gradFill>
                  <a:gsLst>
                    <a:gs pos="0">
                      <a:schemeClr val="tx1"/>
                    </a:gs>
                    <a:gs pos="100000">
                      <a:schemeClr val="tx1"/>
                    </a:gs>
                  </a:gsLst>
                  <a:lin ang="5400000" scaled="1"/>
                </a:gradFill>
              </a:rPr>
              <a:t>Deploy and manage cloud services</a:t>
            </a:r>
          </a:p>
          <a:p>
            <a:pPr marL="114300" indent="-114300">
              <a:buFont typeface="Arial" panose="020B0604020202020204" pitchFamily="34" charset="0"/>
              <a:buChar char="•"/>
            </a:pPr>
            <a:r>
              <a:rPr lang="en-US" sz="1200">
                <a:gradFill>
                  <a:gsLst>
                    <a:gs pos="0">
                      <a:schemeClr val="tx1"/>
                    </a:gs>
                    <a:gs pos="100000">
                      <a:schemeClr val="tx1"/>
                    </a:gs>
                  </a:gsLst>
                  <a:lin ang="5400000" scaled="1"/>
                </a:gradFill>
              </a:rPr>
              <a:t>Managed by Azure or Azure Stack</a:t>
            </a:r>
          </a:p>
        </p:txBody>
      </p:sp>
      <p:sp>
        <p:nvSpPr>
          <p:cNvPr id="73" name="TextBox 72">
            <a:extLst>
              <a:ext uri="{FF2B5EF4-FFF2-40B4-BE49-F238E27FC236}">
                <a16:creationId xmlns:a16="http://schemas.microsoft.com/office/drawing/2014/main" id="{B5505E04-B769-4A82-B257-0EB9AB01847F}"/>
              </a:ext>
            </a:extLst>
          </p:cNvPr>
          <p:cNvSpPr txBox="1"/>
          <p:nvPr/>
        </p:nvSpPr>
        <p:spPr>
          <a:xfrm>
            <a:off x="588263" y="3699707"/>
            <a:ext cx="2194560" cy="338554"/>
          </a:xfrm>
          <a:prstGeom prst="rect">
            <a:avLst/>
          </a:prstGeom>
          <a:noFill/>
        </p:spPr>
        <p:txBody>
          <a:bodyPr wrap="square" lIns="0" rtlCol="0">
            <a:spAutoFit/>
          </a:bodyPr>
          <a:lstStyle/>
          <a:p>
            <a:r>
              <a:rPr lang="en-US" sz="1600">
                <a:gradFill>
                  <a:gsLst>
                    <a:gs pos="0">
                      <a:schemeClr val="accent1"/>
                    </a:gs>
                    <a:gs pos="100000">
                      <a:schemeClr val="accent1"/>
                    </a:gs>
                  </a:gsLst>
                  <a:lin ang="16200000" scaled="1"/>
                </a:gradFill>
                <a:latin typeface="+mj-lt"/>
              </a:rPr>
              <a:t>Azure IoT Edge</a:t>
            </a:r>
          </a:p>
        </p:txBody>
      </p:sp>
      <p:sp>
        <p:nvSpPr>
          <p:cNvPr id="58" name="TextBox 57">
            <a:extLst>
              <a:ext uri="{FF2B5EF4-FFF2-40B4-BE49-F238E27FC236}">
                <a16:creationId xmlns:a16="http://schemas.microsoft.com/office/drawing/2014/main" id="{8C928D83-F6C2-4434-99A2-CBFDD4CF721C}"/>
              </a:ext>
            </a:extLst>
          </p:cNvPr>
          <p:cNvSpPr txBox="1"/>
          <p:nvPr/>
        </p:nvSpPr>
        <p:spPr>
          <a:xfrm>
            <a:off x="2926842" y="4266044"/>
            <a:ext cx="3474720" cy="276999"/>
          </a:xfrm>
          <a:prstGeom prst="rect">
            <a:avLst/>
          </a:prstGeom>
          <a:noFill/>
        </p:spPr>
        <p:txBody>
          <a:bodyPr wrap="square" lIns="0" rtlCol="0">
            <a:spAutoFit/>
          </a:bodyPr>
          <a:lstStyle/>
          <a:p>
            <a:pPr marL="114300" indent="-114300">
              <a:buFont typeface="Arial" panose="020B0604020202020204" pitchFamily="34" charset="0"/>
              <a:buChar char="•"/>
            </a:pPr>
            <a:r>
              <a:rPr lang="en-US" sz="1200">
                <a:gradFill>
                  <a:gsLst>
                    <a:gs pos="0">
                      <a:schemeClr val="tx1"/>
                    </a:gs>
                    <a:gs pos="100000">
                      <a:schemeClr val="tx1"/>
                    </a:gs>
                  </a:gsLst>
                  <a:lin ang="5400000" scaled="1"/>
                </a:gradFill>
              </a:rPr>
              <a:t>Azure IoT Edge runs on Windows and Linux</a:t>
            </a:r>
          </a:p>
        </p:txBody>
      </p:sp>
      <p:sp>
        <p:nvSpPr>
          <p:cNvPr id="74" name="TextBox 73">
            <a:extLst>
              <a:ext uri="{FF2B5EF4-FFF2-40B4-BE49-F238E27FC236}">
                <a16:creationId xmlns:a16="http://schemas.microsoft.com/office/drawing/2014/main" id="{D7043134-F390-4177-AD9F-0F79BBECB12D}"/>
              </a:ext>
            </a:extLst>
          </p:cNvPr>
          <p:cNvSpPr txBox="1"/>
          <p:nvPr/>
        </p:nvSpPr>
        <p:spPr>
          <a:xfrm>
            <a:off x="588263" y="4235266"/>
            <a:ext cx="2194560" cy="338554"/>
          </a:xfrm>
          <a:prstGeom prst="rect">
            <a:avLst/>
          </a:prstGeom>
          <a:noFill/>
        </p:spPr>
        <p:txBody>
          <a:bodyPr wrap="square" lIns="0" rtlCol="0">
            <a:spAutoFit/>
          </a:bodyPr>
          <a:lstStyle/>
          <a:p>
            <a:r>
              <a:rPr lang="en-US" sz="1600">
                <a:gradFill>
                  <a:gsLst>
                    <a:gs pos="0">
                      <a:schemeClr val="accent1"/>
                    </a:gs>
                    <a:gs pos="100000">
                      <a:schemeClr val="accent1"/>
                    </a:gs>
                  </a:gsLst>
                  <a:lin ang="16200000" scaled="1"/>
                </a:gradFill>
                <a:latin typeface="+mj-lt"/>
              </a:rPr>
              <a:t>Windows IoT,  Linux</a:t>
            </a:r>
          </a:p>
        </p:txBody>
      </p:sp>
      <p:sp>
        <p:nvSpPr>
          <p:cNvPr id="59" name="TextBox 58">
            <a:extLst>
              <a:ext uri="{FF2B5EF4-FFF2-40B4-BE49-F238E27FC236}">
                <a16:creationId xmlns:a16="http://schemas.microsoft.com/office/drawing/2014/main" id="{5C667D27-53BB-4B90-9D8D-0AC0A944C33F}"/>
              </a:ext>
            </a:extLst>
          </p:cNvPr>
          <p:cNvSpPr txBox="1"/>
          <p:nvPr/>
        </p:nvSpPr>
        <p:spPr>
          <a:xfrm>
            <a:off x="2926842" y="5306383"/>
            <a:ext cx="3474720" cy="461665"/>
          </a:xfrm>
          <a:prstGeom prst="rect">
            <a:avLst/>
          </a:prstGeom>
          <a:noFill/>
        </p:spPr>
        <p:txBody>
          <a:bodyPr wrap="square" lIns="0" rtlCol="0">
            <a:spAutoFit/>
          </a:bodyPr>
          <a:lstStyle/>
          <a:p>
            <a:pPr marL="114300" indent="-114300">
              <a:buFont typeface="Arial" panose="020B0604020202020204" pitchFamily="34" charset="0"/>
              <a:buChar char="•"/>
            </a:pPr>
            <a:r>
              <a:rPr lang="en-US" sz="1200">
                <a:gradFill>
                  <a:gsLst>
                    <a:gs pos="0">
                      <a:schemeClr val="tx1"/>
                    </a:gs>
                    <a:gs pos="100000">
                      <a:schemeClr val="tx1"/>
                    </a:gs>
                  </a:gsLst>
                  <a:lin ang="5400000" scaled="1"/>
                </a:gradFill>
              </a:rPr>
              <a:t>Peerless security for MCU devices</a:t>
            </a:r>
          </a:p>
          <a:p>
            <a:pPr marL="114300" indent="-114300">
              <a:buFont typeface="Arial" panose="020B0604020202020204" pitchFamily="34" charset="0"/>
              <a:buChar char="•"/>
            </a:pPr>
            <a:r>
              <a:rPr lang="en-US" sz="1200">
                <a:gradFill>
                  <a:gsLst>
                    <a:gs pos="0">
                      <a:schemeClr val="tx1"/>
                    </a:gs>
                    <a:gs pos="100000">
                      <a:schemeClr val="tx1"/>
                    </a:gs>
                  </a:gsLst>
                  <a:lin ang="5400000" scaled="1"/>
                </a:gradFill>
              </a:rPr>
              <a:t>Connect directly to Azure or via Azure IoT Edge</a:t>
            </a:r>
          </a:p>
        </p:txBody>
      </p:sp>
      <p:sp>
        <p:nvSpPr>
          <p:cNvPr id="75" name="TextBox 74">
            <a:extLst>
              <a:ext uri="{FF2B5EF4-FFF2-40B4-BE49-F238E27FC236}">
                <a16:creationId xmlns:a16="http://schemas.microsoft.com/office/drawing/2014/main" id="{7A1A4BF3-CBDE-4DD0-A61E-66181CD8ADA2}"/>
              </a:ext>
            </a:extLst>
          </p:cNvPr>
          <p:cNvSpPr txBox="1"/>
          <p:nvPr/>
        </p:nvSpPr>
        <p:spPr>
          <a:xfrm>
            <a:off x="588263" y="5367938"/>
            <a:ext cx="2194560" cy="338554"/>
          </a:xfrm>
          <a:prstGeom prst="rect">
            <a:avLst/>
          </a:prstGeom>
          <a:noFill/>
        </p:spPr>
        <p:txBody>
          <a:bodyPr wrap="square" lIns="0" rtlCol="0">
            <a:spAutoFit/>
          </a:bodyPr>
          <a:lstStyle/>
          <a:p>
            <a:r>
              <a:rPr lang="en-US" sz="1600">
                <a:gradFill>
                  <a:gsLst>
                    <a:gs pos="0">
                      <a:schemeClr val="accent1"/>
                    </a:gs>
                    <a:gs pos="100000">
                      <a:schemeClr val="accent1"/>
                    </a:gs>
                  </a:gsLst>
                  <a:lin ang="16200000" scaled="1"/>
                </a:gradFill>
                <a:latin typeface="+mj-lt"/>
              </a:rPr>
              <a:t>Azure Sphere</a:t>
            </a:r>
          </a:p>
        </p:txBody>
      </p:sp>
      <p:sp>
        <p:nvSpPr>
          <p:cNvPr id="60" name="TextBox 59">
            <a:extLst>
              <a:ext uri="{FF2B5EF4-FFF2-40B4-BE49-F238E27FC236}">
                <a16:creationId xmlns:a16="http://schemas.microsoft.com/office/drawing/2014/main" id="{BFDFD8F7-41F5-4B70-9534-3C386C292352}"/>
              </a:ext>
            </a:extLst>
          </p:cNvPr>
          <p:cNvSpPr txBox="1"/>
          <p:nvPr/>
        </p:nvSpPr>
        <p:spPr>
          <a:xfrm>
            <a:off x="2926842" y="5934275"/>
            <a:ext cx="3474720" cy="276999"/>
          </a:xfrm>
          <a:prstGeom prst="rect">
            <a:avLst/>
          </a:prstGeom>
          <a:noFill/>
        </p:spPr>
        <p:txBody>
          <a:bodyPr wrap="square" lIns="0" rtlCol="0">
            <a:spAutoFit/>
          </a:bodyPr>
          <a:lstStyle/>
          <a:p>
            <a:pPr marL="114300" indent="-114300">
              <a:buFont typeface="Arial" panose="020B0604020202020204" pitchFamily="34" charset="0"/>
              <a:buChar char="•"/>
            </a:pPr>
            <a:r>
              <a:rPr lang="en-US" sz="1200">
                <a:gradFill>
                  <a:gsLst>
                    <a:gs pos="0">
                      <a:schemeClr val="tx1"/>
                    </a:gs>
                    <a:gs pos="100000">
                      <a:schemeClr val="tx1"/>
                    </a:gs>
                  </a:gsLst>
                  <a:lin ang="5400000" scaled="1"/>
                </a:gradFill>
              </a:rPr>
              <a:t>Linux Kernel that modernizes MCU devices</a:t>
            </a:r>
          </a:p>
        </p:txBody>
      </p:sp>
      <p:sp>
        <p:nvSpPr>
          <p:cNvPr id="76" name="TextBox 75">
            <a:extLst>
              <a:ext uri="{FF2B5EF4-FFF2-40B4-BE49-F238E27FC236}">
                <a16:creationId xmlns:a16="http://schemas.microsoft.com/office/drawing/2014/main" id="{0E5A6D24-4193-4136-A3C9-FACCC71A8D18}"/>
              </a:ext>
            </a:extLst>
          </p:cNvPr>
          <p:cNvSpPr txBox="1"/>
          <p:nvPr/>
        </p:nvSpPr>
        <p:spPr>
          <a:xfrm>
            <a:off x="588263" y="5903497"/>
            <a:ext cx="2194560" cy="338554"/>
          </a:xfrm>
          <a:prstGeom prst="rect">
            <a:avLst/>
          </a:prstGeom>
          <a:noFill/>
        </p:spPr>
        <p:txBody>
          <a:bodyPr wrap="square" lIns="0" rtlCol="0">
            <a:spAutoFit/>
          </a:bodyPr>
          <a:lstStyle/>
          <a:p>
            <a:r>
              <a:rPr lang="en-US" sz="1600">
                <a:gradFill>
                  <a:gsLst>
                    <a:gs pos="0">
                      <a:schemeClr val="accent1"/>
                    </a:gs>
                    <a:gs pos="100000">
                      <a:schemeClr val="accent1"/>
                    </a:gs>
                  </a:gsLst>
                  <a:lin ang="16200000" scaled="1"/>
                </a:gradFill>
                <a:latin typeface="+mj-lt"/>
              </a:rPr>
              <a:t>Azure Sphere OS</a:t>
            </a:r>
          </a:p>
        </p:txBody>
      </p:sp>
      <p:sp>
        <p:nvSpPr>
          <p:cNvPr id="65" name="TextBox 64">
            <a:extLst>
              <a:ext uri="{FF2B5EF4-FFF2-40B4-BE49-F238E27FC236}">
                <a16:creationId xmlns:a16="http://schemas.microsoft.com/office/drawing/2014/main" id="{4A768885-58BC-439F-B18D-0DB22E810769}"/>
              </a:ext>
            </a:extLst>
          </p:cNvPr>
          <p:cNvSpPr txBox="1"/>
          <p:nvPr/>
        </p:nvSpPr>
        <p:spPr>
          <a:xfrm>
            <a:off x="2926842" y="4709269"/>
            <a:ext cx="3474720" cy="461665"/>
          </a:xfrm>
          <a:prstGeom prst="rect">
            <a:avLst/>
          </a:prstGeom>
          <a:noFill/>
        </p:spPr>
        <p:txBody>
          <a:bodyPr wrap="square" lIns="0" rtlCol="0">
            <a:spAutoFit/>
          </a:bodyPr>
          <a:lstStyle/>
          <a:p>
            <a:pPr marL="114300" indent="-114300">
              <a:buFont typeface="Arial" panose="020B0604020202020204" pitchFamily="34" charset="0"/>
              <a:buChar char="•"/>
            </a:pPr>
            <a:r>
              <a:rPr lang="en-US" sz="1200">
                <a:gradFill>
                  <a:gsLst>
                    <a:gs pos="0">
                      <a:schemeClr val="tx1"/>
                    </a:gs>
                    <a:gs pos="100000">
                      <a:schemeClr val="tx1"/>
                    </a:gs>
                  </a:gsLst>
                  <a:lin ang="5400000" scaled="1"/>
                </a:gradFill>
              </a:rPr>
              <a:t>Multi-device, multi-language, multi-OS</a:t>
            </a:r>
          </a:p>
          <a:p>
            <a:pPr marL="114300" indent="-114300">
              <a:buFont typeface="Arial" panose="020B0604020202020204" pitchFamily="34" charset="0"/>
              <a:buChar char="•"/>
            </a:pPr>
            <a:r>
              <a:rPr lang="en-US" sz="1200">
                <a:gradFill>
                  <a:gsLst>
                    <a:gs pos="0">
                      <a:schemeClr val="tx1"/>
                    </a:gs>
                    <a:gs pos="100000">
                      <a:schemeClr val="tx1"/>
                    </a:gs>
                  </a:gsLst>
                  <a:lin ang="5400000" scaled="1"/>
                </a:gradFill>
              </a:rPr>
              <a:t>iOS, Android, Windows, Linux</a:t>
            </a:r>
          </a:p>
        </p:txBody>
      </p:sp>
      <p:sp>
        <p:nvSpPr>
          <p:cNvPr id="77" name="TextBox 76">
            <a:extLst>
              <a:ext uri="{FF2B5EF4-FFF2-40B4-BE49-F238E27FC236}">
                <a16:creationId xmlns:a16="http://schemas.microsoft.com/office/drawing/2014/main" id="{C0E09750-B7BF-44FD-A489-6AEFE2BD8F6C}"/>
              </a:ext>
            </a:extLst>
          </p:cNvPr>
          <p:cNvSpPr txBox="1"/>
          <p:nvPr/>
        </p:nvSpPr>
        <p:spPr>
          <a:xfrm>
            <a:off x="588263" y="4770824"/>
            <a:ext cx="2194560" cy="338554"/>
          </a:xfrm>
          <a:prstGeom prst="rect">
            <a:avLst/>
          </a:prstGeom>
          <a:noFill/>
        </p:spPr>
        <p:txBody>
          <a:bodyPr wrap="square" lIns="0" rtlCol="0">
            <a:spAutoFit/>
          </a:bodyPr>
          <a:lstStyle/>
          <a:p>
            <a:r>
              <a:rPr lang="en-US" sz="1600">
                <a:gradFill>
                  <a:gsLst>
                    <a:gs pos="0">
                      <a:schemeClr val="accent1"/>
                    </a:gs>
                    <a:gs pos="100000">
                      <a:schemeClr val="accent1"/>
                    </a:gs>
                  </a:gsLst>
                  <a:lin ang="16200000" scaled="1"/>
                </a:gradFill>
                <a:latin typeface="+mj-lt"/>
              </a:rPr>
              <a:t>Azure IoT Device SDK</a:t>
            </a:r>
          </a:p>
        </p:txBody>
      </p:sp>
      <p:sp>
        <p:nvSpPr>
          <p:cNvPr id="34" name="Rectangle 33">
            <a:extLst>
              <a:ext uri="{FF2B5EF4-FFF2-40B4-BE49-F238E27FC236}">
                <a16:creationId xmlns:a16="http://schemas.microsoft.com/office/drawing/2014/main" id="{42AF53F7-68CE-40D0-A25F-99F3BAF979D6}"/>
              </a:ext>
            </a:extLst>
          </p:cNvPr>
          <p:cNvSpPr/>
          <p:nvPr/>
        </p:nvSpPr>
        <p:spPr>
          <a:xfrm>
            <a:off x="7941666" y="1735767"/>
            <a:ext cx="2263760" cy="738664"/>
          </a:xfrm>
          <a:prstGeom prst="rect">
            <a:avLst/>
          </a:prstGeom>
        </p:spPr>
        <p:txBody>
          <a:bodyPr wrap="none">
            <a:spAutoFit/>
          </a:bodyPr>
          <a:lstStyle/>
          <a:p>
            <a:pPr algn="ctr" defTabSz="932293" fontAlgn="base">
              <a:spcBef>
                <a:spcPct val="0"/>
              </a:spcBef>
              <a:spcAft>
                <a:spcPct val="0"/>
              </a:spcAft>
              <a:defRPr/>
            </a:pPr>
            <a:r>
              <a:rPr lang="en-US" kern="0">
                <a:gradFill>
                  <a:gsLst>
                    <a:gs pos="0">
                      <a:schemeClr val="tx1"/>
                    </a:gs>
                    <a:gs pos="100000">
                      <a:schemeClr val="tx1"/>
                    </a:gs>
                  </a:gsLst>
                  <a:lin ang="16200000" scaled="1"/>
                </a:gradFill>
              </a:rPr>
              <a:t>Azure</a:t>
            </a:r>
          </a:p>
          <a:p>
            <a:pPr algn="ctr" defTabSz="932293" fontAlgn="base">
              <a:spcBef>
                <a:spcPct val="0"/>
              </a:spcBef>
              <a:spcAft>
                <a:spcPct val="0"/>
              </a:spcAft>
              <a:defRPr/>
            </a:pPr>
            <a:r>
              <a:rPr lang="en-US" sz="1200" kern="0">
                <a:gradFill>
                  <a:gsLst>
                    <a:gs pos="0">
                      <a:schemeClr val="tx1"/>
                    </a:gs>
                    <a:gs pos="100000">
                      <a:schemeClr val="tx1"/>
                    </a:gs>
                  </a:gsLst>
                  <a:lin ang="16200000" scaled="1"/>
                </a:gradFill>
              </a:rPr>
              <a:t>Azure IoT Central</a:t>
            </a:r>
          </a:p>
          <a:p>
            <a:pPr algn="ctr" defTabSz="932293" fontAlgn="base">
              <a:spcBef>
                <a:spcPct val="0"/>
              </a:spcBef>
              <a:spcAft>
                <a:spcPct val="0"/>
              </a:spcAft>
              <a:defRPr/>
            </a:pPr>
            <a:r>
              <a:rPr lang="en-US" sz="1200" kern="0">
                <a:gradFill>
                  <a:gsLst>
                    <a:gs pos="0">
                      <a:schemeClr val="tx1"/>
                    </a:gs>
                    <a:gs pos="100000">
                      <a:schemeClr val="tx1"/>
                    </a:gs>
                  </a:gsLst>
                  <a:lin ang="16200000" scaled="1"/>
                </a:gradFill>
              </a:rPr>
              <a:t>Azure IoT solution accelerators</a:t>
            </a:r>
          </a:p>
        </p:txBody>
      </p:sp>
      <p:sp>
        <p:nvSpPr>
          <p:cNvPr id="78" name="Oval 77">
            <a:extLst>
              <a:ext uri="{FF2B5EF4-FFF2-40B4-BE49-F238E27FC236}">
                <a16:creationId xmlns:a16="http://schemas.microsoft.com/office/drawing/2014/main" id="{F4D8B203-D82D-4D1B-86D8-0F9D792768CD}"/>
              </a:ext>
            </a:extLst>
          </p:cNvPr>
          <p:cNvSpPr/>
          <p:nvPr/>
        </p:nvSpPr>
        <p:spPr bwMode="auto">
          <a:xfrm>
            <a:off x="7936097" y="2886075"/>
            <a:ext cx="746260" cy="746260"/>
          </a:xfrm>
          <a:prstGeom prst="ellipse">
            <a:avLst/>
          </a:prstGeom>
          <a:solidFill>
            <a:srgbClr val="0072C6"/>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err="1">
              <a:solidFill>
                <a:schemeClr val="accent1"/>
              </a:solidFill>
              <a:latin typeface="Segoe UI Semilight"/>
            </a:endParaRPr>
          </a:p>
        </p:txBody>
      </p:sp>
      <p:sp>
        <p:nvSpPr>
          <p:cNvPr id="80" name="Oval 79">
            <a:extLst>
              <a:ext uri="{FF2B5EF4-FFF2-40B4-BE49-F238E27FC236}">
                <a16:creationId xmlns:a16="http://schemas.microsoft.com/office/drawing/2014/main" id="{F10E455F-507F-4CCE-8B86-E3AC725CFB62}"/>
              </a:ext>
            </a:extLst>
          </p:cNvPr>
          <p:cNvSpPr/>
          <p:nvPr/>
        </p:nvSpPr>
        <p:spPr bwMode="auto">
          <a:xfrm>
            <a:off x="9580232" y="4506289"/>
            <a:ext cx="746260" cy="746260"/>
          </a:xfrm>
          <a:prstGeom prst="ellipse">
            <a:avLst/>
          </a:prstGeom>
          <a:solidFill>
            <a:schemeClr val="accent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err="1">
              <a:solidFill>
                <a:schemeClr val="accent1"/>
              </a:solidFill>
              <a:latin typeface="Segoe UI Semilight"/>
            </a:endParaRPr>
          </a:p>
        </p:txBody>
      </p:sp>
      <p:sp>
        <p:nvSpPr>
          <p:cNvPr id="81" name="Rectangle: Rounded Corners 80">
            <a:extLst>
              <a:ext uri="{FF2B5EF4-FFF2-40B4-BE49-F238E27FC236}">
                <a16:creationId xmlns:a16="http://schemas.microsoft.com/office/drawing/2014/main" id="{1BEF201E-B1A1-470E-8DFB-5429BC6B2558}"/>
              </a:ext>
            </a:extLst>
          </p:cNvPr>
          <p:cNvSpPr/>
          <p:nvPr/>
        </p:nvSpPr>
        <p:spPr bwMode="auto">
          <a:xfrm>
            <a:off x="7475055" y="5434839"/>
            <a:ext cx="2849230" cy="746260"/>
          </a:xfrm>
          <a:prstGeom prst="roundRect">
            <a:avLst>
              <a:gd name="adj" fmla="val 50000"/>
            </a:avLst>
          </a:prstGeom>
          <a:solidFill>
            <a:schemeClr val="accent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err="1">
              <a:solidFill>
                <a:schemeClr val="accent1"/>
              </a:solidFill>
              <a:latin typeface="Segoe UI Semilight"/>
            </a:endParaRPr>
          </a:p>
        </p:txBody>
      </p:sp>
      <p:cxnSp>
        <p:nvCxnSpPr>
          <p:cNvPr id="38" name="Straight Arrow Connector 37">
            <a:extLst>
              <a:ext uri="{FF2B5EF4-FFF2-40B4-BE49-F238E27FC236}">
                <a16:creationId xmlns:a16="http://schemas.microsoft.com/office/drawing/2014/main" id="{442766A6-FC8B-4E21-8430-91AB84072FEC}"/>
              </a:ext>
            </a:extLst>
          </p:cNvPr>
          <p:cNvCxnSpPr>
            <a:stCxn id="78" idx="0"/>
          </p:cNvCxnSpPr>
          <p:nvPr/>
        </p:nvCxnSpPr>
        <p:spPr>
          <a:xfrm flipH="1" flipV="1">
            <a:off x="8305801" y="2672725"/>
            <a:ext cx="3426" cy="213350"/>
          </a:xfrm>
          <a:prstGeom prst="straightConnector1">
            <a:avLst/>
          </a:prstGeom>
          <a:ln>
            <a:solidFill>
              <a:schemeClr val="tx1"/>
            </a:solidFill>
            <a:headEnd type="arrow" w="lg" len="med"/>
            <a:tailEnd type="non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E8FD57E1-1B21-4771-B6F3-6D3138D52BA8}"/>
              </a:ext>
            </a:extLst>
          </p:cNvPr>
          <p:cNvCxnSpPr>
            <a:cxnSpLocks/>
          </p:cNvCxnSpPr>
          <p:nvPr/>
        </p:nvCxnSpPr>
        <p:spPr>
          <a:xfrm flipV="1">
            <a:off x="9388620" y="2672725"/>
            <a:ext cx="0" cy="1072979"/>
          </a:xfrm>
          <a:prstGeom prst="straightConnector1">
            <a:avLst/>
          </a:prstGeom>
          <a:ln>
            <a:solidFill>
              <a:schemeClr val="tx1"/>
            </a:solidFill>
            <a:headEnd type="arrow" w="lg" len="med"/>
            <a:tailEnd type="non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34407B8D-B340-42A9-ACD2-FE56105876FF}"/>
              </a:ext>
            </a:extLst>
          </p:cNvPr>
          <p:cNvCxnSpPr>
            <a:cxnSpLocks/>
          </p:cNvCxnSpPr>
          <p:nvPr/>
        </p:nvCxnSpPr>
        <p:spPr>
          <a:xfrm flipV="1">
            <a:off x="8899670" y="2672726"/>
            <a:ext cx="0" cy="2762113"/>
          </a:xfrm>
          <a:prstGeom prst="straightConnector1">
            <a:avLst/>
          </a:prstGeom>
          <a:ln>
            <a:solidFill>
              <a:schemeClr val="tx1"/>
            </a:solidFill>
            <a:headEnd type="arrow" w="lg" len="med"/>
            <a:tailEnd type="non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60DF801B-6B70-4EF8-8B8F-E62A3AE0C6D3}"/>
              </a:ext>
            </a:extLst>
          </p:cNvPr>
          <p:cNvCxnSpPr>
            <a:cxnSpLocks/>
            <a:stCxn id="80" idx="0"/>
          </p:cNvCxnSpPr>
          <p:nvPr/>
        </p:nvCxnSpPr>
        <p:spPr>
          <a:xfrm flipV="1">
            <a:off x="9953362" y="2672727"/>
            <a:ext cx="0" cy="1833562"/>
          </a:xfrm>
          <a:prstGeom prst="straightConnector1">
            <a:avLst/>
          </a:prstGeom>
          <a:ln>
            <a:solidFill>
              <a:schemeClr val="tx1"/>
            </a:solidFill>
            <a:headEnd type="arrow" w="lg" len="med"/>
            <a:tailEnd type="none"/>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AD93E3B4-9C0F-4E3D-86A2-DA1F49E45B06}"/>
              </a:ext>
            </a:extLst>
          </p:cNvPr>
          <p:cNvSpPr txBox="1"/>
          <p:nvPr/>
        </p:nvSpPr>
        <p:spPr>
          <a:xfrm>
            <a:off x="10664012" y="3120706"/>
            <a:ext cx="1103709" cy="276999"/>
          </a:xfrm>
          <a:prstGeom prst="rect">
            <a:avLst/>
          </a:prstGeom>
          <a:noFill/>
        </p:spPr>
        <p:txBody>
          <a:bodyPr wrap="square" rtlCol="0">
            <a:spAutoFit/>
          </a:bodyPr>
          <a:lstStyle/>
          <a:p>
            <a:pPr algn="ctr"/>
            <a:r>
              <a:rPr lang="en-US" sz="1200"/>
              <a:t>Azure Stack</a:t>
            </a:r>
          </a:p>
        </p:txBody>
      </p:sp>
      <p:sp>
        <p:nvSpPr>
          <p:cNvPr id="86" name="TextBox 85">
            <a:extLst>
              <a:ext uri="{FF2B5EF4-FFF2-40B4-BE49-F238E27FC236}">
                <a16:creationId xmlns:a16="http://schemas.microsoft.com/office/drawing/2014/main" id="{3D080140-2085-4A3A-B2DF-597A5D7DC077}"/>
              </a:ext>
            </a:extLst>
          </p:cNvPr>
          <p:cNvSpPr txBox="1"/>
          <p:nvPr/>
        </p:nvSpPr>
        <p:spPr>
          <a:xfrm>
            <a:off x="10574633" y="3980335"/>
            <a:ext cx="1282467" cy="276999"/>
          </a:xfrm>
          <a:prstGeom prst="rect">
            <a:avLst/>
          </a:prstGeom>
          <a:noFill/>
        </p:spPr>
        <p:txBody>
          <a:bodyPr wrap="square" rtlCol="0">
            <a:spAutoFit/>
          </a:bodyPr>
          <a:lstStyle/>
          <a:p>
            <a:pPr algn="ctr"/>
            <a:r>
              <a:rPr lang="en-US" sz="1200">
                <a:gradFill>
                  <a:gsLst>
                    <a:gs pos="0">
                      <a:schemeClr val="tx1"/>
                    </a:gs>
                    <a:gs pos="100000">
                      <a:schemeClr val="tx1"/>
                    </a:gs>
                  </a:gsLst>
                  <a:lin ang="16200000" scaled="1"/>
                </a:gradFill>
              </a:rPr>
              <a:t>IoT Edge</a:t>
            </a:r>
          </a:p>
        </p:txBody>
      </p:sp>
      <p:sp>
        <p:nvSpPr>
          <p:cNvPr id="87" name="TextBox 86">
            <a:extLst>
              <a:ext uri="{FF2B5EF4-FFF2-40B4-BE49-F238E27FC236}">
                <a16:creationId xmlns:a16="http://schemas.microsoft.com/office/drawing/2014/main" id="{14FBBDB8-BA03-43DC-B6A1-C4F3ECFDEE6F}"/>
              </a:ext>
            </a:extLst>
          </p:cNvPr>
          <p:cNvSpPr txBox="1"/>
          <p:nvPr/>
        </p:nvSpPr>
        <p:spPr>
          <a:xfrm>
            <a:off x="10664012" y="4740920"/>
            <a:ext cx="1103709" cy="276999"/>
          </a:xfrm>
          <a:prstGeom prst="rect">
            <a:avLst/>
          </a:prstGeom>
          <a:noFill/>
        </p:spPr>
        <p:txBody>
          <a:bodyPr wrap="square" rtlCol="0">
            <a:spAutoFit/>
          </a:bodyPr>
          <a:lstStyle/>
          <a:p>
            <a:pPr algn="ctr"/>
            <a:r>
              <a:rPr lang="en-US" sz="1200">
                <a:gradFill>
                  <a:gsLst>
                    <a:gs pos="0">
                      <a:schemeClr val="tx1"/>
                    </a:gs>
                    <a:gs pos="100000">
                      <a:schemeClr val="tx1"/>
                    </a:gs>
                  </a:gsLst>
                  <a:lin ang="16200000" scaled="1"/>
                </a:gradFill>
              </a:rPr>
              <a:t>IoT</a:t>
            </a:r>
          </a:p>
        </p:txBody>
      </p:sp>
      <p:sp>
        <p:nvSpPr>
          <p:cNvPr id="88" name="TextBox 87">
            <a:extLst>
              <a:ext uri="{FF2B5EF4-FFF2-40B4-BE49-F238E27FC236}">
                <a16:creationId xmlns:a16="http://schemas.microsoft.com/office/drawing/2014/main" id="{27F8EAFC-F212-46C1-B35E-8032F335E34A}"/>
              </a:ext>
            </a:extLst>
          </p:cNvPr>
          <p:cNvSpPr txBox="1"/>
          <p:nvPr/>
        </p:nvSpPr>
        <p:spPr>
          <a:xfrm>
            <a:off x="10664012" y="5669470"/>
            <a:ext cx="1103709" cy="276999"/>
          </a:xfrm>
          <a:prstGeom prst="rect">
            <a:avLst/>
          </a:prstGeom>
          <a:noFill/>
        </p:spPr>
        <p:txBody>
          <a:bodyPr wrap="square" rtlCol="0">
            <a:spAutoFit/>
          </a:bodyPr>
          <a:lstStyle/>
          <a:p>
            <a:pPr algn="ctr"/>
            <a:r>
              <a:rPr lang="en-US" sz="1200">
                <a:gradFill>
                  <a:gsLst>
                    <a:gs pos="0">
                      <a:schemeClr val="tx1"/>
                    </a:gs>
                    <a:gs pos="100000">
                      <a:schemeClr val="tx1"/>
                    </a:gs>
                  </a:gsLst>
                  <a:lin ang="16200000" scaled="1"/>
                </a:gradFill>
              </a:rPr>
              <a:t>IoT</a:t>
            </a:r>
          </a:p>
        </p:txBody>
      </p:sp>
      <p:sp>
        <p:nvSpPr>
          <p:cNvPr id="89" name="Frame 5">
            <a:extLst>
              <a:ext uri="{FF2B5EF4-FFF2-40B4-BE49-F238E27FC236}">
                <a16:creationId xmlns:a16="http://schemas.microsoft.com/office/drawing/2014/main" id="{1818CAB9-857C-48CF-9E95-1CA274499C08}"/>
              </a:ext>
            </a:extLst>
          </p:cNvPr>
          <p:cNvSpPr>
            <a:spLocks noChangeAspect="1"/>
          </p:cNvSpPr>
          <p:nvPr/>
        </p:nvSpPr>
        <p:spPr bwMode="auto">
          <a:xfrm>
            <a:off x="9758458" y="4684567"/>
            <a:ext cx="389809" cy="38970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93221" tIns="46610" rIns="46610" bIns="93221" numCol="1" spcCol="0" rtlCol="0" fromWordArt="0" anchor="b" anchorCtr="0" forceAA="0" compatLnSpc="1">
            <a:prstTxWarp prst="textNoShape">
              <a:avLst/>
            </a:prstTxWarp>
            <a:noAutofit/>
          </a:bodyPr>
          <a:lstStyle/>
          <a:p>
            <a:pPr algn="ctr" defTabSz="931753" fontAlgn="base">
              <a:spcBef>
                <a:spcPct val="0"/>
              </a:spcBef>
              <a:spcAft>
                <a:spcPct val="0"/>
              </a:spcAft>
              <a:defRPr/>
            </a:pPr>
            <a:endParaRPr lang="en-US" sz="1873" kern="0" spc="-51">
              <a:solidFill>
                <a:prstClr val="black"/>
              </a:solidFill>
              <a:latin typeface="Segoe UI Light"/>
              <a:ea typeface="Segoe UI" pitchFamily="34" charset="0"/>
              <a:cs typeface="Segoe UI" pitchFamily="34" charset="0"/>
            </a:endParaRPr>
          </a:p>
        </p:txBody>
      </p:sp>
      <p:sp>
        <p:nvSpPr>
          <p:cNvPr id="91" name="Frame 5">
            <a:extLst>
              <a:ext uri="{FF2B5EF4-FFF2-40B4-BE49-F238E27FC236}">
                <a16:creationId xmlns:a16="http://schemas.microsoft.com/office/drawing/2014/main" id="{A4B14449-CDF3-4C59-AA45-69E2EA619A29}"/>
              </a:ext>
            </a:extLst>
          </p:cNvPr>
          <p:cNvSpPr>
            <a:spLocks noChangeAspect="1"/>
          </p:cNvSpPr>
          <p:nvPr/>
        </p:nvSpPr>
        <p:spPr bwMode="auto">
          <a:xfrm>
            <a:off x="9758457" y="5613117"/>
            <a:ext cx="389809" cy="38970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93221" tIns="46610" rIns="46610" bIns="93221" numCol="1" spcCol="0" rtlCol="0" fromWordArt="0" anchor="b" anchorCtr="0" forceAA="0" compatLnSpc="1">
            <a:prstTxWarp prst="textNoShape">
              <a:avLst/>
            </a:prstTxWarp>
            <a:noAutofit/>
          </a:bodyPr>
          <a:lstStyle/>
          <a:p>
            <a:pPr algn="ctr" defTabSz="931753" fontAlgn="base">
              <a:spcBef>
                <a:spcPct val="0"/>
              </a:spcBef>
              <a:spcAft>
                <a:spcPct val="0"/>
              </a:spcAft>
              <a:defRPr/>
            </a:pPr>
            <a:endParaRPr lang="en-US" sz="1873" kern="0" spc="-51">
              <a:solidFill>
                <a:prstClr val="black"/>
              </a:solidFill>
              <a:latin typeface="Segoe UI Light"/>
              <a:ea typeface="Segoe UI" pitchFamily="34" charset="0"/>
              <a:cs typeface="Segoe UI" pitchFamily="34" charset="0"/>
            </a:endParaRPr>
          </a:p>
        </p:txBody>
      </p:sp>
      <p:sp>
        <p:nvSpPr>
          <p:cNvPr id="92" name="Frame 5">
            <a:extLst>
              <a:ext uri="{FF2B5EF4-FFF2-40B4-BE49-F238E27FC236}">
                <a16:creationId xmlns:a16="http://schemas.microsoft.com/office/drawing/2014/main" id="{03C3B81F-FF5C-4610-9D6D-BC1560AB995F}"/>
              </a:ext>
            </a:extLst>
          </p:cNvPr>
          <p:cNvSpPr>
            <a:spLocks noChangeAspect="1"/>
          </p:cNvSpPr>
          <p:nvPr/>
        </p:nvSpPr>
        <p:spPr bwMode="auto">
          <a:xfrm>
            <a:off x="9315544" y="5613117"/>
            <a:ext cx="389809" cy="38970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93221" tIns="46610" rIns="46610" bIns="93221" numCol="1" spcCol="0" rtlCol="0" fromWordArt="0" anchor="b" anchorCtr="0" forceAA="0" compatLnSpc="1">
            <a:prstTxWarp prst="textNoShape">
              <a:avLst/>
            </a:prstTxWarp>
            <a:noAutofit/>
          </a:bodyPr>
          <a:lstStyle/>
          <a:p>
            <a:pPr algn="ctr" defTabSz="931753" fontAlgn="base">
              <a:spcBef>
                <a:spcPct val="0"/>
              </a:spcBef>
              <a:spcAft>
                <a:spcPct val="0"/>
              </a:spcAft>
              <a:defRPr/>
            </a:pPr>
            <a:endParaRPr lang="en-US" sz="1873" kern="0" spc="-51">
              <a:solidFill>
                <a:prstClr val="black"/>
              </a:solidFill>
              <a:latin typeface="Segoe UI Light"/>
              <a:ea typeface="Segoe UI" pitchFamily="34" charset="0"/>
              <a:cs typeface="Segoe UI" pitchFamily="34" charset="0"/>
            </a:endParaRPr>
          </a:p>
        </p:txBody>
      </p:sp>
      <p:sp>
        <p:nvSpPr>
          <p:cNvPr id="93" name="TextBox 92">
            <a:extLst>
              <a:ext uri="{FF2B5EF4-FFF2-40B4-BE49-F238E27FC236}">
                <a16:creationId xmlns:a16="http://schemas.microsoft.com/office/drawing/2014/main" id="{C8FF1192-3821-4147-A2B6-9C03C8FA127C}"/>
              </a:ext>
            </a:extLst>
          </p:cNvPr>
          <p:cNvSpPr txBox="1"/>
          <p:nvPr/>
        </p:nvSpPr>
        <p:spPr>
          <a:xfrm>
            <a:off x="7696203" y="5669470"/>
            <a:ext cx="1449478" cy="276999"/>
          </a:xfrm>
          <a:prstGeom prst="rect">
            <a:avLst/>
          </a:prstGeom>
          <a:noFill/>
        </p:spPr>
        <p:txBody>
          <a:bodyPr wrap="square" rtlCol="0">
            <a:spAutoFit/>
          </a:bodyPr>
          <a:lstStyle/>
          <a:p>
            <a:r>
              <a:rPr lang="en-US" sz="1200">
                <a:gradFill>
                  <a:gsLst>
                    <a:gs pos="0">
                      <a:schemeClr val="bg1"/>
                    </a:gs>
                    <a:gs pos="100000">
                      <a:schemeClr val="bg1"/>
                    </a:gs>
                  </a:gsLst>
                  <a:lin ang="16200000" scaled="1"/>
                </a:gradFill>
              </a:rPr>
              <a:t>Azure </a:t>
            </a:r>
            <a:r>
              <a:rPr lang="en-US" sz="1200" err="1">
                <a:gradFill>
                  <a:gsLst>
                    <a:gs pos="0">
                      <a:schemeClr val="bg1"/>
                    </a:gs>
                    <a:gs pos="100000">
                      <a:schemeClr val="bg1"/>
                    </a:gs>
                  </a:gsLst>
                  <a:lin ang="16200000" scaled="1"/>
                </a:gradFill>
              </a:rPr>
              <a:t>SphereOS</a:t>
            </a:r>
            <a:endParaRPr lang="en-US" sz="1200">
              <a:gradFill>
                <a:gsLst>
                  <a:gs pos="0">
                    <a:schemeClr val="bg1"/>
                  </a:gs>
                  <a:gs pos="100000">
                    <a:schemeClr val="bg1"/>
                  </a:gs>
                </a:gsLst>
                <a:lin ang="16200000" scaled="1"/>
              </a:gradFill>
            </a:endParaRPr>
          </a:p>
        </p:txBody>
      </p:sp>
      <p:sp>
        <p:nvSpPr>
          <p:cNvPr id="94" name="server" title="Icon of a server tower">
            <a:extLst>
              <a:ext uri="{FF2B5EF4-FFF2-40B4-BE49-F238E27FC236}">
                <a16:creationId xmlns:a16="http://schemas.microsoft.com/office/drawing/2014/main" id="{BF185D47-3141-45D4-880C-287CFF3546C9}"/>
              </a:ext>
            </a:extLst>
          </p:cNvPr>
          <p:cNvSpPr>
            <a:spLocks noChangeAspect="1" noEditPoints="1"/>
          </p:cNvSpPr>
          <p:nvPr/>
        </p:nvSpPr>
        <p:spPr bwMode="auto">
          <a:xfrm>
            <a:off x="8212625" y="3076325"/>
            <a:ext cx="193204" cy="365760"/>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9" name="Rectangle: Rounded Corners 78">
            <a:extLst>
              <a:ext uri="{FF2B5EF4-FFF2-40B4-BE49-F238E27FC236}">
                <a16:creationId xmlns:a16="http://schemas.microsoft.com/office/drawing/2014/main" id="{D4B8FEE1-3CDC-40A4-B1F0-FCC2AAA27864}"/>
              </a:ext>
            </a:extLst>
          </p:cNvPr>
          <p:cNvSpPr/>
          <p:nvPr/>
        </p:nvSpPr>
        <p:spPr bwMode="auto">
          <a:xfrm>
            <a:off x="7475055" y="3745704"/>
            <a:ext cx="2286695" cy="746260"/>
          </a:xfrm>
          <a:prstGeom prst="roundRect">
            <a:avLst>
              <a:gd name="adj" fmla="val 50000"/>
            </a:avLst>
          </a:prstGeom>
          <a:solidFill>
            <a:schemeClr val="accent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err="1">
              <a:solidFill>
                <a:schemeClr val="accent1"/>
              </a:solidFill>
              <a:latin typeface="Segoe UI Semilight"/>
            </a:endParaRPr>
          </a:p>
        </p:txBody>
      </p:sp>
      <p:sp>
        <p:nvSpPr>
          <p:cNvPr id="95" name="server" title="Icon of a server tower">
            <a:extLst>
              <a:ext uri="{FF2B5EF4-FFF2-40B4-BE49-F238E27FC236}">
                <a16:creationId xmlns:a16="http://schemas.microsoft.com/office/drawing/2014/main" id="{441142D1-5582-4DE8-B061-49DD064CC4BE}"/>
              </a:ext>
            </a:extLst>
          </p:cNvPr>
          <p:cNvSpPr>
            <a:spLocks noChangeAspect="1" noEditPoints="1"/>
          </p:cNvSpPr>
          <p:nvPr/>
        </p:nvSpPr>
        <p:spPr bwMode="auto">
          <a:xfrm>
            <a:off x="9056170" y="3935954"/>
            <a:ext cx="193204" cy="365760"/>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96" name="server" title="Icon of a server tower">
            <a:extLst>
              <a:ext uri="{FF2B5EF4-FFF2-40B4-BE49-F238E27FC236}">
                <a16:creationId xmlns:a16="http://schemas.microsoft.com/office/drawing/2014/main" id="{CB43BE23-06D6-47DC-8F23-3B83C2262F44}"/>
              </a:ext>
            </a:extLst>
          </p:cNvPr>
          <p:cNvSpPr>
            <a:spLocks noChangeAspect="1" noEditPoints="1"/>
          </p:cNvSpPr>
          <p:nvPr/>
        </p:nvSpPr>
        <p:spPr bwMode="auto">
          <a:xfrm>
            <a:off x="9328400" y="3935954"/>
            <a:ext cx="193204" cy="365760"/>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98" name="TextBox 97">
            <a:extLst>
              <a:ext uri="{FF2B5EF4-FFF2-40B4-BE49-F238E27FC236}">
                <a16:creationId xmlns:a16="http://schemas.microsoft.com/office/drawing/2014/main" id="{E3D51589-0A49-49E3-977F-E93DFB974DB5}"/>
              </a:ext>
            </a:extLst>
          </p:cNvPr>
          <p:cNvSpPr txBox="1"/>
          <p:nvPr/>
        </p:nvSpPr>
        <p:spPr>
          <a:xfrm>
            <a:off x="7696203" y="3888002"/>
            <a:ext cx="1449478" cy="461665"/>
          </a:xfrm>
          <a:prstGeom prst="rect">
            <a:avLst/>
          </a:prstGeom>
          <a:noFill/>
        </p:spPr>
        <p:txBody>
          <a:bodyPr wrap="square" rtlCol="0">
            <a:spAutoFit/>
          </a:bodyPr>
          <a:lstStyle/>
          <a:p>
            <a:r>
              <a:rPr lang="en-US" sz="1200">
                <a:gradFill>
                  <a:gsLst>
                    <a:gs pos="0">
                      <a:schemeClr val="bg1"/>
                    </a:gs>
                    <a:gs pos="100000">
                      <a:schemeClr val="bg1"/>
                    </a:gs>
                  </a:gsLst>
                  <a:lin ang="16200000" scaled="1"/>
                </a:gradFill>
              </a:rPr>
              <a:t>Windows IoT, Linux</a:t>
            </a:r>
          </a:p>
        </p:txBody>
      </p:sp>
    </p:spTree>
    <p:extLst>
      <p:ext uri="{BB962C8B-B14F-4D97-AF65-F5344CB8AC3E}">
        <p14:creationId xmlns:p14="http://schemas.microsoft.com/office/powerpoint/2010/main" val="107111145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3" name="Fingerprint_E928">
            <a:extLst>
              <a:ext uri="{FF2B5EF4-FFF2-40B4-BE49-F238E27FC236}">
                <a16:creationId xmlns:a16="http://schemas.microsoft.com/office/drawing/2014/main" id="{2ACE5055-DD4E-4AF3-A07D-37221E36E79F}"/>
              </a:ext>
            </a:extLst>
          </p:cNvPr>
          <p:cNvSpPr>
            <a:spLocks noChangeAspect="1" noEditPoints="1"/>
          </p:cNvSpPr>
          <p:nvPr/>
        </p:nvSpPr>
        <p:spPr bwMode="auto">
          <a:xfrm flipH="1">
            <a:off x="4802603" y="4177835"/>
            <a:ext cx="234084" cy="314799"/>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flat">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44" name="key">
            <a:extLst>
              <a:ext uri="{FF2B5EF4-FFF2-40B4-BE49-F238E27FC236}">
                <a16:creationId xmlns:a16="http://schemas.microsoft.com/office/drawing/2014/main" id="{EE3BB598-F342-4730-B659-0C0F4CE5FD2D}"/>
              </a:ext>
            </a:extLst>
          </p:cNvPr>
          <p:cNvSpPr>
            <a:spLocks noChangeAspect="1" noEditPoints="1"/>
          </p:cNvSpPr>
          <p:nvPr/>
        </p:nvSpPr>
        <p:spPr bwMode="auto">
          <a:xfrm flipH="1">
            <a:off x="3875537" y="4184746"/>
            <a:ext cx="282998" cy="281546"/>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flat">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45" name="Temperature_med">
            <a:extLst>
              <a:ext uri="{FF2B5EF4-FFF2-40B4-BE49-F238E27FC236}">
                <a16:creationId xmlns:a16="http://schemas.microsoft.com/office/drawing/2014/main" id="{665435E0-82F7-4A2C-8E0C-6C7224E991F6}"/>
              </a:ext>
            </a:extLst>
          </p:cNvPr>
          <p:cNvSpPr>
            <a:spLocks noChangeAspect="1" noEditPoints="1"/>
          </p:cNvSpPr>
          <p:nvPr/>
        </p:nvSpPr>
        <p:spPr bwMode="auto">
          <a:xfrm flipH="1">
            <a:off x="3239210" y="4171682"/>
            <a:ext cx="137732" cy="344407"/>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137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1371"/>
                </a:moveTo>
                <a:cubicBezTo>
                  <a:pt x="748" y="2716"/>
                  <a:pt x="748" y="2716"/>
                  <a:pt x="748" y="2716"/>
                </a:cubicBezTo>
              </a:path>
            </a:pathLst>
          </a:custGeom>
          <a:noFill/>
          <a:ln w="15875" cap="flat">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46" name="News_E900">
            <a:extLst>
              <a:ext uri="{FF2B5EF4-FFF2-40B4-BE49-F238E27FC236}">
                <a16:creationId xmlns:a16="http://schemas.microsoft.com/office/drawing/2014/main" id="{157CE284-1903-43E5-A1F2-4F72AC1A8DC6}"/>
              </a:ext>
            </a:extLst>
          </p:cNvPr>
          <p:cNvSpPr>
            <a:spLocks noChangeAspect="1" noEditPoints="1"/>
          </p:cNvSpPr>
          <p:nvPr/>
        </p:nvSpPr>
        <p:spPr bwMode="auto">
          <a:xfrm flipH="1">
            <a:off x="2256644" y="4199455"/>
            <a:ext cx="315770" cy="210777"/>
          </a:xfrm>
          <a:custGeom>
            <a:avLst/>
            <a:gdLst>
              <a:gd name="T0" fmla="*/ 3240 w 3738"/>
              <a:gd name="T1" fmla="*/ 0 h 2493"/>
              <a:gd name="T2" fmla="*/ 3240 w 3738"/>
              <a:gd name="T3" fmla="*/ 499 h 2493"/>
              <a:gd name="T4" fmla="*/ 3738 w 3738"/>
              <a:gd name="T5" fmla="*/ 499 h 2493"/>
              <a:gd name="T6" fmla="*/ 3738 w 3738"/>
              <a:gd name="T7" fmla="*/ 2119 h 2493"/>
              <a:gd name="T8" fmla="*/ 3365 w 3738"/>
              <a:gd name="T9" fmla="*/ 2493 h 2493"/>
              <a:gd name="T10" fmla="*/ 361 w 3738"/>
              <a:gd name="T11" fmla="*/ 2493 h 2493"/>
              <a:gd name="T12" fmla="*/ 0 w 3738"/>
              <a:gd name="T13" fmla="*/ 2132 h 2493"/>
              <a:gd name="T14" fmla="*/ 0 w 3738"/>
              <a:gd name="T15" fmla="*/ 0 h 2493"/>
              <a:gd name="T16" fmla="*/ 3240 w 3738"/>
              <a:gd name="T17" fmla="*/ 0 h 2493"/>
              <a:gd name="T18" fmla="*/ 3240 w 3738"/>
              <a:gd name="T19" fmla="*/ 499 h 2493"/>
              <a:gd name="T20" fmla="*/ 3240 w 3738"/>
              <a:gd name="T21" fmla="*/ 1994 h 2493"/>
              <a:gd name="T22" fmla="*/ 2866 w 3738"/>
              <a:gd name="T23" fmla="*/ 499 h 2493"/>
              <a:gd name="T24" fmla="*/ 374 w 3738"/>
              <a:gd name="T25" fmla="*/ 499 h 2493"/>
              <a:gd name="T26" fmla="*/ 2866 w 3738"/>
              <a:gd name="T27" fmla="*/ 1994 h 2493"/>
              <a:gd name="T28" fmla="*/ 1869 w 3738"/>
              <a:gd name="T29" fmla="*/ 1994 h 2493"/>
              <a:gd name="T30" fmla="*/ 2866 w 3738"/>
              <a:gd name="T31" fmla="*/ 1496 h 2493"/>
              <a:gd name="T32" fmla="*/ 1869 w 3738"/>
              <a:gd name="T33" fmla="*/ 1496 h 2493"/>
              <a:gd name="T34" fmla="*/ 2866 w 3738"/>
              <a:gd name="T35" fmla="*/ 997 h 2493"/>
              <a:gd name="T36" fmla="*/ 1869 w 3738"/>
              <a:gd name="T37" fmla="*/ 997 h 2493"/>
              <a:gd name="T38" fmla="*/ 498 w 3738"/>
              <a:gd name="T39" fmla="*/ 1994 h 2493"/>
              <a:gd name="T40" fmla="*/ 1495 w 3738"/>
              <a:gd name="T41" fmla="*/ 1994 h 2493"/>
              <a:gd name="T42" fmla="*/ 1495 w 3738"/>
              <a:gd name="T43" fmla="*/ 992 h 2493"/>
              <a:gd name="T44" fmla="*/ 498 w 3738"/>
              <a:gd name="T45" fmla="*/ 992 h 2493"/>
              <a:gd name="T46" fmla="*/ 498 w 3738"/>
              <a:gd name="T47" fmla="*/ 1994 h 2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38" h="2493">
                <a:moveTo>
                  <a:pt x="3240" y="0"/>
                </a:moveTo>
                <a:cubicBezTo>
                  <a:pt x="3240" y="499"/>
                  <a:pt x="3240" y="499"/>
                  <a:pt x="3240" y="499"/>
                </a:cubicBezTo>
                <a:cubicBezTo>
                  <a:pt x="3738" y="499"/>
                  <a:pt x="3738" y="499"/>
                  <a:pt x="3738" y="499"/>
                </a:cubicBezTo>
                <a:cubicBezTo>
                  <a:pt x="3738" y="2119"/>
                  <a:pt x="3738" y="2119"/>
                  <a:pt x="3738" y="2119"/>
                </a:cubicBezTo>
                <a:cubicBezTo>
                  <a:pt x="3738" y="2325"/>
                  <a:pt x="3571" y="2493"/>
                  <a:pt x="3365" y="2493"/>
                </a:cubicBezTo>
                <a:cubicBezTo>
                  <a:pt x="361" y="2493"/>
                  <a:pt x="361" y="2493"/>
                  <a:pt x="361" y="2493"/>
                </a:cubicBezTo>
                <a:cubicBezTo>
                  <a:pt x="161" y="2493"/>
                  <a:pt x="0" y="2331"/>
                  <a:pt x="0" y="2132"/>
                </a:cubicBezTo>
                <a:cubicBezTo>
                  <a:pt x="0" y="0"/>
                  <a:pt x="0" y="0"/>
                  <a:pt x="0" y="0"/>
                </a:cubicBezTo>
                <a:lnTo>
                  <a:pt x="3240" y="0"/>
                </a:lnTo>
                <a:close/>
                <a:moveTo>
                  <a:pt x="3240" y="499"/>
                </a:moveTo>
                <a:cubicBezTo>
                  <a:pt x="3240" y="1994"/>
                  <a:pt x="3240" y="1994"/>
                  <a:pt x="3240" y="1994"/>
                </a:cubicBezTo>
                <a:moveTo>
                  <a:pt x="2866" y="499"/>
                </a:moveTo>
                <a:cubicBezTo>
                  <a:pt x="374" y="499"/>
                  <a:pt x="374" y="499"/>
                  <a:pt x="374" y="499"/>
                </a:cubicBezTo>
                <a:moveTo>
                  <a:pt x="2866" y="1994"/>
                </a:moveTo>
                <a:cubicBezTo>
                  <a:pt x="1869" y="1994"/>
                  <a:pt x="1869" y="1994"/>
                  <a:pt x="1869" y="1994"/>
                </a:cubicBezTo>
                <a:moveTo>
                  <a:pt x="2866" y="1496"/>
                </a:moveTo>
                <a:cubicBezTo>
                  <a:pt x="1869" y="1496"/>
                  <a:pt x="1869" y="1496"/>
                  <a:pt x="1869" y="1496"/>
                </a:cubicBezTo>
                <a:moveTo>
                  <a:pt x="2866" y="997"/>
                </a:moveTo>
                <a:cubicBezTo>
                  <a:pt x="1869" y="997"/>
                  <a:pt x="1869" y="997"/>
                  <a:pt x="1869" y="997"/>
                </a:cubicBezTo>
                <a:moveTo>
                  <a:pt x="498" y="1994"/>
                </a:moveTo>
                <a:cubicBezTo>
                  <a:pt x="1495" y="1994"/>
                  <a:pt x="1495" y="1994"/>
                  <a:pt x="1495" y="1994"/>
                </a:cubicBezTo>
                <a:cubicBezTo>
                  <a:pt x="1495" y="992"/>
                  <a:pt x="1495" y="992"/>
                  <a:pt x="1495" y="992"/>
                </a:cubicBezTo>
                <a:cubicBezTo>
                  <a:pt x="498" y="992"/>
                  <a:pt x="498" y="992"/>
                  <a:pt x="498" y="992"/>
                </a:cubicBezTo>
                <a:lnTo>
                  <a:pt x="498" y="1994"/>
                </a:lnTo>
                <a:close/>
              </a:path>
            </a:pathLst>
          </a:custGeom>
          <a:noFill/>
          <a:ln w="15875" cap="flat">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7" name="ShoppingCart_E7BF">
            <a:extLst>
              <a:ext uri="{FF2B5EF4-FFF2-40B4-BE49-F238E27FC236}">
                <a16:creationId xmlns:a16="http://schemas.microsoft.com/office/drawing/2014/main" id="{7126E410-32B0-451B-A9CC-D8DC4C5EC990}"/>
              </a:ext>
            </a:extLst>
          </p:cNvPr>
          <p:cNvSpPr>
            <a:spLocks noChangeAspect="1" noEditPoints="1"/>
          </p:cNvSpPr>
          <p:nvPr/>
        </p:nvSpPr>
        <p:spPr bwMode="auto">
          <a:xfrm flipH="1">
            <a:off x="2215518" y="4188051"/>
            <a:ext cx="312396" cy="265648"/>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flat">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8" name="building_11">
            <a:extLst>
              <a:ext uri="{FF2B5EF4-FFF2-40B4-BE49-F238E27FC236}">
                <a16:creationId xmlns:a16="http://schemas.microsoft.com/office/drawing/2014/main" id="{FEE2FF04-F2B5-460F-95A1-5090DEAE4718}"/>
              </a:ext>
            </a:extLst>
          </p:cNvPr>
          <p:cNvSpPr>
            <a:spLocks noChangeAspect="1" noEditPoints="1"/>
          </p:cNvSpPr>
          <p:nvPr/>
        </p:nvSpPr>
        <p:spPr bwMode="auto">
          <a:xfrm flipH="1">
            <a:off x="5485756" y="4199208"/>
            <a:ext cx="393755" cy="211960"/>
          </a:xfrm>
          <a:custGeom>
            <a:avLst/>
            <a:gdLst>
              <a:gd name="T0" fmla="*/ 164 w 361"/>
              <a:gd name="T1" fmla="*/ 94 h 193"/>
              <a:gd name="T2" fmla="*/ 66 w 361"/>
              <a:gd name="T3" fmla="*/ 193 h 193"/>
              <a:gd name="T4" fmla="*/ 98 w 361"/>
              <a:gd name="T5" fmla="*/ 124 h 193"/>
              <a:gd name="T6" fmla="*/ 93 w 361"/>
              <a:gd name="T7" fmla="*/ 129 h 193"/>
              <a:gd name="T8" fmla="*/ 98 w 361"/>
              <a:gd name="T9" fmla="*/ 124 h 193"/>
              <a:gd name="T10" fmla="*/ 93 w 361"/>
              <a:gd name="T11" fmla="*/ 160 h 193"/>
              <a:gd name="T12" fmla="*/ 98 w 361"/>
              <a:gd name="T13" fmla="*/ 165 h 193"/>
              <a:gd name="T14" fmla="*/ 135 w 361"/>
              <a:gd name="T15" fmla="*/ 124 h 193"/>
              <a:gd name="T16" fmla="*/ 130 w 361"/>
              <a:gd name="T17" fmla="*/ 129 h 193"/>
              <a:gd name="T18" fmla="*/ 135 w 361"/>
              <a:gd name="T19" fmla="*/ 124 h 193"/>
              <a:gd name="T20" fmla="*/ 130 w 361"/>
              <a:gd name="T21" fmla="*/ 160 h 193"/>
              <a:gd name="T22" fmla="*/ 135 w 361"/>
              <a:gd name="T23" fmla="*/ 165 h 193"/>
              <a:gd name="T24" fmla="*/ 295 w 361"/>
              <a:gd name="T25" fmla="*/ 124 h 193"/>
              <a:gd name="T26" fmla="*/ 291 w 361"/>
              <a:gd name="T27" fmla="*/ 129 h 193"/>
              <a:gd name="T28" fmla="*/ 295 w 361"/>
              <a:gd name="T29" fmla="*/ 124 h 193"/>
              <a:gd name="T30" fmla="*/ 291 w 361"/>
              <a:gd name="T31" fmla="*/ 160 h 193"/>
              <a:gd name="T32" fmla="*/ 295 w 361"/>
              <a:gd name="T33" fmla="*/ 165 h 193"/>
              <a:gd name="T34" fmla="*/ 333 w 361"/>
              <a:gd name="T35" fmla="*/ 124 h 193"/>
              <a:gd name="T36" fmla="*/ 328 w 361"/>
              <a:gd name="T37" fmla="*/ 129 h 193"/>
              <a:gd name="T38" fmla="*/ 333 w 361"/>
              <a:gd name="T39" fmla="*/ 124 h 193"/>
              <a:gd name="T40" fmla="*/ 328 w 361"/>
              <a:gd name="T41" fmla="*/ 160 h 193"/>
              <a:gd name="T42" fmla="*/ 333 w 361"/>
              <a:gd name="T43" fmla="*/ 165 h 193"/>
              <a:gd name="T44" fmla="*/ 263 w 361"/>
              <a:gd name="T45" fmla="*/ 193 h 193"/>
              <a:gd name="T46" fmla="*/ 361 w 361"/>
              <a:gd name="T47" fmla="*/ 94 h 193"/>
              <a:gd name="T48" fmla="*/ 263 w 361"/>
              <a:gd name="T49" fmla="*/ 193 h 193"/>
              <a:gd name="T50" fmla="*/ 164 w 361"/>
              <a:gd name="T51" fmla="*/ 45 h 193"/>
              <a:gd name="T52" fmla="*/ 263 w 361"/>
              <a:gd name="T53" fmla="*/ 193 h 193"/>
              <a:gd name="T54" fmla="*/ 214 w 361"/>
              <a:gd name="T55" fmla="*/ 0 h 193"/>
              <a:gd name="T56" fmla="*/ 185 w 361"/>
              <a:gd name="T57" fmla="*/ 58 h 193"/>
              <a:gd name="T58" fmla="*/ 241 w 361"/>
              <a:gd name="T59" fmla="*/ 84 h 193"/>
              <a:gd name="T60" fmla="*/ 241 w 361"/>
              <a:gd name="T61" fmla="*/ 193 h 193"/>
              <a:gd name="T62" fmla="*/ 213 w 361"/>
              <a:gd name="T63" fmla="*/ 144 h 193"/>
              <a:gd name="T64" fmla="*/ 213 w 361"/>
              <a:gd name="T65" fmla="*/ 144 h 193"/>
              <a:gd name="T66" fmla="*/ 185 w 361"/>
              <a:gd name="T67" fmla="*/ 193 h 193"/>
              <a:gd name="T68" fmla="*/ 207 w 361"/>
              <a:gd name="T69" fmla="*/ 115 h 193"/>
              <a:gd name="T70" fmla="*/ 219 w 361"/>
              <a:gd name="T71" fmla="*/ 115 h 193"/>
              <a:gd name="T72" fmla="*/ 19 w 361"/>
              <a:gd name="T73" fmla="*/ 75 h 193"/>
              <a:gd name="T74" fmla="*/ 19 w 361"/>
              <a:gd name="T75" fmla="*/ 45 h 193"/>
              <a:gd name="T76" fmla="*/ 0 w 361"/>
              <a:gd name="T7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193">
                <a:moveTo>
                  <a:pt x="66" y="94"/>
                </a:moveTo>
                <a:cubicBezTo>
                  <a:pt x="164" y="94"/>
                  <a:pt x="164" y="94"/>
                  <a:pt x="164" y="94"/>
                </a:cubicBezTo>
                <a:cubicBezTo>
                  <a:pt x="164" y="193"/>
                  <a:pt x="164" y="193"/>
                  <a:pt x="164" y="193"/>
                </a:cubicBezTo>
                <a:cubicBezTo>
                  <a:pt x="66" y="193"/>
                  <a:pt x="66" y="193"/>
                  <a:pt x="66" y="193"/>
                </a:cubicBezTo>
                <a:lnTo>
                  <a:pt x="66" y="94"/>
                </a:lnTo>
                <a:close/>
                <a:moveTo>
                  <a:pt x="98" y="124"/>
                </a:moveTo>
                <a:cubicBezTo>
                  <a:pt x="93" y="124"/>
                  <a:pt x="93" y="124"/>
                  <a:pt x="93" y="124"/>
                </a:cubicBezTo>
                <a:cubicBezTo>
                  <a:pt x="93" y="129"/>
                  <a:pt x="93" y="129"/>
                  <a:pt x="93" y="129"/>
                </a:cubicBezTo>
                <a:cubicBezTo>
                  <a:pt x="98" y="129"/>
                  <a:pt x="98" y="129"/>
                  <a:pt x="98" y="129"/>
                </a:cubicBezTo>
                <a:lnTo>
                  <a:pt x="98" y="124"/>
                </a:lnTo>
                <a:close/>
                <a:moveTo>
                  <a:pt x="98" y="160"/>
                </a:moveTo>
                <a:cubicBezTo>
                  <a:pt x="93" y="160"/>
                  <a:pt x="93" y="160"/>
                  <a:pt x="93" y="160"/>
                </a:cubicBezTo>
                <a:cubicBezTo>
                  <a:pt x="93" y="165"/>
                  <a:pt x="93" y="165"/>
                  <a:pt x="93" y="165"/>
                </a:cubicBezTo>
                <a:cubicBezTo>
                  <a:pt x="98" y="165"/>
                  <a:pt x="98" y="165"/>
                  <a:pt x="98" y="165"/>
                </a:cubicBezTo>
                <a:lnTo>
                  <a:pt x="98" y="160"/>
                </a:lnTo>
                <a:close/>
                <a:moveTo>
                  <a:pt x="135" y="124"/>
                </a:moveTo>
                <a:cubicBezTo>
                  <a:pt x="130" y="124"/>
                  <a:pt x="130" y="124"/>
                  <a:pt x="130" y="124"/>
                </a:cubicBezTo>
                <a:cubicBezTo>
                  <a:pt x="130" y="129"/>
                  <a:pt x="130" y="129"/>
                  <a:pt x="130" y="129"/>
                </a:cubicBezTo>
                <a:cubicBezTo>
                  <a:pt x="135" y="129"/>
                  <a:pt x="135" y="129"/>
                  <a:pt x="135" y="129"/>
                </a:cubicBezTo>
                <a:lnTo>
                  <a:pt x="135" y="124"/>
                </a:lnTo>
                <a:close/>
                <a:moveTo>
                  <a:pt x="135" y="160"/>
                </a:moveTo>
                <a:cubicBezTo>
                  <a:pt x="130" y="160"/>
                  <a:pt x="130" y="160"/>
                  <a:pt x="130" y="160"/>
                </a:cubicBezTo>
                <a:cubicBezTo>
                  <a:pt x="130" y="165"/>
                  <a:pt x="130" y="165"/>
                  <a:pt x="130" y="165"/>
                </a:cubicBezTo>
                <a:cubicBezTo>
                  <a:pt x="135" y="165"/>
                  <a:pt x="135" y="165"/>
                  <a:pt x="135" y="165"/>
                </a:cubicBezTo>
                <a:lnTo>
                  <a:pt x="135" y="160"/>
                </a:lnTo>
                <a:close/>
                <a:moveTo>
                  <a:pt x="295" y="124"/>
                </a:moveTo>
                <a:cubicBezTo>
                  <a:pt x="291" y="124"/>
                  <a:pt x="291" y="124"/>
                  <a:pt x="291" y="124"/>
                </a:cubicBezTo>
                <a:cubicBezTo>
                  <a:pt x="291" y="129"/>
                  <a:pt x="291" y="129"/>
                  <a:pt x="291" y="129"/>
                </a:cubicBezTo>
                <a:cubicBezTo>
                  <a:pt x="295" y="129"/>
                  <a:pt x="295" y="129"/>
                  <a:pt x="295" y="129"/>
                </a:cubicBezTo>
                <a:lnTo>
                  <a:pt x="295" y="124"/>
                </a:lnTo>
                <a:close/>
                <a:moveTo>
                  <a:pt x="295" y="160"/>
                </a:moveTo>
                <a:cubicBezTo>
                  <a:pt x="291" y="160"/>
                  <a:pt x="291" y="160"/>
                  <a:pt x="291" y="160"/>
                </a:cubicBezTo>
                <a:cubicBezTo>
                  <a:pt x="291" y="165"/>
                  <a:pt x="291" y="165"/>
                  <a:pt x="291" y="165"/>
                </a:cubicBezTo>
                <a:cubicBezTo>
                  <a:pt x="295" y="165"/>
                  <a:pt x="295" y="165"/>
                  <a:pt x="295" y="165"/>
                </a:cubicBezTo>
                <a:lnTo>
                  <a:pt x="295" y="160"/>
                </a:lnTo>
                <a:close/>
                <a:moveTo>
                  <a:pt x="333" y="124"/>
                </a:moveTo>
                <a:cubicBezTo>
                  <a:pt x="328" y="124"/>
                  <a:pt x="328" y="124"/>
                  <a:pt x="328" y="124"/>
                </a:cubicBezTo>
                <a:cubicBezTo>
                  <a:pt x="328" y="129"/>
                  <a:pt x="328" y="129"/>
                  <a:pt x="328" y="129"/>
                </a:cubicBezTo>
                <a:cubicBezTo>
                  <a:pt x="333" y="129"/>
                  <a:pt x="333" y="129"/>
                  <a:pt x="333" y="129"/>
                </a:cubicBezTo>
                <a:lnTo>
                  <a:pt x="333" y="124"/>
                </a:lnTo>
                <a:close/>
                <a:moveTo>
                  <a:pt x="333" y="160"/>
                </a:moveTo>
                <a:cubicBezTo>
                  <a:pt x="328" y="160"/>
                  <a:pt x="328" y="160"/>
                  <a:pt x="328" y="160"/>
                </a:cubicBezTo>
                <a:cubicBezTo>
                  <a:pt x="328" y="165"/>
                  <a:pt x="328" y="165"/>
                  <a:pt x="328" y="165"/>
                </a:cubicBezTo>
                <a:cubicBezTo>
                  <a:pt x="333" y="165"/>
                  <a:pt x="333" y="165"/>
                  <a:pt x="333" y="165"/>
                </a:cubicBezTo>
                <a:lnTo>
                  <a:pt x="333" y="160"/>
                </a:lnTo>
                <a:close/>
                <a:moveTo>
                  <a:pt x="263" y="193"/>
                </a:moveTo>
                <a:cubicBezTo>
                  <a:pt x="361" y="193"/>
                  <a:pt x="361" y="193"/>
                  <a:pt x="361" y="193"/>
                </a:cubicBezTo>
                <a:cubicBezTo>
                  <a:pt x="361" y="94"/>
                  <a:pt x="361" y="94"/>
                  <a:pt x="361" y="94"/>
                </a:cubicBezTo>
                <a:cubicBezTo>
                  <a:pt x="263" y="94"/>
                  <a:pt x="263" y="94"/>
                  <a:pt x="263" y="94"/>
                </a:cubicBezTo>
                <a:lnTo>
                  <a:pt x="263" y="193"/>
                </a:lnTo>
                <a:close/>
                <a:moveTo>
                  <a:pt x="214" y="0"/>
                </a:moveTo>
                <a:cubicBezTo>
                  <a:pt x="164" y="45"/>
                  <a:pt x="164" y="45"/>
                  <a:pt x="164" y="45"/>
                </a:cubicBezTo>
                <a:cubicBezTo>
                  <a:pt x="164" y="193"/>
                  <a:pt x="164" y="193"/>
                  <a:pt x="164" y="193"/>
                </a:cubicBezTo>
                <a:cubicBezTo>
                  <a:pt x="263" y="193"/>
                  <a:pt x="263" y="193"/>
                  <a:pt x="263" y="193"/>
                </a:cubicBezTo>
                <a:cubicBezTo>
                  <a:pt x="263" y="45"/>
                  <a:pt x="263" y="45"/>
                  <a:pt x="263" y="45"/>
                </a:cubicBezTo>
                <a:lnTo>
                  <a:pt x="214" y="0"/>
                </a:lnTo>
                <a:close/>
                <a:moveTo>
                  <a:pt x="241" y="58"/>
                </a:moveTo>
                <a:cubicBezTo>
                  <a:pt x="185" y="58"/>
                  <a:pt x="185" y="58"/>
                  <a:pt x="185" y="58"/>
                </a:cubicBezTo>
                <a:cubicBezTo>
                  <a:pt x="185" y="84"/>
                  <a:pt x="185" y="84"/>
                  <a:pt x="185" y="84"/>
                </a:cubicBezTo>
                <a:cubicBezTo>
                  <a:pt x="241" y="84"/>
                  <a:pt x="241" y="84"/>
                  <a:pt x="241" y="84"/>
                </a:cubicBezTo>
                <a:lnTo>
                  <a:pt x="241" y="58"/>
                </a:lnTo>
                <a:close/>
                <a:moveTo>
                  <a:pt x="241" y="193"/>
                </a:moveTo>
                <a:cubicBezTo>
                  <a:pt x="241" y="144"/>
                  <a:pt x="241" y="144"/>
                  <a:pt x="241" y="144"/>
                </a:cubicBezTo>
                <a:cubicBezTo>
                  <a:pt x="213" y="144"/>
                  <a:pt x="213" y="144"/>
                  <a:pt x="213" y="144"/>
                </a:cubicBezTo>
                <a:cubicBezTo>
                  <a:pt x="213" y="193"/>
                  <a:pt x="213" y="193"/>
                  <a:pt x="213" y="193"/>
                </a:cubicBezTo>
                <a:moveTo>
                  <a:pt x="213" y="144"/>
                </a:moveTo>
                <a:cubicBezTo>
                  <a:pt x="185" y="144"/>
                  <a:pt x="185" y="144"/>
                  <a:pt x="185" y="144"/>
                </a:cubicBezTo>
                <a:cubicBezTo>
                  <a:pt x="185" y="193"/>
                  <a:pt x="185" y="193"/>
                  <a:pt x="185" y="193"/>
                </a:cubicBezTo>
                <a:moveTo>
                  <a:pt x="213" y="109"/>
                </a:moveTo>
                <a:cubicBezTo>
                  <a:pt x="210" y="109"/>
                  <a:pt x="207" y="112"/>
                  <a:pt x="207" y="115"/>
                </a:cubicBezTo>
                <a:cubicBezTo>
                  <a:pt x="207" y="119"/>
                  <a:pt x="210" y="122"/>
                  <a:pt x="213" y="122"/>
                </a:cubicBezTo>
                <a:cubicBezTo>
                  <a:pt x="217" y="122"/>
                  <a:pt x="219" y="119"/>
                  <a:pt x="219" y="115"/>
                </a:cubicBezTo>
                <a:cubicBezTo>
                  <a:pt x="219" y="112"/>
                  <a:pt x="217" y="109"/>
                  <a:pt x="213" y="109"/>
                </a:cubicBezTo>
                <a:close/>
                <a:moveTo>
                  <a:pt x="19" y="75"/>
                </a:moveTo>
                <a:cubicBezTo>
                  <a:pt x="50" y="62"/>
                  <a:pt x="50" y="62"/>
                  <a:pt x="50" y="62"/>
                </a:cubicBezTo>
                <a:cubicBezTo>
                  <a:pt x="19" y="45"/>
                  <a:pt x="19" y="45"/>
                  <a:pt x="19" y="45"/>
                </a:cubicBezTo>
                <a:cubicBezTo>
                  <a:pt x="19" y="193"/>
                  <a:pt x="19" y="193"/>
                  <a:pt x="19" y="193"/>
                </a:cubicBezTo>
                <a:moveTo>
                  <a:pt x="0" y="193"/>
                </a:moveTo>
                <a:cubicBezTo>
                  <a:pt x="38" y="193"/>
                  <a:pt x="38" y="193"/>
                  <a:pt x="38" y="193"/>
                </a:cubicBezTo>
              </a:path>
            </a:pathLst>
          </a:custGeom>
          <a:noFill/>
          <a:ln w="15875" cap="flat">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9" name="TagLegacy_E1CB">
            <a:extLst>
              <a:ext uri="{FF2B5EF4-FFF2-40B4-BE49-F238E27FC236}">
                <a16:creationId xmlns:a16="http://schemas.microsoft.com/office/drawing/2014/main" id="{A38B440C-A42D-4EDC-A1E7-8D905BB96E8C}"/>
              </a:ext>
            </a:extLst>
          </p:cNvPr>
          <p:cNvSpPr>
            <a:spLocks noChangeAspect="1" noEditPoints="1"/>
          </p:cNvSpPr>
          <p:nvPr/>
        </p:nvSpPr>
        <p:spPr bwMode="auto">
          <a:xfrm flipH="1">
            <a:off x="3737350" y="4191187"/>
            <a:ext cx="313895" cy="250553"/>
          </a:xfrm>
          <a:custGeom>
            <a:avLst/>
            <a:gdLst>
              <a:gd name="T0" fmla="*/ 2950 w 3700"/>
              <a:gd name="T1" fmla="*/ 1330 h 2952"/>
              <a:gd name="T2" fmla="*/ 1328 w 3700"/>
              <a:gd name="T3" fmla="*/ 2952 h 2952"/>
              <a:gd name="T4" fmla="*/ 0 w 3700"/>
              <a:gd name="T5" fmla="*/ 1620 h 2952"/>
              <a:gd name="T6" fmla="*/ 1620 w 3700"/>
              <a:gd name="T7" fmla="*/ 0 h 2952"/>
              <a:gd name="T8" fmla="*/ 2951 w 3700"/>
              <a:gd name="T9" fmla="*/ 1 h 2952"/>
              <a:gd name="T10" fmla="*/ 2950 w 3700"/>
              <a:gd name="T11" fmla="*/ 1330 h 2952"/>
              <a:gd name="T12" fmla="*/ 1820 w 3700"/>
              <a:gd name="T13" fmla="*/ 2460 h 2952"/>
              <a:gd name="T14" fmla="*/ 2576 w 3700"/>
              <a:gd name="T15" fmla="*/ 2753 h 2952"/>
              <a:gd name="T16" fmla="*/ 3700 w 3700"/>
              <a:gd name="T17" fmla="*/ 1629 h 2952"/>
              <a:gd name="T18" fmla="*/ 2576 w 3700"/>
              <a:gd name="T19" fmla="*/ 505 h 2952"/>
              <a:gd name="T20" fmla="*/ 2421 w 3700"/>
              <a:gd name="T21" fmla="*/ 505 h 2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0" h="2952">
                <a:moveTo>
                  <a:pt x="2950" y="1330"/>
                </a:moveTo>
                <a:cubicBezTo>
                  <a:pt x="1328" y="2952"/>
                  <a:pt x="1328" y="2952"/>
                  <a:pt x="1328" y="2952"/>
                </a:cubicBezTo>
                <a:cubicBezTo>
                  <a:pt x="0" y="1620"/>
                  <a:pt x="0" y="1620"/>
                  <a:pt x="0" y="1620"/>
                </a:cubicBezTo>
                <a:cubicBezTo>
                  <a:pt x="1620" y="0"/>
                  <a:pt x="1620" y="0"/>
                  <a:pt x="1620" y="0"/>
                </a:cubicBezTo>
                <a:cubicBezTo>
                  <a:pt x="2951" y="1"/>
                  <a:pt x="2951" y="1"/>
                  <a:pt x="2951" y="1"/>
                </a:cubicBezTo>
                <a:lnTo>
                  <a:pt x="2950" y="1330"/>
                </a:lnTo>
                <a:close/>
                <a:moveTo>
                  <a:pt x="1820" y="2460"/>
                </a:moveTo>
                <a:cubicBezTo>
                  <a:pt x="2020" y="2642"/>
                  <a:pt x="2285" y="2753"/>
                  <a:pt x="2576" y="2753"/>
                </a:cubicBezTo>
                <a:cubicBezTo>
                  <a:pt x="3197" y="2753"/>
                  <a:pt x="3700" y="2249"/>
                  <a:pt x="3700" y="1629"/>
                </a:cubicBezTo>
                <a:cubicBezTo>
                  <a:pt x="3700" y="1008"/>
                  <a:pt x="3198" y="505"/>
                  <a:pt x="2576" y="505"/>
                </a:cubicBezTo>
                <a:cubicBezTo>
                  <a:pt x="2421" y="505"/>
                  <a:pt x="2421" y="505"/>
                  <a:pt x="2421" y="505"/>
                </a:cubicBezTo>
              </a:path>
            </a:pathLst>
          </a:custGeom>
          <a:noFill/>
          <a:ln w="15875" cap="flat">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90" name="Freeform 13">
            <a:extLst>
              <a:ext uri="{FF2B5EF4-FFF2-40B4-BE49-F238E27FC236}">
                <a16:creationId xmlns:a16="http://schemas.microsoft.com/office/drawing/2014/main" id="{A172021A-C69A-4F5F-B02C-F6B224BE1E00}"/>
              </a:ext>
            </a:extLst>
          </p:cNvPr>
          <p:cNvSpPr>
            <a:spLocks noEditPoints="1"/>
          </p:cNvSpPr>
          <p:nvPr/>
        </p:nvSpPr>
        <p:spPr bwMode="auto">
          <a:xfrm flipH="1">
            <a:off x="1971953" y="4184341"/>
            <a:ext cx="224467" cy="283495"/>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cap="flat">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91" name="Freeform 33">
            <a:extLst>
              <a:ext uri="{FF2B5EF4-FFF2-40B4-BE49-F238E27FC236}">
                <a16:creationId xmlns:a16="http://schemas.microsoft.com/office/drawing/2014/main" id="{A23B5C01-460E-4959-9718-5821EFF06B1A}"/>
              </a:ext>
            </a:extLst>
          </p:cNvPr>
          <p:cNvSpPr>
            <a:spLocks/>
          </p:cNvSpPr>
          <p:nvPr/>
        </p:nvSpPr>
        <p:spPr bwMode="auto">
          <a:xfrm flipH="1">
            <a:off x="4840698" y="4189764"/>
            <a:ext cx="223464" cy="257404"/>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92" name="bus">
            <a:extLst>
              <a:ext uri="{FF2B5EF4-FFF2-40B4-BE49-F238E27FC236}">
                <a16:creationId xmlns:a16="http://schemas.microsoft.com/office/drawing/2014/main" id="{CEAC34DA-D337-467F-B5DA-D2EFED494610}"/>
              </a:ext>
            </a:extLst>
          </p:cNvPr>
          <p:cNvSpPr>
            <a:spLocks noChangeAspect="1" noEditPoints="1"/>
          </p:cNvSpPr>
          <p:nvPr/>
        </p:nvSpPr>
        <p:spPr bwMode="auto">
          <a:xfrm flipH="1">
            <a:off x="6194352" y="4194986"/>
            <a:ext cx="232273" cy="232271"/>
          </a:xfrm>
          <a:custGeom>
            <a:avLst/>
            <a:gdLst>
              <a:gd name="T0" fmla="*/ 290 w 344"/>
              <a:gd name="T1" fmla="*/ 0 h 343"/>
              <a:gd name="T2" fmla="*/ 318 w 344"/>
              <a:gd name="T3" fmla="*/ 28 h 343"/>
              <a:gd name="T4" fmla="*/ 318 w 344"/>
              <a:gd name="T5" fmla="*/ 314 h 343"/>
              <a:gd name="T6" fmla="*/ 25 w 344"/>
              <a:gd name="T7" fmla="*/ 314 h 343"/>
              <a:gd name="T8" fmla="*/ 25 w 344"/>
              <a:gd name="T9" fmla="*/ 28 h 343"/>
              <a:gd name="T10" fmla="*/ 54 w 344"/>
              <a:gd name="T11" fmla="*/ 0 h 343"/>
              <a:gd name="T12" fmla="*/ 290 w 344"/>
              <a:gd name="T13" fmla="*/ 0 h 343"/>
              <a:gd name="T14" fmla="*/ 104 w 344"/>
              <a:gd name="T15" fmla="*/ 46 h 343"/>
              <a:gd name="T16" fmla="*/ 237 w 344"/>
              <a:gd name="T17" fmla="*/ 46 h 343"/>
              <a:gd name="T18" fmla="*/ 60 w 344"/>
              <a:gd name="T19" fmla="*/ 224 h 343"/>
              <a:gd name="T20" fmla="*/ 104 w 344"/>
              <a:gd name="T21" fmla="*/ 224 h 343"/>
              <a:gd name="T22" fmla="*/ 237 w 344"/>
              <a:gd name="T23" fmla="*/ 224 h 343"/>
              <a:gd name="T24" fmla="*/ 281 w 344"/>
              <a:gd name="T25" fmla="*/ 224 h 343"/>
              <a:gd name="T26" fmla="*/ 25 w 344"/>
              <a:gd name="T27" fmla="*/ 92 h 343"/>
              <a:gd name="T28" fmla="*/ 318 w 344"/>
              <a:gd name="T29" fmla="*/ 92 h 343"/>
              <a:gd name="T30" fmla="*/ 25 w 344"/>
              <a:gd name="T31" fmla="*/ 179 h 343"/>
              <a:gd name="T32" fmla="*/ 318 w 344"/>
              <a:gd name="T33" fmla="*/ 179 h 343"/>
              <a:gd name="T34" fmla="*/ 25 w 344"/>
              <a:gd name="T35" fmla="*/ 268 h 343"/>
              <a:gd name="T36" fmla="*/ 318 w 344"/>
              <a:gd name="T37" fmla="*/ 268 h 343"/>
              <a:gd name="T38" fmla="*/ 172 w 344"/>
              <a:gd name="T39" fmla="*/ 92 h 343"/>
              <a:gd name="T40" fmla="*/ 172 w 344"/>
              <a:gd name="T41" fmla="*/ 179 h 343"/>
              <a:gd name="T42" fmla="*/ 318 w 344"/>
              <a:gd name="T43" fmla="*/ 124 h 343"/>
              <a:gd name="T44" fmla="*/ 344 w 344"/>
              <a:gd name="T45" fmla="*/ 124 h 343"/>
              <a:gd name="T46" fmla="*/ 344 w 344"/>
              <a:gd name="T47" fmla="*/ 83 h 343"/>
              <a:gd name="T48" fmla="*/ 318 w 344"/>
              <a:gd name="T49" fmla="*/ 83 h 343"/>
              <a:gd name="T50" fmla="*/ 240 w 344"/>
              <a:gd name="T51" fmla="*/ 314 h 343"/>
              <a:gd name="T52" fmla="*/ 240 w 344"/>
              <a:gd name="T53" fmla="*/ 343 h 343"/>
              <a:gd name="T54" fmla="*/ 301 w 344"/>
              <a:gd name="T55" fmla="*/ 343 h 343"/>
              <a:gd name="T56" fmla="*/ 301 w 344"/>
              <a:gd name="T57" fmla="*/ 314 h 343"/>
              <a:gd name="T58" fmla="*/ 38 w 344"/>
              <a:gd name="T59" fmla="*/ 314 h 343"/>
              <a:gd name="T60" fmla="*/ 38 w 344"/>
              <a:gd name="T61" fmla="*/ 343 h 343"/>
              <a:gd name="T62" fmla="*/ 98 w 344"/>
              <a:gd name="T63" fmla="*/ 343 h 343"/>
              <a:gd name="T64" fmla="*/ 98 w 344"/>
              <a:gd name="T65" fmla="*/ 314 h 343"/>
              <a:gd name="T66" fmla="*/ 25 w 344"/>
              <a:gd name="T67" fmla="*/ 83 h 343"/>
              <a:gd name="T68" fmla="*/ 0 w 344"/>
              <a:gd name="T69" fmla="*/ 83 h 343"/>
              <a:gd name="T70" fmla="*/ 0 w 344"/>
              <a:gd name="T71" fmla="*/ 124 h 343"/>
              <a:gd name="T72" fmla="*/ 25 w 344"/>
              <a:gd name="T73" fmla="*/ 12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4" h="343">
                <a:moveTo>
                  <a:pt x="290" y="0"/>
                </a:moveTo>
                <a:cubicBezTo>
                  <a:pt x="305" y="0"/>
                  <a:pt x="318" y="12"/>
                  <a:pt x="318" y="28"/>
                </a:cubicBezTo>
                <a:cubicBezTo>
                  <a:pt x="318" y="314"/>
                  <a:pt x="318" y="314"/>
                  <a:pt x="318" y="314"/>
                </a:cubicBezTo>
                <a:cubicBezTo>
                  <a:pt x="25" y="314"/>
                  <a:pt x="25" y="314"/>
                  <a:pt x="25" y="314"/>
                </a:cubicBezTo>
                <a:cubicBezTo>
                  <a:pt x="25" y="28"/>
                  <a:pt x="25" y="28"/>
                  <a:pt x="25" y="28"/>
                </a:cubicBezTo>
                <a:cubicBezTo>
                  <a:pt x="25" y="12"/>
                  <a:pt x="38" y="0"/>
                  <a:pt x="54" y="0"/>
                </a:cubicBezTo>
                <a:lnTo>
                  <a:pt x="290" y="0"/>
                </a:lnTo>
                <a:close/>
                <a:moveTo>
                  <a:pt x="104" y="46"/>
                </a:moveTo>
                <a:cubicBezTo>
                  <a:pt x="237" y="46"/>
                  <a:pt x="237" y="46"/>
                  <a:pt x="237" y="46"/>
                </a:cubicBezTo>
                <a:moveTo>
                  <a:pt x="60" y="224"/>
                </a:moveTo>
                <a:cubicBezTo>
                  <a:pt x="104" y="224"/>
                  <a:pt x="104" y="224"/>
                  <a:pt x="104" y="224"/>
                </a:cubicBezTo>
                <a:moveTo>
                  <a:pt x="237" y="224"/>
                </a:moveTo>
                <a:cubicBezTo>
                  <a:pt x="281" y="224"/>
                  <a:pt x="281" y="224"/>
                  <a:pt x="281" y="224"/>
                </a:cubicBezTo>
                <a:moveTo>
                  <a:pt x="25" y="92"/>
                </a:moveTo>
                <a:cubicBezTo>
                  <a:pt x="318" y="92"/>
                  <a:pt x="318" y="92"/>
                  <a:pt x="318" y="92"/>
                </a:cubicBezTo>
                <a:moveTo>
                  <a:pt x="25" y="179"/>
                </a:moveTo>
                <a:cubicBezTo>
                  <a:pt x="318" y="179"/>
                  <a:pt x="318" y="179"/>
                  <a:pt x="318" y="179"/>
                </a:cubicBezTo>
                <a:moveTo>
                  <a:pt x="25" y="268"/>
                </a:moveTo>
                <a:cubicBezTo>
                  <a:pt x="318" y="268"/>
                  <a:pt x="318" y="268"/>
                  <a:pt x="318" y="268"/>
                </a:cubicBezTo>
                <a:moveTo>
                  <a:pt x="172" y="92"/>
                </a:moveTo>
                <a:cubicBezTo>
                  <a:pt x="172" y="179"/>
                  <a:pt x="172" y="179"/>
                  <a:pt x="172" y="179"/>
                </a:cubicBezTo>
                <a:moveTo>
                  <a:pt x="318" y="124"/>
                </a:moveTo>
                <a:cubicBezTo>
                  <a:pt x="344" y="124"/>
                  <a:pt x="344" y="124"/>
                  <a:pt x="344" y="124"/>
                </a:cubicBezTo>
                <a:cubicBezTo>
                  <a:pt x="344" y="83"/>
                  <a:pt x="344" y="83"/>
                  <a:pt x="344" y="83"/>
                </a:cubicBezTo>
                <a:cubicBezTo>
                  <a:pt x="318" y="83"/>
                  <a:pt x="318" y="83"/>
                  <a:pt x="318" y="83"/>
                </a:cubicBezTo>
                <a:moveTo>
                  <a:pt x="240" y="314"/>
                </a:moveTo>
                <a:cubicBezTo>
                  <a:pt x="240" y="343"/>
                  <a:pt x="240" y="343"/>
                  <a:pt x="240" y="343"/>
                </a:cubicBezTo>
                <a:cubicBezTo>
                  <a:pt x="301" y="343"/>
                  <a:pt x="301" y="343"/>
                  <a:pt x="301" y="343"/>
                </a:cubicBezTo>
                <a:cubicBezTo>
                  <a:pt x="301" y="314"/>
                  <a:pt x="301" y="314"/>
                  <a:pt x="301" y="314"/>
                </a:cubicBezTo>
                <a:moveTo>
                  <a:pt x="38" y="314"/>
                </a:moveTo>
                <a:cubicBezTo>
                  <a:pt x="38" y="343"/>
                  <a:pt x="38" y="343"/>
                  <a:pt x="38" y="343"/>
                </a:cubicBezTo>
                <a:cubicBezTo>
                  <a:pt x="98" y="343"/>
                  <a:pt x="98" y="343"/>
                  <a:pt x="98" y="343"/>
                </a:cubicBezTo>
                <a:cubicBezTo>
                  <a:pt x="98" y="314"/>
                  <a:pt x="98" y="314"/>
                  <a:pt x="98" y="314"/>
                </a:cubicBezTo>
                <a:moveTo>
                  <a:pt x="25" y="83"/>
                </a:moveTo>
                <a:cubicBezTo>
                  <a:pt x="0" y="83"/>
                  <a:pt x="0" y="83"/>
                  <a:pt x="0" y="83"/>
                </a:cubicBezTo>
                <a:cubicBezTo>
                  <a:pt x="0" y="124"/>
                  <a:pt x="0" y="124"/>
                  <a:pt x="0" y="124"/>
                </a:cubicBezTo>
                <a:cubicBezTo>
                  <a:pt x="25" y="124"/>
                  <a:pt x="25" y="124"/>
                  <a:pt x="25" y="124"/>
                </a:cubicBezTo>
              </a:path>
            </a:pathLst>
          </a:custGeom>
          <a:noFill/>
          <a:ln w="15875" cap="flat">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94" name="Freeform 9">
            <a:extLst>
              <a:ext uri="{FF2B5EF4-FFF2-40B4-BE49-F238E27FC236}">
                <a16:creationId xmlns:a16="http://schemas.microsoft.com/office/drawing/2014/main" id="{54E6AE87-4D96-4D97-A001-B7861DCE2D11}"/>
              </a:ext>
            </a:extLst>
          </p:cNvPr>
          <p:cNvSpPr>
            <a:spLocks noEditPoints="1"/>
          </p:cNvSpPr>
          <p:nvPr/>
        </p:nvSpPr>
        <p:spPr bwMode="auto">
          <a:xfrm flipH="1">
            <a:off x="3636501" y="4200339"/>
            <a:ext cx="207011" cy="206517"/>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flat">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95" name="Freeform 5">
            <a:extLst>
              <a:ext uri="{FF2B5EF4-FFF2-40B4-BE49-F238E27FC236}">
                <a16:creationId xmlns:a16="http://schemas.microsoft.com/office/drawing/2014/main" id="{64A1EC9E-7205-4212-84B7-2BF6FD3C6517}"/>
              </a:ext>
            </a:extLst>
          </p:cNvPr>
          <p:cNvSpPr>
            <a:spLocks noEditPoints="1"/>
          </p:cNvSpPr>
          <p:nvPr/>
        </p:nvSpPr>
        <p:spPr bwMode="auto">
          <a:xfrm flipH="1">
            <a:off x="4299124" y="4197596"/>
            <a:ext cx="242265" cy="219715"/>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flat">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97" name="Freeform 5">
            <a:extLst>
              <a:ext uri="{FF2B5EF4-FFF2-40B4-BE49-F238E27FC236}">
                <a16:creationId xmlns:a16="http://schemas.microsoft.com/office/drawing/2014/main" id="{0DA7AEE9-FAD6-42E6-9397-2FA55B151CC1}"/>
              </a:ext>
            </a:extLst>
          </p:cNvPr>
          <p:cNvSpPr>
            <a:spLocks noEditPoints="1"/>
          </p:cNvSpPr>
          <p:nvPr/>
        </p:nvSpPr>
        <p:spPr bwMode="auto">
          <a:xfrm flipH="1">
            <a:off x="3130565" y="4181318"/>
            <a:ext cx="136996" cy="29803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flat">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99" name="DeveloperTools_EC7A">
            <a:extLst>
              <a:ext uri="{FF2B5EF4-FFF2-40B4-BE49-F238E27FC236}">
                <a16:creationId xmlns:a16="http://schemas.microsoft.com/office/drawing/2014/main" id="{F1776EBC-C837-4F6B-B8D7-A3E73DC608E7}"/>
              </a:ext>
            </a:extLst>
          </p:cNvPr>
          <p:cNvSpPr>
            <a:spLocks noChangeAspect="1" noEditPoints="1"/>
          </p:cNvSpPr>
          <p:nvPr/>
        </p:nvSpPr>
        <p:spPr bwMode="auto">
          <a:xfrm flipH="1">
            <a:off x="5808318" y="4179781"/>
            <a:ext cx="193850" cy="305440"/>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flat">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00" name="Airplane_E709">
            <a:extLst>
              <a:ext uri="{FF2B5EF4-FFF2-40B4-BE49-F238E27FC236}">
                <a16:creationId xmlns:a16="http://schemas.microsoft.com/office/drawing/2014/main" id="{6112BC1E-5C55-475B-AAF4-4791E49CA045}"/>
              </a:ext>
            </a:extLst>
          </p:cNvPr>
          <p:cNvSpPr>
            <a:spLocks noChangeAspect="1"/>
          </p:cNvSpPr>
          <p:nvPr/>
        </p:nvSpPr>
        <p:spPr bwMode="auto">
          <a:xfrm flipH="1">
            <a:off x="2348477" y="4185735"/>
            <a:ext cx="273179" cy="276791"/>
          </a:xfrm>
          <a:custGeom>
            <a:avLst/>
            <a:gdLst>
              <a:gd name="T0" fmla="*/ 1002 w 3707"/>
              <a:gd name="T1" fmla="*/ 3755 h 3755"/>
              <a:gd name="T2" fmla="*/ 1502 w 3707"/>
              <a:gd name="T3" fmla="*/ 2253 h 3755"/>
              <a:gd name="T4" fmla="*/ 751 w 3707"/>
              <a:gd name="T5" fmla="*/ 2253 h 3755"/>
              <a:gd name="T6" fmla="*/ 625 w 3707"/>
              <a:gd name="T7" fmla="*/ 2503 h 3755"/>
              <a:gd name="T8" fmla="*/ 0 w 3707"/>
              <a:gd name="T9" fmla="*/ 2503 h 3755"/>
              <a:gd name="T10" fmla="*/ 209 w 3707"/>
              <a:gd name="T11" fmla="*/ 1877 h 3755"/>
              <a:gd name="T12" fmla="*/ 0 w 3707"/>
              <a:gd name="T13" fmla="*/ 1251 h 3755"/>
              <a:gd name="T14" fmla="*/ 625 w 3707"/>
              <a:gd name="T15" fmla="*/ 1251 h 3755"/>
              <a:gd name="T16" fmla="*/ 751 w 3707"/>
              <a:gd name="T17" fmla="*/ 1502 h 3755"/>
              <a:gd name="T18" fmla="*/ 1502 w 3707"/>
              <a:gd name="T19" fmla="*/ 1502 h 3755"/>
              <a:gd name="T20" fmla="*/ 1002 w 3707"/>
              <a:gd name="T21" fmla="*/ 0 h 3755"/>
              <a:gd name="T22" fmla="*/ 1627 w 3707"/>
              <a:gd name="T23" fmla="*/ 0 h 3755"/>
              <a:gd name="T24" fmla="*/ 2378 w 3707"/>
              <a:gd name="T25" fmla="*/ 1502 h 3755"/>
              <a:gd name="T26" fmla="*/ 3331 w 3707"/>
              <a:gd name="T27" fmla="*/ 1502 h 3755"/>
              <a:gd name="T28" fmla="*/ 3707 w 3707"/>
              <a:gd name="T29" fmla="*/ 1877 h 3755"/>
              <a:gd name="T30" fmla="*/ 3331 w 3707"/>
              <a:gd name="T31" fmla="*/ 2253 h 3755"/>
              <a:gd name="T32" fmla="*/ 2378 w 3707"/>
              <a:gd name="T33" fmla="*/ 2253 h 3755"/>
              <a:gd name="T34" fmla="*/ 1627 w 3707"/>
              <a:gd name="T35" fmla="*/ 3755 h 3755"/>
              <a:gd name="T36" fmla="*/ 1002 w 3707"/>
              <a:gd name="T37" fmla="*/ 3755 h 3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07" h="3755">
                <a:moveTo>
                  <a:pt x="1002" y="3755"/>
                </a:moveTo>
                <a:cubicBezTo>
                  <a:pt x="1502" y="2253"/>
                  <a:pt x="1502" y="2253"/>
                  <a:pt x="1502" y="2253"/>
                </a:cubicBezTo>
                <a:cubicBezTo>
                  <a:pt x="751" y="2253"/>
                  <a:pt x="751" y="2253"/>
                  <a:pt x="751" y="2253"/>
                </a:cubicBezTo>
                <a:cubicBezTo>
                  <a:pt x="625" y="2503"/>
                  <a:pt x="625" y="2503"/>
                  <a:pt x="625" y="2503"/>
                </a:cubicBezTo>
                <a:cubicBezTo>
                  <a:pt x="0" y="2503"/>
                  <a:pt x="0" y="2503"/>
                  <a:pt x="0" y="2503"/>
                </a:cubicBezTo>
                <a:cubicBezTo>
                  <a:pt x="209" y="1877"/>
                  <a:pt x="209" y="1877"/>
                  <a:pt x="209" y="1877"/>
                </a:cubicBezTo>
                <a:cubicBezTo>
                  <a:pt x="0" y="1251"/>
                  <a:pt x="0" y="1251"/>
                  <a:pt x="0" y="1251"/>
                </a:cubicBezTo>
                <a:cubicBezTo>
                  <a:pt x="625" y="1251"/>
                  <a:pt x="625" y="1251"/>
                  <a:pt x="625" y="1251"/>
                </a:cubicBezTo>
                <a:cubicBezTo>
                  <a:pt x="751" y="1502"/>
                  <a:pt x="751" y="1502"/>
                  <a:pt x="751" y="1502"/>
                </a:cubicBezTo>
                <a:cubicBezTo>
                  <a:pt x="1502" y="1502"/>
                  <a:pt x="1502" y="1502"/>
                  <a:pt x="1502" y="1502"/>
                </a:cubicBezTo>
                <a:cubicBezTo>
                  <a:pt x="1002" y="0"/>
                  <a:pt x="1002" y="0"/>
                  <a:pt x="1002" y="0"/>
                </a:cubicBezTo>
                <a:cubicBezTo>
                  <a:pt x="1627" y="0"/>
                  <a:pt x="1627" y="0"/>
                  <a:pt x="1627" y="0"/>
                </a:cubicBezTo>
                <a:cubicBezTo>
                  <a:pt x="2378" y="1502"/>
                  <a:pt x="2378" y="1502"/>
                  <a:pt x="2378" y="1502"/>
                </a:cubicBezTo>
                <a:cubicBezTo>
                  <a:pt x="3331" y="1502"/>
                  <a:pt x="3331" y="1502"/>
                  <a:pt x="3331" y="1502"/>
                </a:cubicBezTo>
                <a:cubicBezTo>
                  <a:pt x="3538" y="1502"/>
                  <a:pt x="3707" y="1670"/>
                  <a:pt x="3707" y="1877"/>
                </a:cubicBezTo>
                <a:cubicBezTo>
                  <a:pt x="3707" y="2084"/>
                  <a:pt x="3538" y="2253"/>
                  <a:pt x="3331" y="2253"/>
                </a:cubicBezTo>
                <a:cubicBezTo>
                  <a:pt x="2378" y="2253"/>
                  <a:pt x="2378" y="2253"/>
                  <a:pt x="2378" y="2253"/>
                </a:cubicBezTo>
                <a:cubicBezTo>
                  <a:pt x="1627" y="3755"/>
                  <a:pt x="1627" y="3755"/>
                  <a:pt x="1627" y="3755"/>
                </a:cubicBezTo>
                <a:lnTo>
                  <a:pt x="1002" y="3755"/>
                </a:lnTo>
                <a:close/>
              </a:path>
            </a:pathLst>
          </a:custGeom>
          <a:noFill/>
          <a:ln w="15875" cap="flat">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101" name="Group 196">
            <a:extLst>
              <a:ext uri="{FF2B5EF4-FFF2-40B4-BE49-F238E27FC236}">
                <a16:creationId xmlns:a16="http://schemas.microsoft.com/office/drawing/2014/main" id="{E23CD928-C273-4569-AB41-ADAA0C00A734}"/>
              </a:ext>
            </a:extLst>
          </p:cNvPr>
          <p:cNvGrpSpPr>
            <a:grpSpLocks noChangeAspect="1"/>
          </p:cNvGrpSpPr>
          <p:nvPr/>
        </p:nvGrpSpPr>
        <p:grpSpPr bwMode="auto">
          <a:xfrm flipH="1">
            <a:off x="6863505" y="4173629"/>
            <a:ext cx="175825" cy="335038"/>
            <a:chOff x="7261" y="805"/>
            <a:chExt cx="127" cy="242"/>
          </a:xfrm>
        </p:grpSpPr>
        <p:sp>
          <p:nvSpPr>
            <p:cNvPr id="102" name="Freeform 197">
              <a:extLst>
                <a:ext uri="{FF2B5EF4-FFF2-40B4-BE49-F238E27FC236}">
                  <a16:creationId xmlns:a16="http://schemas.microsoft.com/office/drawing/2014/main" id="{8F8F71A2-41A6-45B4-B238-A7D876C7059A}"/>
                </a:ext>
              </a:extLst>
            </p:cNvPr>
            <p:cNvSpPr>
              <a:spLocks/>
            </p:cNvSpPr>
            <p:nvPr/>
          </p:nvSpPr>
          <p:spPr bwMode="auto">
            <a:xfrm>
              <a:off x="7323" y="805"/>
              <a:ext cx="65" cy="194"/>
            </a:xfrm>
            <a:custGeom>
              <a:avLst/>
              <a:gdLst>
                <a:gd name="T0" fmla="*/ 90 w 90"/>
                <a:gd name="T1" fmla="*/ 166 h 268"/>
                <a:gd name="T2" fmla="*/ 90 w 90"/>
                <a:gd name="T3" fmla="*/ 46 h 268"/>
                <a:gd name="T4" fmla="*/ 45 w 90"/>
                <a:gd name="T5" fmla="*/ 0 h 268"/>
                <a:gd name="T6" fmla="*/ 0 w 90"/>
                <a:gd name="T7" fmla="*/ 46 h 268"/>
                <a:gd name="T8" fmla="*/ 0 w 90"/>
                <a:gd name="T9" fmla="*/ 268 h 268"/>
              </a:gdLst>
              <a:ahLst/>
              <a:cxnLst>
                <a:cxn ang="0">
                  <a:pos x="T0" y="T1"/>
                </a:cxn>
                <a:cxn ang="0">
                  <a:pos x="T2" y="T3"/>
                </a:cxn>
                <a:cxn ang="0">
                  <a:pos x="T4" y="T5"/>
                </a:cxn>
                <a:cxn ang="0">
                  <a:pos x="T6" y="T7"/>
                </a:cxn>
                <a:cxn ang="0">
                  <a:pos x="T8" y="T9"/>
                </a:cxn>
              </a:cxnLst>
              <a:rect l="0" t="0" r="r" b="b"/>
              <a:pathLst>
                <a:path w="90" h="268">
                  <a:moveTo>
                    <a:pt x="90" y="166"/>
                  </a:moveTo>
                  <a:cubicBezTo>
                    <a:pt x="90" y="46"/>
                    <a:pt x="90" y="46"/>
                    <a:pt x="90" y="46"/>
                  </a:cubicBezTo>
                  <a:cubicBezTo>
                    <a:pt x="90" y="20"/>
                    <a:pt x="70" y="0"/>
                    <a:pt x="45" y="0"/>
                  </a:cubicBezTo>
                  <a:cubicBezTo>
                    <a:pt x="20" y="0"/>
                    <a:pt x="0" y="20"/>
                    <a:pt x="0" y="46"/>
                  </a:cubicBezTo>
                  <a:cubicBezTo>
                    <a:pt x="0" y="268"/>
                    <a:pt x="0" y="268"/>
                    <a:pt x="0" y="268"/>
                  </a:cubicBezTo>
                </a:path>
              </a:pathLst>
            </a:custGeom>
            <a:noFill/>
            <a:ln w="12700" cap="rnd">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3" name="Freeform 198">
              <a:extLst>
                <a:ext uri="{FF2B5EF4-FFF2-40B4-BE49-F238E27FC236}">
                  <a16:creationId xmlns:a16="http://schemas.microsoft.com/office/drawing/2014/main" id="{90D266FF-DF21-415D-82E4-6753387994F8}"/>
                </a:ext>
              </a:extLst>
            </p:cNvPr>
            <p:cNvSpPr>
              <a:spLocks/>
            </p:cNvSpPr>
            <p:nvPr/>
          </p:nvSpPr>
          <p:spPr bwMode="auto">
            <a:xfrm>
              <a:off x="7261" y="805"/>
              <a:ext cx="95" cy="194"/>
            </a:xfrm>
            <a:custGeom>
              <a:avLst/>
              <a:gdLst>
                <a:gd name="T0" fmla="*/ 131 w 131"/>
                <a:gd name="T1" fmla="*/ 0 h 268"/>
                <a:gd name="T2" fmla="*/ 45 w 131"/>
                <a:gd name="T3" fmla="*/ 0 h 268"/>
                <a:gd name="T4" fmla="*/ 0 w 131"/>
                <a:gd name="T5" fmla="*/ 46 h 268"/>
                <a:gd name="T6" fmla="*/ 0 w 131"/>
                <a:gd name="T7" fmla="*/ 268 h 268"/>
              </a:gdLst>
              <a:ahLst/>
              <a:cxnLst>
                <a:cxn ang="0">
                  <a:pos x="T0" y="T1"/>
                </a:cxn>
                <a:cxn ang="0">
                  <a:pos x="T2" y="T3"/>
                </a:cxn>
                <a:cxn ang="0">
                  <a:pos x="T4" y="T5"/>
                </a:cxn>
                <a:cxn ang="0">
                  <a:pos x="T6" y="T7"/>
                </a:cxn>
              </a:cxnLst>
              <a:rect l="0" t="0" r="r" b="b"/>
              <a:pathLst>
                <a:path w="131" h="268">
                  <a:moveTo>
                    <a:pt x="131" y="0"/>
                  </a:moveTo>
                  <a:cubicBezTo>
                    <a:pt x="45" y="0"/>
                    <a:pt x="45" y="0"/>
                    <a:pt x="45" y="0"/>
                  </a:cubicBezTo>
                  <a:cubicBezTo>
                    <a:pt x="20" y="0"/>
                    <a:pt x="0" y="20"/>
                    <a:pt x="0" y="46"/>
                  </a:cubicBezTo>
                  <a:cubicBezTo>
                    <a:pt x="0" y="268"/>
                    <a:pt x="0" y="268"/>
                    <a:pt x="0" y="268"/>
                  </a:cubicBezTo>
                </a:path>
              </a:pathLst>
            </a:custGeom>
            <a:noFill/>
            <a:ln w="12700" cap="rnd">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4" name="Freeform 199">
              <a:extLst>
                <a:ext uri="{FF2B5EF4-FFF2-40B4-BE49-F238E27FC236}">
                  <a16:creationId xmlns:a16="http://schemas.microsoft.com/office/drawing/2014/main" id="{4ECED1F9-740C-4EE8-A66C-92C810A13507}"/>
                </a:ext>
              </a:extLst>
            </p:cNvPr>
            <p:cNvSpPr>
              <a:spLocks/>
            </p:cNvSpPr>
            <p:nvPr/>
          </p:nvSpPr>
          <p:spPr bwMode="auto">
            <a:xfrm>
              <a:off x="7322" y="992"/>
              <a:ext cx="66" cy="55"/>
            </a:xfrm>
            <a:custGeom>
              <a:avLst/>
              <a:gdLst>
                <a:gd name="T0" fmla="*/ 91 w 91"/>
                <a:gd name="T1" fmla="*/ 0 h 77"/>
                <a:gd name="T2" fmla="*/ 91 w 91"/>
                <a:gd name="T3" fmla="*/ 32 h 77"/>
                <a:gd name="T4" fmla="*/ 46 w 91"/>
                <a:gd name="T5" fmla="*/ 77 h 77"/>
                <a:gd name="T6" fmla="*/ 0 w 91"/>
                <a:gd name="T7" fmla="*/ 32 h 77"/>
                <a:gd name="T8" fmla="*/ 0 w 91"/>
                <a:gd name="T9" fmla="*/ 6 h 77"/>
              </a:gdLst>
              <a:ahLst/>
              <a:cxnLst>
                <a:cxn ang="0">
                  <a:pos x="T0" y="T1"/>
                </a:cxn>
                <a:cxn ang="0">
                  <a:pos x="T2" y="T3"/>
                </a:cxn>
                <a:cxn ang="0">
                  <a:pos x="T4" y="T5"/>
                </a:cxn>
                <a:cxn ang="0">
                  <a:pos x="T6" y="T7"/>
                </a:cxn>
                <a:cxn ang="0">
                  <a:pos x="T8" y="T9"/>
                </a:cxn>
              </a:cxnLst>
              <a:rect l="0" t="0" r="r" b="b"/>
              <a:pathLst>
                <a:path w="91" h="77">
                  <a:moveTo>
                    <a:pt x="91" y="0"/>
                  </a:moveTo>
                  <a:cubicBezTo>
                    <a:pt x="91" y="32"/>
                    <a:pt x="91" y="32"/>
                    <a:pt x="91" y="32"/>
                  </a:cubicBezTo>
                  <a:cubicBezTo>
                    <a:pt x="91" y="57"/>
                    <a:pt x="71" y="77"/>
                    <a:pt x="46" y="77"/>
                  </a:cubicBezTo>
                  <a:cubicBezTo>
                    <a:pt x="21" y="77"/>
                    <a:pt x="0" y="57"/>
                    <a:pt x="0" y="32"/>
                  </a:cubicBezTo>
                  <a:cubicBezTo>
                    <a:pt x="0" y="6"/>
                    <a:pt x="0" y="6"/>
                    <a:pt x="0" y="6"/>
                  </a:cubicBezTo>
                </a:path>
              </a:pathLst>
            </a:custGeom>
            <a:noFill/>
            <a:ln w="12700" cap="rnd">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5" name="Freeform 200">
              <a:extLst>
                <a:ext uri="{FF2B5EF4-FFF2-40B4-BE49-F238E27FC236}">
                  <a16:creationId xmlns:a16="http://schemas.microsoft.com/office/drawing/2014/main" id="{7C2BF45F-C8FA-4AE2-9F65-AEA08D4B1090}"/>
                </a:ext>
              </a:extLst>
            </p:cNvPr>
            <p:cNvSpPr>
              <a:spLocks/>
            </p:cNvSpPr>
            <p:nvPr/>
          </p:nvSpPr>
          <p:spPr bwMode="auto">
            <a:xfrm>
              <a:off x="7261" y="996"/>
              <a:ext cx="95" cy="51"/>
            </a:xfrm>
            <a:custGeom>
              <a:avLst/>
              <a:gdLst>
                <a:gd name="T0" fmla="*/ 131 w 131"/>
                <a:gd name="T1" fmla="*/ 71 h 71"/>
                <a:gd name="T2" fmla="*/ 45 w 131"/>
                <a:gd name="T3" fmla="*/ 71 h 71"/>
                <a:gd name="T4" fmla="*/ 0 w 131"/>
                <a:gd name="T5" fmla="*/ 26 h 71"/>
                <a:gd name="T6" fmla="*/ 0 w 131"/>
                <a:gd name="T7" fmla="*/ 0 h 71"/>
              </a:gdLst>
              <a:ahLst/>
              <a:cxnLst>
                <a:cxn ang="0">
                  <a:pos x="T0" y="T1"/>
                </a:cxn>
                <a:cxn ang="0">
                  <a:pos x="T2" y="T3"/>
                </a:cxn>
                <a:cxn ang="0">
                  <a:pos x="T4" y="T5"/>
                </a:cxn>
                <a:cxn ang="0">
                  <a:pos x="T6" y="T7"/>
                </a:cxn>
              </a:cxnLst>
              <a:rect l="0" t="0" r="r" b="b"/>
              <a:pathLst>
                <a:path w="131" h="71">
                  <a:moveTo>
                    <a:pt x="131" y="71"/>
                  </a:moveTo>
                  <a:cubicBezTo>
                    <a:pt x="45" y="71"/>
                    <a:pt x="45" y="71"/>
                    <a:pt x="45" y="71"/>
                  </a:cubicBezTo>
                  <a:cubicBezTo>
                    <a:pt x="20" y="71"/>
                    <a:pt x="0" y="51"/>
                    <a:pt x="0" y="26"/>
                  </a:cubicBezTo>
                  <a:cubicBezTo>
                    <a:pt x="0" y="0"/>
                    <a:pt x="0" y="0"/>
                    <a:pt x="0" y="0"/>
                  </a:cubicBezTo>
                </a:path>
              </a:pathLst>
            </a:custGeom>
            <a:noFill/>
            <a:ln w="12700" cap="rnd">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6" name="Oval 201">
              <a:extLst>
                <a:ext uri="{FF2B5EF4-FFF2-40B4-BE49-F238E27FC236}">
                  <a16:creationId xmlns:a16="http://schemas.microsoft.com/office/drawing/2014/main" id="{DA276982-5267-4A6C-9CD7-45AF3C390CBF}"/>
                </a:ext>
              </a:extLst>
            </p:cNvPr>
            <p:cNvSpPr>
              <a:spLocks noChangeArrowheads="1"/>
            </p:cNvSpPr>
            <p:nvPr/>
          </p:nvSpPr>
          <p:spPr bwMode="auto">
            <a:xfrm>
              <a:off x="7287" y="878"/>
              <a:ext cx="9" cy="8"/>
            </a:xfrm>
            <a:prstGeom prst="ellipse">
              <a:avLst/>
            </a:prstGeom>
            <a:noFill/>
            <a:ln w="12700" cap="rnd">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7" name="Oval 202">
              <a:extLst>
                <a:ext uri="{FF2B5EF4-FFF2-40B4-BE49-F238E27FC236}">
                  <a16:creationId xmlns:a16="http://schemas.microsoft.com/office/drawing/2014/main" id="{12DB79D6-35CE-4D57-ADCE-D3883273B13F}"/>
                </a:ext>
              </a:extLst>
            </p:cNvPr>
            <p:cNvSpPr>
              <a:spLocks noChangeArrowheads="1"/>
            </p:cNvSpPr>
            <p:nvPr/>
          </p:nvSpPr>
          <p:spPr bwMode="auto">
            <a:xfrm>
              <a:off x="7287" y="923"/>
              <a:ext cx="9" cy="8"/>
            </a:xfrm>
            <a:prstGeom prst="ellipse">
              <a:avLst/>
            </a:prstGeom>
            <a:noFill/>
            <a:ln w="12700" cap="rnd">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8" name="Oval 203">
              <a:extLst>
                <a:ext uri="{FF2B5EF4-FFF2-40B4-BE49-F238E27FC236}">
                  <a16:creationId xmlns:a16="http://schemas.microsoft.com/office/drawing/2014/main" id="{C0E09CE9-09AC-4D5D-B1EA-22DD812A3F3A}"/>
                </a:ext>
              </a:extLst>
            </p:cNvPr>
            <p:cNvSpPr>
              <a:spLocks noChangeArrowheads="1"/>
            </p:cNvSpPr>
            <p:nvPr/>
          </p:nvSpPr>
          <p:spPr bwMode="auto">
            <a:xfrm>
              <a:off x="7287" y="967"/>
              <a:ext cx="9" cy="8"/>
            </a:xfrm>
            <a:prstGeom prst="ellipse">
              <a:avLst/>
            </a:prstGeom>
            <a:noFill/>
            <a:ln w="12700" cap="rnd">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cxnSp>
        <p:nvCxnSpPr>
          <p:cNvPr id="2" name="Straight Connector 1">
            <a:extLst>
              <a:ext uri="{FF2B5EF4-FFF2-40B4-BE49-F238E27FC236}">
                <a16:creationId xmlns:a16="http://schemas.microsoft.com/office/drawing/2014/main" id="{314E5B73-1CCF-4C71-A0A9-C88454923C3B}"/>
              </a:ext>
            </a:extLst>
          </p:cNvPr>
          <p:cNvCxnSpPr>
            <a:cxnSpLocks/>
          </p:cNvCxnSpPr>
          <p:nvPr/>
        </p:nvCxnSpPr>
        <p:spPr>
          <a:xfrm>
            <a:off x="1" y="4344387"/>
            <a:ext cx="12192000" cy="0"/>
          </a:xfrm>
          <a:prstGeom prst="line">
            <a:avLst/>
          </a:prstGeom>
          <a:ln w="25400">
            <a:solidFill>
              <a:schemeClr val="tx1"/>
            </a:solidFill>
            <a:headEnd type="none"/>
            <a:tailEnd type="none"/>
          </a:ln>
        </p:spPr>
        <p:style>
          <a:lnRef idx="1">
            <a:schemeClr val="accent4"/>
          </a:lnRef>
          <a:fillRef idx="0">
            <a:schemeClr val="accent4"/>
          </a:fillRef>
          <a:effectRef idx="0">
            <a:schemeClr val="accent4"/>
          </a:effectRef>
          <a:fontRef idx="minor">
            <a:schemeClr val="tx1"/>
          </a:fontRef>
        </p:style>
      </p:cxnSp>
      <p:grpSp>
        <p:nvGrpSpPr>
          <p:cNvPr id="47" name="Group 196">
            <a:extLst>
              <a:ext uri="{FF2B5EF4-FFF2-40B4-BE49-F238E27FC236}">
                <a16:creationId xmlns:a16="http://schemas.microsoft.com/office/drawing/2014/main" id="{5750A277-3AAA-4654-94B6-D6A4910F61F6}"/>
              </a:ext>
            </a:extLst>
          </p:cNvPr>
          <p:cNvGrpSpPr>
            <a:grpSpLocks noChangeAspect="1"/>
          </p:cNvGrpSpPr>
          <p:nvPr/>
        </p:nvGrpSpPr>
        <p:grpSpPr bwMode="auto">
          <a:xfrm>
            <a:off x="4379473" y="3585102"/>
            <a:ext cx="299617" cy="570925"/>
            <a:chOff x="7261" y="805"/>
            <a:chExt cx="127" cy="242"/>
          </a:xfrm>
        </p:grpSpPr>
        <p:sp>
          <p:nvSpPr>
            <p:cNvPr id="48" name="Freeform 197">
              <a:extLst>
                <a:ext uri="{FF2B5EF4-FFF2-40B4-BE49-F238E27FC236}">
                  <a16:creationId xmlns:a16="http://schemas.microsoft.com/office/drawing/2014/main" id="{1D5CA4DD-CA00-4370-B863-87C58D39BDA0}"/>
                </a:ext>
              </a:extLst>
            </p:cNvPr>
            <p:cNvSpPr>
              <a:spLocks/>
            </p:cNvSpPr>
            <p:nvPr/>
          </p:nvSpPr>
          <p:spPr bwMode="auto">
            <a:xfrm>
              <a:off x="7323" y="805"/>
              <a:ext cx="65" cy="194"/>
            </a:xfrm>
            <a:custGeom>
              <a:avLst/>
              <a:gdLst>
                <a:gd name="T0" fmla="*/ 90 w 90"/>
                <a:gd name="T1" fmla="*/ 166 h 268"/>
                <a:gd name="T2" fmla="*/ 90 w 90"/>
                <a:gd name="T3" fmla="*/ 46 h 268"/>
                <a:gd name="T4" fmla="*/ 45 w 90"/>
                <a:gd name="T5" fmla="*/ 0 h 268"/>
                <a:gd name="T6" fmla="*/ 0 w 90"/>
                <a:gd name="T7" fmla="*/ 46 h 268"/>
                <a:gd name="T8" fmla="*/ 0 w 90"/>
                <a:gd name="T9" fmla="*/ 268 h 268"/>
              </a:gdLst>
              <a:ahLst/>
              <a:cxnLst>
                <a:cxn ang="0">
                  <a:pos x="T0" y="T1"/>
                </a:cxn>
                <a:cxn ang="0">
                  <a:pos x="T2" y="T3"/>
                </a:cxn>
                <a:cxn ang="0">
                  <a:pos x="T4" y="T5"/>
                </a:cxn>
                <a:cxn ang="0">
                  <a:pos x="T6" y="T7"/>
                </a:cxn>
                <a:cxn ang="0">
                  <a:pos x="T8" y="T9"/>
                </a:cxn>
              </a:cxnLst>
              <a:rect l="0" t="0" r="r" b="b"/>
              <a:pathLst>
                <a:path w="90" h="268">
                  <a:moveTo>
                    <a:pt x="90" y="166"/>
                  </a:moveTo>
                  <a:cubicBezTo>
                    <a:pt x="90" y="46"/>
                    <a:pt x="90" y="46"/>
                    <a:pt x="90" y="46"/>
                  </a:cubicBezTo>
                  <a:cubicBezTo>
                    <a:pt x="90" y="20"/>
                    <a:pt x="70" y="0"/>
                    <a:pt x="45" y="0"/>
                  </a:cubicBezTo>
                  <a:cubicBezTo>
                    <a:pt x="20" y="0"/>
                    <a:pt x="0" y="20"/>
                    <a:pt x="0" y="46"/>
                  </a:cubicBezTo>
                  <a:cubicBezTo>
                    <a:pt x="0" y="268"/>
                    <a:pt x="0" y="268"/>
                    <a:pt x="0" y="268"/>
                  </a:cubicBezTo>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9" name="Freeform 198">
              <a:extLst>
                <a:ext uri="{FF2B5EF4-FFF2-40B4-BE49-F238E27FC236}">
                  <a16:creationId xmlns:a16="http://schemas.microsoft.com/office/drawing/2014/main" id="{958D03FA-9E63-4265-B765-B501200D7C61}"/>
                </a:ext>
              </a:extLst>
            </p:cNvPr>
            <p:cNvSpPr>
              <a:spLocks/>
            </p:cNvSpPr>
            <p:nvPr/>
          </p:nvSpPr>
          <p:spPr bwMode="auto">
            <a:xfrm>
              <a:off x="7261" y="805"/>
              <a:ext cx="95" cy="194"/>
            </a:xfrm>
            <a:custGeom>
              <a:avLst/>
              <a:gdLst>
                <a:gd name="T0" fmla="*/ 131 w 131"/>
                <a:gd name="T1" fmla="*/ 0 h 268"/>
                <a:gd name="T2" fmla="*/ 45 w 131"/>
                <a:gd name="T3" fmla="*/ 0 h 268"/>
                <a:gd name="T4" fmla="*/ 0 w 131"/>
                <a:gd name="T5" fmla="*/ 46 h 268"/>
                <a:gd name="T6" fmla="*/ 0 w 131"/>
                <a:gd name="T7" fmla="*/ 268 h 268"/>
              </a:gdLst>
              <a:ahLst/>
              <a:cxnLst>
                <a:cxn ang="0">
                  <a:pos x="T0" y="T1"/>
                </a:cxn>
                <a:cxn ang="0">
                  <a:pos x="T2" y="T3"/>
                </a:cxn>
                <a:cxn ang="0">
                  <a:pos x="T4" y="T5"/>
                </a:cxn>
                <a:cxn ang="0">
                  <a:pos x="T6" y="T7"/>
                </a:cxn>
              </a:cxnLst>
              <a:rect l="0" t="0" r="r" b="b"/>
              <a:pathLst>
                <a:path w="131" h="268">
                  <a:moveTo>
                    <a:pt x="131" y="0"/>
                  </a:moveTo>
                  <a:cubicBezTo>
                    <a:pt x="45" y="0"/>
                    <a:pt x="45" y="0"/>
                    <a:pt x="45" y="0"/>
                  </a:cubicBezTo>
                  <a:cubicBezTo>
                    <a:pt x="20" y="0"/>
                    <a:pt x="0" y="20"/>
                    <a:pt x="0" y="46"/>
                  </a:cubicBezTo>
                  <a:cubicBezTo>
                    <a:pt x="0" y="268"/>
                    <a:pt x="0" y="268"/>
                    <a:pt x="0" y="268"/>
                  </a:cubicBezTo>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0" name="Freeform 199">
              <a:extLst>
                <a:ext uri="{FF2B5EF4-FFF2-40B4-BE49-F238E27FC236}">
                  <a16:creationId xmlns:a16="http://schemas.microsoft.com/office/drawing/2014/main" id="{63E1DEF5-FEF4-4170-B332-4386DF0A64FC}"/>
                </a:ext>
              </a:extLst>
            </p:cNvPr>
            <p:cNvSpPr>
              <a:spLocks/>
            </p:cNvSpPr>
            <p:nvPr/>
          </p:nvSpPr>
          <p:spPr bwMode="auto">
            <a:xfrm>
              <a:off x="7322" y="992"/>
              <a:ext cx="66" cy="55"/>
            </a:xfrm>
            <a:custGeom>
              <a:avLst/>
              <a:gdLst>
                <a:gd name="T0" fmla="*/ 91 w 91"/>
                <a:gd name="T1" fmla="*/ 0 h 77"/>
                <a:gd name="T2" fmla="*/ 91 w 91"/>
                <a:gd name="T3" fmla="*/ 32 h 77"/>
                <a:gd name="T4" fmla="*/ 46 w 91"/>
                <a:gd name="T5" fmla="*/ 77 h 77"/>
                <a:gd name="T6" fmla="*/ 0 w 91"/>
                <a:gd name="T7" fmla="*/ 32 h 77"/>
                <a:gd name="T8" fmla="*/ 0 w 91"/>
                <a:gd name="T9" fmla="*/ 6 h 77"/>
              </a:gdLst>
              <a:ahLst/>
              <a:cxnLst>
                <a:cxn ang="0">
                  <a:pos x="T0" y="T1"/>
                </a:cxn>
                <a:cxn ang="0">
                  <a:pos x="T2" y="T3"/>
                </a:cxn>
                <a:cxn ang="0">
                  <a:pos x="T4" y="T5"/>
                </a:cxn>
                <a:cxn ang="0">
                  <a:pos x="T6" y="T7"/>
                </a:cxn>
                <a:cxn ang="0">
                  <a:pos x="T8" y="T9"/>
                </a:cxn>
              </a:cxnLst>
              <a:rect l="0" t="0" r="r" b="b"/>
              <a:pathLst>
                <a:path w="91" h="77">
                  <a:moveTo>
                    <a:pt x="91" y="0"/>
                  </a:moveTo>
                  <a:cubicBezTo>
                    <a:pt x="91" y="32"/>
                    <a:pt x="91" y="32"/>
                    <a:pt x="91" y="32"/>
                  </a:cubicBezTo>
                  <a:cubicBezTo>
                    <a:pt x="91" y="57"/>
                    <a:pt x="71" y="77"/>
                    <a:pt x="46" y="77"/>
                  </a:cubicBezTo>
                  <a:cubicBezTo>
                    <a:pt x="21" y="77"/>
                    <a:pt x="0" y="57"/>
                    <a:pt x="0" y="32"/>
                  </a:cubicBezTo>
                  <a:cubicBezTo>
                    <a:pt x="0" y="6"/>
                    <a:pt x="0" y="6"/>
                    <a:pt x="0" y="6"/>
                  </a:cubicBezTo>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1" name="Freeform 200">
              <a:extLst>
                <a:ext uri="{FF2B5EF4-FFF2-40B4-BE49-F238E27FC236}">
                  <a16:creationId xmlns:a16="http://schemas.microsoft.com/office/drawing/2014/main" id="{F0F06344-444D-4F58-A363-4DBB22F73E9F}"/>
                </a:ext>
              </a:extLst>
            </p:cNvPr>
            <p:cNvSpPr>
              <a:spLocks/>
            </p:cNvSpPr>
            <p:nvPr/>
          </p:nvSpPr>
          <p:spPr bwMode="auto">
            <a:xfrm>
              <a:off x="7261" y="996"/>
              <a:ext cx="95" cy="51"/>
            </a:xfrm>
            <a:custGeom>
              <a:avLst/>
              <a:gdLst>
                <a:gd name="T0" fmla="*/ 131 w 131"/>
                <a:gd name="T1" fmla="*/ 71 h 71"/>
                <a:gd name="T2" fmla="*/ 45 w 131"/>
                <a:gd name="T3" fmla="*/ 71 h 71"/>
                <a:gd name="T4" fmla="*/ 0 w 131"/>
                <a:gd name="T5" fmla="*/ 26 h 71"/>
                <a:gd name="T6" fmla="*/ 0 w 131"/>
                <a:gd name="T7" fmla="*/ 0 h 71"/>
              </a:gdLst>
              <a:ahLst/>
              <a:cxnLst>
                <a:cxn ang="0">
                  <a:pos x="T0" y="T1"/>
                </a:cxn>
                <a:cxn ang="0">
                  <a:pos x="T2" y="T3"/>
                </a:cxn>
                <a:cxn ang="0">
                  <a:pos x="T4" y="T5"/>
                </a:cxn>
                <a:cxn ang="0">
                  <a:pos x="T6" y="T7"/>
                </a:cxn>
              </a:cxnLst>
              <a:rect l="0" t="0" r="r" b="b"/>
              <a:pathLst>
                <a:path w="131" h="71">
                  <a:moveTo>
                    <a:pt x="131" y="71"/>
                  </a:moveTo>
                  <a:cubicBezTo>
                    <a:pt x="45" y="71"/>
                    <a:pt x="45" y="71"/>
                    <a:pt x="45" y="71"/>
                  </a:cubicBezTo>
                  <a:cubicBezTo>
                    <a:pt x="20" y="71"/>
                    <a:pt x="0" y="51"/>
                    <a:pt x="0" y="26"/>
                  </a:cubicBezTo>
                  <a:cubicBezTo>
                    <a:pt x="0" y="0"/>
                    <a:pt x="0" y="0"/>
                    <a:pt x="0" y="0"/>
                  </a:cubicBezTo>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2" name="Oval 201">
              <a:extLst>
                <a:ext uri="{FF2B5EF4-FFF2-40B4-BE49-F238E27FC236}">
                  <a16:creationId xmlns:a16="http://schemas.microsoft.com/office/drawing/2014/main" id="{FC46C8DE-27F4-4977-9009-4BC6FEB1C9AC}"/>
                </a:ext>
              </a:extLst>
            </p:cNvPr>
            <p:cNvSpPr>
              <a:spLocks noChangeArrowheads="1"/>
            </p:cNvSpPr>
            <p:nvPr/>
          </p:nvSpPr>
          <p:spPr bwMode="auto">
            <a:xfrm>
              <a:off x="7287" y="878"/>
              <a:ext cx="9" cy="8"/>
            </a:xfrm>
            <a:prstGeom prst="ellipse">
              <a:avLst/>
            </a:pr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3" name="Oval 202">
              <a:extLst>
                <a:ext uri="{FF2B5EF4-FFF2-40B4-BE49-F238E27FC236}">
                  <a16:creationId xmlns:a16="http://schemas.microsoft.com/office/drawing/2014/main" id="{F666B9B1-B196-44C6-90C9-927E1E985913}"/>
                </a:ext>
              </a:extLst>
            </p:cNvPr>
            <p:cNvSpPr>
              <a:spLocks noChangeArrowheads="1"/>
            </p:cNvSpPr>
            <p:nvPr/>
          </p:nvSpPr>
          <p:spPr bwMode="auto">
            <a:xfrm>
              <a:off x="7287" y="923"/>
              <a:ext cx="9" cy="8"/>
            </a:xfrm>
            <a:prstGeom prst="ellipse">
              <a:avLst/>
            </a:pr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4" name="Oval 203">
              <a:extLst>
                <a:ext uri="{FF2B5EF4-FFF2-40B4-BE49-F238E27FC236}">
                  <a16:creationId xmlns:a16="http://schemas.microsoft.com/office/drawing/2014/main" id="{EA167331-46DC-4327-80CC-45E39979CE6E}"/>
                </a:ext>
              </a:extLst>
            </p:cNvPr>
            <p:cNvSpPr>
              <a:spLocks noChangeArrowheads="1"/>
            </p:cNvSpPr>
            <p:nvPr/>
          </p:nvSpPr>
          <p:spPr bwMode="auto">
            <a:xfrm>
              <a:off x="7287" y="967"/>
              <a:ext cx="9" cy="8"/>
            </a:xfrm>
            <a:prstGeom prst="ellipse">
              <a:avLst/>
            </a:pr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55" name="Freeform 5">
            <a:extLst>
              <a:ext uri="{FF2B5EF4-FFF2-40B4-BE49-F238E27FC236}">
                <a16:creationId xmlns:a16="http://schemas.microsoft.com/office/drawing/2014/main" id="{15E35398-C526-4DEC-960A-05C189B4B830}"/>
              </a:ext>
            </a:extLst>
          </p:cNvPr>
          <p:cNvSpPr>
            <a:spLocks noEditPoints="1"/>
          </p:cNvSpPr>
          <p:nvPr/>
        </p:nvSpPr>
        <p:spPr bwMode="auto">
          <a:xfrm>
            <a:off x="3352966" y="3715075"/>
            <a:ext cx="596698" cy="310982"/>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6" name="Freeform 41">
            <a:extLst>
              <a:ext uri="{FF2B5EF4-FFF2-40B4-BE49-F238E27FC236}">
                <a16:creationId xmlns:a16="http://schemas.microsoft.com/office/drawing/2014/main" id="{78A88A2C-1A05-460D-B8E2-495E3BCFECB7}"/>
              </a:ext>
            </a:extLst>
          </p:cNvPr>
          <p:cNvSpPr>
            <a:spLocks noEditPoints="1"/>
          </p:cNvSpPr>
          <p:nvPr/>
        </p:nvSpPr>
        <p:spPr bwMode="auto">
          <a:xfrm>
            <a:off x="2278242" y="3669028"/>
            <a:ext cx="644916" cy="403074"/>
          </a:xfrm>
          <a:custGeom>
            <a:avLst/>
            <a:gdLst>
              <a:gd name="T0" fmla="*/ 208 w 208"/>
              <a:gd name="T1" fmla="*/ 54 h 130"/>
              <a:gd name="T2" fmla="*/ 208 w 208"/>
              <a:gd name="T3" fmla="*/ 130 h 130"/>
              <a:gd name="T4" fmla="*/ 0 w 208"/>
              <a:gd name="T5" fmla="*/ 130 h 130"/>
              <a:gd name="T6" fmla="*/ 0 w 208"/>
              <a:gd name="T7" fmla="*/ 54 h 130"/>
              <a:gd name="T8" fmla="*/ 40 w 208"/>
              <a:gd name="T9" fmla="*/ 24 h 130"/>
              <a:gd name="T10" fmla="*/ 40 w 208"/>
              <a:gd name="T11" fmla="*/ 54 h 130"/>
              <a:gd name="T12" fmla="*/ 85 w 208"/>
              <a:gd name="T13" fmla="*/ 24 h 130"/>
              <a:gd name="T14" fmla="*/ 85 w 208"/>
              <a:gd name="T15" fmla="*/ 54 h 130"/>
              <a:gd name="T16" fmla="*/ 208 w 208"/>
              <a:gd name="T17" fmla="*/ 54 h 130"/>
              <a:gd name="T18" fmla="*/ 163 w 208"/>
              <a:gd name="T19" fmla="*/ 54 h 130"/>
              <a:gd name="T20" fmla="*/ 153 w 208"/>
              <a:gd name="T21" fmla="*/ 0 h 130"/>
              <a:gd name="T22" fmla="*/ 144 w 208"/>
              <a:gd name="T23" fmla="*/ 0 h 130"/>
              <a:gd name="T24" fmla="*/ 136 w 208"/>
              <a:gd name="T25" fmla="*/ 54 h 130"/>
              <a:gd name="T26" fmla="*/ 200 w 208"/>
              <a:gd name="T27" fmla="*/ 54 h 130"/>
              <a:gd name="T28" fmla="*/ 189 w 208"/>
              <a:gd name="T29" fmla="*/ 0 h 130"/>
              <a:gd name="T30" fmla="*/ 180 w 208"/>
              <a:gd name="T31" fmla="*/ 0 h 130"/>
              <a:gd name="T32" fmla="*/ 171 w 208"/>
              <a:gd name="T33" fmla="*/ 54 h 130"/>
              <a:gd name="T34" fmla="*/ 30 w 208"/>
              <a:gd name="T35" fmla="*/ 77 h 130"/>
              <a:gd name="T36" fmla="*/ 19 w 208"/>
              <a:gd name="T37" fmla="*/ 77 h 130"/>
              <a:gd name="T38" fmla="*/ 19 w 208"/>
              <a:gd name="T39" fmla="*/ 88 h 130"/>
              <a:gd name="T40" fmla="*/ 30 w 208"/>
              <a:gd name="T41" fmla="*/ 88 h 130"/>
              <a:gd name="T42" fmla="*/ 30 w 208"/>
              <a:gd name="T43" fmla="*/ 77 h 130"/>
              <a:gd name="T44" fmla="*/ 69 w 208"/>
              <a:gd name="T45" fmla="*/ 77 h 130"/>
              <a:gd name="T46" fmla="*/ 59 w 208"/>
              <a:gd name="T47" fmla="*/ 77 h 130"/>
              <a:gd name="T48" fmla="*/ 59 w 208"/>
              <a:gd name="T49" fmla="*/ 88 h 130"/>
              <a:gd name="T50" fmla="*/ 69 w 208"/>
              <a:gd name="T51" fmla="*/ 88 h 130"/>
              <a:gd name="T52" fmla="*/ 69 w 208"/>
              <a:gd name="T53" fmla="*/ 77 h 130"/>
              <a:gd name="T54" fmla="*/ 109 w 208"/>
              <a:gd name="T55" fmla="*/ 77 h 130"/>
              <a:gd name="T56" fmla="*/ 99 w 208"/>
              <a:gd name="T57" fmla="*/ 77 h 130"/>
              <a:gd name="T58" fmla="*/ 99 w 208"/>
              <a:gd name="T59" fmla="*/ 88 h 130"/>
              <a:gd name="T60" fmla="*/ 109 w 208"/>
              <a:gd name="T61" fmla="*/ 88 h 130"/>
              <a:gd name="T62" fmla="*/ 109 w 208"/>
              <a:gd name="T63" fmla="*/ 77 h 130"/>
              <a:gd name="T64" fmla="*/ 149 w 208"/>
              <a:gd name="T65" fmla="*/ 77 h 130"/>
              <a:gd name="T66" fmla="*/ 139 w 208"/>
              <a:gd name="T67" fmla="*/ 77 h 130"/>
              <a:gd name="T68" fmla="*/ 139 w 208"/>
              <a:gd name="T69" fmla="*/ 88 h 130"/>
              <a:gd name="T70" fmla="*/ 149 w 208"/>
              <a:gd name="T71" fmla="*/ 88 h 130"/>
              <a:gd name="T72" fmla="*/ 149 w 208"/>
              <a:gd name="T73" fmla="*/ 77 h 130"/>
              <a:gd name="T74" fmla="*/ 189 w 208"/>
              <a:gd name="T75" fmla="*/ 77 h 130"/>
              <a:gd name="T76" fmla="*/ 179 w 208"/>
              <a:gd name="T77" fmla="*/ 77 h 130"/>
              <a:gd name="T78" fmla="*/ 179 w 208"/>
              <a:gd name="T79" fmla="*/ 88 h 130"/>
              <a:gd name="T80" fmla="*/ 189 w 208"/>
              <a:gd name="T81" fmla="*/ 88 h 130"/>
              <a:gd name="T82" fmla="*/ 189 w 208"/>
              <a:gd name="T83" fmla="*/ 7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 h="130">
                <a:moveTo>
                  <a:pt x="208" y="54"/>
                </a:moveTo>
                <a:lnTo>
                  <a:pt x="208" y="130"/>
                </a:lnTo>
                <a:lnTo>
                  <a:pt x="0" y="130"/>
                </a:lnTo>
                <a:lnTo>
                  <a:pt x="0" y="54"/>
                </a:lnTo>
                <a:lnTo>
                  <a:pt x="40" y="24"/>
                </a:lnTo>
                <a:lnTo>
                  <a:pt x="40" y="54"/>
                </a:lnTo>
                <a:lnTo>
                  <a:pt x="85" y="24"/>
                </a:lnTo>
                <a:lnTo>
                  <a:pt x="85" y="54"/>
                </a:lnTo>
                <a:lnTo>
                  <a:pt x="208" y="54"/>
                </a:lnTo>
                <a:moveTo>
                  <a:pt x="163" y="54"/>
                </a:moveTo>
                <a:lnTo>
                  <a:pt x="153" y="0"/>
                </a:lnTo>
                <a:lnTo>
                  <a:pt x="144" y="0"/>
                </a:lnTo>
                <a:lnTo>
                  <a:pt x="136" y="54"/>
                </a:lnTo>
                <a:moveTo>
                  <a:pt x="200" y="54"/>
                </a:moveTo>
                <a:lnTo>
                  <a:pt x="189" y="0"/>
                </a:lnTo>
                <a:lnTo>
                  <a:pt x="180" y="0"/>
                </a:lnTo>
                <a:lnTo>
                  <a:pt x="171" y="54"/>
                </a:lnTo>
                <a:moveTo>
                  <a:pt x="30" y="77"/>
                </a:moveTo>
                <a:lnTo>
                  <a:pt x="19" y="77"/>
                </a:lnTo>
                <a:lnTo>
                  <a:pt x="19" y="88"/>
                </a:lnTo>
                <a:lnTo>
                  <a:pt x="30" y="88"/>
                </a:lnTo>
                <a:lnTo>
                  <a:pt x="30" y="77"/>
                </a:lnTo>
                <a:moveTo>
                  <a:pt x="69" y="77"/>
                </a:moveTo>
                <a:lnTo>
                  <a:pt x="59" y="77"/>
                </a:lnTo>
                <a:lnTo>
                  <a:pt x="59" y="88"/>
                </a:lnTo>
                <a:lnTo>
                  <a:pt x="69" y="88"/>
                </a:lnTo>
                <a:lnTo>
                  <a:pt x="69" y="77"/>
                </a:lnTo>
                <a:moveTo>
                  <a:pt x="109" y="77"/>
                </a:moveTo>
                <a:lnTo>
                  <a:pt x="99" y="77"/>
                </a:lnTo>
                <a:lnTo>
                  <a:pt x="99" y="88"/>
                </a:lnTo>
                <a:lnTo>
                  <a:pt x="109" y="88"/>
                </a:lnTo>
                <a:lnTo>
                  <a:pt x="109" y="77"/>
                </a:lnTo>
                <a:moveTo>
                  <a:pt x="149" y="77"/>
                </a:moveTo>
                <a:lnTo>
                  <a:pt x="139" y="77"/>
                </a:lnTo>
                <a:lnTo>
                  <a:pt x="139" y="88"/>
                </a:lnTo>
                <a:lnTo>
                  <a:pt x="149" y="88"/>
                </a:lnTo>
                <a:lnTo>
                  <a:pt x="149" y="77"/>
                </a:lnTo>
                <a:moveTo>
                  <a:pt x="189" y="77"/>
                </a:moveTo>
                <a:lnTo>
                  <a:pt x="179" y="77"/>
                </a:lnTo>
                <a:lnTo>
                  <a:pt x="179" y="88"/>
                </a:lnTo>
                <a:lnTo>
                  <a:pt x="189" y="88"/>
                </a:lnTo>
                <a:lnTo>
                  <a:pt x="189" y="77"/>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6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57" name="Group 8">
            <a:extLst>
              <a:ext uri="{FF2B5EF4-FFF2-40B4-BE49-F238E27FC236}">
                <a16:creationId xmlns:a16="http://schemas.microsoft.com/office/drawing/2014/main" id="{0226BADA-859C-4D83-A9D0-9FD4FB97BD46}"/>
              </a:ext>
            </a:extLst>
          </p:cNvPr>
          <p:cNvGrpSpPr>
            <a:grpSpLocks noChangeAspect="1"/>
          </p:cNvGrpSpPr>
          <p:nvPr/>
        </p:nvGrpSpPr>
        <p:grpSpPr bwMode="auto">
          <a:xfrm>
            <a:off x="6280131" y="3622831"/>
            <a:ext cx="609809" cy="495470"/>
            <a:chOff x="5458" y="3157"/>
            <a:chExt cx="304" cy="247"/>
          </a:xfrm>
        </p:grpSpPr>
        <p:sp>
          <p:nvSpPr>
            <p:cNvPr id="58" name="Freeform 9">
              <a:extLst>
                <a:ext uri="{FF2B5EF4-FFF2-40B4-BE49-F238E27FC236}">
                  <a16:creationId xmlns:a16="http://schemas.microsoft.com/office/drawing/2014/main" id="{E97FEDC1-BBFF-483E-9C76-4C7371A63412}"/>
                </a:ext>
              </a:extLst>
            </p:cNvPr>
            <p:cNvSpPr>
              <a:spLocks noEditPoints="1"/>
            </p:cNvSpPr>
            <p:nvPr/>
          </p:nvSpPr>
          <p:spPr bwMode="auto">
            <a:xfrm>
              <a:off x="5521" y="3157"/>
              <a:ext cx="241" cy="247"/>
            </a:xfrm>
            <a:custGeom>
              <a:avLst/>
              <a:gdLst>
                <a:gd name="T0" fmla="*/ 35 w 334"/>
                <a:gd name="T1" fmla="*/ 160 h 341"/>
                <a:gd name="T2" fmla="*/ 35 w 334"/>
                <a:gd name="T3" fmla="*/ 61 h 341"/>
                <a:gd name="T4" fmla="*/ 60 w 334"/>
                <a:gd name="T5" fmla="*/ 36 h 341"/>
                <a:gd name="T6" fmla="*/ 266 w 334"/>
                <a:gd name="T7" fmla="*/ 36 h 341"/>
                <a:gd name="T8" fmla="*/ 291 w 334"/>
                <a:gd name="T9" fmla="*/ 61 h 341"/>
                <a:gd name="T10" fmla="*/ 291 w 334"/>
                <a:gd name="T11" fmla="*/ 273 h 341"/>
                <a:gd name="T12" fmla="*/ 266 w 334"/>
                <a:gd name="T13" fmla="*/ 298 h 341"/>
                <a:gd name="T14" fmla="*/ 266 w 334"/>
                <a:gd name="T15" fmla="*/ 298 h 341"/>
                <a:gd name="T16" fmla="*/ 84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5 w 334"/>
                <a:gd name="T35" fmla="*/ 0 h 341"/>
                <a:gd name="T36" fmla="*/ 255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5 w 334"/>
                <a:gd name="T59" fmla="*/ 78 h 341"/>
                <a:gd name="T60" fmla="*/ 0 w 334"/>
                <a:gd name="T61" fmla="*/ 78 h 341"/>
                <a:gd name="T62" fmla="*/ 35 w 334"/>
                <a:gd name="T63" fmla="*/ 121 h 341"/>
                <a:gd name="T64" fmla="*/ 0 w 334"/>
                <a:gd name="T65" fmla="*/ 121 h 341"/>
                <a:gd name="T66" fmla="*/ 35 w 334"/>
                <a:gd name="T67" fmla="*/ 163 h 341"/>
                <a:gd name="T68" fmla="*/ 0 w 334"/>
                <a:gd name="T69" fmla="*/ 163 h 341"/>
                <a:gd name="T70" fmla="*/ 121 w 334"/>
                <a:gd name="T71" fmla="*/ 298 h 341"/>
                <a:gd name="T72" fmla="*/ 121 w 334"/>
                <a:gd name="T73" fmla="*/ 341 h 341"/>
                <a:gd name="T74" fmla="*/ 163 w 334"/>
                <a:gd name="T75" fmla="*/ 341 h 341"/>
                <a:gd name="T76" fmla="*/ 163 w 334"/>
                <a:gd name="T77" fmla="*/ 298 h 341"/>
                <a:gd name="T78" fmla="*/ 206 w 334"/>
                <a:gd name="T79" fmla="*/ 298 h 341"/>
                <a:gd name="T80" fmla="*/ 206 w 334"/>
                <a:gd name="T81" fmla="*/ 341 h 341"/>
                <a:gd name="T82" fmla="*/ 255 w 334"/>
                <a:gd name="T83" fmla="*/ 298 h 341"/>
                <a:gd name="T84" fmla="*/ 255 w 334"/>
                <a:gd name="T8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341">
                  <a:moveTo>
                    <a:pt x="35" y="160"/>
                  </a:moveTo>
                  <a:cubicBezTo>
                    <a:pt x="35" y="65"/>
                    <a:pt x="35" y="61"/>
                    <a:pt x="35" y="61"/>
                  </a:cubicBezTo>
                  <a:cubicBezTo>
                    <a:pt x="35" y="45"/>
                    <a:pt x="48" y="36"/>
                    <a:pt x="60" y="36"/>
                  </a:cubicBezTo>
                  <a:cubicBezTo>
                    <a:pt x="266" y="36"/>
                    <a:pt x="266" y="36"/>
                    <a:pt x="266" y="36"/>
                  </a:cubicBezTo>
                  <a:cubicBezTo>
                    <a:pt x="282" y="36"/>
                    <a:pt x="291" y="45"/>
                    <a:pt x="291" y="61"/>
                  </a:cubicBezTo>
                  <a:cubicBezTo>
                    <a:pt x="291" y="273"/>
                    <a:pt x="291" y="273"/>
                    <a:pt x="291" y="273"/>
                  </a:cubicBezTo>
                  <a:cubicBezTo>
                    <a:pt x="291" y="286"/>
                    <a:pt x="282" y="298"/>
                    <a:pt x="266" y="298"/>
                  </a:cubicBezTo>
                  <a:cubicBezTo>
                    <a:pt x="266" y="298"/>
                    <a:pt x="266" y="298"/>
                    <a:pt x="266" y="298"/>
                  </a:cubicBezTo>
                  <a:cubicBezTo>
                    <a:pt x="161" y="298"/>
                    <a:pt x="110" y="298"/>
                    <a:pt x="84" y="298"/>
                  </a:cubicBezTo>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5" y="0"/>
                  </a:moveTo>
                  <a:cubicBezTo>
                    <a:pt x="255" y="36"/>
                    <a:pt x="255" y="36"/>
                    <a:pt x="255"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5" y="78"/>
                  </a:moveTo>
                  <a:cubicBezTo>
                    <a:pt x="0" y="78"/>
                    <a:pt x="0" y="78"/>
                    <a:pt x="0" y="78"/>
                  </a:cubicBezTo>
                  <a:moveTo>
                    <a:pt x="35" y="121"/>
                  </a:moveTo>
                  <a:cubicBezTo>
                    <a:pt x="0" y="121"/>
                    <a:pt x="0" y="121"/>
                    <a:pt x="0" y="121"/>
                  </a:cubicBezTo>
                  <a:moveTo>
                    <a:pt x="35" y="163"/>
                  </a:moveTo>
                  <a:cubicBezTo>
                    <a:pt x="0" y="163"/>
                    <a:pt x="0" y="163"/>
                    <a:pt x="0" y="163"/>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5" y="298"/>
                  </a:moveTo>
                  <a:cubicBezTo>
                    <a:pt x="255" y="341"/>
                    <a:pt x="255" y="341"/>
                    <a:pt x="255" y="341"/>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6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59" name="Freeform 10">
              <a:extLst>
                <a:ext uri="{FF2B5EF4-FFF2-40B4-BE49-F238E27FC236}">
                  <a16:creationId xmlns:a16="http://schemas.microsoft.com/office/drawing/2014/main" id="{9EC79090-9310-41CE-A017-4CE43A090104}"/>
                </a:ext>
              </a:extLst>
            </p:cNvPr>
            <p:cNvSpPr>
              <a:spLocks noEditPoints="1"/>
            </p:cNvSpPr>
            <p:nvPr/>
          </p:nvSpPr>
          <p:spPr bwMode="auto">
            <a:xfrm>
              <a:off x="5458" y="3262"/>
              <a:ext cx="138" cy="141"/>
            </a:xfrm>
            <a:custGeom>
              <a:avLst/>
              <a:gdLst>
                <a:gd name="T0" fmla="*/ 153 w 191"/>
                <a:gd name="T1" fmla="*/ 171 h 195"/>
                <a:gd name="T2" fmla="*/ 35 w 191"/>
                <a:gd name="T3" fmla="*/ 171 h 195"/>
                <a:gd name="T4" fmla="*/ 21 w 191"/>
                <a:gd name="T5" fmla="*/ 156 h 195"/>
                <a:gd name="T6" fmla="*/ 21 w 191"/>
                <a:gd name="T7" fmla="*/ 35 h 195"/>
                <a:gd name="T8" fmla="*/ 35 w 191"/>
                <a:gd name="T9" fmla="*/ 20 h 195"/>
                <a:gd name="T10" fmla="*/ 153 w 191"/>
                <a:gd name="T11" fmla="*/ 20 h 195"/>
                <a:gd name="T12" fmla="*/ 167 w 191"/>
                <a:gd name="T13" fmla="*/ 35 h 195"/>
                <a:gd name="T14" fmla="*/ 167 w 191"/>
                <a:gd name="T15" fmla="*/ 156 h 195"/>
                <a:gd name="T16" fmla="*/ 153 w 191"/>
                <a:gd name="T17" fmla="*/ 171 h 195"/>
                <a:gd name="T18" fmla="*/ 45 w 191"/>
                <a:gd name="T19" fmla="*/ 20 h 195"/>
                <a:gd name="T20" fmla="*/ 45 w 191"/>
                <a:gd name="T21" fmla="*/ 0 h 195"/>
                <a:gd name="T22" fmla="*/ 69 w 191"/>
                <a:gd name="T23" fmla="*/ 20 h 195"/>
                <a:gd name="T24" fmla="*/ 69 w 191"/>
                <a:gd name="T25" fmla="*/ 0 h 195"/>
                <a:gd name="T26" fmla="*/ 94 w 191"/>
                <a:gd name="T27" fmla="*/ 0 h 195"/>
                <a:gd name="T28" fmla="*/ 94 w 191"/>
                <a:gd name="T29" fmla="*/ 20 h 195"/>
                <a:gd name="T30" fmla="*/ 118 w 191"/>
                <a:gd name="T31" fmla="*/ 0 h 195"/>
                <a:gd name="T32" fmla="*/ 118 w 191"/>
                <a:gd name="T33" fmla="*/ 20 h 195"/>
                <a:gd name="T34" fmla="*/ 146 w 191"/>
                <a:gd name="T35" fmla="*/ 0 h 195"/>
                <a:gd name="T36" fmla="*/ 146 w 191"/>
                <a:gd name="T37" fmla="*/ 20 h 195"/>
                <a:gd name="T38" fmla="*/ 191 w 191"/>
                <a:gd name="T39" fmla="*/ 45 h 195"/>
                <a:gd name="T40" fmla="*/ 167 w 191"/>
                <a:gd name="T41" fmla="*/ 45 h 195"/>
                <a:gd name="T42" fmla="*/ 191 w 191"/>
                <a:gd name="T43" fmla="*/ 69 h 195"/>
                <a:gd name="T44" fmla="*/ 167 w 191"/>
                <a:gd name="T45" fmla="*/ 69 h 195"/>
                <a:gd name="T46" fmla="*/ 191 w 191"/>
                <a:gd name="T47" fmla="*/ 93 h 195"/>
                <a:gd name="T48" fmla="*/ 167 w 191"/>
                <a:gd name="T49" fmla="*/ 93 h 195"/>
                <a:gd name="T50" fmla="*/ 191 w 191"/>
                <a:gd name="T51" fmla="*/ 122 h 195"/>
                <a:gd name="T52" fmla="*/ 167 w 191"/>
                <a:gd name="T53" fmla="*/ 122 h 195"/>
                <a:gd name="T54" fmla="*/ 191 w 191"/>
                <a:gd name="T55" fmla="*/ 146 h 195"/>
                <a:gd name="T56" fmla="*/ 167 w 191"/>
                <a:gd name="T57" fmla="*/ 146 h 195"/>
                <a:gd name="T58" fmla="*/ 21 w 191"/>
                <a:gd name="T59" fmla="*/ 45 h 195"/>
                <a:gd name="T60" fmla="*/ 0 w 191"/>
                <a:gd name="T61" fmla="*/ 45 h 195"/>
                <a:gd name="T62" fmla="*/ 21 w 191"/>
                <a:gd name="T63" fmla="*/ 69 h 195"/>
                <a:gd name="T64" fmla="*/ 0 w 191"/>
                <a:gd name="T65" fmla="*/ 69 h 195"/>
                <a:gd name="T66" fmla="*/ 21 w 191"/>
                <a:gd name="T67" fmla="*/ 93 h 195"/>
                <a:gd name="T68" fmla="*/ 0 w 191"/>
                <a:gd name="T69" fmla="*/ 93 h 195"/>
                <a:gd name="T70" fmla="*/ 21 w 191"/>
                <a:gd name="T71" fmla="*/ 122 h 195"/>
                <a:gd name="T72" fmla="*/ 0 w 191"/>
                <a:gd name="T73" fmla="*/ 122 h 195"/>
                <a:gd name="T74" fmla="*/ 21 w 191"/>
                <a:gd name="T75" fmla="*/ 146 h 195"/>
                <a:gd name="T76" fmla="*/ 0 w 191"/>
                <a:gd name="T77" fmla="*/ 146 h 195"/>
                <a:gd name="T78" fmla="*/ 45 w 191"/>
                <a:gd name="T79" fmla="*/ 171 h 195"/>
                <a:gd name="T80" fmla="*/ 45 w 191"/>
                <a:gd name="T81" fmla="*/ 195 h 195"/>
                <a:gd name="T82" fmla="*/ 69 w 191"/>
                <a:gd name="T83" fmla="*/ 171 h 195"/>
                <a:gd name="T84" fmla="*/ 69 w 191"/>
                <a:gd name="T85" fmla="*/ 195 h 195"/>
                <a:gd name="T86" fmla="*/ 94 w 191"/>
                <a:gd name="T87" fmla="*/ 195 h 195"/>
                <a:gd name="T88" fmla="*/ 94 w 191"/>
                <a:gd name="T89" fmla="*/ 171 h 195"/>
                <a:gd name="T90" fmla="*/ 118 w 191"/>
                <a:gd name="T91" fmla="*/ 171 h 195"/>
                <a:gd name="T92" fmla="*/ 118 w 191"/>
                <a:gd name="T93" fmla="*/ 195 h 195"/>
                <a:gd name="T94" fmla="*/ 146 w 191"/>
                <a:gd name="T95" fmla="*/ 171 h 195"/>
                <a:gd name="T96" fmla="*/ 146 w 191"/>
                <a:gd name="T9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95">
                  <a:moveTo>
                    <a:pt x="153" y="171"/>
                  </a:moveTo>
                  <a:cubicBezTo>
                    <a:pt x="35" y="171"/>
                    <a:pt x="35" y="171"/>
                    <a:pt x="35" y="171"/>
                  </a:cubicBezTo>
                  <a:cubicBezTo>
                    <a:pt x="28" y="171"/>
                    <a:pt x="21" y="163"/>
                    <a:pt x="21" y="156"/>
                  </a:cubicBezTo>
                  <a:cubicBezTo>
                    <a:pt x="21" y="35"/>
                    <a:pt x="21" y="35"/>
                    <a:pt x="21" y="35"/>
                  </a:cubicBezTo>
                  <a:cubicBezTo>
                    <a:pt x="21" y="26"/>
                    <a:pt x="28" y="20"/>
                    <a:pt x="35" y="20"/>
                  </a:cubicBezTo>
                  <a:cubicBezTo>
                    <a:pt x="153" y="20"/>
                    <a:pt x="153" y="20"/>
                    <a:pt x="153" y="20"/>
                  </a:cubicBezTo>
                  <a:cubicBezTo>
                    <a:pt x="162" y="20"/>
                    <a:pt x="167" y="26"/>
                    <a:pt x="167" y="35"/>
                  </a:cubicBezTo>
                  <a:cubicBezTo>
                    <a:pt x="167" y="156"/>
                    <a:pt x="167" y="156"/>
                    <a:pt x="167" y="156"/>
                  </a:cubicBezTo>
                  <a:cubicBezTo>
                    <a:pt x="167" y="163"/>
                    <a:pt x="162" y="171"/>
                    <a:pt x="153" y="171"/>
                  </a:cubicBezTo>
                  <a:close/>
                  <a:moveTo>
                    <a:pt x="45" y="20"/>
                  </a:moveTo>
                  <a:cubicBezTo>
                    <a:pt x="45" y="0"/>
                    <a:pt x="45" y="0"/>
                    <a:pt x="45" y="0"/>
                  </a:cubicBezTo>
                  <a:moveTo>
                    <a:pt x="69" y="20"/>
                  </a:moveTo>
                  <a:cubicBezTo>
                    <a:pt x="69" y="0"/>
                    <a:pt x="69" y="0"/>
                    <a:pt x="69" y="0"/>
                  </a:cubicBezTo>
                  <a:moveTo>
                    <a:pt x="94" y="0"/>
                  </a:moveTo>
                  <a:cubicBezTo>
                    <a:pt x="94" y="20"/>
                    <a:pt x="94" y="20"/>
                    <a:pt x="94" y="20"/>
                  </a:cubicBezTo>
                  <a:moveTo>
                    <a:pt x="118" y="0"/>
                  </a:moveTo>
                  <a:cubicBezTo>
                    <a:pt x="118" y="20"/>
                    <a:pt x="118" y="20"/>
                    <a:pt x="118" y="20"/>
                  </a:cubicBezTo>
                  <a:moveTo>
                    <a:pt x="146" y="0"/>
                  </a:moveTo>
                  <a:cubicBezTo>
                    <a:pt x="146" y="20"/>
                    <a:pt x="146" y="20"/>
                    <a:pt x="146" y="20"/>
                  </a:cubicBezTo>
                  <a:moveTo>
                    <a:pt x="191" y="45"/>
                  </a:moveTo>
                  <a:cubicBezTo>
                    <a:pt x="167" y="45"/>
                    <a:pt x="167" y="45"/>
                    <a:pt x="167" y="45"/>
                  </a:cubicBezTo>
                  <a:moveTo>
                    <a:pt x="191" y="69"/>
                  </a:moveTo>
                  <a:cubicBezTo>
                    <a:pt x="167" y="69"/>
                    <a:pt x="167" y="69"/>
                    <a:pt x="167" y="69"/>
                  </a:cubicBezTo>
                  <a:moveTo>
                    <a:pt x="191" y="93"/>
                  </a:moveTo>
                  <a:cubicBezTo>
                    <a:pt x="167" y="93"/>
                    <a:pt x="167" y="93"/>
                    <a:pt x="167" y="93"/>
                  </a:cubicBezTo>
                  <a:moveTo>
                    <a:pt x="191" y="122"/>
                  </a:moveTo>
                  <a:cubicBezTo>
                    <a:pt x="167" y="122"/>
                    <a:pt x="167" y="122"/>
                    <a:pt x="167" y="122"/>
                  </a:cubicBezTo>
                  <a:moveTo>
                    <a:pt x="191" y="146"/>
                  </a:moveTo>
                  <a:cubicBezTo>
                    <a:pt x="167" y="146"/>
                    <a:pt x="167" y="146"/>
                    <a:pt x="167" y="146"/>
                  </a:cubicBezTo>
                  <a:moveTo>
                    <a:pt x="21" y="45"/>
                  </a:moveTo>
                  <a:cubicBezTo>
                    <a:pt x="0" y="45"/>
                    <a:pt x="0" y="45"/>
                    <a:pt x="0" y="45"/>
                  </a:cubicBezTo>
                  <a:moveTo>
                    <a:pt x="21" y="69"/>
                  </a:moveTo>
                  <a:cubicBezTo>
                    <a:pt x="0" y="69"/>
                    <a:pt x="0" y="69"/>
                    <a:pt x="0" y="69"/>
                  </a:cubicBezTo>
                  <a:moveTo>
                    <a:pt x="21" y="93"/>
                  </a:moveTo>
                  <a:cubicBezTo>
                    <a:pt x="0" y="93"/>
                    <a:pt x="0" y="93"/>
                    <a:pt x="0" y="93"/>
                  </a:cubicBezTo>
                  <a:moveTo>
                    <a:pt x="21" y="122"/>
                  </a:moveTo>
                  <a:cubicBezTo>
                    <a:pt x="0" y="122"/>
                    <a:pt x="0" y="122"/>
                    <a:pt x="0" y="122"/>
                  </a:cubicBezTo>
                  <a:moveTo>
                    <a:pt x="21" y="146"/>
                  </a:moveTo>
                  <a:cubicBezTo>
                    <a:pt x="0" y="146"/>
                    <a:pt x="0" y="146"/>
                    <a:pt x="0" y="146"/>
                  </a:cubicBezTo>
                  <a:moveTo>
                    <a:pt x="45" y="171"/>
                  </a:moveTo>
                  <a:cubicBezTo>
                    <a:pt x="45" y="195"/>
                    <a:pt x="45" y="195"/>
                    <a:pt x="45" y="195"/>
                  </a:cubicBezTo>
                  <a:moveTo>
                    <a:pt x="69" y="171"/>
                  </a:moveTo>
                  <a:cubicBezTo>
                    <a:pt x="69" y="195"/>
                    <a:pt x="69" y="195"/>
                    <a:pt x="69" y="195"/>
                  </a:cubicBezTo>
                  <a:moveTo>
                    <a:pt x="94" y="195"/>
                  </a:moveTo>
                  <a:cubicBezTo>
                    <a:pt x="94" y="171"/>
                    <a:pt x="94" y="171"/>
                    <a:pt x="94" y="171"/>
                  </a:cubicBezTo>
                  <a:moveTo>
                    <a:pt x="118" y="171"/>
                  </a:moveTo>
                  <a:cubicBezTo>
                    <a:pt x="118" y="195"/>
                    <a:pt x="118" y="195"/>
                    <a:pt x="118" y="195"/>
                  </a:cubicBezTo>
                  <a:moveTo>
                    <a:pt x="146" y="171"/>
                  </a:moveTo>
                  <a:cubicBezTo>
                    <a:pt x="146" y="195"/>
                    <a:pt x="146" y="195"/>
                    <a:pt x="146" y="19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6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60" name="Group 59">
            <a:extLst>
              <a:ext uri="{FF2B5EF4-FFF2-40B4-BE49-F238E27FC236}">
                <a16:creationId xmlns:a16="http://schemas.microsoft.com/office/drawing/2014/main" id="{CA41F448-5C24-412F-B5E7-2E5FC288D94F}"/>
              </a:ext>
            </a:extLst>
          </p:cNvPr>
          <p:cNvGrpSpPr/>
          <p:nvPr/>
        </p:nvGrpSpPr>
        <p:grpSpPr>
          <a:xfrm>
            <a:off x="9278663" y="3747293"/>
            <a:ext cx="588047" cy="343369"/>
            <a:chOff x="11030366" y="2382953"/>
            <a:chExt cx="397040" cy="231838"/>
          </a:xfrm>
        </p:grpSpPr>
        <p:sp>
          <p:nvSpPr>
            <p:cNvPr id="61" name="Freeform 77">
              <a:extLst>
                <a:ext uri="{FF2B5EF4-FFF2-40B4-BE49-F238E27FC236}">
                  <a16:creationId xmlns:a16="http://schemas.microsoft.com/office/drawing/2014/main" id="{DC1F0984-DC4D-4BE4-B2EC-D831A1639E54}"/>
                </a:ext>
              </a:extLst>
            </p:cNvPr>
            <p:cNvSpPr>
              <a:spLocks/>
            </p:cNvSpPr>
            <p:nvPr/>
          </p:nvSpPr>
          <p:spPr bwMode="auto">
            <a:xfrm>
              <a:off x="11030366" y="2382953"/>
              <a:ext cx="397040" cy="231838"/>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2" name="Freeform 78">
              <a:extLst>
                <a:ext uri="{FF2B5EF4-FFF2-40B4-BE49-F238E27FC236}">
                  <a16:creationId xmlns:a16="http://schemas.microsoft.com/office/drawing/2014/main" id="{5737700F-E02D-4002-99F1-3E3B2B638538}"/>
                </a:ext>
              </a:extLst>
            </p:cNvPr>
            <p:cNvSpPr>
              <a:spLocks/>
            </p:cNvSpPr>
            <p:nvPr/>
          </p:nvSpPr>
          <p:spPr bwMode="auto">
            <a:xfrm>
              <a:off x="11219168" y="2439871"/>
              <a:ext cx="19436" cy="20824"/>
            </a:xfrm>
            <a:custGeom>
              <a:avLst/>
              <a:gdLst>
                <a:gd name="T0" fmla="*/ 9 w 20"/>
                <a:gd name="T1" fmla="*/ 20 h 20"/>
                <a:gd name="T2" fmla="*/ 0 w 20"/>
                <a:gd name="T3" fmla="*/ 10 h 20"/>
                <a:gd name="T4" fmla="*/ 10 w 20"/>
                <a:gd name="T5" fmla="*/ 0 h 20"/>
                <a:gd name="T6" fmla="*/ 20 w 20"/>
                <a:gd name="T7" fmla="*/ 11 h 20"/>
                <a:gd name="T8" fmla="*/ 9 w 20"/>
                <a:gd name="T9" fmla="*/ 20 h 20"/>
              </a:gdLst>
              <a:ahLst/>
              <a:cxnLst>
                <a:cxn ang="0">
                  <a:pos x="T0" y="T1"/>
                </a:cxn>
                <a:cxn ang="0">
                  <a:pos x="T2" y="T3"/>
                </a:cxn>
                <a:cxn ang="0">
                  <a:pos x="T4" y="T5"/>
                </a:cxn>
                <a:cxn ang="0">
                  <a:pos x="T6" y="T7"/>
                </a:cxn>
                <a:cxn ang="0">
                  <a:pos x="T8" y="T9"/>
                </a:cxn>
              </a:cxnLst>
              <a:rect l="0" t="0" r="r" b="b"/>
              <a:pathLst>
                <a:path w="20" h="20">
                  <a:moveTo>
                    <a:pt x="9" y="20"/>
                  </a:moveTo>
                  <a:cubicBezTo>
                    <a:pt x="4" y="20"/>
                    <a:pt x="0" y="15"/>
                    <a:pt x="0" y="10"/>
                  </a:cubicBezTo>
                  <a:cubicBezTo>
                    <a:pt x="0" y="4"/>
                    <a:pt x="5" y="0"/>
                    <a:pt x="10" y="0"/>
                  </a:cubicBezTo>
                  <a:cubicBezTo>
                    <a:pt x="16" y="0"/>
                    <a:pt x="20" y="5"/>
                    <a:pt x="20" y="11"/>
                  </a:cubicBezTo>
                  <a:cubicBezTo>
                    <a:pt x="19" y="16"/>
                    <a:pt x="15" y="20"/>
                    <a:pt x="9" y="20"/>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63" name="car" title="Icon of a car">
            <a:extLst>
              <a:ext uri="{FF2B5EF4-FFF2-40B4-BE49-F238E27FC236}">
                <a16:creationId xmlns:a16="http://schemas.microsoft.com/office/drawing/2014/main" id="{BE2886BB-6A40-4842-9E2A-53B55C2EEAD2}"/>
              </a:ext>
            </a:extLst>
          </p:cNvPr>
          <p:cNvSpPr>
            <a:spLocks noChangeAspect="1" noEditPoints="1"/>
          </p:cNvSpPr>
          <p:nvPr/>
        </p:nvSpPr>
        <p:spPr bwMode="auto">
          <a:xfrm>
            <a:off x="1346955" y="3678428"/>
            <a:ext cx="501478" cy="384275"/>
          </a:xfrm>
          <a:custGeom>
            <a:avLst/>
            <a:gdLst>
              <a:gd name="T0" fmla="*/ 349 w 360"/>
              <a:gd name="T1" fmla="*/ 148 h 276"/>
              <a:gd name="T2" fmla="*/ 349 w 360"/>
              <a:gd name="T3" fmla="*/ 252 h 276"/>
              <a:gd name="T4" fmla="*/ 14 w 360"/>
              <a:gd name="T5" fmla="*/ 252 h 276"/>
              <a:gd name="T6" fmla="*/ 14 w 360"/>
              <a:gd name="T7" fmla="*/ 149 h 276"/>
              <a:gd name="T8" fmla="*/ 51 w 360"/>
              <a:gd name="T9" fmla="*/ 43 h 276"/>
              <a:gd name="T10" fmla="*/ 94 w 360"/>
              <a:gd name="T11" fmla="*/ 0 h 276"/>
              <a:gd name="T12" fmla="*/ 268 w 360"/>
              <a:gd name="T13" fmla="*/ 0 h 276"/>
              <a:gd name="T14" fmla="*/ 311 w 360"/>
              <a:gd name="T15" fmla="*/ 43 h 276"/>
              <a:gd name="T16" fmla="*/ 349 w 360"/>
              <a:gd name="T17" fmla="*/ 148 h 276"/>
              <a:gd name="T18" fmla="*/ 77 w 360"/>
              <a:gd name="T19" fmla="*/ 174 h 276"/>
              <a:gd name="T20" fmla="*/ 91 w 360"/>
              <a:gd name="T21" fmla="*/ 160 h 276"/>
              <a:gd name="T22" fmla="*/ 77 w 360"/>
              <a:gd name="T23" fmla="*/ 145 h 276"/>
              <a:gd name="T24" fmla="*/ 63 w 360"/>
              <a:gd name="T25" fmla="*/ 160 h 276"/>
              <a:gd name="T26" fmla="*/ 77 w 360"/>
              <a:gd name="T27" fmla="*/ 174 h 276"/>
              <a:gd name="T28" fmla="*/ 14 w 360"/>
              <a:gd name="T29" fmla="*/ 252 h 276"/>
              <a:gd name="T30" fmla="*/ 14 w 360"/>
              <a:gd name="T31" fmla="*/ 260 h 276"/>
              <a:gd name="T32" fmla="*/ 30 w 360"/>
              <a:gd name="T33" fmla="*/ 276 h 276"/>
              <a:gd name="T34" fmla="*/ 50 w 360"/>
              <a:gd name="T35" fmla="*/ 276 h 276"/>
              <a:gd name="T36" fmla="*/ 67 w 360"/>
              <a:gd name="T37" fmla="*/ 260 h 276"/>
              <a:gd name="T38" fmla="*/ 67 w 360"/>
              <a:gd name="T39" fmla="*/ 252 h 276"/>
              <a:gd name="T40" fmla="*/ 295 w 360"/>
              <a:gd name="T41" fmla="*/ 252 h 276"/>
              <a:gd name="T42" fmla="*/ 295 w 360"/>
              <a:gd name="T43" fmla="*/ 260 h 276"/>
              <a:gd name="T44" fmla="*/ 312 w 360"/>
              <a:gd name="T45" fmla="*/ 276 h 276"/>
              <a:gd name="T46" fmla="*/ 332 w 360"/>
              <a:gd name="T47" fmla="*/ 276 h 276"/>
              <a:gd name="T48" fmla="*/ 349 w 360"/>
              <a:gd name="T49" fmla="*/ 260 h 276"/>
              <a:gd name="T50" fmla="*/ 349 w 360"/>
              <a:gd name="T51" fmla="*/ 252 h 276"/>
              <a:gd name="T52" fmla="*/ 283 w 360"/>
              <a:gd name="T53" fmla="*/ 174 h 276"/>
              <a:gd name="T54" fmla="*/ 297 w 360"/>
              <a:gd name="T55" fmla="*/ 160 h 276"/>
              <a:gd name="T56" fmla="*/ 283 w 360"/>
              <a:gd name="T57" fmla="*/ 145 h 276"/>
              <a:gd name="T58" fmla="*/ 268 w 360"/>
              <a:gd name="T59" fmla="*/ 160 h 276"/>
              <a:gd name="T60" fmla="*/ 283 w 360"/>
              <a:gd name="T61" fmla="*/ 174 h 276"/>
              <a:gd name="T62" fmla="*/ 245 w 360"/>
              <a:gd name="T63" fmla="*/ 252 h 276"/>
              <a:gd name="T64" fmla="*/ 245 w 360"/>
              <a:gd name="T65" fmla="*/ 222 h 276"/>
              <a:gd name="T66" fmla="*/ 229 w 360"/>
              <a:gd name="T67" fmla="*/ 197 h 276"/>
              <a:gd name="T68" fmla="*/ 133 w 360"/>
              <a:gd name="T69" fmla="*/ 197 h 276"/>
              <a:gd name="T70" fmla="*/ 117 w 360"/>
              <a:gd name="T71" fmla="*/ 222 h 276"/>
              <a:gd name="T72" fmla="*/ 117 w 360"/>
              <a:gd name="T73" fmla="*/ 252 h 276"/>
              <a:gd name="T74" fmla="*/ 0 w 360"/>
              <a:gd name="T75" fmla="*/ 75 h 276"/>
              <a:gd name="T76" fmla="*/ 16 w 360"/>
              <a:gd name="T77" fmla="*/ 75 h 276"/>
              <a:gd name="T78" fmla="*/ 32 w 360"/>
              <a:gd name="T79" fmla="*/ 96 h 276"/>
              <a:gd name="T80" fmla="*/ 330 w 360"/>
              <a:gd name="T81" fmla="*/ 96 h 276"/>
              <a:gd name="T82" fmla="*/ 345 w 360"/>
              <a:gd name="T83" fmla="*/ 75 h 276"/>
              <a:gd name="T84" fmla="*/ 360 w 360"/>
              <a:gd name="T85" fmla="*/ 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276">
                <a:moveTo>
                  <a:pt x="349" y="148"/>
                </a:moveTo>
                <a:cubicBezTo>
                  <a:pt x="349" y="252"/>
                  <a:pt x="349" y="252"/>
                  <a:pt x="349" y="252"/>
                </a:cubicBezTo>
                <a:cubicBezTo>
                  <a:pt x="14" y="252"/>
                  <a:pt x="14" y="252"/>
                  <a:pt x="14" y="252"/>
                </a:cubicBezTo>
                <a:cubicBezTo>
                  <a:pt x="14" y="149"/>
                  <a:pt x="14" y="149"/>
                  <a:pt x="14" y="149"/>
                </a:cubicBezTo>
                <a:cubicBezTo>
                  <a:pt x="51" y="43"/>
                  <a:pt x="51" y="43"/>
                  <a:pt x="51" y="43"/>
                </a:cubicBezTo>
                <a:cubicBezTo>
                  <a:pt x="59" y="19"/>
                  <a:pt x="70" y="0"/>
                  <a:pt x="94" y="0"/>
                </a:cubicBezTo>
                <a:cubicBezTo>
                  <a:pt x="268" y="0"/>
                  <a:pt x="268" y="0"/>
                  <a:pt x="268" y="0"/>
                </a:cubicBezTo>
                <a:cubicBezTo>
                  <a:pt x="292" y="0"/>
                  <a:pt x="304" y="19"/>
                  <a:pt x="311" y="43"/>
                </a:cubicBezTo>
                <a:lnTo>
                  <a:pt x="349" y="148"/>
                </a:lnTo>
                <a:close/>
                <a:moveTo>
                  <a:pt x="77" y="174"/>
                </a:moveTo>
                <a:cubicBezTo>
                  <a:pt x="85" y="174"/>
                  <a:pt x="91" y="167"/>
                  <a:pt x="91" y="160"/>
                </a:cubicBezTo>
                <a:cubicBezTo>
                  <a:pt x="91" y="152"/>
                  <a:pt x="85" y="145"/>
                  <a:pt x="77" y="145"/>
                </a:cubicBezTo>
                <a:cubicBezTo>
                  <a:pt x="69" y="145"/>
                  <a:pt x="63" y="152"/>
                  <a:pt x="63" y="160"/>
                </a:cubicBezTo>
                <a:cubicBezTo>
                  <a:pt x="63" y="167"/>
                  <a:pt x="69" y="174"/>
                  <a:pt x="77" y="174"/>
                </a:cubicBezTo>
                <a:close/>
                <a:moveTo>
                  <a:pt x="14" y="252"/>
                </a:moveTo>
                <a:cubicBezTo>
                  <a:pt x="14" y="260"/>
                  <a:pt x="14" y="260"/>
                  <a:pt x="14" y="260"/>
                </a:cubicBezTo>
                <a:cubicBezTo>
                  <a:pt x="14" y="269"/>
                  <a:pt x="21" y="276"/>
                  <a:pt x="30" y="276"/>
                </a:cubicBezTo>
                <a:cubicBezTo>
                  <a:pt x="50" y="276"/>
                  <a:pt x="50" y="276"/>
                  <a:pt x="50" y="276"/>
                </a:cubicBezTo>
                <a:cubicBezTo>
                  <a:pt x="59" y="276"/>
                  <a:pt x="67" y="269"/>
                  <a:pt x="67" y="260"/>
                </a:cubicBezTo>
                <a:cubicBezTo>
                  <a:pt x="67" y="252"/>
                  <a:pt x="67" y="252"/>
                  <a:pt x="67" y="252"/>
                </a:cubicBezTo>
                <a:moveTo>
                  <a:pt x="295" y="252"/>
                </a:moveTo>
                <a:cubicBezTo>
                  <a:pt x="295" y="260"/>
                  <a:pt x="295" y="260"/>
                  <a:pt x="295" y="260"/>
                </a:cubicBezTo>
                <a:cubicBezTo>
                  <a:pt x="295" y="269"/>
                  <a:pt x="303" y="276"/>
                  <a:pt x="312" y="276"/>
                </a:cubicBezTo>
                <a:cubicBezTo>
                  <a:pt x="332" y="276"/>
                  <a:pt x="332" y="276"/>
                  <a:pt x="332" y="276"/>
                </a:cubicBezTo>
                <a:cubicBezTo>
                  <a:pt x="341" y="276"/>
                  <a:pt x="349" y="269"/>
                  <a:pt x="349" y="260"/>
                </a:cubicBezTo>
                <a:cubicBezTo>
                  <a:pt x="349" y="252"/>
                  <a:pt x="349" y="252"/>
                  <a:pt x="349" y="252"/>
                </a:cubicBezTo>
                <a:moveTo>
                  <a:pt x="283" y="174"/>
                </a:moveTo>
                <a:cubicBezTo>
                  <a:pt x="290" y="174"/>
                  <a:pt x="297" y="167"/>
                  <a:pt x="297" y="160"/>
                </a:cubicBezTo>
                <a:cubicBezTo>
                  <a:pt x="297" y="152"/>
                  <a:pt x="290" y="145"/>
                  <a:pt x="283" y="145"/>
                </a:cubicBezTo>
                <a:cubicBezTo>
                  <a:pt x="275" y="145"/>
                  <a:pt x="268" y="152"/>
                  <a:pt x="268" y="160"/>
                </a:cubicBezTo>
                <a:cubicBezTo>
                  <a:pt x="268" y="167"/>
                  <a:pt x="275" y="174"/>
                  <a:pt x="283" y="174"/>
                </a:cubicBezTo>
                <a:close/>
                <a:moveTo>
                  <a:pt x="245" y="252"/>
                </a:moveTo>
                <a:cubicBezTo>
                  <a:pt x="245" y="222"/>
                  <a:pt x="245" y="222"/>
                  <a:pt x="245" y="222"/>
                </a:cubicBezTo>
                <a:cubicBezTo>
                  <a:pt x="229" y="197"/>
                  <a:pt x="229" y="197"/>
                  <a:pt x="229" y="197"/>
                </a:cubicBezTo>
                <a:cubicBezTo>
                  <a:pt x="133" y="197"/>
                  <a:pt x="133" y="197"/>
                  <a:pt x="133" y="197"/>
                </a:cubicBezTo>
                <a:cubicBezTo>
                  <a:pt x="117" y="222"/>
                  <a:pt x="117" y="222"/>
                  <a:pt x="117" y="222"/>
                </a:cubicBezTo>
                <a:cubicBezTo>
                  <a:pt x="117" y="252"/>
                  <a:pt x="117" y="252"/>
                  <a:pt x="117" y="252"/>
                </a:cubicBezTo>
                <a:moveTo>
                  <a:pt x="0" y="75"/>
                </a:moveTo>
                <a:cubicBezTo>
                  <a:pt x="16" y="75"/>
                  <a:pt x="16" y="75"/>
                  <a:pt x="16" y="75"/>
                </a:cubicBezTo>
                <a:cubicBezTo>
                  <a:pt x="32" y="96"/>
                  <a:pt x="32" y="96"/>
                  <a:pt x="32" y="96"/>
                </a:cubicBezTo>
                <a:cubicBezTo>
                  <a:pt x="330" y="96"/>
                  <a:pt x="330" y="96"/>
                  <a:pt x="330" y="96"/>
                </a:cubicBezTo>
                <a:cubicBezTo>
                  <a:pt x="345" y="75"/>
                  <a:pt x="345" y="75"/>
                  <a:pt x="345" y="75"/>
                </a:cubicBezTo>
                <a:cubicBezTo>
                  <a:pt x="360" y="75"/>
                  <a:pt x="360" y="75"/>
                  <a:pt x="360" y="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636"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64" name="Group 63">
            <a:extLst>
              <a:ext uri="{FF2B5EF4-FFF2-40B4-BE49-F238E27FC236}">
                <a16:creationId xmlns:a16="http://schemas.microsoft.com/office/drawing/2014/main" id="{245A10F2-6B10-4432-B4CE-6F5853A9EF71}"/>
              </a:ext>
            </a:extLst>
          </p:cNvPr>
          <p:cNvGrpSpPr/>
          <p:nvPr/>
        </p:nvGrpSpPr>
        <p:grpSpPr>
          <a:xfrm>
            <a:off x="5121002" y="3625317"/>
            <a:ext cx="741423" cy="466290"/>
            <a:chOff x="5955969" y="1176009"/>
            <a:chExt cx="285776" cy="179728"/>
          </a:xfrm>
          <a:noFill/>
        </p:grpSpPr>
        <p:sp>
          <p:nvSpPr>
            <p:cNvPr id="65" name="mobility">
              <a:extLst>
                <a:ext uri="{FF2B5EF4-FFF2-40B4-BE49-F238E27FC236}">
                  <a16:creationId xmlns:a16="http://schemas.microsoft.com/office/drawing/2014/main" id="{660D5D6C-DE76-4043-A7E2-FEE40892C773}"/>
                </a:ext>
              </a:extLst>
            </p:cNvPr>
            <p:cNvSpPr>
              <a:spLocks noChangeAspect="1" noEditPoints="1"/>
            </p:cNvSpPr>
            <p:nvPr/>
          </p:nvSpPr>
          <p:spPr bwMode="auto">
            <a:xfrm>
              <a:off x="6066453" y="1176009"/>
              <a:ext cx="175292" cy="179728"/>
            </a:xfrm>
            <a:custGeom>
              <a:avLst/>
              <a:gdLst>
                <a:gd name="T0" fmla="*/ 152 w 237"/>
                <a:gd name="T1" fmla="*/ 141 h 243"/>
                <a:gd name="T2" fmla="*/ 0 w 237"/>
                <a:gd name="T3" fmla="*/ 141 h 243"/>
                <a:gd name="T4" fmla="*/ 0 w 237"/>
                <a:gd name="T5" fmla="*/ 0 h 243"/>
                <a:gd name="T6" fmla="*/ 188 w 237"/>
                <a:gd name="T7" fmla="*/ 0 h 243"/>
                <a:gd name="T8" fmla="*/ 188 w 237"/>
                <a:gd name="T9" fmla="*/ 102 h 243"/>
                <a:gd name="T10" fmla="*/ 90 w 237"/>
                <a:gd name="T11" fmla="*/ 116 h 243"/>
                <a:gd name="T12" fmla="*/ 102 w 237"/>
                <a:gd name="T13" fmla="*/ 116 h 243"/>
                <a:gd name="T14" fmla="*/ 152 w 237"/>
                <a:gd name="T15" fmla="*/ 120 h 243"/>
                <a:gd name="T16" fmla="*/ 237 w 237"/>
                <a:gd name="T17" fmla="*/ 120 h 243"/>
                <a:gd name="T18" fmla="*/ 152 w 237"/>
                <a:gd name="T19" fmla="*/ 205 h 243"/>
                <a:gd name="T20" fmla="*/ 237 w 237"/>
                <a:gd name="T21" fmla="*/ 205 h 243"/>
                <a:gd name="T22" fmla="*/ 189 w 237"/>
                <a:gd name="T23" fmla="*/ 225 h 243"/>
                <a:gd name="T24" fmla="*/ 200 w 237"/>
                <a:gd name="T25" fmla="*/ 225 h 243"/>
                <a:gd name="T26" fmla="*/ 237 w 237"/>
                <a:gd name="T27" fmla="*/ 170 h 243"/>
                <a:gd name="T28" fmla="*/ 237 w 237"/>
                <a:gd name="T29" fmla="*/ 102 h 243"/>
                <a:gd name="T30" fmla="*/ 152 w 237"/>
                <a:gd name="T31" fmla="*/ 102 h 243"/>
                <a:gd name="T32" fmla="*/ 152 w 237"/>
                <a:gd name="T33" fmla="*/ 243 h 243"/>
                <a:gd name="T34" fmla="*/ 237 w 237"/>
                <a:gd name="T35" fmla="*/ 243 h 243"/>
                <a:gd name="T36" fmla="*/ 237 w 237"/>
                <a:gd name="T37" fmla="*/ 17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243">
                  <a:moveTo>
                    <a:pt x="152" y="141"/>
                  </a:moveTo>
                  <a:lnTo>
                    <a:pt x="0" y="141"/>
                  </a:lnTo>
                  <a:lnTo>
                    <a:pt x="0" y="0"/>
                  </a:lnTo>
                  <a:lnTo>
                    <a:pt x="188" y="0"/>
                  </a:lnTo>
                  <a:lnTo>
                    <a:pt x="188" y="102"/>
                  </a:lnTo>
                  <a:moveTo>
                    <a:pt x="90" y="116"/>
                  </a:moveTo>
                  <a:lnTo>
                    <a:pt x="102" y="116"/>
                  </a:lnTo>
                  <a:moveTo>
                    <a:pt x="152" y="120"/>
                  </a:moveTo>
                  <a:lnTo>
                    <a:pt x="237" y="120"/>
                  </a:lnTo>
                  <a:moveTo>
                    <a:pt x="152" y="205"/>
                  </a:moveTo>
                  <a:lnTo>
                    <a:pt x="237" y="205"/>
                  </a:lnTo>
                  <a:moveTo>
                    <a:pt x="189" y="225"/>
                  </a:moveTo>
                  <a:lnTo>
                    <a:pt x="200" y="225"/>
                  </a:lnTo>
                  <a:moveTo>
                    <a:pt x="237" y="170"/>
                  </a:moveTo>
                  <a:lnTo>
                    <a:pt x="237" y="102"/>
                  </a:lnTo>
                  <a:lnTo>
                    <a:pt x="152" y="102"/>
                  </a:lnTo>
                  <a:lnTo>
                    <a:pt x="152" y="243"/>
                  </a:lnTo>
                  <a:lnTo>
                    <a:pt x="237" y="243"/>
                  </a:lnTo>
                  <a:lnTo>
                    <a:pt x="237" y="170"/>
                  </a:lnTo>
                </a:path>
              </a:pathLst>
            </a:custGeom>
            <a:grpFill/>
            <a:ln w="12700" cap="flat">
              <a:solidFill>
                <a:schemeClr val="accent1"/>
              </a:solid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6" name="Rectangle 65">
              <a:extLst>
                <a:ext uri="{FF2B5EF4-FFF2-40B4-BE49-F238E27FC236}">
                  <a16:creationId xmlns:a16="http://schemas.microsoft.com/office/drawing/2014/main" id="{71880328-F956-423E-A79C-09395631EF35}"/>
                </a:ext>
              </a:extLst>
            </p:cNvPr>
            <p:cNvSpPr/>
            <p:nvPr/>
          </p:nvSpPr>
          <p:spPr bwMode="auto">
            <a:xfrm>
              <a:off x="6039077" y="1238860"/>
              <a:ext cx="74330" cy="68334"/>
            </a:xfrm>
            <a:prstGeom prst="rect">
              <a:avLst/>
            </a:prstGeom>
            <a:solidFill>
              <a:schemeClr val="bg2"/>
            </a:solidFill>
            <a:ln w="12700" cap="flat">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67" name="laptop">
              <a:extLst>
                <a:ext uri="{FF2B5EF4-FFF2-40B4-BE49-F238E27FC236}">
                  <a16:creationId xmlns:a16="http://schemas.microsoft.com/office/drawing/2014/main" id="{6B1E8E95-91C7-420C-A715-AF815E62803A}"/>
                </a:ext>
              </a:extLst>
            </p:cNvPr>
            <p:cNvSpPr>
              <a:spLocks noChangeAspect="1" noEditPoints="1"/>
            </p:cNvSpPr>
            <p:nvPr/>
          </p:nvSpPr>
          <p:spPr bwMode="auto">
            <a:xfrm>
              <a:off x="5955969" y="1241246"/>
              <a:ext cx="190085" cy="113163"/>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grpFill/>
            <a:ln w="12700" cap="flat">
              <a:solidFill>
                <a:schemeClr val="accent1"/>
              </a:solid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68" name="Group 67">
            <a:extLst>
              <a:ext uri="{FF2B5EF4-FFF2-40B4-BE49-F238E27FC236}">
                <a16:creationId xmlns:a16="http://schemas.microsoft.com/office/drawing/2014/main" id="{E75A1A6E-788B-47B1-8C6C-1C3D82D1567F}"/>
              </a:ext>
            </a:extLst>
          </p:cNvPr>
          <p:cNvGrpSpPr/>
          <p:nvPr/>
        </p:nvGrpSpPr>
        <p:grpSpPr>
          <a:xfrm>
            <a:off x="10296521" y="3577006"/>
            <a:ext cx="206306" cy="587118"/>
            <a:chOff x="4990745" y="2685821"/>
            <a:chExt cx="144221" cy="410434"/>
          </a:xfrm>
        </p:grpSpPr>
        <p:sp>
          <p:nvSpPr>
            <p:cNvPr id="69" name="Freeform 5">
              <a:extLst>
                <a:ext uri="{FF2B5EF4-FFF2-40B4-BE49-F238E27FC236}">
                  <a16:creationId xmlns:a16="http://schemas.microsoft.com/office/drawing/2014/main" id="{45106B21-01A8-4091-AB5C-3CBA4F1EE401}"/>
                </a:ext>
              </a:extLst>
            </p:cNvPr>
            <p:cNvSpPr>
              <a:spLocks noEditPoints="1"/>
            </p:cNvSpPr>
            <p:nvPr/>
          </p:nvSpPr>
          <p:spPr bwMode="auto">
            <a:xfrm>
              <a:off x="5001398" y="2802730"/>
              <a:ext cx="122914" cy="293525"/>
            </a:xfrm>
            <a:custGeom>
              <a:avLst/>
              <a:gdLst>
                <a:gd name="T0" fmla="*/ 470 w 540"/>
                <a:gd name="T1" fmla="*/ 84 h 1296"/>
                <a:gd name="T2" fmla="*/ 266 w 540"/>
                <a:gd name="T3" fmla="*/ 154 h 1296"/>
                <a:gd name="T4" fmla="*/ 62 w 540"/>
                <a:gd name="T5" fmla="*/ 84 h 1296"/>
                <a:gd name="T6" fmla="*/ 266 w 540"/>
                <a:gd name="T7" fmla="*/ 14 h 1296"/>
                <a:gd name="T8" fmla="*/ 470 w 540"/>
                <a:gd name="T9" fmla="*/ 84 h 1296"/>
                <a:gd name="T10" fmla="*/ 266 w 540"/>
                <a:gd name="T11" fmla="*/ 0 h 1296"/>
                <a:gd name="T12" fmla="*/ 36 w 540"/>
                <a:gd name="T13" fmla="*/ 82 h 1296"/>
                <a:gd name="T14" fmla="*/ 266 w 540"/>
                <a:gd name="T15" fmla="*/ 164 h 1296"/>
                <a:gd name="T16" fmla="*/ 496 w 540"/>
                <a:gd name="T17" fmla="*/ 82 h 1296"/>
                <a:gd name="T18" fmla="*/ 266 w 540"/>
                <a:gd name="T19" fmla="*/ 0 h 1296"/>
                <a:gd name="T20" fmla="*/ 36 w 540"/>
                <a:gd name="T21" fmla="*/ 80 h 1296"/>
                <a:gd name="T22" fmla="*/ 36 w 540"/>
                <a:gd name="T23" fmla="*/ 708 h 1296"/>
                <a:gd name="T24" fmla="*/ 0 w 540"/>
                <a:gd name="T25" fmla="*/ 1170 h 1296"/>
                <a:gd name="T26" fmla="*/ 270 w 540"/>
                <a:gd name="T27" fmla="*/ 1296 h 1296"/>
                <a:gd name="T28" fmla="*/ 540 w 540"/>
                <a:gd name="T29" fmla="*/ 1170 h 1296"/>
                <a:gd name="T30" fmla="*/ 504 w 540"/>
                <a:gd name="T31" fmla="*/ 652 h 1296"/>
                <a:gd name="T32" fmla="*/ 496 w 540"/>
                <a:gd name="T33" fmla="*/ 80 h 1296"/>
                <a:gd name="T34" fmla="*/ 10 w 540"/>
                <a:gd name="T35" fmla="*/ 1040 h 1296"/>
                <a:gd name="T36" fmla="*/ 267 w 540"/>
                <a:gd name="T37" fmla="*/ 1164 h 1296"/>
                <a:gd name="T38" fmla="*/ 524 w 540"/>
                <a:gd name="T39" fmla="*/ 1040 h 1296"/>
                <a:gd name="T40" fmla="*/ 38 w 540"/>
                <a:gd name="T41" fmla="*/ 164 h 1296"/>
                <a:gd name="T42" fmla="*/ 267 w 540"/>
                <a:gd name="T43" fmla="*/ 250 h 1296"/>
                <a:gd name="T44" fmla="*/ 496 w 540"/>
                <a:gd name="T45" fmla="*/ 164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0" h="1296">
                  <a:moveTo>
                    <a:pt x="470" y="84"/>
                  </a:moveTo>
                  <a:cubicBezTo>
                    <a:pt x="470" y="123"/>
                    <a:pt x="379" y="154"/>
                    <a:pt x="266" y="154"/>
                  </a:cubicBezTo>
                  <a:cubicBezTo>
                    <a:pt x="153" y="154"/>
                    <a:pt x="62" y="123"/>
                    <a:pt x="62" y="84"/>
                  </a:cubicBezTo>
                  <a:cubicBezTo>
                    <a:pt x="62" y="45"/>
                    <a:pt x="153" y="14"/>
                    <a:pt x="266" y="14"/>
                  </a:cubicBezTo>
                  <a:cubicBezTo>
                    <a:pt x="379" y="14"/>
                    <a:pt x="470" y="45"/>
                    <a:pt x="470" y="84"/>
                  </a:cubicBezTo>
                  <a:close/>
                  <a:moveTo>
                    <a:pt x="266" y="0"/>
                  </a:moveTo>
                  <a:cubicBezTo>
                    <a:pt x="139" y="0"/>
                    <a:pt x="36" y="37"/>
                    <a:pt x="36" y="82"/>
                  </a:cubicBezTo>
                  <a:cubicBezTo>
                    <a:pt x="36" y="127"/>
                    <a:pt x="139" y="164"/>
                    <a:pt x="266" y="164"/>
                  </a:cubicBezTo>
                  <a:cubicBezTo>
                    <a:pt x="393" y="164"/>
                    <a:pt x="496" y="127"/>
                    <a:pt x="496" y="82"/>
                  </a:cubicBezTo>
                  <a:cubicBezTo>
                    <a:pt x="496" y="37"/>
                    <a:pt x="393" y="0"/>
                    <a:pt x="266" y="0"/>
                  </a:cubicBezTo>
                  <a:close/>
                  <a:moveTo>
                    <a:pt x="36" y="80"/>
                  </a:moveTo>
                  <a:cubicBezTo>
                    <a:pt x="36" y="80"/>
                    <a:pt x="40" y="640"/>
                    <a:pt x="36" y="708"/>
                  </a:cubicBezTo>
                  <a:cubicBezTo>
                    <a:pt x="32" y="776"/>
                    <a:pt x="0" y="1170"/>
                    <a:pt x="0" y="1170"/>
                  </a:cubicBezTo>
                  <a:cubicBezTo>
                    <a:pt x="0" y="1240"/>
                    <a:pt x="121" y="1296"/>
                    <a:pt x="270" y="1296"/>
                  </a:cubicBezTo>
                  <a:cubicBezTo>
                    <a:pt x="419" y="1296"/>
                    <a:pt x="540" y="1240"/>
                    <a:pt x="540" y="1170"/>
                  </a:cubicBezTo>
                  <a:cubicBezTo>
                    <a:pt x="540" y="1170"/>
                    <a:pt x="504" y="748"/>
                    <a:pt x="504" y="652"/>
                  </a:cubicBezTo>
                  <a:cubicBezTo>
                    <a:pt x="504" y="556"/>
                    <a:pt x="496" y="80"/>
                    <a:pt x="496" y="80"/>
                  </a:cubicBezTo>
                  <a:moveTo>
                    <a:pt x="10" y="1040"/>
                  </a:moveTo>
                  <a:cubicBezTo>
                    <a:pt x="10" y="1108"/>
                    <a:pt x="125" y="1164"/>
                    <a:pt x="267" y="1164"/>
                  </a:cubicBezTo>
                  <a:cubicBezTo>
                    <a:pt x="409" y="1164"/>
                    <a:pt x="524" y="1108"/>
                    <a:pt x="524" y="1040"/>
                  </a:cubicBezTo>
                  <a:moveTo>
                    <a:pt x="38" y="164"/>
                  </a:moveTo>
                  <a:cubicBezTo>
                    <a:pt x="38" y="211"/>
                    <a:pt x="141" y="250"/>
                    <a:pt x="267" y="250"/>
                  </a:cubicBezTo>
                  <a:cubicBezTo>
                    <a:pt x="393" y="250"/>
                    <a:pt x="496" y="211"/>
                    <a:pt x="496" y="164"/>
                  </a:cubicBezTo>
                </a:path>
              </a:pathLst>
            </a:custGeom>
            <a:noFill/>
            <a:ln w="1270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58" tIns="99726" rIns="124658" bIns="99726" numCol="1" spcCol="0" rtlCol="0" fromWordArt="0" anchor="t" anchorCtr="0" forceAA="0" compatLnSpc="1">
              <a:prstTxWarp prst="textNoShape">
                <a:avLst/>
              </a:prstTxWarp>
              <a:noAutofit/>
            </a:bodyPr>
            <a:lstStyle/>
            <a:p>
              <a:pPr marL="0" marR="0" lvl="0" indent="0" algn="l" defTabSz="635573" rtl="0" eaLnBrk="1" fontAlgn="base" latinLnBrk="0" hangingPunct="1">
                <a:lnSpc>
                  <a:spcPct val="100000"/>
                </a:lnSpc>
                <a:spcBef>
                  <a:spcPct val="0"/>
                </a:spcBef>
                <a:spcAft>
                  <a:spcPct val="0"/>
                </a:spcAft>
                <a:buClrTx/>
                <a:buSzTx/>
                <a:buFontTx/>
                <a:buNone/>
                <a:tabLst/>
                <a:defRPr/>
              </a:pPr>
              <a:endParaRPr kumimoji="0" lang="en-US" sz="163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0" name="Group 69">
              <a:extLst>
                <a:ext uri="{FF2B5EF4-FFF2-40B4-BE49-F238E27FC236}">
                  <a16:creationId xmlns:a16="http://schemas.microsoft.com/office/drawing/2014/main" id="{713F0B58-F5CF-4CE7-902E-C19A07DE5161}"/>
                </a:ext>
              </a:extLst>
            </p:cNvPr>
            <p:cNvGrpSpPr/>
            <p:nvPr/>
          </p:nvGrpSpPr>
          <p:grpSpPr>
            <a:xfrm rot="16200000">
              <a:off x="5024487" y="2652079"/>
              <a:ext cx="76737" cy="144221"/>
              <a:chOff x="2866921" y="3947319"/>
              <a:chExt cx="103684" cy="194866"/>
            </a:xfrm>
          </p:grpSpPr>
          <p:sp>
            <p:nvSpPr>
              <p:cNvPr id="71" name="Oval 5">
                <a:extLst>
                  <a:ext uri="{FF2B5EF4-FFF2-40B4-BE49-F238E27FC236}">
                    <a16:creationId xmlns:a16="http://schemas.microsoft.com/office/drawing/2014/main" id="{EC3AC0EB-CE97-4678-9874-37DEE054C84D}"/>
                  </a:ext>
                </a:extLst>
              </p:cNvPr>
              <p:cNvSpPr/>
              <p:nvPr/>
            </p:nvSpPr>
            <p:spPr bwMode="auto">
              <a:xfrm>
                <a:off x="2904207" y="3947319"/>
                <a:ext cx="66398" cy="194866"/>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72" name="Oval 5">
                <a:extLst>
                  <a:ext uri="{FF2B5EF4-FFF2-40B4-BE49-F238E27FC236}">
                    <a16:creationId xmlns:a16="http://schemas.microsoft.com/office/drawing/2014/main" id="{AD13936B-2708-4287-BD26-C9C68354CED5}"/>
                  </a:ext>
                </a:extLst>
              </p:cNvPr>
              <p:cNvSpPr/>
              <p:nvPr/>
            </p:nvSpPr>
            <p:spPr bwMode="auto">
              <a:xfrm>
                <a:off x="2866921" y="3977662"/>
                <a:ext cx="45720" cy="134180"/>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solidFill>
                    <a:srgbClr val="505050"/>
                  </a:solidFill>
                  <a:effectLst/>
                  <a:uLnTx/>
                  <a:uFillTx/>
                  <a:latin typeface="Segoe UI Semilight"/>
                  <a:ea typeface="+mn-ea"/>
                  <a:cs typeface="+mn-cs"/>
                </a:endParaRPr>
              </a:p>
            </p:txBody>
          </p:sp>
        </p:grpSp>
      </p:grpSp>
      <p:grpSp>
        <p:nvGrpSpPr>
          <p:cNvPr id="73" name="Group 4">
            <a:extLst>
              <a:ext uri="{FF2B5EF4-FFF2-40B4-BE49-F238E27FC236}">
                <a16:creationId xmlns:a16="http://schemas.microsoft.com/office/drawing/2014/main" id="{4083A73C-BA00-41F2-9DB8-F6BA94743550}"/>
              </a:ext>
            </a:extLst>
          </p:cNvPr>
          <p:cNvGrpSpPr>
            <a:grpSpLocks noChangeAspect="1"/>
          </p:cNvGrpSpPr>
          <p:nvPr/>
        </p:nvGrpSpPr>
        <p:grpSpPr bwMode="auto">
          <a:xfrm>
            <a:off x="8255359" y="3706107"/>
            <a:ext cx="593495" cy="365227"/>
            <a:chOff x="5597" y="3096"/>
            <a:chExt cx="546" cy="336"/>
          </a:xfrm>
        </p:grpSpPr>
        <p:sp>
          <p:nvSpPr>
            <p:cNvPr id="74" name="Rectangle 5">
              <a:extLst>
                <a:ext uri="{FF2B5EF4-FFF2-40B4-BE49-F238E27FC236}">
                  <a16:creationId xmlns:a16="http://schemas.microsoft.com/office/drawing/2014/main" id="{158298CB-301C-459A-99D2-84B7D3562C6A}"/>
                </a:ext>
              </a:extLst>
            </p:cNvPr>
            <p:cNvSpPr>
              <a:spLocks noChangeArrowheads="1"/>
            </p:cNvSpPr>
            <p:nvPr/>
          </p:nvSpPr>
          <p:spPr bwMode="auto">
            <a:xfrm>
              <a:off x="5597" y="3096"/>
              <a:ext cx="169" cy="336"/>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5" name="Freeform 6">
              <a:extLst>
                <a:ext uri="{FF2B5EF4-FFF2-40B4-BE49-F238E27FC236}">
                  <a16:creationId xmlns:a16="http://schemas.microsoft.com/office/drawing/2014/main" id="{6B44FD01-770D-4EC7-9B48-7D291F3A2928}"/>
                </a:ext>
              </a:extLst>
            </p:cNvPr>
            <p:cNvSpPr>
              <a:spLocks/>
            </p:cNvSpPr>
            <p:nvPr/>
          </p:nvSpPr>
          <p:spPr bwMode="auto">
            <a:xfrm>
              <a:off x="5766" y="3337"/>
              <a:ext cx="80" cy="95"/>
            </a:xfrm>
            <a:custGeom>
              <a:avLst/>
              <a:gdLst>
                <a:gd name="T0" fmla="*/ 80 w 80"/>
                <a:gd name="T1" fmla="*/ 0 h 95"/>
                <a:gd name="T2" fmla="*/ 80 w 80"/>
                <a:gd name="T3" fmla="*/ 26 h 95"/>
                <a:gd name="T4" fmla="*/ 0 w 80"/>
                <a:gd name="T5" fmla="*/ 95 h 95"/>
              </a:gdLst>
              <a:ahLst/>
              <a:cxnLst>
                <a:cxn ang="0">
                  <a:pos x="T0" y="T1"/>
                </a:cxn>
                <a:cxn ang="0">
                  <a:pos x="T2" y="T3"/>
                </a:cxn>
                <a:cxn ang="0">
                  <a:pos x="T4" y="T5"/>
                </a:cxn>
              </a:cxnLst>
              <a:rect l="0" t="0" r="r" b="b"/>
              <a:pathLst>
                <a:path w="80" h="95">
                  <a:moveTo>
                    <a:pt x="80" y="0"/>
                  </a:moveTo>
                  <a:lnTo>
                    <a:pt x="80" y="26"/>
                  </a:lnTo>
                  <a:lnTo>
                    <a:pt x="0" y="95"/>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6" name="Freeform 7">
              <a:extLst>
                <a:ext uri="{FF2B5EF4-FFF2-40B4-BE49-F238E27FC236}">
                  <a16:creationId xmlns:a16="http://schemas.microsoft.com/office/drawing/2014/main" id="{93D6739F-C3AA-4A28-A384-8A616FE806D0}"/>
                </a:ext>
              </a:extLst>
            </p:cNvPr>
            <p:cNvSpPr>
              <a:spLocks/>
            </p:cNvSpPr>
            <p:nvPr/>
          </p:nvSpPr>
          <p:spPr bwMode="auto">
            <a:xfrm>
              <a:off x="5766" y="3096"/>
              <a:ext cx="80" cy="96"/>
            </a:xfrm>
            <a:custGeom>
              <a:avLst/>
              <a:gdLst>
                <a:gd name="T0" fmla="*/ 0 w 80"/>
                <a:gd name="T1" fmla="*/ 0 h 96"/>
                <a:gd name="T2" fmla="*/ 80 w 80"/>
                <a:gd name="T3" fmla="*/ 74 h 96"/>
                <a:gd name="T4" fmla="*/ 80 w 80"/>
                <a:gd name="T5" fmla="*/ 96 h 96"/>
              </a:gdLst>
              <a:ahLst/>
              <a:cxnLst>
                <a:cxn ang="0">
                  <a:pos x="T0" y="T1"/>
                </a:cxn>
                <a:cxn ang="0">
                  <a:pos x="T2" y="T3"/>
                </a:cxn>
                <a:cxn ang="0">
                  <a:pos x="T4" y="T5"/>
                </a:cxn>
              </a:cxnLst>
              <a:rect l="0" t="0" r="r" b="b"/>
              <a:pathLst>
                <a:path w="80" h="96">
                  <a:moveTo>
                    <a:pt x="0" y="0"/>
                  </a:moveTo>
                  <a:lnTo>
                    <a:pt x="80" y="74"/>
                  </a:lnTo>
                  <a:lnTo>
                    <a:pt x="80" y="96"/>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7" name="Line 8">
              <a:extLst>
                <a:ext uri="{FF2B5EF4-FFF2-40B4-BE49-F238E27FC236}">
                  <a16:creationId xmlns:a16="http://schemas.microsoft.com/office/drawing/2014/main" id="{234E2D6A-1952-4E1E-9A27-27F23B652ED1}"/>
                </a:ext>
              </a:extLst>
            </p:cNvPr>
            <p:cNvSpPr>
              <a:spLocks noChangeShapeType="1"/>
            </p:cNvSpPr>
            <p:nvPr/>
          </p:nvSpPr>
          <p:spPr bwMode="auto">
            <a:xfrm>
              <a:off x="5597" y="3205"/>
              <a:ext cx="169"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8" name="Line 9">
              <a:extLst>
                <a:ext uri="{FF2B5EF4-FFF2-40B4-BE49-F238E27FC236}">
                  <a16:creationId xmlns:a16="http://schemas.microsoft.com/office/drawing/2014/main" id="{1A77B96A-FD62-4626-BEAC-8A1CA5927995}"/>
                </a:ext>
              </a:extLst>
            </p:cNvPr>
            <p:cNvSpPr>
              <a:spLocks noChangeShapeType="1"/>
            </p:cNvSpPr>
            <p:nvPr/>
          </p:nvSpPr>
          <p:spPr bwMode="auto">
            <a:xfrm>
              <a:off x="5597" y="3325"/>
              <a:ext cx="169"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9" name="Rectangle 10">
              <a:extLst>
                <a:ext uri="{FF2B5EF4-FFF2-40B4-BE49-F238E27FC236}">
                  <a16:creationId xmlns:a16="http://schemas.microsoft.com/office/drawing/2014/main" id="{937FDEEB-5B03-4FC0-9617-33100AEBFB96}"/>
                </a:ext>
              </a:extLst>
            </p:cNvPr>
            <p:cNvSpPr>
              <a:spLocks noChangeArrowheads="1"/>
            </p:cNvSpPr>
            <p:nvPr/>
          </p:nvSpPr>
          <p:spPr bwMode="auto">
            <a:xfrm>
              <a:off x="5974" y="3096"/>
              <a:ext cx="169" cy="336"/>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0" name="Freeform 11">
              <a:extLst>
                <a:ext uri="{FF2B5EF4-FFF2-40B4-BE49-F238E27FC236}">
                  <a16:creationId xmlns:a16="http://schemas.microsoft.com/office/drawing/2014/main" id="{33A8ADE5-B99E-46A3-907C-2F44317B46E3}"/>
                </a:ext>
              </a:extLst>
            </p:cNvPr>
            <p:cNvSpPr>
              <a:spLocks/>
            </p:cNvSpPr>
            <p:nvPr/>
          </p:nvSpPr>
          <p:spPr bwMode="auto">
            <a:xfrm>
              <a:off x="5894" y="3336"/>
              <a:ext cx="80" cy="96"/>
            </a:xfrm>
            <a:custGeom>
              <a:avLst/>
              <a:gdLst>
                <a:gd name="T0" fmla="*/ 0 w 80"/>
                <a:gd name="T1" fmla="*/ 0 h 96"/>
                <a:gd name="T2" fmla="*/ 0 w 80"/>
                <a:gd name="T3" fmla="*/ 27 h 96"/>
                <a:gd name="T4" fmla="*/ 80 w 80"/>
                <a:gd name="T5" fmla="*/ 96 h 96"/>
              </a:gdLst>
              <a:ahLst/>
              <a:cxnLst>
                <a:cxn ang="0">
                  <a:pos x="T0" y="T1"/>
                </a:cxn>
                <a:cxn ang="0">
                  <a:pos x="T2" y="T3"/>
                </a:cxn>
                <a:cxn ang="0">
                  <a:pos x="T4" y="T5"/>
                </a:cxn>
              </a:cxnLst>
              <a:rect l="0" t="0" r="r" b="b"/>
              <a:pathLst>
                <a:path w="80" h="96">
                  <a:moveTo>
                    <a:pt x="0" y="0"/>
                  </a:moveTo>
                  <a:lnTo>
                    <a:pt x="0" y="27"/>
                  </a:lnTo>
                  <a:lnTo>
                    <a:pt x="80" y="96"/>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1" name="Freeform 12">
              <a:extLst>
                <a:ext uri="{FF2B5EF4-FFF2-40B4-BE49-F238E27FC236}">
                  <a16:creationId xmlns:a16="http://schemas.microsoft.com/office/drawing/2014/main" id="{434F4C7F-A528-45BB-9D14-09611B1B6440}"/>
                </a:ext>
              </a:extLst>
            </p:cNvPr>
            <p:cNvSpPr>
              <a:spLocks/>
            </p:cNvSpPr>
            <p:nvPr/>
          </p:nvSpPr>
          <p:spPr bwMode="auto">
            <a:xfrm>
              <a:off x="5894" y="3096"/>
              <a:ext cx="80" cy="94"/>
            </a:xfrm>
            <a:custGeom>
              <a:avLst/>
              <a:gdLst>
                <a:gd name="T0" fmla="*/ 80 w 80"/>
                <a:gd name="T1" fmla="*/ 0 h 94"/>
                <a:gd name="T2" fmla="*/ 0 w 80"/>
                <a:gd name="T3" fmla="*/ 74 h 94"/>
                <a:gd name="T4" fmla="*/ 0 w 80"/>
                <a:gd name="T5" fmla="*/ 94 h 94"/>
              </a:gdLst>
              <a:ahLst/>
              <a:cxnLst>
                <a:cxn ang="0">
                  <a:pos x="T0" y="T1"/>
                </a:cxn>
                <a:cxn ang="0">
                  <a:pos x="T2" y="T3"/>
                </a:cxn>
                <a:cxn ang="0">
                  <a:pos x="T4" y="T5"/>
                </a:cxn>
              </a:cxnLst>
              <a:rect l="0" t="0" r="r" b="b"/>
              <a:pathLst>
                <a:path w="80" h="94">
                  <a:moveTo>
                    <a:pt x="80" y="0"/>
                  </a:moveTo>
                  <a:lnTo>
                    <a:pt x="0" y="74"/>
                  </a:lnTo>
                  <a:lnTo>
                    <a:pt x="0" y="94"/>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2" name="Line 13">
              <a:extLst>
                <a:ext uri="{FF2B5EF4-FFF2-40B4-BE49-F238E27FC236}">
                  <a16:creationId xmlns:a16="http://schemas.microsoft.com/office/drawing/2014/main" id="{73A1E541-B2CD-49C2-ABDD-59DBDE476C94}"/>
                </a:ext>
              </a:extLst>
            </p:cNvPr>
            <p:cNvSpPr>
              <a:spLocks noChangeShapeType="1"/>
            </p:cNvSpPr>
            <p:nvPr/>
          </p:nvSpPr>
          <p:spPr bwMode="auto">
            <a:xfrm flipH="1">
              <a:off x="5974" y="3205"/>
              <a:ext cx="169"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3" name="Line 14">
              <a:extLst>
                <a:ext uri="{FF2B5EF4-FFF2-40B4-BE49-F238E27FC236}">
                  <a16:creationId xmlns:a16="http://schemas.microsoft.com/office/drawing/2014/main" id="{5084CB6A-376B-4E1A-806C-A9D8E687FF3A}"/>
                </a:ext>
              </a:extLst>
            </p:cNvPr>
            <p:cNvSpPr>
              <a:spLocks noChangeShapeType="1"/>
            </p:cNvSpPr>
            <p:nvPr/>
          </p:nvSpPr>
          <p:spPr bwMode="auto">
            <a:xfrm flipH="1">
              <a:off x="5974" y="3325"/>
              <a:ext cx="169"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4" name="Freeform 15">
              <a:extLst>
                <a:ext uri="{FF2B5EF4-FFF2-40B4-BE49-F238E27FC236}">
                  <a16:creationId xmlns:a16="http://schemas.microsoft.com/office/drawing/2014/main" id="{251117D8-E14B-4F0F-B54A-7B02277860AE}"/>
                </a:ext>
              </a:extLst>
            </p:cNvPr>
            <p:cNvSpPr>
              <a:spLocks noEditPoints="1"/>
            </p:cNvSpPr>
            <p:nvPr/>
          </p:nvSpPr>
          <p:spPr bwMode="auto">
            <a:xfrm>
              <a:off x="5797" y="3207"/>
              <a:ext cx="146" cy="47"/>
            </a:xfrm>
            <a:custGeom>
              <a:avLst/>
              <a:gdLst>
                <a:gd name="T0" fmla="*/ 0 w 196"/>
                <a:gd name="T1" fmla="*/ 0 h 63"/>
                <a:gd name="T2" fmla="*/ 0 w 196"/>
                <a:gd name="T3" fmla="*/ 63 h 63"/>
                <a:gd name="T4" fmla="*/ 118 w 196"/>
                <a:gd name="T5" fmla="*/ 0 h 63"/>
                <a:gd name="T6" fmla="*/ 118 w 196"/>
                <a:gd name="T7" fmla="*/ 63 h 63"/>
                <a:gd name="T8" fmla="*/ 79 w 196"/>
                <a:gd name="T9" fmla="*/ 42 h 63"/>
                <a:gd name="T10" fmla="*/ 79 w 196"/>
                <a:gd name="T11" fmla="*/ 20 h 63"/>
                <a:gd name="T12" fmla="*/ 59 w 196"/>
                <a:gd name="T13" fmla="*/ 0 h 63"/>
                <a:gd name="T14" fmla="*/ 59 w 196"/>
                <a:gd name="T15" fmla="*/ 0 h 63"/>
                <a:gd name="T16" fmla="*/ 38 w 196"/>
                <a:gd name="T17" fmla="*/ 20 h 63"/>
                <a:gd name="T18" fmla="*/ 38 w 196"/>
                <a:gd name="T19" fmla="*/ 42 h 63"/>
                <a:gd name="T20" fmla="*/ 59 w 196"/>
                <a:gd name="T21" fmla="*/ 63 h 63"/>
                <a:gd name="T22" fmla="*/ 59 w 196"/>
                <a:gd name="T23" fmla="*/ 63 h 63"/>
                <a:gd name="T24" fmla="*/ 79 w 196"/>
                <a:gd name="T25" fmla="*/ 42 h 63"/>
                <a:gd name="T26" fmla="*/ 196 w 196"/>
                <a:gd name="T27" fmla="*/ 42 h 63"/>
                <a:gd name="T28" fmla="*/ 196 w 196"/>
                <a:gd name="T29" fmla="*/ 20 h 63"/>
                <a:gd name="T30" fmla="*/ 175 w 196"/>
                <a:gd name="T31" fmla="*/ 0 h 63"/>
                <a:gd name="T32" fmla="*/ 175 w 196"/>
                <a:gd name="T33" fmla="*/ 0 h 63"/>
                <a:gd name="T34" fmla="*/ 156 w 196"/>
                <a:gd name="T35" fmla="*/ 20 h 63"/>
                <a:gd name="T36" fmla="*/ 156 w 196"/>
                <a:gd name="T37" fmla="*/ 42 h 63"/>
                <a:gd name="T38" fmla="*/ 175 w 196"/>
                <a:gd name="T39" fmla="*/ 63 h 63"/>
                <a:gd name="T40" fmla="*/ 175 w 196"/>
                <a:gd name="T41" fmla="*/ 63 h 63"/>
                <a:gd name="T42" fmla="*/ 196 w 196"/>
                <a:gd name="T43" fmla="*/ 4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3">
                  <a:moveTo>
                    <a:pt x="0" y="0"/>
                  </a:moveTo>
                  <a:cubicBezTo>
                    <a:pt x="0" y="63"/>
                    <a:pt x="0" y="63"/>
                    <a:pt x="0" y="63"/>
                  </a:cubicBezTo>
                  <a:moveTo>
                    <a:pt x="118" y="0"/>
                  </a:moveTo>
                  <a:cubicBezTo>
                    <a:pt x="118" y="63"/>
                    <a:pt x="118" y="63"/>
                    <a:pt x="118" y="63"/>
                  </a:cubicBezTo>
                  <a:moveTo>
                    <a:pt x="79" y="42"/>
                  </a:moveTo>
                  <a:cubicBezTo>
                    <a:pt x="79" y="20"/>
                    <a:pt x="79" y="20"/>
                    <a:pt x="79" y="20"/>
                  </a:cubicBezTo>
                  <a:cubicBezTo>
                    <a:pt x="79" y="9"/>
                    <a:pt x="70" y="0"/>
                    <a:pt x="59" y="0"/>
                  </a:cubicBezTo>
                  <a:cubicBezTo>
                    <a:pt x="59" y="0"/>
                    <a:pt x="59" y="0"/>
                    <a:pt x="59" y="0"/>
                  </a:cubicBezTo>
                  <a:cubicBezTo>
                    <a:pt x="47" y="0"/>
                    <a:pt x="38" y="9"/>
                    <a:pt x="38" y="20"/>
                  </a:cubicBezTo>
                  <a:cubicBezTo>
                    <a:pt x="38" y="42"/>
                    <a:pt x="38" y="42"/>
                    <a:pt x="38" y="42"/>
                  </a:cubicBezTo>
                  <a:cubicBezTo>
                    <a:pt x="38" y="54"/>
                    <a:pt x="47" y="63"/>
                    <a:pt x="59" y="63"/>
                  </a:cubicBezTo>
                  <a:cubicBezTo>
                    <a:pt x="59" y="63"/>
                    <a:pt x="59" y="63"/>
                    <a:pt x="59" y="63"/>
                  </a:cubicBezTo>
                  <a:cubicBezTo>
                    <a:pt x="70" y="63"/>
                    <a:pt x="79" y="54"/>
                    <a:pt x="79" y="42"/>
                  </a:cubicBezTo>
                  <a:close/>
                  <a:moveTo>
                    <a:pt x="196" y="42"/>
                  </a:moveTo>
                  <a:cubicBezTo>
                    <a:pt x="196" y="20"/>
                    <a:pt x="196" y="20"/>
                    <a:pt x="196" y="20"/>
                  </a:cubicBezTo>
                  <a:cubicBezTo>
                    <a:pt x="196" y="9"/>
                    <a:pt x="187" y="0"/>
                    <a:pt x="175" y="0"/>
                  </a:cubicBezTo>
                  <a:cubicBezTo>
                    <a:pt x="175" y="0"/>
                    <a:pt x="175" y="0"/>
                    <a:pt x="175" y="0"/>
                  </a:cubicBezTo>
                  <a:cubicBezTo>
                    <a:pt x="165" y="0"/>
                    <a:pt x="156" y="9"/>
                    <a:pt x="156" y="20"/>
                  </a:cubicBezTo>
                  <a:cubicBezTo>
                    <a:pt x="156" y="42"/>
                    <a:pt x="156" y="42"/>
                    <a:pt x="156" y="42"/>
                  </a:cubicBezTo>
                  <a:cubicBezTo>
                    <a:pt x="156" y="54"/>
                    <a:pt x="165" y="63"/>
                    <a:pt x="175" y="63"/>
                  </a:cubicBezTo>
                  <a:cubicBezTo>
                    <a:pt x="175" y="63"/>
                    <a:pt x="175" y="63"/>
                    <a:pt x="175" y="63"/>
                  </a:cubicBezTo>
                  <a:cubicBezTo>
                    <a:pt x="187" y="63"/>
                    <a:pt x="196" y="54"/>
                    <a:pt x="196" y="42"/>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5" name="Freeform 16">
              <a:extLst>
                <a:ext uri="{FF2B5EF4-FFF2-40B4-BE49-F238E27FC236}">
                  <a16:creationId xmlns:a16="http://schemas.microsoft.com/office/drawing/2014/main" id="{0FCD57B7-F3C1-4A13-9616-0E321479A0DB}"/>
                </a:ext>
              </a:extLst>
            </p:cNvPr>
            <p:cNvSpPr>
              <a:spLocks noEditPoints="1"/>
            </p:cNvSpPr>
            <p:nvPr/>
          </p:nvSpPr>
          <p:spPr bwMode="auto">
            <a:xfrm>
              <a:off x="5797" y="3278"/>
              <a:ext cx="146" cy="48"/>
            </a:xfrm>
            <a:custGeom>
              <a:avLst/>
              <a:gdLst>
                <a:gd name="T0" fmla="*/ 196 w 196"/>
                <a:gd name="T1" fmla="*/ 64 h 64"/>
                <a:gd name="T2" fmla="*/ 196 w 196"/>
                <a:gd name="T3" fmla="*/ 0 h 64"/>
                <a:gd name="T4" fmla="*/ 79 w 196"/>
                <a:gd name="T5" fmla="*/ 64 h 64"/>
                <a:gd name="T6" fmla="*/ 79 w 196"/>
                <a:gd name="T7" fmla="*/ 0 h 64"/>
                <a:gd name="T8" fmla="*/ 118 w 196"/>
                <a:gd name="T9" fmla="*/ 43 h 64"/>
                <a:gd name="T10" fmla="*/ 138 w 196"/>
                <a:gd name="T11" fmla="*/ 64 h 64"/>
                <a:gd name="T12" fmla="*/ 138 w 196"/>
                <a:gd name="T13" fmla="*/ 64 h 64"/>
                <a:gd name="T14" fmla="*/ 158 w 196"/>
                <a:gd name="T15" fmla="*/ 43 h 64"/>
                <a:gd name="T16" fmla="*/ 158 w 196"/>
                <a:gd name="T17" fmla="*/ 21 h 64"/>
                <a:gd name="T18" fmla="*/ 138 w 196"/>
                <a:gd name="T19" fmla="*/ 0 h 64"/>
                <a:gd name="T20" fmla="*/ 138 w 196"/>
                <a:gd name="T21" fmla="*/ 0 h 64"/>
                <a:gd name="T22" fmla="*/ 118 w 196"/>
                <a:gd name="T23" fmla="*/ 21 h 64"/>
                <a:gd name="T24" fmla="*/ 118 w 196"/>
                <a:gd name="T25" fmla="*/ 43 h 64"/>
                <a:gd name="T26" fmla="*/ 0 w 196"/>
                <a:gd name="T27" fmla="*/ 43 h 64"/>
                <a:gd name="T28" fmla="*/ 20 w 196"/>
                <a:gd name="T29" fmla="*/ 64 h 64"/>
                <a:gd name="T30" fmla="*/ 20 w 196"/>
                <a:gd name="T31" fmla="*/ 64 h 64"/>
                <a:gd name="T32" fmla="*/ 41 w 196"/>
                <a:gd name="T33" fmla="*/ 43 h 64"/>
                <a:gd name="T34" fmla="*/ 41 w 196"/>
                <a:gd name="T35" fmla="*/ 21 h 64"/>
                <a:gd name="T36" fmla="*/ 20 w 196"/>
                <a:gd name="T37" fmla="*/ 0 h 64"/>
                <a:gd name="T38" fmla="*/ 20 w 196"/>
                <a:gd name="T39" fmla="*/ 0 h 64"/>
                <a:gd name="T40" fmla="*/ 0 w 196"/>
                <a:gd name="T41" fmla="*/ 21 h 64"/>
                <a:gd name="T42" fmla="*/ 0 w 196"/>
                <a:gd name="T43"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4">
                  <a:moveTo>
                    <a:pt x="196" y="64"/>
                  </a:moveTo>
                  <a:cubicBezTo>
                    <a:pt x="196" y="64"/>
                    <a:pt x="196" y="64"/>
                    <a:pt x="196" y="0"/>
                  </a:cubicBezTo>
                  <a:moveTo>
                    <a:pt x="79" y="64"/>
                  </a:moveTo>
                  <a:cubicBezTo>
                    <a:pt x="79" y="64"/>
                    <a:pt x="79" y="64"/>
                    <a:pt x="79" y="0"/>
                  </a:cubicBezTo>
                  <a:moveTo>
                    <a:pt x="118" y="43"/>
                  </a:moveTo>
                  <a:cubicBezTo>
                    <a:pt x="118" y="54"/>
                    <a:pt x="127" y="64"/>
                    <a:pt x="138" y="64"/>
                  </a:cubicBezTo>
                  <a:cubicBezTo>
                    <a:pt x="138" y="64"/>
                    <a:pt x="138" y="64"/>
                    <a:pt x="138" y="64"/>
                  </a:cubicBezTo>
                  <a:cubicBezTo>
                    <a:pt x="149" y="64"/>
                    <a:pt x="158" y="54"/>
                    <a:pt x="158" y="43"/>
                  </a:cubicBezTo>
                  <a:cubicBezTo>
                    <a:pt x="158" y="43"/>
                    <a:pt x="158" y="43"/>
                    <a:pt x="158" y="21"/>
                  </a:cubicBezTo>
                  <a:cubicBezTo>
                    <a:pt x="158" y="9"/>
                    <a:pt x="149" y="0"/>
                    <a:pt x="138" y="0"/>
                  </a:cubicBezTo>
                  <a:cubicBezTo>
                    <a:pt x="138" y="0"/>
                    <a:pt x="138" y="0"/>
                    <a:pt x="138" y="0"/>
                  </a:cubicBezTo>
                  <a:cubicBezTo>
                    <a:pt x="127" y="0"/>
                    <a:pt x="118" y="9"/>
                    <a:pt x="118" y="21"/>
                  </a:cubicBezTo>
                  <a:cubicBezTo>
                    <a:pt x="118" y="21"/>
                    <a:pt x="118" y="21"/>
                    <a:pt x="118" y="43"/>
                  </a:cubicBezTo>
                  <a:close/>
                  <a:moveTo>
                    <a:pt x="0" y="43"/>
                  </a:moveTo>
                  <a:cubicBezTo>
                    <a:pt x="0" y="54"/>
                    <a:pt x="10" y="64"/>
                    <a:pt x="20" y="64"/>
                  </a:cubicBezTo>
                  <a:cubicBezTo>
                    <a:pt x="20" y="64"/>
                    <a:pt x="20" y="64"/>
                    <a:pt x="20" y="64"/>
                  </a:cubicBezTo>
                  <a:cubicBezTo>
                    <a:pt x="32" y="64"/>
                    <a:pt x="41" y="54"/>
                    <a:pt x="41" y="43"/>
                  </a:cubicBezTo>
                  <a:cubicBezTo>
                    <a:pt x="41" y="43"/>
                    <a:pt x="41" y="43"/>
                    <a:pt x="41" y="21"/>
                  </a:cubicBezTo>
                  <a:cubicBezTo>
                    <a:pt x="41" y="9"/>
                    <a:pt x="32" y="0"/>
                    <a:pt x="20" y="0"/>
                  </a:cubicBezTo>
                  <a:cubicBezTo>
                    <a:pt x="20" y="0"/>
                    <a:pt x="20" y="0"/>
                    <a:pt x="20" y="0"/>
                  </a:cubicBezTo>
                  <a:cubicBezTo>
                    <a:pt x="10" y="0"/>
                    <a:pt x="0" y="9"/>
                    <a:pt x="0" y="21"/>
                  </a:cubicBezTo>
                  <a:cubicBezTo>
                    <a:pt x="0" y="21"/>
                    <a:pt x="0" y="21"/>
                    <a:pt x="0" y="43"/>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86" name="eye_2">
            <a:extLst>
              <a:ext uri="{FF2B5EF4-FFF2-40B4-BE49-F238E27FC236}">
                <a16:creationId xmlns:a16="http://schemas.microsoft.com/office/drawing/2014/main" id="{840EBECD-F72B-4A4F-A8DE-9B52899A5C67}"/>
              </a:ext>
            </a:extLst>
          </p:cNvPr>
          <p:cNvSpPr>
            <a:spLocks noChangeAspect="1" noEditPoints="1"/>
          </p:cNvSpPr>
          <p:nvPr/>
        </p:nvSpPr>
        <p:spPr bwMode="auto">
          <a:xfrm>
            <a:off x="7319748" y="3760501"/>
            <a:ext cx="505802" cy="280644"/>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2700" cap="flat">
            <a:solidFill>
              <a:schemeClr val="accent1"/>
            </a:solid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3" name="Right Bracket 92">
            <a:extLst>
              <a:ext uri="{FF2B5EF4-FFF2-40B4-BE49-F238E27FC236}">
                <a16:creationId xmlns:a16="http://schemas.microsoft.com/office/drawing/2014/main" id="{3014D7EB-D168-4459-961E-B07E928A31AC}"/>
              </a:ext>
            </a:extLst>
          </p:cNvPr>
          <p:cNvSpPr/>
          <p:nvPr/>
        </p:nvSpPr>
        <p:spPr>
          <a:xfrm rot="5400000">
            <a:off x="5431413" y="-976156"/>
            <a:ext cx="196099" cy="10181336"/>
          </a:xfrm>
          <a:prstGeom prst="rightBracket">
            <a:avLst>
              <a:gd name="adj" fmla="val 254433"/>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8" name="TextBox 147">
            <a:extLst>
              <a:ext uri="{FF2B5EF4-FFF2-40B4-BE49-F238E27FC236}">
                <a16:creationId xmlns:a16="http://schemas.microsoft.com/office/drawing/2014/main" id="{A1F5CDBA-9403-43EA-BF4C-505AAFFE728F}"/>
              </a:ext>
            </a:extLst>
          </p:cNvPr>
          <p:cNvSpPr txBox="1"/>
          <p:nvPr/>
        </p:nvSpPr>
        <p:spPr>
          <a:xfrm>
            <a:off x="8621983" y="5287091"/>
            <a:ext cx="3198310" cy="632287"/>
          </a:xfrm>
          <a:prstGeom prst="rect">
            <a:avLst/>
          </a:prstGeom>
          <a:noFill/>
        </p:spPr>
        <p:txBody>
          <a:bodyPr wrap="square" lIns="124658" tIns="99726" rIns="124658" bIns="99726" rtlCol="0">
            <a:spAutoFit/>
          </a:bodyPr>
          <a:lstStyle>
            <a:defPPr>
              <a:defRPr lang="en-US"/>
            </a:defPPr>
            <a:lvl1pPr>
              <a:lnSpc>
                <a:spcPct val="90000"/>
              </a:lnSpc>
              <a:spcAft>
                <a:spcPts val="600"/>
              </a:spcAft>
              <a:defRPr sz="4000">
                <a:solidFill>
                  <a:schemeClr val="bg2"/>
                </a:solidFill>
                <a:latin typeface="Segoe UI Semibold" panose="020B0702040204020203" pitchFamily="34" charset="0"/>
                <a:cs typeface="Segoe UI Semibold" panose="020B0702040204020203"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49"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Azure IoT Edge</a:t>
            </a:r>
          </a:p>
        </p:txBody>
      </p:sp>
      <p:grpSp>
        <p:nvGrpSpPr>
          <p:cNvPr id="149" name="Group 148">
            <a:extLst>
              <a:ext uri="{FF2B5EF4-FFF2-40B4-BE49-F238E27FC236}">
                <a16:creationId xmlns:a16="http://schemas.microsoft.com/office/drawing/2014/main" id="{91D4D1B8-9285-4831-96BE-8D5553FDAA51}"/>
              </a:ext>
            </a:extLst>
          </p:cNvPr>
          <p:cNvGrpSpPr/>
          <p:nvPr/>
        </p:nvGrpSpPr>
        <p:grpSpPr>
          <a:xfrm>
            <a:off x="4053289" y="4547371"/>
            <a:ext cx="1418824" cy="1418824"/>
            <a:chOff x="4029477" y="4533085"/>
            <a:chExt cx="1466448" cy="1466448"/>
          </a:xfrm>
        </p:grpSpPr>
        <p:sp>
          <p:nvSpPr>
            <p:cNvPr id="150" name="Oval 149">
              <a:extLst>
                <a:ext uri="{FF2B5EF4-FFF2-40B4-BE49-F238E27FC236}">
                  <a16:creationId xmlns:a16="http://schemas.microsoft.com/office/drawing/2014/main" id="{4A970166-7B5F-4EE9-94B5-013118212B6C}"/>
                </a:ext>
              </a:extLst>
            </p:cNvPr>
            <p:cNvSpPr/>
            <p:nvPr/>
          </p:nvSpPr>
          <p:spPr bwMode="auto">
            <a:xfrm>
              <a:off x="4029477" y="4533085"/>
              <a:ext cx="1466448" cy="1466448"/>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1" name="Group 150">
              <a:extLst>
                <a:ext uri="{FF2B5EF4-FFF2-40B4-BE49-F238E27FC236}">
                  <a16:creationId xmlns:a16="http://schemas.microsoft.com/office/drawing/2014/main" id="{84DE009D-FEFD-437D-82EE-E6D3683FF87D}"/>
                </a:ext>
              </a:extLst>
            </p:cNvPr>
            <p:cNvGrpSpPr/>
            <p:nvPr/>
          </p:nvGrpSpPr>
          <p:grpSpPr>
            <a:xfrm>
              <a:off x="4079451" y="4705351"/>
              <a:ext cx="1191150" cy="1219058"/>
              <a:chOff x="3787410" y="4149576"/>
              <a:chExt cx="1706009" cy="1745980"/>
            </a:xfrm>
          </p:grpSpPr>
          <p:grpSp>
            <p:nvGrpSpPr>
              <p:cNvPr id="152" name="Group 151">
                <a:extLst>
                  <a:ext uri="{FF2B5EF4-FFF2-40B4-BE49-F238E27FC236}">
                    <a16:creationId xmlns:a16="http://schemas.microsoft.com/office/drawing/2014/main" id="{DEFCF2DC-2559-4C85-AFA5-2F810348264E}"/>
                  </a:ext>
                </a:extLst>
              </p:cNvPr>
              <p:cNvGrpSpPr/>
              <p:nvPr/>
            </p:nvGrpSpPr>
            <p:grpSpPr>
              <a:xfrm>
                <a:off x="4049859" y="4230716"/>
                <a:ext cx="1426800" cy="1426799"/>
                <a:chOff x="4501966" y="2563577"/>
                <a:chExt cx="3020627" cy="3020628"/>
              </a:xfrm>
            </p:grpSpPr>
            <p:sp>
              <p:nvSpPr>
                <p:cNvPr id="173" name="Arc 172">
                  <a:extLst>
                    <a:ext uri="{FF2B5EF4-FFF2-40B4-BE49-F238E27FC236}">
                      <a16:creationId xmlns:a16="http://schemas.microsoft.com/office/drawing/2014/main" id="{4CD84EAC-4300-44AE-9B6A-E4AD48DF21B6}"/>
                    </a:ext>
                  </a:extLst>
                </p:cNvPr>
                <p:cNvSpPr/>
                <p:nvPr/>
              </p:nvSpPr>
              <p:spPr>
                <a:xfrm rot="19427068">
                  <a:off x="4501967" y="2563578"/>
                  <a:ext cx="3020626" cy="3020626"/>
                </a:xfrm>
                <a:prstGeom prst="arc">
                  <a:avLst>
                    <a:gd name="adj1" fmla="val 14520651"/>
                    <a:gd name="adj2" fmla="val 19076422"/>
                  </a:avLst>
                </a:prstGeom>
                <a:ln w="508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D0D0D"/>
                    </a:solidFill>
                    <a:effectLst/>
                    <a:uLnTx/>
                    <a:uFillTx/>
                    <a:latin typeface="Segoe UI"/>
                    <a:ea typeface="+mn-ea"/>
                    <a:cs typeface="+mn-cs"/>
                  </a:endParaRPr>
                </a:p>
              </p:txBody>
            </p:sp>
            <p:sp>
              <p:nvSpPr>
                <p:cNvPr id="174" name="Arc 173">
                  <a:extLst>
                    <a:ext uri="{FF2B5EF4-FFF2-40B4-BE49-F238E27FC236}">
                      <a16:creationId xmlns:a16="http://schemas.microsoft.com/office/drawing/2014/main" id="{A2803B88-3281-441C-9D11-36CDEBBE08BE}"/>
                    </a:ext>
                  </a:extLst>
                </p:cNvPr>
                <p:cNvSpPr/>
                <p:nvPr/>
              </p:nvSpPr>
              <p:spPr>
                <a:xfrm rot="19427068">
                  <a:off x="4501967" y="2563579"/>
                  <a:ext cx="3020626" cy="3020626"/>
                </a:xfrm>
                <a:prstGeom prst="arc">
                  <a:avLst>
                    <a:gd name="adj1" fmla="val 210584"/>
                    <a:gd name="adj2" fmla="val 4416916"/>
                  </a:avLst>
                </a:prstGeom>
                <a:ln w="508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D0D0D"/>
                    </a:solidFill>
                    <a:effectLst/>
                    <a:uLnTx/>
                    <a:uFillTx/>
                    <a:latin typeface="Segoe UI"/>
                    <a:ea typeface="+mn-ea"/>
                    <a:cs typeface="+mn-cs"/>
                  </a:endParaRPr>
                </a:p>
              </p:txBody>
            </p:sp>
            <p:sp>
              <p:nvSpPr>
                <p:cNvPr id="175" name="Arc 174">
                  <a:extLst>
                    <a:ext uri="{FF2B5EF4-FFF2-40B4-BE49-F238E27FC236}">
                      <a16:creationId xmlns:a16="http://schemas.microsoft.com/office/drawing/2014/main" id="{B1794281-0F2B-42F0-A426-E62A03A2F3E5}"/>
                    </a:ext>
                  </a:extLst>
                </p:cNvPr>
                <p:cNvSpPr/>
                <p:nvPr/>
              </p:nvSpPr>
              <p:spPr>
                <a:xfrm rot="19427068">
                  <a:off x="4501966" y="2563577"/>
                  <a:ext cx="3020626" cy="3020626"/>
                </a:xfrm>
                <a:prstGeom prst="arc">
                  <a:avLst>
                    <a:gd name="adj1" fmla="val 7228829"/>
                    <a:gd name="adj2" fmla="val 12000118"/>
                  </a:avLst>
                </a:prstGeom>
                <a:ln w="508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D0D0D"/>
                    </a:solidFill>
                    <a:effectLst/>
                    <a:uLnTx/>
                    <a:uFillTx/>
                    <a:latin typeface="Segoe UI"/>
                    <a:ea typeface="+mn-ea"/>
                    <a:cs typeface="+mn-cs"/>
                  </a:endParaRPr>
                </a:p>
              </p:txBody>
            </p:sp>
          </p:grpSp>
          <p:pic>
            <p:nvPicPr>
              <p:cNvPr id="153" name="Picture 152">
                <a:extLst>
                  <a:ext uri="{FF2B5EF4-FFF2-40B4-BE49-F238E27FC236}">
                    <a16:creationId xmlns:a16="http://schemas.microsoft.com/office/drawing/2014/main" id="{549B9DFC-B87C-4F6A-B8D2-F83E54D319AF}"/>
                  </a:ext>
                </a:extLst>
              </p:cNvPr>
              <p:cNvPicPr>
                <a:picLocks noChangeAspect="1"/>
              </p:cNvPicPr>
              <p:nvPr/>
            </p:nvPicPr>
            <p:blipFill>
              <a:blip r:embed="rId3"/>
              <a:stretch>
                <a:fillRect/>
              </a:stretch>
            </p:blipFill>
            <p:spPr>
              <a:xfrm>
                <a:off x="4943775" y="5359520"/>
                <a:ext cx="454819" cy="536036"/>
              </a:xfrm>
              <a:prstGeom prst="rect">
                <a:avLst/>
              </a:prstGeom>
            </p:spPr>
          </p:pic>
          <p:sp>
            <p:nvSpPr>
              <p:cNvPr id="154" name="Intelligent Cloud">
                <a:extLst>
                  <a:ext uri="{FF2B5EF4-FFF2-40B4-BE49-F238E27FC236}">
                    <a16:creationId xmlns:a16="http://schemas.microsoft.com/office/drawing/2014/main" id="{4F1A2E25-0A43-4BE4-84E1-D92CC0DF014C}"/>
                  </a:ext>
                </a:extLst>
              </p:cNvPr>
              <p:cNvSpPr txBox="1"/>
              <p:nvPr/>
            </p:nvSpPr>
            <p:spPr>
              <a:xfrm>
                <a:off x="4076216" y="4820361"/>
                <a:ext cx="1417203" cy="491065"/>
              </a:xfrm>
              <a:prstGeom prst="rect">
                <a:avLst/>
              </a:prstGeom>
              <a:noFill/>
              <a:ln>
                <a:noFill/>
              </a:ln>
            </p:spPr>
            <p:txBody>
              <a:bodyPr wrap="none" lIns="122207" tIns="97766" rIns="122207" bIns="97766" rtlCol="0">
                <a:spAutoFit/>
              </a:bodyPr>
              <a:lstStyle/>
              <a:p>
                <a:pPr marL="0" marR="0" lvl="0" indent="0" algn="ctr" defTabSz="610977" rtl="0" eaLnBrk="1" fontAlgn="auto" latinLnBrk="0" hangingPunct="1">
                  <a:lnSpc>
                    <a:spcPct val="90000"/>
                  </a:lnSpc>
                  <a:spcBef>
                    <a:spcPts val="0"/>
                  </a:spcBef>
                  <a:spcAft>
                    <a:spcPts val="401"/>
                  </a:spcAft>
                  <a:buClrTx/>
                  <a:buSzTx/>
                  <a:buFontTx/>
                  <a:buNone/>
                  <a:tabLst/>
                  <a:defRPr/>
                </a:pPr>
                <a:r>
                  <a:rPr kumimoji="0" lang="en-US" sz="1000" b="0" i="0" u="none" strike="noStrike" kern="0" cap="none" spc="-33" normalizeH="0" baseline="0" noProof="0">
                    <a:ln>
                      <a:noFill/>
                    </a:ln>
                    <a:gradFill>
                      <a:gsLst>
                        <a:gs pos="0">
                          <a:srgbClr val="1A1A1A"/>
                        </a:gs>
                        <a:gs pos="100000">
                          <a:srgbClr val="1A1A1A"/>
                        </a:gs>
                      </a:gsLst>
                      <a:lin ang="16200000" scaled="1"/>
                    </a:gradFill>
                    <a:effectLst/>
                    <a:uLnTx/>
                    <a:uFillTx/>
                    <a:latin typeface="Segoe UI"/>
                    <a:ea typeface="+mn-ea"/>
                    <a:cs typeface="Segoe UI Semilight" panose="020B0402040204020203" pitchFamily="34" charset="0"/>
                  </a:rPr>
                  <a:t>Azure Sphere</a:t>
                </a:r>
              </a:p>
            </p:txBody>
          </p:sp>
          <p:grpSp>
            <p:nvGrpSpPr>
              <p:cNvPr id="155" name="Group 154">
                <a:extLst>
                  <a:ext uri="{FF2B5EF4-FFF2-40B4-BE49-F238E27FC236}">
                    <a16:creationId xmlns:a16="http://schemas.microsoft.com/office/drawing/2014/main" id="{A153A505-3BAE-4D4D-A560-8F54F3D416C3}"/>
                  </a:ext>
                </a:extLst>
              </p:cNvPr>
              <p:cNvGrpSpPr/>
              <p:nvPr/>
            </p:nvGrpSpPr>
            <p:grpSpPr>
              <a:xfrm>
                <a:off x="4910160" y="4149576"/>
                <a:ext cx="456124" cy="456124"/>
                <a:chOff x="7203486" y="6130679"/>
                <a:chExt cx="669160" cy="669160"/>
              </a:xfrm>
            </p:grpSpPr>
            <p:sp>
              <p:nvSpPr>
                <p:cNvPr id="165" name="AutoShape 3">
                  <a:extLst>
                    <a:ext uri="{FF2B5EF4-FFF2-40B4-BE49-F238E27FC236}">
                      <a16:creationId xmlns:a16="http://schemas.microsoft.com/office/drawing/2014/main" id="{A0E5F98B-C09D-45E9-A331-5822CF316E76}"/>
                    </a:ext>
                  </a:extLst>
                </p:cNvPr>
                <p:cNvSpPr>
                  <a:spLocks noChangeAspect="1" noChangeArrowheads="1" noTextEdit="1"/>
                </p:cNvSpPr>
                <p:nvPr/>
              </p:nvSpPr>
              <p:spPr bwMode="auto">
                <a:xfrm>
                  <a:off x="7203486" y="6130679"/>
                  <a:ext cx="669160" cy="669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4F504F"/>
                    </a:solidFill>
                    <a:effectLst/>
                    <a:uLnTx/>
                    <a:uFillTx/>
                    <a:latin typeface="Segoe UI"/>
                    <a:ea typeface="+mn-ea"/>
                    <a:cs typeface="+mn-cs"/>
                  </a:endParaRPr>
                </a:p>
              </p:txBody>
            </p:sp>
            <p:sp>
              <p:nvSpPr>
                <p:cNvPr id="166" name="Freeform 5">
                  <a:extLst>
                    <a:ext uri="{FF2B5EF4-FFF2-40B4-BE49-F238E27FC236}">
                      <a16:creationId xmlns:a16="http://schemas.microsoft.com/office/drawing/2014/main" id="{A6894BB5-1C7D-4D73-8E7A-943F6D2D1BE5}"/>
                    </a:ext>
                  </a:extLst>
                </p:cNvPr>
                <p:cNvSpPr>
                  <a:spLocks/>
                </p:cNvSpPr>
                <p:nvPr/>
              </p:nvSpPr>
              <p:spPr bwMode="auto">
                <a:xfrm>
                  <a:off x="7318120" y="6242551"/>
                  <a:ext cx="448178" cy="447488"/>
                </a:xfrm>
                <a:custGeom>
                  <a:avLst/>
                  <a:gdLst>
                    <a:gd name="T0" fmla="*/ 132 w 745"/>
                    <a:gd name="T1" fmla="*/ 132 h 745"/>
                    <a:gd name="T2" fmla="*/ 132 w 745"/>
                    <a:gd name="T3" fmla="*/ 132 h 745"/>
                    <a:gd name="T4" fmla="*/ 132 w 745"/>
                    <a:gd name="T5" fmla="*/ 613 h 745"/>
                    <a:gd name="T6" fmla="*/ 613 w 745"/>
                    <a:gd name="T7" fmla="*/ 613 h 745"/>
                    <a:gd name="T8" fmla="*/ 613 w 745"/>
                    <a:gd name="T9" fmla="*/ 132 h 745"/>
                    <a:gd name="T10" fmla="*/ 132 w 745"/>
                    <a:gd name="T11" fmla="*/ 132 h 745"/>
                  </a:gdLst>
                  <a:ahLst/>
                  <a:cxnLst>
                    <a:cxn ang="0">
                      <a:pos x="T0" y="T1"/>
                    </a:cxn>
                    <a:cxn ang="0">
                      <a:pos x="T2" y="T3"/>
                    </a:cxn>
                    <a:cxn ang="0">
                      <a:pos x="T4" y="T5"/>
                    </a:cxn>
                    <a:cxn ang="0">
                      <a:pos x="T6" y="T7"/>
                    </a:cxn>
                    <a:cxn ang="0">
                      <a:pos x="T8" y="T9"/>
                    </a:cxn>
                    <a:cxn ang="0">
                      <a:pos x="T10" y="T11"/>
                    </a:cxn>
                  </a:cxnLst>
                  <a:rect l="0" t="0" r="r" b="b"/>
                  <a:pathLst>
                    <a:path w="745" h="745">
                      <a:moveTo>
                        <a:pt x="132" y="132"/>
                      </a:moveTo>
                      <a:lnTo>
                        <a:pt x="132" y="132"/>
                      </a:lnTo>
                      <a:cubicBezTo>
                        <a:pt x="0" y="265"/>
                        <a:pt x="0" y="480"/>
                        <a:pt x="132" y="613"/>
                      </a:cubicBezTo>
                      <a:cubicBezTo>
                        <a:pt x="265" y="745"/>
                        <a:pt x="480" y="745"/>
                        <a:pt x="613" y="613"/>
                      </a:cubicBezTo>
                      <a:cubicBezTo>
                        <a:pt x="745" y="480"/>
                        <a:pt x="745" y="265"/>
                        <a:pt x="613" y="132"/>
                      </a:cubicBezTo>
                      <a:cubicBezTo>
                        <a:pt x="480" y="0"/>
                        <a:pt x="265" y="0"/>
                        <a:pt x="132" y="132"/>
                      </a:cubicBezTo>
                      <a:close/>
                    </a:path>
                  </a:pathLst>
                </a:custGeom>
                <a:noFill/>
                <a:ln w="0">
                  <a:solidFill>
                    <a:srgbClr val="000000"/>
                  </a:solidFill>
                  <a:prstDash val="solid"/>
                  <a:round/>
                  <a:headEnd/>
                  <a:tailEnd/>
                </a:ln>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4F504F"/>
                    </a:solidFill>
                    <a:effectLst/>
                    <a:uLnTx/>
                    <a:uFillTx/>
                    <a:latin typeface="Segoe UI"/>
                    <a:ea typeface="+mn-ea"/>
                    <a:cs typeface="+mn-cs"/>
                  </a:endParaRPr>
                </a:p>
              </p:txBody>
            </p:sp>
            <p:sp>
              <p:nvSpPr>
                <p:cNvPr id="167" name="Freeform 6">
                  <a:extLst>
                    <a:ext uri="{FF2B5EF4-FFF2-40B4-BE49-F238E27FC236}">
                      <a16:creationId xmlns:a16="http://schemas.microsoft.com/office/drawing/2014/main" id="{DF73307D-8D96-4E84-9E68-3E10C41BDAC5}"/>
                    </a:ext>
                  </a:extLst>
                </p:cNvPr>
                <p:cNvSpPr>
                  <a:spLocks/>
                </p:cNvSpPr>
                <p:nvPr/>
              </p:nvSpPr>
              <p:spPr bwMode="auto">
                <a:xfrm>
                  <a:off x="7318120" y="6242551"/>
                  <a:ext cx="448178" cy="447488"/>
                </a:xfrm>
                <a:custGeom>
                  <a:avLst/>
                  <a:gdLst>
                    <a:gd name="T0" fmla="*/ 132 w 745"/>
                    <a:gd name="T1" fmla="*/ 132 h 745"/>
                    <a:gd name="T2" fmla="*/ 132 w 745"/>
                    <a:gd name="T3" fmla="*/ 132 h 745"/>
                    <a:gd name="T4" fmla="*/ 132 w 745"/>
                    <a:gd name="T5" fmla="*/ 613 h 745"/>
                    <a:gd name="T6" fmla="*/ 613 w 745"/>
                    <a:gd name="T7" fmla="*/ 613 h 745"/>
                    <a:gd name="T8" fmla="*/ 613 w 745"/>
                    <a:gd name="T9" fmla="*/ 132 h 745"/>
                    <a:gd name="T10" fmla="*/ 132 w 745"/>
                    <a:gd name="T11" fmla="*/ 132 h 745"/>
                    <a:gd name="T12" fmla="*/ 132 w 745"/>
                    <a:gd name="T13" fmla="*/ 132 h 745"/>
                  </a:gdLst>
                  <a:ahLst/>
                  <a:cxnLst>
                    <a:cxn ang="0">
                      <a:pos x="T0" y="T1"/>
                    </a:cxn>
                    <a:cxn ang="0">
                      <a:pos x="T2" y="T3"/>
                    </a:cxn>
                    <a:cxn ang="0">
                      <a:pos x="T4" y="T5"/>
                    </a:cxn>
                    <a:cxn ang="0">
                      <a:pos x="T6" y="T7"/>
                    </a:cxn>
                    <a:cxn ang="0">
                      <a:pos x="T8" y="T9"/>
                    </a:cxn>
                    <a:cxn ang="0">
                      <a:pos x="T10" y="T11"/>
                    </a:cxn>
                    <a:cxn ang="0">
                      <a:pos x="T12" y="T13"/>
                    </a:cxn>
                  </a:cxnLst>
                  <a:rect l="0" t="0" r="r" b="b"/>
                  <a:pathLst>
                    <a:path w="745" h="745">
                      <a:moveTo>
                        <a:pt x="132" y="132"/>
                      </a:moveTo>
                      <a:lnTo>
                        <a:pt x="132" y="132"/>
                      </a:lnTo>
                      <a:cubicBezTo>
                        <a:pt x="0" y="265"/>
                        <a:pt x="0" y="480"/>
                        <a:pt x="132" y="613"/>
                      </a:cubicBezTo>
                      <a:cubicBezTo>
                        <a:pt x="265" y="745"/>
                        <a:pt x="480" y="745"/>
                        <a:pt x="613" y="613"/>
                      </a:cubicBezTo>
                      <a:cubicBezTo>
                        <a:pt x="745" y="480"/>
                        <a:pt x="745" y="265"/>
                        <a:pt x="613" y="132"/>
                      </a:cubicBezTo>
                      <a:cubicBezTo>
                        <a:pt x="480" y="0"/>
                        <a:pt x="265" y="0"/>
                        <a:pt x="132" y="132"/>
                      </a:cubicBezTo>
                      <a:lnTo>
                        <a:pt x="132" y="132"/>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4F504F"/>
                    </a:solidFill>
                    <a:effectLst/>
                    <a:uLnTx/>
                    <a:uFillTx/>
                    <a:latin typeface="Segoe UI"/>
                    <a:ea typeface="+mn-ea"/>
                    <a:cs typeface="+mn-cs"/>
                  </a:endParaRPr>
                </a:p>
              </p:txBody>
            </p:sp>
            <p:sp>
              <p:nvSpPr>
                <p:cNvPr id="168" name="Freeform 7">
                  <a:extLst>
                    <a:ext uri="{FF2B5EF4-FFF2-40B4-BE49-F238E27FC236}">
                      <a16:creationId xmlns:a16="http://schemas.microsoft.com/office/drawing/2014/main" id="{531EF335-6E6C-4D26-BC0F-04619636711A}"/>
                    </a:ext>
                  </a:extLst>
                </p:cNvPr>
                <p:cNvSpPr>
                  <a:spLocks/>
                </p:cNvSpPr>
                <p:nvPr/>
              </p:nvSpPr>
              <p:spPr bwMode="auto">
                <a:xfrm>
                  <a:off x="7653736" y="6287438"/>
                  <a:ext cx="66985" cy="67676"/>
                </a:xfrm>
                <a:custGeom>
                  <a:avLst/>
                  <a:gdLst>
                    <a:gd name="T0" fmla="*/ 20 w 112"/>
                    <a:gd name="T1" fmla="*/ 20 h 112"/>
                    <a:gd name="T2" fmla="*/ 20 w 112"/>
                    <a:gd name="T3" fmla="*/ 20 h 112"/>
                    <a:gd name="T4" fmla="*/ 20 w 112"/>
                    <a:gd name="T5" fmla="*/ 92 h 112"/>
                    <a:gd name="T6" fmla="*/ 92 w 112"/>
                    <a:gd name="T7" fmla="*/ 92 h 112"/>
                    <a:gd name="T8" fmla="*/ 92 w 112"/>
                    <a:gd name="T9" fmla="*/ 20 h 112"/>
                    <a:gd name="T10" fmla="*/ 20 w 112"/>
                    <a:gd name="T11" fmla="*/ 20 h 112"/>
                  </a:gdLst>
                  <a:ahLst/>
                  <a:cxnLst>
                    <a:cxn ang="0">
                      <a:pos x="T0" y="T1"/>
                    </a:cxn>
                    <a:cxn ang="0">
                      <a:pos x="T2" y="T3"/>
                    </a:cxn>
                    <a:cxn ang="0">
                      <a:pos x="T4" y="T5"/>
                    </a:cxn>
                    <a:cxn ang="0">
                      <a:pos x="T6" y="T7"/>
                    </a:cxn>
                    <a:cxn ang="0">
                      <a:pos x="T8" y="T9"/>
                    </a:cxn>
                    <a:cxn ang="0">
                      <a:pos x="T10" y="T11"/>
                    </a:cxn>
                  </a:cxnLst>
                  <a:rect l="0" t="0" r="r" b="b"/>
                  <a:pathLst>
                    <a:path w="112" h="112">
                      <a:moveTo>
                        <a:pt x="20" y="20"/>
                      </a:moveTo>
                      <a:lnTo>
                        <a:pt x="20" y="20"/>
                      </a:lnTo>
                      <a:cubicBezTo>
                        <a:pt x="0" y="40"/>
                        <a:pt x="0" y="72"/>
                        <a:pt x="20" y="92"/>
                      </a:cubicBezTo>
                      <a:cubicBezTo>
                        <a:pt x="40" y="112"/>
                        <a:pt x="72" y="112"/>
                        <a:pt x="92" y="92"/>
                      </a:cubicBezTo>
                      <a:cubicBezTo>
                        <a:pt x="112" y="72"/>
                        <a:pt x="112" y="40"/>
                        <a:pt x="92" y="20"/>
                      </a:cubicBezTo>
                      <a:cubicBezTo>
                        <a:pt x="72" y="0"/>
                        <a:pt x="40" y="0"/>
                        <a:pt x="20" y="20"/>
                      </a:cubicBezTo>
                      <a:close/>
                    </a:path>
                  </a:pathLst>
                </a:custGeom>
                <a:solidFill>
                  <a:schemeClr val="bg2"/>
                </a:solidFill>
                <a:ln w="0">
                  <a:solidFill>
                    <a:srgbClr val="000000"/>
                  </a:solidFill>
                  <a:prstDash val="solid"/>
                  <a:round/>
                  <a:headEnd/>
                  <a:tailEnd/>
                </a:ln>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4F504F"/>
                    </a:solidFill>
                    <a:effectLst/>
                    <a:uLnTx/>
                    <a:uFillTx/>
                    <a:latin typeface="Segoe UI"/>
                    <a:ea typeface="+mn-ea"/>
                    <a:cs typeface="+mn-cs"/>
                  </a:endParaRPr>
                </a:p>
              </p:txBody>
            </p:sp>
            <p:sp>
              <p:nvSpPr>
                <p:cNvPr id="169" name="Freeform 8">
                  <a:extLst>
                    <a:ext uri="{FF2B5EF4-FFF2-40B4-BE49-F238E27FC236}">
                      <a16:creationId xmlns:a16="http://schemas.microsoft.com/office/drawing/2014/main" id="{757ADE0E-A7F7-4C41-BBBA-CA93AC2EC0F2}"/>
                    </a:ext>
                  </a:extLst>
                </p:cNvPr>
                <p:cNvSpPr>
                  <a:spLocks/>
                </p:cNvSpPr>
                <p:nvPr/>
              </p:nvSpPr>
              <p:spPr bwMode="auto">
                <a:xfrm>
                  <a:off x="7653736" y="6287438"/>
                  <a:ext cx="66985" cy="67676"/>
                </a:xfrm>
                <a:custGeom>
                  <a:avLst/>
                  <a:gdLst>
                    <a:gd name="T0" fmla="*/ 20 w 112"/>
                    <a:gd name="T1" fmla="*/ 20 h 112"/>
                    <a:gd name="T2" fmla="*/ 20 w 112"/>
                    <a:gd name="T3" fmla="*/ 20 h 112"/>
                    <a:gd name="T4" fmla="*/ 20 w 112"/>
                    <a:gd name="T5" fmla="*/ 92 h 112"/>
                    <a:gd name="T6" fmla="*/ 92 w 112"/>
                    <a:gd name="T7" fmla="*/ 92 h 112"/>
                    <a:gd name="T8" fmla="*/ 92 w 112"/>
                    <a:gd name="T9" fmla="*/ 20 h 112"/>
                    <a:gd name="T10" fmla="*/ 20 w 112"/>
                    <a:gd name="T11" fmla="*/ 20 h 112"/>
                    <a:gd name="T12" fmla="*/ 20 w 112"/>
                    <a:gd name="T13" fmla="*/ 20 h 112"/>
                  </a:gdLst>
                  <a:ahLst/>
                  <a:cxnLst>
                    <a:cxn ang="0">
                      <a:pos x="T0" y="T1"/>
                    </a:cxn>
                    <a:cxn ang="0">
                      <a:pos x="T2" y="T3"/>
                    </a:cxn>
                    <a:cxn ang="0">
                      <a:pos x="T4" y="T5"/>
                    </a:cxn>
                    <a:cxn ang="0">
                      <a:pos x="T6" y="T7"/>
                    </a:cxn>
                    <a:cxn ang="0">
                      <a:pos x="T8" y="T9"/>
                    </a:cxn>
                    <a:cxn ang="0">
                      <a:pos x="T10" y="T11"/>
                    </a:cxn>
                    <a:cxn ang="0">
                      <a:pos x="T12" y="T13"/>
                    </a:cxn>
                  </a:cxnLst>
                  <a:rect l="0" t="0" r="r" b="b"/>
                  <a:pathLst>
                    <a:path w="112" h="112">
                      <a:moveTo>
                        <a:pt x="20" y="20"/>
                      </a:moveTo>
                      <a:lnTo>
                        <a:pt x="20" y="20"/>
                      </a:lnTo>
                      <a:cubicBezTo>
                        <a:pt x="0" y="40"/>
                        <a:pt x="0" y="72"/>
                        <a:pt x="20" y="92"/>
                      </a:cubicBezTo>
                      <a:cubicBezTo>
                        <a:pt x="40" y="112"/>
                        <a:pt x="72" y="112"/>
                        <a:pt x="92" y="92"/>
                      </a:cubicBezTo>
                      <a:cubicBezTo>
                        <a:pt x="112" y="72"/>
                        <a:pt x="112" y="40"/>
                        <a:pt x="92" y="20"/>
                      </a:cubicBezTo>
                      <a:cubicBezTo>
                        <a:pt x="72" y="0"/>
                        <a:pt x="40" y="0"/>
                        <a:pt x="20" y="20"/>
                      </a:cubicBezTo>
                      <a:lnTo>
                        <a:pt x="20" y="20"/>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4F504F"/>
                    </a:solidFill>
                    <a:effectLst/>
                    <a:uLnTx/>
                    <a:uFillTx/>
                    <a:latin typeface="Segoe UI"/>
                    <a:ea typeface="+mn-ea"/>
                    <a:cs typeface="+mn-cs"/>
                  </a:endParaRPr>
                </a:p>
              </p:txBody>
            </p:sp>
            <p:sp>
              <p:nvSpPr>
                <p:cNvPr id="170" name="Freeform 9">
                  <a:extLst>
                    <a:ext uri="{FF2B5EF4-FFF2-40B4-BE49-F238E27FC236}">
                      <a16:creationId xmlns:a16="http://schemas.microsoft.com/office/drawing/2014/main" id="{1C395B81-71C5-4352-85AE-C5F20DF8D6F2}"/>
                    </a:ext>
                  </a:extLst>
                </p:cNvPr>
                <p:cNvSpPr>
                  <a:spLocks/>
                </p:cNvSpPr>
                <p:nvPr/>
              </p:nvSpPr>
              <p:spPr bwMode="auto">
                <a:xfrm>
                  <a:off x="7215226" y="6139656"/>
                  <a:ext cx="653277" cy="653968"/>
                </a:xfrm>
                <a:custGeom>
                  <a:avLst/>
                  <a:gdLst>
                    <a:gd name="T0" fmla="*/ 0 w 1088"/>
                    <a:gd name="T1" fmla="*/ 544 h 1088"/>
                    <a:gd name="T2" fmla="*/ 0 w 1088"/>
                    <a:gd name="T3" fmla="*/ 544 h 1088"/>
                    <a:gd name="T4" fmla="*/ 544 w 1088"/>
                    <a:gd name="T5" fmla="*/ 1088 h 1088"/>
                    <a:gd name="T6" fmla="*/ 1088 w 1088"/>
                    <a:gd name="T7" fmla="*/ 544 h 1088"/>
                    <a:gd name="T8" fmla="*/ 544 w 1088"/>
                    <a:gd name="T9" fmla="*/ 0 h 1088"/>
                    <a:gd name="T10" fmla="*/ 0 w 1088"/>
                    <a:gd name="T11" fmla="*/ 544 h 1088"/>
                    <a:gd name="T12" fmla="*/ 0 w 1088"/>
                    <a:gd name="T13" fmla="*/ 544 h 1088"/>
                  </a:gdLst>
                  <a:ahLst/>
                  <a:cxnLst>
                    <a:cxn ang="0">
                      <a:pos x="T0" y="T1"/>
                    </a:cxn>
                    <a:cxn ang="0">
                      <a:pos x="T2" y="T3"/>
                    </a:cxn>
                    <a:cxn ang="0">
                      <a:pos x="T4" y="T5"/>
                    </a:cxn>
                    <a:cxn ang="0">
                      <a:pos x="T6" y="T7"/>
                    </a:cxn>
                    <a:cxn ang="0">
                      <a:pos x="T8" y="T9"/>
                    </a:cxn>
                    <a:cxn ang="0">
                      <a:pos x="T10" y="T11"/>
                    </a:cxn>
                    <a:cxn ang="0">
                      <a:pos x="T12" y="T13"/>
                    </a:cxn>
                  </a:cxnLst>
                  <a:rect l="0" t="0" r="r" b="b"/>
                  <a:pathLst>
                    <a:path w="1088" h="1088">
                      <a:moveTo>
                        <a:pt x="0" y="544"/>
                      </a:moveTo>
                      <a:lnTo>
                        <a:pt x="0" y="544"/>
                      </a:lnTo>
                      <a:cubicBezTo>
                        <a:pt x="0" y="844"/>
                        <a:pt x="244" y="1088"/>
                        <a:pt x="544" y="1088"/>
                      </a:cubicBezTo>
                      <a:cubicBezTo>
                        <a:pt x="845" y="1088"/>
                        <a:pt x="1088" y="844"/>
                        <a:pt x="1088" y="544"/>
                      </a:cubicBezTo>
                      <a:cubicBezTo>
                        <a:pt x="1088" y="243"/>
                        <a:pt x="845" y="0"/>
                        <a:pt x="544" y="0"/>
                      </a:cubicBezTo>
                      <a:cubicBezTo>
                        <a:pt x="244" y="0"/>
                        <a:pt x="0" y="243"/>
                        <a:pt x="0" y="544"/>
                      </a:cubicBezTo>
                      <a:lnTo>
                        <a:pt x="0" y="544"/>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4F504F"/>
                    </a:solidFill>
                    <a:effectLst/>
                    <a:uLnTx/>
                    <a:uFillTx/>
                    <a:latin typeface="Segoe UI"/>
                    <a:ea typeface="+mn-ea"/>
                    <a:cs typeface="+mn-cs"/>
                  </a:endParaRPr>
                </a:p>
              </p:txBody>
            </p:sp>
            <p:sp>
              <p:nvSpPr>
                <p:cNvPr id="171" name="Freeform 10">
                  <a:extLst>
                    <a:ext uri="{FF2B5EF4-FFF2-40B4-BE49-F238E27FC236}">
                      <a16:creationId xmlns:a16="http://schemas.microsoft.com/office/drawing/2014/main" id="{424B1ABB-2DB2-43F5-B07C-001C79B80723}"/>
                    </a:ext>
                  </a:extLst>
                </p:cNvPr>
                <p:cNvSpPr>
                  <a:spLocks/>
                </p:cNvSpPr>
                <p:nvPr/>
              </p:nvSpPr>
              <p:spPr bwMode="auto">
                <a:xfrm>
                  <a:off x="7363698" y="6578167"/>
                  <a:ext cx="66294" cy="66985"/>
                </a:xfrm>
                <a:custGeom>
                  <a:avLst/>
                  <a:gdLst>
                    <a:gd name="T0" fmla="*/ 92 w 111"/>
                    <a:gd name="T1" fmla="*/ 91 h 111"/>
                    <a:gd name="T2" fmla="*/ 92 w 111"/>
                    <a:gd name="T3" fmla="*/ 91 h 111"/>
                    <a:gd name="T4" fmla="*/ 92 w 111"/>
                    <a:gd name="T5" fmla="*/ 19 h 111"/>
                    <a:gd name="T6" fmla="*/ 20 w 111"/>
                    <a:gd name="T7" fmla="*/ 19 h 111"/>
                    <a:gd name="T8" fmla="*/ 20 w 111"/>
                    <a:gd name="T9" fmla="*/ 91 h 111"/>
                    <a:gd name="T10" fmla="*/ 92 w 111"/>
                    <a:gd name="T11" fmla="*/ 91 h 111"/>
                  </a:gdLst>
                  <a:ahLst/>
                  <a:cxnLst>
                    <a:cxn ang="0">
                      <a:pos x="T0" y="T1"/>
                    </a:cxn>
                    <a:cxn ang="0">
                      <a:pos x="T2" y="T3"/>
                    </a:cxn>
                    <a:cxn ang="0">
                      <a:pos x="T4" y="T5"/>
                    </a:cxn>
                    <a:cxn ang="0">
                      <a:pos x="T6" y="T7"/>
                    </a:cxn>
                    <a:cxn ang="0">
                      <a:pos x="T8" y="T9"/>
                    </a:cxn>
                    <a:cxn ang="0">
                      <a:pos x="T10" y="T11"/>
                    </a:cxn>
                  </a:cxnLst>
                  <a:rect l="0" t="0" r="r" b="b"/>
                  <a:pathLst>
                    <a:path w="111" h="111">
                      <a:moveTo>
                        <a:pt x="92" y="91"/>
                      </a:moveTo>
                      <a:lnTo>
                        <a:pt x="92" y="91"/>
                      </a:lnTo>
                      <a:cubicBezTo>
                        <a:pt x="111" y="71"/>
                        <a:pt x="111" y="39"/>
                        <a:pt x="92" y="19"/>
                      </a:cubicBezTo>
                      <a:cubicBezTo>
                        <a:pt x="72" y="0"/>
                        <a:pt x="40" y="0"/>
                        <a:pt x="20" y="19"/>
                      </a:cubicBezTo>
                      <a:cubicBezTo>
                        <a:pt x="0" y="39"/>
                        <a:pt x="0" y="71"/>
                        <a:pt x="20" y="91"/>
                      </a:cubicBezTo>
                      <a:cubicBezTo>
                        <a:pt x="40" y="111"/>
                        <a:pt x="72" y="111"/>
                        <a:pt x="92" y="91"/>
                      </a:cubicBezTo>
                      <a:close/>
                    </a:path>
                  </a:pathLst>
                </a:custGeom>
                <a:solidFill>
                  <a:schemeClr val="bg2"/>
                </a:solidFill>
                <a:ln w="0">
                  <a:solidFill>
                    <a:srgbClr val="000000"/>
                  </a:solidFill>
                  <a:prstDash val="solid"/>
                  <a:round/>
                  <a:headEnd/>
                  <a:tailEnd/>
                </a:ln>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4F504F"/>
                    </a:solidFill>
                    <a:effectLst/>
                    <a:uLnTx/>
                    <a:uFillTx/>
                    <a:latin typeface="Segoe UI"/>
                    <a:ea typeface="+mn-ea"/>
                    <a:cs typeface="+mn-cs"/>
                  </a:endParaRPr>
                </a:p>
              </p:txBody>
            </p:sp>
            <p:sp>
              <p:nvSpPr>
                <p:cNvPr id="172" name="Freeform 11">
                  <a:extLst>
                    <a:ext uri="{FF2B5EF4-FFF2-40B4-BE49-F238E27FC236}">
                      <a16:creationId xmlns:a16="http://schemas.microsoft.com/office/drawing/2014/main" id="{A0236D1F-806B-4279-9F0B-12B5D18B48D1}"/>
                    </a:ext>
                  </a:extLst>
                </p:cNvPr>
                <p:cNvSpPr>
                  <a:spLocks/>
                </p:cNvSpPr>
                <p:nvPr/>
              </p:nvSpPr>
              <p:spPr bwMode="auto">
                <a:xfrm>
                  <a:off x="7363698" y="6578167"/>
                  <a:ext cx="66294" cy="66985"/>
                </a:xfrm>
                <a:custGeom>
                  <a:avLst/>
                  <a:gdLst>
                    <a:gd name="T0" fmla="*/ 92 w 111"/>
                    <a:gd name="T1" fmla="*/ 91 h 111"/>
                    <a:gd name="T2" fmla="*/ 92 w 111"/>
                    <a:gd name="T3" fmla="*/ 91 h 111"/>
                    <a:gd name="T4" fmla="*/ 92 w 111"/>
                    <a:gd name="T5" fmla="*/ 19 h 111"/>
                    <a:gd name="T6" fmla="*/ 20 w 111"/>
                    <a:gd name="T7" fmla="*/ 19 h 111"/>
                    <a:gd name="T8" fmla="*/ 20 w 111"/>
                    <a:gd name="T9" fmla="*/ 91 h 111"/>
                    <a:gd name="T10" fmla="*/ 92 w 111"/>
                    <a:gd name="T11" fmla="*/ 91 h 111"/>
                    <a:gd name="T12" fmla="*/ 92 w 111"/>
                    <a:gd name="T13" fmla="*/ 91 h 111"/>
                  </a:gdLst>
                  <a:ahLst/>
                  <a:cxnLst>
                    <a:cxn ang="0">
                      <a:pos x="T0" y="T1"/>
                    </a:cxn>
                    <a:cxn ang="0">
                      <a:pos x="T2" y="T3"/>
                    </a:cxn>
                    <a:cxn ang="0">
                      <a:pos x="T4" y="T5"/>
                    </a:cxn>
                    <a:cxn ang="0">
                      <a:pos x="T6" y="T7"/>
                    </a:cxn>
                    <a:cxn ang="0">
                      <a:pos x="T8" y="T9"/>
                    </a:cxn>
                    <a:cxn ang="0">
                      <a:pos x="T10" y="T11"/>
                    </a:cxn>
                    <a:cxn ang="0">
                      <a:pos x="T12" y="T13"/>
                    </a:cxn>
                  </a:cxnLst>
                  <a:rect l="0" t="0" r="r" b="b"/>
                  <a:pathLst>
                    <a:path w="111" h="111">
                      <a:moveTo>
                        <a:pt x="92" y="91"/>
                      </a:moveTo>
                      <a:lnTo>
                        <a:pt x="92" y="91"/>
                      </a:lnTo>
                      <a:cubicBezTo>
                        <a:pt x="111" y="71"/>
                        <a:pt x="111" y="39"/>
                        <a:pt x="92" y="19"/>
                      </a:cubicBezTo>
                      <a:cubicBezTo>
                        <a:pt x="72" y="0"/>
                        <a:pt x="40" y="0"/>
                        <a:pt x="20" y="19"/>
                      </a:cubicBezTo>
                      <a:cubicBezTo>
                        <a:pt x="0" y="39"/>
                        <a:pt x="0" y="71"/>
                        <a:pt x="20" y="91"/>
                      </a:cubicBezTo>
                      <a:cubicBezTo>
                        <a:pt x="40" y="111"/>
                        <a:pt x="72" y="111"/>
                        <a:pt x="92" y="91"/>
                      </a:cubicBezTo>
                      <a:lnTo>
                        <a:pt x="92" y="91"/>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4F504F"/>
                    </a:solidFill>
                    <a:effectLst/>
                    <a:uLnTx/>
                    <a:uFillTx/>
                    <a:latin typeface="Segoe UI"/>
                    <a:ea typeface="+mn-ea"/>
                    <a:cs typeface="+mn-cs"/>
                  </a:endParaRPr>
                </a:p>
              </p:txBody>
            </p:sp>
          </p:grpSp>
          <p:grpSp>
            <p:nvGrpSpPr>
              <p:cNvPr id="156" name="Group 14">
                <a:extLst>
                  <a:ext uri="{FF2B5EF4-FFF2-40B4-BE49-F238E27FC236}">
                    <a16:creationId xmlns:a16="http://schemas.microsoft.com/office/drawing/2014/main" id="{B3B55F89-F30B-4207-BAE0-F68B08F2D373}"/>
                  </a:ext>
                </a:extLst>
              </p:cNvPr>
              <p:cNvGrpSpPr>
                <a:grpSpLocks noChangeAspect="1"/>
              </p:cNvGrpSpPr>
              <p:nvPr/>
            </p:nvGrpSpPr>
            <p:grpSpPr bwMode="auto">
              <a:xfrm>
                <a:off x="3787410" y="4685251"/>
                <a:ext cx="411407" cy="411406"/>
                <a:chOff x="3765" y="3104"/>
                <a:chExt cx="874" cy="874"/>
              </a:xfrm>
            </p:grpSpPr>
            <p:sp>
              <p:nvSpPr>
                <p:cNvPr id="157" name="AutoShape 13">
                  <a:extLst>
                    <a:ext uri="{FF2B5EF4-FFF2-40B4-BE49-F238E27FC236}">
                      <a16:creationId xmlns:a16="http://schemas.microsoft.com/office/drawing/2014/main" id="{AC321372-650C-4299-B5D9-A11DDFEDDAAC}"/>
                    </a:ext>
                  </a:extLst>
                </p:cNvPr>
                <p:cNvSpPr>
                  <a:spLocks noChangeAspect="1" noChangeArrowheads="1" noTextEdit="1"/>
                </p:cNvSpPr>
                <p:nvPr/>
              </p:nvSpPr>
              <p:spPr bwMode="auto">
                <a:xfrm>
                  <a:off x="3765" y="3104"/>
                  <a:ext cx="874" cy="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4F504F"/>
                    </a:solidFill>
                    <a:effectLst/>
                    <a:uLnTx/>
                    <a:uFillTx/>
                    <a:latin typeface="Segoe UI"/>
                    <a:ea typeface="+mn-ea"/>
                    <a:cs typeface="+mn-cs"/>
                  </a:endParaRPr>
                </a:p>
              </p:txBody>
            </p:sp>
            <p:sp>
              <p:nvSpPr>
                <p:cNvPr id="158" name="Freeform 15">
                  <a:extLst>
                    <a:ext uri="{FF2B5EF4-FFF2-40B4-BE49-F238E27FC236}">
                      <a16:creationId xmlns:a16="http://schemas.microsoft.com/office/drawing/2014/main" id="{8D6BDDFE-BA64-4464-9BF0-3C1832D075CB}"/>
                    </a:ext>
                  </a:extLst>
                </p:cNvPr>
                <p:cNvSpPr>
                  <a:spLocks/>
                </p:cNvSpPr>
                <p:nvPr/>
              </p:nvSpPr>
              <p:spPr bwMode="auto">
                <a:xfrm>
                  <a:off x="3941" y="3278"/>
                  <a:ext cx="531" cy="532"/>
                </a:xfrm>
                <a:custGeom>
                  <a:avLst/>
                  <a:gdLst>
                    <a:gd name="T0" fmla="*/ 0 w 612"/>
                    <a:gd name="T1" fmla="*/ 612 h 612"/>
                    <a:gd name="T2" fmla="*/ 0 w 612"/>
                    <a:gd name="T3" fmla="*/ 612 h 612"/>
                    <a:gd name="T4" fmla="*/ 612 w 612"/>
                    <a:gd name="T5" fmla="*/ 612 h 612"/>
                    <a:gd name="T6" fmla="*/ 612 w 612"/>
                    <a:gd name="T7" fmla="*/ 0 h 612"/>
                    <a:gd name="T8" fmla="*/ 0 w 612"/>
                    <a:gd name="T9" fmla="*/ 0 h 612"/>
                    <a:gd name="T10" fmla="*/ 0 w 612"/>
                    <a:gd name="T11" fmla="*/ 612 h 612"/>
                  </a:gdLst>
                  <a:ahLst/>
                  <a:cxnLst>
                    <a:cxn ang="0">
                      <a:pos x="T0" y="T1"/>
                    </a:cxn>
                    <a:cxn ang="0">
                      <a:pos x="T2" y="T3"/>
                    </a:cxn>
                    <a:cxn ang="0">
                      <a:pos x="T4" y="T5"/>
                    </a:cxn>
                    <a:cxn ang="0">
                      <a:pos x="T6" y="T7"/>
                    </a:cxn>
                    <a:cxn ang="0">
                      <a:pos x="T8" y="T9"/>
                    </a:cxn>
                    <a:cxn ang="0">
                      <a:pos x="T10" y="T11"/>
                    </a:cxn>
                  </a:cxnLst>
                  <a:rect l="0" t="0" r="r" b="b"/>
                  <a:pathLst>
                    <a:path w="612" h="612">
                      <a:moveTo>
                        <a:pt x="0" y="612"/>
                      </a:moveTo>
                      <a:lnTo>
                        <a:pt x="0" y="612"/>
                      </a:lnTo>
                      <a:lnTo>
                        <a:pt x="612" y="612"/>
                      </a:lnTo>
                      <a:lnTo>
                        <a:pt x="612" y="0"/>
                      </a:lnTo>
                      <a:lnTo>
                        <a:pt x="0" y="0"/>
                      </a:lnTo>
                      <a:lnTo>
                        <a:pt x="0" y="612"/>
                      </a:lnTo>
                      <a:close/>
                    </a:path>
                  </a:pathLst>
                </a:custGeom>
                <a:noFill/>
                <a:ln w="0">
                  <a:solidFill>
                    <a:srgbClr val="000000"/>
                  </a:solidFill>
                  <a:prstDash val="solid"/>
                  <a:round/>
                  <a:headEnd/>
                  <a:tailEnd/>
                </a:ln>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4F504F"/>
                    </a:solidFill>
                    <a:effectLst/>
                    <a:uLnTx/>
                    <a:uFillTx/>
                    <a:latin typeface="Segoe UI"/>
                    <a:ea typeface="+mn-ea"/>
                    <a:cs typeface="+mn-cs"/>
                  </a:endParaRPr>
                </a:p>
              </p:txBody>
            </p:sp>
            <p:sp>
              <p:nvSpPr>
                <p:cNvPr id="159" name="Freeform 16">
                  <a:extLst>
                    <a:ext uri="{FF2B5EF4-FFF2-40B4-BE49-F238E27FC236}">
                      <a16:creationId xmlns:a16="http://schemas.microsoft.com/office/drawing/2014/main" id="{72CA982E-71FF-4628-A2D5-B1533C0CD336}"/>
                    </a:ext>
                  </a:extLst>
                </p:cNvPr>
                <p:cNvSpPr>
                  <a:spLocks/>
                </p:cNvSpPr>
                <p:nvPr/>
              </p:nvSpPr>
              <p:spPr bwMode="auto">
                <a:xfrm>
                  <a:off x="3941" y="3278"/>
                  <a:ext cx="531" cy="532"/>
                </a:xfrm>
                <a:custGeom>
                  <a:avLst/>
                  <a:gdLst>
                    <a:gd name="T0" fmla="*/ 0 w 612"/>
                    <a:gd name="T1" fmla="*/ 612 h 612"/>
                    <a:gd name="T2" fmla="*/ 0 w 612"/>
                    <a:gd name="T3" fmla="*/ 612 h 612"/>
                    <a:gd name="T4" fmla="*/ 612 w 612"/>
                    <a:gd name="T5" fmla="*/ 612 h 612"/>
                    <a:gd name="T6" fmla="*/ 612 w 612"/>
                    <a:gd name="T7" fmla="*/ 0 h 612"/>
                    <a:gd name="T8" fmla="*/ 0 w 612"/>
                    <a:gd name="T9" fmla="*/ 0 h 612"/>
                    <a:gd name="T10" fmla="*/ 0 w 612"/>
                    <a:gd name="T11" fmla="*/ 612 h 612"/>
                  </a:gdLst>
                  <a:ahLst/>
                  <a:cxnLst>
                    <a:cxn ang="0">
                      <a:pos x="T0" y="T1"/>
                    </a:cxn>
                    <a:cxn ang="0">
                      <a:pos x="T2" y="T3"/>
                    </a:cxn>
                    <a:cxn ang="0">
                      <a:pos x="T4" y="T5"/>
                    </a:cxn>
                    <a:cxn ang="0">
                      <a:pos x="T6" y="T7"/>
                    </a:cxn>
                    <a:cxn ang="0">
                      <a:pos x="T8" y="T9"/>
                    </a:cxn>
                    <a:cxn ang="0">
                      <a:pos x="T10" y="T11"/>
                    </a:cxn>
                  </a:cxnLst>
                  <a:rect l="0" t="0" r="r" b="b"/>
                  <a:pathLst>
                    <a:path w="612" h="612">
                      <a:moveTo>
                        <a:pt x="0" y="612"/>
                      </a:moveTo>
                      <a:lnTo>
                        <a:pt x="0" y="612"/>
                      </a:lnTo>
                      <a:lnTo>
                        <a:pt x="612" y="612"/>
                      </a:lnTo>
                      <a:lnTo>
                        <a:pt x="612" y="0"/>
                      </a:lnTo>
                      <a:lnTo>
                        <a:pt x="0" y="0"/>
                      </a:lnTo>
                      <a:lnTo>
                        <a:pt x="0" y="612"/>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4F504F"/>
                    </a:solidFill>
                    <a:effectLst/>
                    <a:uLnTx/>
                    <a:uFillTx/>
                    <a:latin typeface="Segoe UI"/>
                    <a:ea typeface="+mn-ea"/>
                    <a:cs typeface="+mn-cs"/>
                  </a:endParaRPr>
                </a:p>
              </p:txBody>
            </p:sp>
            <p:sp>
              <p:nvSpPr>
                <p:cNvPr id="160" name="Freeform 17">
                  <a:extLst>
                    <a:ext uri="{FF2B5EF4-FFF2-40B4-BE49-F238E27FC236}">
                      <a16:creationId xmlns:a16="http://schemas.microsoft.com/office/drawing/2014/main" id="{06BBDF47-324B-4479-8B47-7BD7FCCE4442}"/>
                    </a:ext>
                  </a:extLst>
                </p:cNvPr>
                <p:cNvSpPr>
                  <a:spLocks/>
                </p:cNvSpPr>
                <p:nvPr/>
              </p:nvSpPr>
              <p:spPr bwMode="auto">
                <a:xfrm>
                  <a:off x="3947" y="3724"/>
                  <a:ext cx="79" cy="79"/>
                </a:xfrm>
                <a:custGeom>
                  <a:avLst/>
                  <a:gdLst>
                    <a:gd name="T0" fmla="*/ 0 w 91"/>
                    <a:gd name="T1" fmla="*/ 91 h 91"/>
                    <a:gd name="T2" fmla="*/ 0 w 91"/>
                    <a:gd name="T3" fmla="*/ 91 h 91"/>
                    <a:gd name="T4" fmla="*/ 91 w 91"/>
                    <a:gd name="T5" fmla="*/ 91 h 91"/>
                    <a:gd name="T6" fmla="*/ 91 w 91"/>
                    <a:gd name="T7" fmla="*/ 0 h 91"/>
                    <a:gd name="T8" fmla="*/ 0 w 91"/>
                    <a:gd name="T9" fmla="*/ 0 h 91"/>
                    <a:gd name="T10" fmla="*/ 0 w 91"/>
                    <a:gd name="T11" fmla="*/ 91 h 91"/>
                  </a:gdLst>
                  <a:ahLst/>
                  <a:cxnLst>
                    <a:cxn ang="0">
                      <a:pos x="T0" y="T1"/>
                    </a:cxn>
                    <a:cxn ang="0">
                      <a:pos x="T2" y="T3"/>
                    </a:cxn>
                    <a:cxn ang="0">
                      <a:pos x="T4" y="T5"/>
                    </a:cxn>
                    <a:cxn ang="0">
                      <a:pos x="T6" y="T7"/>
                    </a:cxn>
                    <a:cxn ang="0">
                      <a:pos x="T8" y="T9"/>
                    </a:cxn>
                    <a:cxn ang="0">
                      <a:pos x="T10" y="T11"/>
                    </a:cxn>
                  </a:cxnLst>
                  <a:rect l="0" t="0" r="r" b="b"/>
                  <a:pathLst>
                    <a:path w="91" h="91">
                      <a:moveTo>
                        <a:pt x="0" y="91"/>
                      </a:moveTo>
                      <a:lnTo>
                        <a:pt x="0" y="91"/>
                      </a:lnTo>
                      <a:lnTo>
                        <a:pt x="91" y="91"/>
                      </a:lnTo>
                      <a:lnTo>
                        <a:pt x="91" y="0"/>
                      </a:lnTo>
                      <a:lnTo>
                        <a:pt x="0" y="0"/>
                      </a:lnTo>
                      <a:lnTo>
                        <a:pt x="0" y="91"/>
                      </a:lnTo>
                      <a:close/>
                    </a:path>
                  </a:pathLst>
                </a:custGeom>
                <a:solidFill>
                  <a:schemeClr val="bg2"/>
                </a:solidFill>
                <a:ln w="12700" cap="flat">
                  <a:solidFill>
                    <a:srgbClr val="0078D7"/>
                  </a:solidFill>
                  <a:prstDash val="solid"/>
                  <a:miter lim="800000"/>
                  <a:headEnd/>
                  <a:tailEnd/>
                </a:ln>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4F504F"/>
                    </a:solidFill>
                    <a:effectLst/>
                    <a:uLnTx/>
                    <a:uFillTx/>
                    <a:latin typeface="Segoe UI"/>
                    <a:ea typeface="+mn-ea"/>
                    <a:cs typeface="+mn-cs"/>
                  </a:endParaRPr>
                </a:p>
              </p:txBody>
            </p:sp>
            <p:sp>
              <p:nvSpPr>
                <p:cNvPr id="161" name="Freeform 18">
                  <a:extLst>
                    <a:ext uri="{FF2B5EF4-FFF2-40B4-BE49-F238E27FC236}">
                      <a16:creationId xmlns:a16="http://schemas.microsoft.com/office/drawing/2014/main" id="{58B757DD-110D-45A3-914F-6D7BCE5C8337}"/>
                    </a:ext>
                  </a:extLst>
                </p:cNvPr>
                <p:cNvSpPr>
                  <a:spLocks/>
                </p:cNvSpPr>
                <p:nvPr/>
              </p:nvSpPr>
              <p:spPr bwMode="auto">
                <a:xfrm>
                  <a:off x="3947" y="3280"/>
                  <a:ext cx="79" cy="79"/>
                </a:xfrm>
                <a:custGeom>
                  <a:avLst/>
                  <a:gdLst>
                    <a:gd name="T0" fmla="*/ 0 w 91"/>
                    <a:gd name="T1" fmla="*/ 91 h 91"/>
                    <a:gd name="T2" fmla="*/ 0 w 91"/>
                    <a:gd name="T3" fmla="*/ 91 h 91"/>
                    <a:gd name="T4" fmla="*/ 91 w 91"/>
                    <a:gd name="T5" fmla="*/ 91 h 91"/>
                    <a:gd name="T6" fmla="*/ 91 w 91"/>
                    <a:gd name="T7" fmla="*/ 0 h 91"/>
                    <a:gd name="T8" fmla="*/ 0 w 91"/>
                    <a:gd name="T9" fmla="*/ 0 h 91"/>
                    <a:gd name="T10" fmla="*/ 0 w 91"/>
                    <a:gd name="T11" fmla="*/ 91 h 91"/>
                  </a:gdLst>
                  <a:ahLst/>
                  <a:cxnLst>
                    <a:cxn ang="0">
                      <a:pos x="T0" y="T1"/>
                    </a:cxn>
                    <a:cxn ang="0">
                      <a:pos x="T2" y="T3"/>
                    </a:cxn>
                    <a:cxn ang="0">
                      <a:pos x="T4" y="T5"/>
                    </a:cxn>
                    <a:cxn ang="0">
                      <a:pos x="T6" y="T7"/>
                    </a:cxn>
                    <a:cxn ang="0">
                      <a:pos x="T8" y="T9"/>
                    </a:cxn>
                    <a:cxn ang="0">
                      <a:pos x="T10" y="T11"/>
                    </a:cxn>
                  </a:cxnLst>
                  <a:rect l="0" t="0" r="r" b="b"/>
                  <a:pathLst>
                    <a:path w="91" h="91">
                      <a:moveTo>
                        <a:pt x="0" y="91"/>
                      </a:moveTo>
                      <a:lnTo>
                        <a:pt x="0" y="91"/>
                      </a:lnTo>
                      <a:lnTo>
                        <a:pt x="91" y="91"/>
                      </a:lnTo>
                      <a:lnTo>
                        <a:pt x="91" y="0"/>
                      </a:lnTo>
                      <a:lnTo>
                        <a:pt x="0" y="0"/>
                      </a:lnTo>
                      <a:lnTo>
                        <a:pt x="0" y="91"/>
                      </a:lnTo>
                      <a:close/>
                    </a:path>
                  </a:pathLst>
                </a:custGeom>
                <a:solidFill>
                  <a:schemeClr val="bg2"/>
                </a:solidFill>
                <a:ln w="12700" cap="flat">
                  <a:solidFill>
                    <a:srgbClr val="0078D7"/>
                  </a:solidFill>
                  <a:prstDash val="solid"/>
                  <a:miter lim="800000"/>
                  <a:headEnd/>
                  <a:tailEnd/>
                </a:ln>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4F504F"/>
                    </a:solidFill>
                    <a:effectLst/>
                    <a:uLnTx/>
                    <a:uFillTx/>
                    <a:latin typeface="Segoe UI"/>
                    <a:ea typeface="+mn-ea"/>
                    <a:cs typeface="+mn-cs"/>
                  </a:endParaRPr>
                </a:p>
              </p:txBody>
            </p:sp>
            <p:sp>
              <p:nvSpPr>
                <p:cNvPr id="162" name="Freeform 19">
                  <a:extLst>
                    <a:ext uri="{FF2B5EF4-FFF2-40B4-BE49-F238E27FC236}">
                      <a16:creationId xmlns:a16="http://schemas.microsoft.com/office/drawing/2014/main" id="{1CFBAC16-2DB5-412F-AEFB-16E3132E196E}"/>
                    </a:ext>
                  </a:extLst>
                </p:cNvPr>
                <p:cNvSpPr>
                  <a:spLocks/>
                </p:cNvSpPr>
                <p:nvPr/>
              </p:nvSpPr>
              <p:spPr bwMode="auto">
                <a:xfrm>
                  <a:off x="4388" y="3284"/>
                  <a:ext cx="79" cy="79"/>
                </a:xfrm>
                <a:custGeom>
                  <a:avLst/>
                  <a:gdLst>
                    <a:gd name="T0" fmla="*/ 0 w 91"/>
                    <a:gd name="T1" fmla="*/ 91 h 91"/>
                    <a:gd name="T2" fmla="*/ 0 w 91"/>
                    <a:gd name="T3" fmla="*/ 91 h 91"/>
                    <a:gd name="T4" fmla="*/ 91 w 91"/>
                    <a:gd name="T5" fmla="*/ 91 h 91"/>
                    <a:gd name="T6" fmla="*/ 91 w 91"/>
                    <a:gd name="T7" fmla="*/ 0 h 91"/>
                    <a:gd name="T8" fmla="*/ 0 w 91"/>
                    <a:gd name="T9" fmla="*/ 0 h 91"/>
                    <a:gd name="T10" fmla="*/ 0 w 91"/>
                    <a:gd name="T11" fmla="*/ 91 h 91"/>
                  </a:gdLst>
                  <a:ahLst/>
                  <a:cxnLst>
                    <a:cxn ang="0">
                      <a:pos x="T0" y="T1"/>
                    </a:cxn>
                    <a:cxn ang="0">
                      <a:pos x="T2" y="T3"/>
                    </a:cxn>
                    <a:cxn ang="0">
                      <a:pos x="T4" y="T5"/>
                    </a:cxn>
                    <a:cxn ang="0">
                      <a:pos x="T6" y="T7"/>
                    </a:cxn>
                    <a:cxn ang="0">
                      <a:pos x="T8" y="T9"/>
                    </a:cxn>
                    <a:cxn ang="0">
                      <a:pos x="T10" y="T11"/>
                    </a:cxn>
                  </a:cxnLst>
                  <a:rect l="0" t="0" r="r" b="b"/>
                  <a:pathLst>
                    <a:path w="91" h="91">
                      <a:moveTo>
                        <a:pt x="0" y="91"/>
                      </a:moveTo>
                      <a:lnTo>
                        <a:pt x="0" y="91"/>
                      </a:lnTo>
                      <a:lnTo>
                        <a:pt x="91" y="91"/>
                      </a:lnTo>
                      <a:lnTo>
                        <a:pt x="91" y="0"/>
                      </a:lnTo>
                      <a:lnTo>
                        <a:pt x="0" y="0"/>
                      </a:lnTo>
                      <a:lnTo>
                        <a:pt x="0" y="91"/>
                      </a:lnTo>
                      <a:close/>
                    </a:path>
                  </a:pathLst>
                </a:custGeom>
                <a:solidFill>
                  <a:schemeClr val="bg2"/>
                </a:solidFill>
                <a:ln w="12700" cap="flat">
                  <a:solidFill>
                    <a:srgbClr val="0078D7"/>
                  </a:solidFill>
                  <a:prstDash val="solid"/>
                  <a:miter lim="800000"/>
                  <a:headEnd/>
                  <a:tailEnd/>
                </a:ln>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4F504F"/>
                    </a:solidFill>
                    <a:effectLst/>
                    <a:uLnTx/>
                    <a:uFillTx/>
                    <a:latin typeface="Segoe UI"/>
                    <a:ea typeface="+mn-ea"/>
                    <a:cs typeface="+mn-cs"/>
                  </a:endParaRPr>
                </a:p>
              </p:txBody>
            </p:sp>
            <p:sp>
              <p:nvSpPr>
                <p:cNvPr id="163" name="Freeform 20">
                  <a:extLst>
                    <a:ext uri="{FF2B5EF4-FFF2-40B4-BE49-F238E27FC236}">
                      <a16:creationId xmlns:a16="http://schemas.microsoft.com/office/drawing/2014/main" id="{81450B80-D2CC-4DC3-A9CD-4BFDE9D28CCF}"/>
                    </a:ext>
                  </a:extLst>
                </p:cNvPr>
                <p:cNvSpPr>
                  <a:spLocks/>
                </p:cNvSpPr>
                <p:nvPr/>
              </p:nvSpPr>
              <p:spPr bwMode="auto">
                <a:xfrm>
                  <a:off x="4384" y="3724"/>
                  <a:ext cx="79" cy="78"/>
                </a:xfrm>
                <a:custGeom>
                  <a:avLst/>
                  <a:gdLst>
                    <a:gd name="T0" fmla="*/ 0 w 91"/>
                    <a:gd name="T1" fmla="*/ 90 h 90"/>
                    <a:gd name="T2" fmla="*/ 0 w 91"/>
                    <a:gd name="T3" fmla="*/ 90 h 90"/>
                    <a:gd name="T4" fmla="*/ 91 w 91"/>
                    <a:gd name="T5" fmla="*/ 90 h 90"/>
                    <a:gd name="T6" fmla="*/ 91 w 91"/>
                    <a:gd name="T7" fmla="*/ 0 h 90"/>
                    <a:gd name="T8" fmla="*/ 0 w 91"/>
                    <a:gd name="T9" fmla="*/ 0 h 90"/>
                    <a:gd name="T10" fmla="*/ 0 w 91"/>
                    <a:gd name="T11" fmla="*/ 90 h 90"/>
                  </a:gdLst>
                  <a:ahLst/>
                  <a:cxnLst>
                    <a:cxn ang="0">
                      <a:pos x="T0" y="T1"/>
                    </a:cxn>
                    <a:cxn ang="0">
                      <a:pos x="T2" y="T3"/>
                    </a:cxn>
                    <a:cxn ang="0">
                      <a:pos x="T4" y="T5"/>
                    </a:cxn>
                    <a:cxn ang="0">
                      <a:pos x="T6" y="T7"/>
                    </a:cxn>
                    <a:cxn ang="0">
                      <a:pos x="T8" y="T9"/>
                    </a:cxn>
                    <a:cxn ang="0">
                      <a:pos x="T10" y="T11"/>
                    </a:cxn>
                  </a:cxnLst>
                  <a:rect l="0" t="0" r="r" b="b"/>
                  <a:pathLst>
                    <a:path w="91" h="90">
                      <a:moveTo>
                        <a:pt x="0" y="90"/>
                      </a:moveTo>
                      <a:lnTo>
                        <a:pt x="0" y="90"/>
                      </a:lnTo>
                      <a:lnTo>
                        <a:pt x="91" y="90"/>
                      </a:lnTo>
                      <a:lnTo>
                        <a:pt x="91" y="0"/>
                      </a:lnTo>
                      <a:lnTo>
                        <a:pt x="0" y="0"/>
                      </a:lnTo>
                      <a:lnTo>
                        <a:pt x="0" y="90"/>
                      </a:lnTo>
                      <a:close/>
                    </a:path>
                  </a:pathLst>
                </a:custGeom>
                <a:solidFill>
                  <a:schemeClr val="bg2"/>
                </a:solidFill>
                <a:ln w="12700" cap="flat">
                  <a:solidFill>
                    <a:srgbClr val="0078D7"/>
                  </a:solidFill>
                  <a:prstDash val="solid"/>
                  <a:miter lim="800000"/>
                  <a:headEnd/>
                  <a:tailEnd/>
                </a:ln>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4F504F"/>
                    </a:solidFill>
                    <a:effectLst/>
                    <a:uLnTx/>
                    <a:uFillTx/>
                    <a:latin typeface="Segoe UI"/>
                    <a:ea typeface="+mn-ea"/>
                    <a:cs typeface="+mn-cs"/>
                  </a:endParaRPr>
                </a:p>
              </p:txBody>
            </p:sp>
            <p:sp>
              <p:nvSpPr>
                <p:cNvPr id="164" name="Freeform 21">
                  <a:extLst>
                    <a:ext uri="{FF2B5EF4-FFF2-40B4-BE49-F238E27FC236}">
                      <a16:creationId xmlns:a16="http://schemas.microsoft.com/office/drawing/2014/main" id="{9C6E6871-6E94-45F6-A18D-01F99A1A77C0}"/>
                    </a:ext>
                  </a:extLst>
                </p:cNvPr>
                <p:cNvSpPr>
                  <a:spLocks/>
                </p:cNvSpPr>
                <p:nvPr/>
              </p:nvSpPr>
              <p:spPr bwMode="auto">
                <a:xfrm>
                  <a:off x="3781" y="3119"/>
                  <a:ext cx="851" cy="850"/>
                </a:xfrm>
                <a:custGeom>
                  <a:avLst/>
                  <a:gdLst>
                    <a:gd name="T0" fmla="*/ 0 w 980"/>
                    <a:gd name="T1" fmla="*/ 980 h 980"/>
                    <a:gd name="T2" fmla="*/ 0 w 980"/>
                    <a:gd name="T3" fmla="*/ 980 h 980"/>
                    <a:gd name="T4" fmla="*/ 980 w 980"/>
                    <a:gd name="T5" fmla="*/ 980 h 980"/>
                    <a:gd name="T6" fmla="*/ 980 w 980"/>
                    <a:gd name="T7" fmla="*/ 0 h 980"/>
                    <a:gd name="T8" fmla="*/ 0 w 980"/>
                    <a:gd name="T9" fmla="*/ 0 h 980"/>
                    <a:gd name="T10" fmla="*/ 0 w 980"/>
                    <a:gd name="T11" fmla="*/ 980 h 980"/>
                  </a:gdLst>
                  <a:ahLst/>
                  <a:cxnLst>
                    <a:cxn ang="0">
                      <a:pos x="T0" y="T1"/>
                    </a:cxn>
                    <a:cxn ang="0">
                      <a:pos x="T2" y="T3"/>
                    </a:cxn>
                    <a:cxn ang="0">
                      <a:pos x="T4" y="T5"/>
                    </a:cxn>
                    <a:cxn ang="0">
                      <a:pos x="T6" y="T7"/>
                    </a:cxn>
                    <a:cxn ang="0">
                      <a:pos x="T8" y="T9"/>
                    </a:cxn>
                    <a:cxn ang="0">
                      <a:pos x="T10" y="T11"/>
                    </a:cxn>
                  </a:cxnLst>
                  <a:rect l="0" t="0" r="r" b="b"/>
                  <a:pathLst>
                    <a:path w="980" h="980">
                      <a:moveTo>
                        <a:pt x="0" y="980"/>
                      </a:moveTo>
                      <a:lnTo>
                        <a:pt x="0" y="980"/>
                      </a:lnTo>
                      <a:lnTo>
                        <a:pt x="980" y="980"/>
                      </a:lnTo>
                      <a:lnTo>
                        <a:pt x="980" y="0"/>
                      </a:lnTo>
                      <a:lnTo>
                        <a:pt x="0" y="0"/>
                      </a:lnTo>
                      <a:lnTo>
                        <a:pt x="0" y="980"/>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4F504F"/>
                    </a:solidFill>
                    <a:effectLst/>
                    <a:uLnTx/>
                    <a:uFillTx/>
                    <a:latin typeface="Segoe UI"/>
                    <a:ea typeface="+mn-ea"/>
                    <a:cs typeface="+mn-cs"/>
                  </a:endParaRPr>
                </a:p>
              </p:txBody>
            </p:sp>
          </p:grpSp>
        </p:grpSp>
      </p:grpSp>
      <p:grpSp>
        <p:nvGrpSpPr>
          <p:cNvPr id="176" name="Group 175">
            <a:extLst>
              <a:ext uri="{FF2B5EF4-FFF2-40B4-BE49-F238E27FC236}">
                <a16:creationId xmlns:a16="http://schemas.microsoft.com/office/drawing/2014/main" id="{36FB51C5-0B38-4417-8CD4-0816AEE21941}"/>
              </a:ext>
            </a:extLst>
          </p:cNvPr>
          <p:cNvGrpSpPr/>
          <p:nvPr/>
        </p:nvGrpSpPr>
        <p:grpSpPr>
          <a:xfrm>
            <a:off x="3324650" y="1120980"/>
            <a:ext cx="4738327" cy="2388272"/>
            <a:chOff x="991845" y="871886"/>
            <a:chExt cx="8952585" cy="4935123"/>
          </a:xfrm>
        </p:grpSpPr>
        <p:sp>
          <p:nvSpPr>
            <p:cNvPr id="177" name="Freeform: Shape 176">
              <a:extLst>
                <a:ext uri="{FF2B5EF4-FFF2-40B4-BE49-F238E27FC236}">
                  <a16:creationId xmlns:a16="http://schemas.microsoft.com/office/drawing/2014/main" id="{6B5AF799-50AD-4575-AACB-211F014F6A93}"/>
                </a:ext>
              </a:extLst>
            </p:cNvPr>
            <p:cNvSpPr/>
            <p:nvPr/>
          </p:nvSpPr>
          <p:spPr bwMode="auto">
            <a:xfrm flipV="1">
              <a:off x="991845" y="871886"/>
              <a:ext cx="8952585" cy="4935123"/>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ctr" defTabSz="610977" rtl="0" eaLnBrk="1" fontAlgn="auto" latinLnBrk="0" hangingPunct="1">
                <a:lnSpc>
                  <a:spcPct val="100000"/>
                </a:lnSpc>
                <a:spcBef>
                  <a:spcPts val="0"/>
                </a:spcBef>
                <a:spcAft>
                  <a:spcPts val="0"/>
                </a:spcAft>
                <a:buClrTx/>
                <a:buSzTx/>
                <a:buFontTx/>
                <a:buNone/>
                <a:tabLst/>
                <a:defRPr/>
              </a:pPr>
              <a:endParaRPr kumimoji="0" lang="en-US" sz="1203"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8" name="TextBox 177">
              <a:extLst>
                <a:ext uri="{FF2B5EF4-FFF2-40B4-BE49-F238E27FC236}">
                  <a16:creationId xmlns:a16="http://schemas.microsoft.com/office/drawing/2014/main" id="{1B99E047-DD8F-4F9A-9A2B-F61875C588C8}"/>
                </a:ext>
              </a:extLst>
            </p:cNvPr>
            <p:cNvSpPr txBox="1"/>
            <p:nvPr/>
          </p:nvSpPr>
          <p:spPr>
            <a:xfrm>
              <a:off x="2374276" y="3509547"/>
              <a:ext cx="5995299" cy="2069745"/>
            </a:xfrm>
            <a:prstGeom prst="rect">
              <a:avLst/>
            </a:prstGeom>
            <a:noFill/>
          </p:spPr>
          <p:txBody>
            <a:bodyPr wrap="none" lIns="124658" tIns="99726" rIns="124658" bIns="99726" rtlCol="0">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49"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Azure IoT</a:t>
              </a:r>
            </a:p>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49"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solutions and services</a:t>
              </a:r>
            </a:p>
          </p:txBody>
        </p:sp>
        <p:cxnSp>
          <p:nvCxnSpPr>
            <p:cNvPr id="179" name="Straight Connector 178">
              <a:extLst>
                <a:ext uri="{FF2B5EF4-FFF2-40B4-BE49-F238E27FC236}">
                  <a16:creationId xmlns:a16="http://schemas.microsoft.com/office/drawing/2014/main" id="{7263A2E3-C257-4CF7-87F6-6467A9604069}"/>
                </a:ext>
              </a:extLst>
            </p:cNvPr>
            <p:cNvCxnSpPr>
              <a:cxnSpLocks/>
            </p:cNvCxnSpPr>
            <p:nvPr/>
          </p:nvCxnSpPr>
          <p:spPr>
            <a:xfrm>
              <a:off x="2748172" y="4646958"/>
              <a:ext cx="5964080" cy="0"/>
            </a:xfrm>
            <a:prstGeom prst="line">
              <a:avLst/>
            </a:prstGeom>
            <a:ln w="19050">
              <a:solidFill>
                <a:schemeClr val="bg2">
                  <a:alpha val="47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58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125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nodeType="clickEffect">
                                  <p:stCondLst>
                                    <p:cond delay="0"/>
                                  </p:stCondLst>
                                  <p:childTnLst>
                                    <p:animMotion origin="layout" path="M 0 0 L 0 0.25 E" pathEditMode="relative" ptsTypes="">
                                      <p:cBhvr>
                                        <p:cTn id="11" dur="1250" fill="hold"/>
                                        <p:tgtEl>
                                          <p:spTgt spid="2"/>
                                        </p:tgtEl>
                                        <p:attrNameLst>
                                          <p:attrName>ppt_x</p:attrName>
                                          <p:attrName>ppt_y</p:attrName>
                                        </p:attrNameLst>
                                      </p:cBhvr>
                                    </p:animMotion>
                                  </p:childTnLst>
                                </p:cTn>
                              </p:par>
                              <p:par>
                                <p:cTn id="12" presetID="6" presetClass="emph" presetSubtype="0" fill="hold" grpId="0" nodeType="withEffect">
                                  <p:stCondLst>
                                    <p:cond delay="0"/>
                                  </p:stCondLst>
                                  <p:childTnLst>
                                    <p:animScale>
                                      <p:cBhvr>
                                        <p:cTn id="13" dur="1000" fill="hold"/>
                                        <p:tgtEl>
                                          <p:spTgt spid="63"/>
                                        </p:tgtEl>
                                      </p:cBhvr>
                                      <p:by x="75000" y="75000"/>
                                    </p:animScale>
                                  </p:childTnLst>
                                </p:cTn>
                              </p:par>
                              <p:par>
                                <p:cTn id="14" presetID="6" presetClass="emph" presetSubtype="0" fill="hold" grpId="0" nodeType="withEffect">
                                  <p:stCondLst>
                                    <p:cond delay="0"/>
                                  </p:stCondLst>
                                  <p:childTnLst>
                                    <p:animScale>
                                      <p:cBhvr>
                                        <p:cTn id="15" dur="1000" fill="hold"/>
                                        <p:tgtEl>
                                          <p:spTgt spid="56"/>
                                        </p:tgtEl>
                                      </p:cBhvr>
                                      <p:by x="75000" y="75000"/>
                                    </p:animScale>
                                  </p:childTnLst>
                                </p:cTn>
                              </p:par>
                              <p:par>
                                <p:cTn id="16" presetID="6" presetClass="emph" presetSubtype="0" fill="hold" grpId="0" nodeType="withEffect">
                                  <p:stCondLst>
                                    <p:cond delay="0"/>
                                  </p:stCondLst>
                                  <p:childTnLst>
                                    <p:animScale>
                                      <p:cBhvr>
                                        <p:cTn id="17" dur="1000" fill="hold"/>
                                        <p:tgtEl>
                                          <p:spTgt spid="55"/>
                                        </p:tgtEl>
                                      </p:cBhvr>
                                      <p:by x="75000" y="75000"/>
                                    </p:animScale>
                                  </p:childTnLst>
                                </p:cTn>
                              </p:par>
                              <p:par>
                                <p:cTn id="18" presetID="6" presetClass="emph" presetSubtype="0" fill="hold" nodeType="withEffect">
                                  <p:stCondLst>
                                    <p:cond delay="0"/>
                                  </p:stCondLst>
                                  <p:childTnLst>
                                    <p:animScale>
                                      <p:cBhvr>
                                        <p:cTn id="19" dur="1000" fill="hold"/>
                                        <p:tgtEl>
                                          <p:spTgt spid="47"/>
                                        </p:tgtEl>
                                      </p:cBhvr>
                                      <p:by x="75000" y="75000"/>
                                    </p:animScale>
                                  </p:childTnLst>
                                </p:cTn>
                              </p:par>
                              <p:par>
                                <p:cTn id="20" presetID="6" presetClass="emph" presetSubtype="0" fill="hold" nodeType="withEffect">
                                  <p:stCondLst>
                                    <p:cond delay="0"/>
                                  </p:stCondLst>
                                  <p:childTnLst>
                                    <p:animScale>
                                      <p:cBhvr>
                                        <p:cTn id="21" dur="1000" fill="hold"/>
                                        <p:tgtEl>
                                          <p:spTgt spid="64"/>
                                        </p:tgtEl>
                                      </p:cBhvr>
                                      <p:by x="75000" y="75000"/>
                                    </p:animScale>
                                  </p:childTnLst>
                                </p:cTn>
                              </p:par>
                              <p:par>
                                <p:cTn id="22" presetID="6" presetClass="emph" presetSubtype="0" fill="hold" nodeType="withEffect">
                                  <p:stCondLst>
                                    <p:cond delay="0"/>
                                  </p:stCondLst>
                                  <p:childTnLst>
                                    <p:animScale>
                                      <p:cBhvr>
                                        <p:cTn id="23" dur="1000" fill="hold"/>
                                        <p:tgtEl>
                                          <p:spTgt spid="57"/>
                                        </p:tgtEl>
                                      </p:cBhvr>
                                      <p:by x="75000" y="75000"/>
                                    </p:animScale>
                                  </p:childTnLst>
                                </p:cTn>
                              </p:par>
                              <p:par>
                                <p:cTn id="24" presetID="6" presetClass="emph" presetSubtype="0" fill="hold" grpId="0" nodeType="withEffect">
                                  <p:stCondLst>
                                    <p:cond delay="0"/>
                                  </p:stCondLst>
                                  <p:childTnLst>
                                    <p:animScale>
                                      <p:cBhvr>
                                        <p:cTn id="25" dur="1000" fill="hold"/>
                                        <p:tgtEl>
                                          <p:spTgt spid="86"/>
                                        </p:tgtEl>
                                      </p:cBhvr>
                                      <p:by x="75000" y="75000"/>
                                    </p:animScale>
                                  </p:childTnLst>
                                </p:cTn>
                              </p:par>
                              <p:par>
                                <p:cTn id="26" presetID="6" presetClass="emph" presetSubtype="0" fill="hold" nodeType="withEffect">
                                  <p:stCondLst>
                                    <p:cond delay="0"/>
                                  </p:stCondLst>
                                  <p:childTnLst>
                                    <p:animScale>
                                      <p:cBhvr>
                                        <p:cTn id="27" dur="1000" fill="hold"/>
                                        <p:tgtEl>
                                          <p:spTgt spid="73"/>
                                        </p:tgtEl>
                                      </p:cBhvr>
                                      <p:by x="75000" y="75000"/>
                                    </p:animScale>
                                  </p:childTnLst>
                                </p:cTn>
                              </p:par>
                              <p:par>
                                <p:cTn id="28" presetID="6" presetClass="emph" presetSubtype="0" fill="hold" nodeType="withEffect">
                                  <p:stCondLst>
                                    <p:cond delay="0"/>
                                  </p:stCondLst>
                                  <p:childTnLst>
                                    <p:animScale>
                                      <p:cBhvr>
                                        <p:cTn id="29" dur="1000" fill="hold"/>
                                        <p:tgtEl>
                                          <p:spTgt spid="60"/>
                                        </p:tgtEl>
                                      </p:cBhvr>
                                      <p:by x="75000" y="75000"/>
                                    </p:animScale>
                                  </p:childTnLst>
                                </p:cTn>
                              </p:par>
                              <p:par>
                                <p:cTn id="30" presetID="6" presetClass="emph" presetSubtype="0" fill="hold" nodeType="withEffect">
                                  <p:stCondLst>
                                    <p:cond delay="0"/>
                                  </p:stCondLst>
                                  <p:childTnLst>
                                    <p:animScale>
                                      <p:cBhvr>
                                        <p:cTn id="31" dur="1000" fill="hold"/>
                                        <p:tgtEl>
                                          <p:spTgt spid="68"/>
                                        </p:tgtEl>
                                      </p:cBhvr>
                                      <p:by x="75000" y="75000"/>
                                    </p:animScale>
                                  </p:childTnLst>
                                </p:cTn>
                              </p:par>
                              <p:par>
                                <p:cTn id="32" presetID="42" presetClass="path" presetSubtype="0" accel="50000" decel="50000" fill="hold" grpId="1" nodeType="withEffect">
                                  <p:stCondLst>
                                    <p:cond delay="0"/>
                                  </p:stCondLst>
                                  <p:childTnLst>
                                    <p:animMotion origin="layout" path="M 4.16667E-7 -1.85185E-6 L -0.078 0.24121 " pathEditMode="relative" rAng="0" ptsTypes="AA">
                                      <p:cBhvr>
                                        <p:cTn id="33" dur="1000" fill="hold"/>
                                        <p:tgtEl>
                                          <p:spTgt spid="63"/>
                                        </p:tgtEl>
                                        <p:attrNameLst>
                                          <p:attrName>ppt_x</p:attrName>
                                          <p:attrName>ppt_y</p:attrName>
                                        </p:attrNameLst>
                                      </p:cBhvr>
                                      <p:rCtr x="-3906" y="12060"/>
                                    </p:animMotion>
                                  </p:childTnLst>
                                </p:cTn>
                              </p:par>
                              <p:par>
                                <p:cTn id="34" presetID="42" presetClass="path" presetSubtype="0" accel="50000" decel="50000" fill="hold" grpId="1" nodeType="withEffect">
                                  <p:stCondLst>
                                    <p:cond delay="0"/>
                                  </p:stCondLst>
                                  <p:childTnLst>
                                    <p:animMotion origin="layout" path="M -1.25E-6 -1.85185E-6 L -0.1 0.23634 " pathEditMode="relative" rAng="0" ptsTypes="AA">
                                      <p:cBhvr>
                                        <p:cTn id="35" dur="1000" fill="hold"/>
                                        <p:tgtEl>
                                          <p:spTgt spid="56"/>
                                        </p:tgtEl>
                                        <p:attrNameLst>
                                          <p:attrName>ppt_x</p:attrName>
                                          <p:attrName>ppt_y</p:attrName>
                                        </p:attrNameLst>
                                      </p:cBhvr>
                                      <p:rCtr x="-5000" y="11806"/>
                                    </p:animMotion>
                                  </p:childTnLst>
                                </p:cTn>
                              </p:par>
                              <p:par>
                                <p:cTn id="36" presetID="42" presetClass="path" presetSubtype="0" accel="50000" decel="50000" fill="hold" grpId="1" nodeType="withEffect">
                                  <p:stCondLst>
                                    <p:cond delay="0"/>
                                  </p:stCondLst>
                                  <p:childTnLst>
                                    <p:animMotion origin="layout" path="M 8.33333E-7 -1.85185E-6 L -0.1293 0.24121 " pathEditMode="relative" rAng="0" ptsTypes="AA">
                                      <p:cBhvr>
                                        <p:cTn id="37" dur="1000" fill="hold"/>
                                        <p:tgtEl>
                                          <p:spTgt spid="55"/>
                                        </p:tgtEl>
                                        <p:attrNameLst>
                                          <p:attrName>ppt_x</p:attrName>
                                          <p:attrName>ppt_y</p:attrName>
                                        </p:attrNameLst>
                                      </p:cBhvr>
                                      <p:rCtr x="-6471" y="12060"/>
                                    </p:animMotion>
                                  </p:childTnLst>
                                </p:cTn>
                              </p:par>
                              <p:par>
                                <p:cTn id="38" presetID="42" presetClass="path" presetSubtype="0" accel="50000" decel="50000" fill="hold" nodeType="withEffect">
                                  <p:stCondLst>
                                    <p:cond delay="0"/>
                                  </p:stCondLst>
                                  <p:childTnLst>
                                    <p:animMotion origin="layout" path="M -4.375E-6 -1.85185E-6 L -0.15195 0.25533 " pathEditMode="relative" rAng="0" ptsTypes="AA">
                                      <p:cBhvr>
                                        <p:cTn id="39" dur="1000" fill="hold"/>
                                        <p:tgtEl>
                                          <p:spTgt spid="47"/>
                                        </p:tgtEl>
                                        <p:attrNameLst>
                                          <p:attrName>ppt_x</p:attrName>
                                          <p:attrName>ppt_y</p:attrName>
                                        </p:attrNameLst>
                                      </p:cBhvr>
                                      <p:rCtr x="-7604" y="12755"/>
                                    </p:animMotion>
                                  </p:childTnLst>
                                </p:cTn>
                              </p:par>
                              <p:par>
                                <p:cTn id="40" presetID="42" presetClass="path" presetSubtype="0" accel="50000" decel="50000" fill="hold" nodeType="withEffect">
                                  <p:stCondLst>
                                    <p:cond delay="0"/>
                                  </p:stCondLst>
                                  <p:childTnLst>
                                    <p:animMotion origin="layout" path="M -6.25E-7 0 L -0.17422 0.23935 " pathEditMode="relative" rAng="0" ptsTypes="AA">
                                      <p:cBhvr>
                                        <p:cTn id="41" dur="1000" fill="hold"/>
                                        <p:tgtEl>
                                          <p:spTgt spid="64"/>
                                        </p:tgtEl>
                                        <p:attrNameLst>
                                          <p:attrName>ppt_x</p:attrName>
                                          <p:attrName>ppt_y</p:attrName>
                                        </p:attrNameLst>
                                      </p:cBhvr>
                                      <p:rCtr x="-8711" y="11968"/>
                                    </p:animMotion>
                                  </p:childTnLst>
                                </p:cTn>
                              </p:par>
                              <p:par>
                                <p:cTn id="42" presetID="42" presetClass="path" presetSubtype="0" accel="50000" decel="50000" fill="hold" nodeType="withEffect">
                                  <p:stCondLst>
                                    <p:cond delay="0"/>
                                  </p:stCondLst>
                                  <p:childTnLst>
                                    <p:animMotion origin="layout" path="M -4.16667E-6 -1.85185E-6 L -0.04609 0.24421 " pathEditMode="relative" rAng="0" ptsTypes="AA">
                                      <p:cBhvr>
                                        <p:cTn id="43" dur="1000" fill="hold"/>
                                        <p:tgtEl>
                                          <p:spTgt spid="57"/>
                                        </p:tgtEl>
                                        <p:attrNameLst>
                                          <p:attrName>ppt_x</p:attrName>
                                          <p:attrName>ppt_y</p:attrName>
                                        </p:attrNameLst>
                                      </p:cBhvr>
                                      <p:rCtr x="-2305" y="12199"/>
                                    </p:animMotion>
                                  </p:childTnLst>
                                </p:cTn>
                              </p:par>
                              <p:par>
                                <p:cTn id="44" presetID="42" presetClass="path" presetSubtype="0" accel="50000" decel="50000" fill="hold" grpId="1" nodeType="withEffect">
                                  <p:stCondLst>
                                    <p:cond delay="0"/>
                                  </p:stCondLst>
                                  <p:childTnLst>
                                    <p:animMotion origin="layout" path="M -3.75E-6 1.11022E-16 L -0.0694 0.23866 " pathEditMode="relative" rAng="0" ptsTypes="AA">
                                      <p:cBhvr>
                                        <p:cTn id="45" dur="1000" fill="hold"/>
                                        <p:tgtEl>
                                          <p:spTgt spid="86"/>
                                        </p:tgtEl>
                                        <p:attrNameLst>
                                          <p:attrName>ppt_x</p:attrName>
                                          <p:attrName>ppt_y</p:attrName>
                                        </p:attrNameLst>
                                      </p:cBhvr>
                                      <p:rCtr x="-3477" y="11921"/>
                                    </p:animMotion>
                                  </p:childTnLst>
                                </p:cTn>
                              </p:par>
                              <p:par>
                                <p:cTn id="46" presetID="42" presetClass="path" presetSubtype="0" accel="50000" decel="50000" fill="hold" nodeType="withEffect">
                                  <p:stCondLst>
                                    <p:cond delay="0"/>
                                  </p:stCondLst>
                                  <p:childTnLst>
                                    <p:animMotion origin="layout" path="M -2.29167E-6 3.7037E-7 L -0.09453 0.24676 " pathEditMode="relative" rAng="0" ptsTypes="AA">
                                      <p:cBhvr>
                                        <p:cTn id="47" dur="1000" fill="hold"/>
                                        <p:tgtEl>
                                          <p:spTgt spid="73"/>
                                        </p:tgtEl>
                                        <p:attrNameLst>
                                          <p:attrName>ppt_x</p:attrName>
                                          <p:attrName>ppt_y</p:attrName>
                                        </p:attrNameLst>
                                      </p:cBhvr>
                                      <p:rCtr x="-4727" y="12338"/>
                                    </p:animMotion>
                                  </p:childTnLst>
                                </p:cTn>
                              </p:par>
                              <p:par>
                                <p:cTn id="48" presetID="42" presetClass="path" presetSubtype="0" accel="50000" decel="50000" fill="hold" nodeType="withEffect">
                                  <p:stCondLst>
                                    <p:cond delay="0"/>
                                  </p:stCondLst>
                                  <p:childTnLst>
                                    <p:animMotion origin="layout" path="M 3.75E-6 3.7037E-6 L -0.12162 0.24375 " pathEditMode="relative" rAng="0" ptsTypes="AA">
                                      <p:cBhvr>
                                        <p:cTn id="49" dur="1000" fill="hold"/>
                                        <p:tgtEl>
                                          <p:spTgt spid="60"/>
                                        </p:tgtEl>
                                        <p:attrNameLst>
                                          <p:attrName>ppt_x</p:attrName>
                                          <p:attrName>ppt_y</p:attrName>
                                        </p:attrNameLst>
                                      </p:cBhvr>
                                      <p:rCtr x="-6081" y="12176"/>
                                    </p:animMotion>
                                  </p:childTnLst>
                                </p:cTn>
                              </p:par>
                              <p:par>
                                <p:cTn id="50" presetID="42" presetClass="path" presetSubtype="0" accel="50000" decel="50000" fill="hold" nodeType="withEffect">
                                  <p:stCondLst>
                                    <p:cond delay="0"/>
                                  </p:stCondLst>
                                  <p:childTnLst>
                                    <p:animMotion origin="layout" path="M -4.79167E-6 -1.85185E-6 L -0.14557 0.24121 " pathEditMode="relative" rAng="0" ptsTypes="AA">
                                      <p:cBhvr>
                                        <p:cTn id="51" dur="1000" fill="hold"/>
                                        <p:tgtEl>
                                          <p:spTgt spid="68"/>
                                        </p:tgtEl>
                                        <p:attrNameLst>
                                          <p:attrName>ppt_x</p:attrName>
                                          <p:attrName>ppt_y</p:attrName>
                                        </p:attrNameLst>
                                      </p:cBhvr>
                                      <p:rCtr x="-7279" y="12060"/>
                                    </p:animMotion>
                                  </p:childTnLst>
                                </p:cTn>
                              </p:par>
                              <p:par>
                                <p:cTn id="52" presetID="42" presetClass="entr" presetSubtype="0" fill="hold" nodeType="withEffect">
                                  <p:stCondLst>
                                    <p:cond delay="0"/>
                                  </p:stCondLst>
                                  <p:childTnLst>
                                    <p:set>
                                      <p:cBhvr>
                                        <p:cTn id="53" dur="1" fill="hold">
                                          <p:stCondLst>
                                            <p:cond delay="0"/>
                                          </p:stCondLst>
                                        </p:cTn>
                                        <p:tgtEl>
                                          <p:spTgt spid="149"/>
                                        </p:tgtEl>
                                        <p:attrNameLst>
                                          <p:attrName>style.visibility</p:attrName>
                                        </p:attrNameLst>
                                      </p:cBhvr>
                                      <p:to>
                                        <p:strVal val="visible"/>
                                      </p:to>
                                    </p:set>
                                    <p:animEffect transition="in" filter="fade">
                                      <p:cBhvr>
                                        <p:cTn id="54" dur="1000"/>
                                        <p:tgtEl>
                                          <p:spTgt spid="149"/>
                                        </p:tgtEl>
                                      </p:cBhvr>
                                    </p:animEffect>
                                    <p:anim calcmode="lin" valueType="num">
                                      <p:cBhvr>
                                        <p:cTn id="55" dur="1000" fill="hold"/>
                                        <p:tgtEl>
                                          <p:spTgt spid="149"/>
                                        </p:tgtEl>
                                        <p:attrNameLst>
                                          <p:attrName>ppt_x</p:attrName>
                                        </p:attrNameLst>
                                      </p:cBhvr>
                                      <p:tavLst>
                                        <p:tav tm="0">
                                          <p:val>
                                            <p:strVal val="#ppt_x"/>
                                          </p:val>
                                        </p:tav>
                                        <p:tav tm="100000">
                                          <p:val>
                                            <p:strVal val="#ppt_x"/>
                                          </p:val>
                                        </p:tav>
                                      </p:tavLst>
                                    </p:anim>
                                    <p:anim calcmode="lin" valueType="num">
                                      <p:cBhvr>
                                        <p:cTn id="56" dur="1000" fill="hold"/>
                                        <p:tgtEl>
                                          <p:spTgt spid="149"/>
                                        </p:tgtEl>
                                        <p:attrNameLst>
                                          <p:attrName>ppt_y</p:attrName>
                                        </p:attrNameLst>
                                      </p:cBhvr>
                                      <p:tavLst>
                                        <p:tav tm="0">
                                          <p:val>
                                            <p:strVal val="#ppt_y+.1"/>
                                          </p:val>
                                        </p:tav>
                                        <p:tav tm="100000">
                                          <p:val>
                                            <p:strVal val="#ppt_y"/>
                                          </p:val>
                                        </p:tav>
                                      </p:tavLst>
                                    </p:anim>
                                  </p:childTnLst>
                                </p:cTn>
                              </p:par>
                              <p:par>
                                <p:cTn id="57" presetID="2" presetClass="entr" presetSubtype="2" fill="hold" grpId="0" nodeType="withEffect">
                                  <p:stCondLst>
                                    <p:cond delay="0"/>
                                  </p:stCondLst>
                                  <p:childTnLst>
                                    <p:set>
                                      <p:cBhvr>
                                        <p:cTn id="58" dur="1" fill="hold">
                                          <p:stCondLst>
                                            <p:cond delay="0"/>
                                          </p:stCondLst>
                                        </p:cTn>
                                        <p:tgtEl>
                                          <p:spTgt spid="148"/>
                                        </p:tgtEl>
                                        <p:attrNameLst>
                                          <p:attrName>style.visibility</p:attrName>
                                        </p:attrNameLst>
                                      </p:cBhvr>
                                      <p:to>
                                        <p:strVal val="visible"/>
                                      </p:to>
                                    </p:set>
                                    <p:anim calcmode="lin" valueType="num">
                                      <p:cBhvr additive="base">
                                        <p:cTn id="59" dur="500" fill="hold"/>
                                        <p:tgtEl>
                                          <p:spTgt spid="148"/>
                                        </p:tgtEl>
                                        <p:attrNameLst>
                                          <p:attrName>ppt_x</p:attrName>
                                        </p:attrNameLst>
                                      </p:cBhvr>
                                      <p:tavLst>
                                        <p:tav tm="0">
                                          <p:val>
                                            <p:strVal val="1+#ppt_w/2"/>
                                          </p:val>
                                        </p:tav>
                                        <p:tav tm="100000">
                                          <p:val>
                                            <p:strVal val="#ppt_x"/>
                                          </p:val>
                                        </p:tav>
                                      </p:tavLst>
                                    </p:anim>
                                    <p:anim calcmode="lin" valueType="num">
                                      <p:cBhvr additive="base">
                                        <p:cTn id="60" dur="500" fill="hold"/>
                                        <p:tgtEl>
                                          <p:spTgt spid="148"/>
                                        </p:tgtEl>
                                        <p:attrNameLst>
                                          <p:attrName>ppt_y</p:attrName>
                                        </p:attrNameLst>
                                      </p:cBhvr>
                                      <p:tavLst>
                                        <p:tav tm="0">
                                          <p:val>
                                            <p:strVal val="#ppt_y"/>
                                          </p:val>
                                        </p:tav>
                                        <p:tav tm="100000">
                                          <p:val>
                                            <p:strVal val="#ppt_y"/>
                                          </p:val>
                                        </p:tav>
                                      </p:tavLst>
                                    </p:anim>
                                  </p:childTnLst>
                                </p:cTn>
                              </p:par>
                            </p:childTnLst>
                          </p:cTn>
                        </p:par>
                        <p:par>
                          <p:cTn id="61" fill="hold">
                            <p:stCondLst>
                              <p:cond delay="1250"/>
                            </p:stCondLst>
                            <p:childTnLst>
                              <p:par>
                                <p:cTn id="62" presetID="16" presetClass="entr" presetSubtype="37" fill="hold" grpId="0" nodeType="afterEffect">
                                  <p:stCondLst>
                                    <p:cond delay="0"/>
                                  </p:stCondLst>
                                  <p:childTnLst>
                                    <p:set>
                                      <p:cBhvr>
                                        <p:cTn id="63" dur="1" fill="hold">
                                          <p:stCondLst>
                                            <p:cond delay="0"/>
                                          </p:stCondLst>
                                        </p:cTn>
                                        <p:tgtEl>
                                          <p:spTgt spid="93"/>
                                        </p:tgtEl>
                                        <p:attrNameLst>
                                          <p:attrName>style.visibility</p:attrName>
                                        </p:attrNameLst>
                                      </p:cBhvr>
                                      <p:to>
                                        <p:strVal val="visible"/>
                                      </p:to>
                                    </p:set>
                                    <p:animEffect transition="in" filter="barn(outVertical)">
                                      <p:cBhvr>
                                        <p:cTn id="64" dur="500"/>
                                        <p:tgtEl>
                                          <p:spTgt spid="93"/>
                                        </p:tgtEl>
                                      </p:cBhvr>
                                    </p:animEffect>
                                  </p:childTnLst>
                                </p:cTn>
                              </p:par>
                              <p:par>
                                <p:cTn id="65" presetID="42" presetClass="entr" presetSubtype="0" fill="hold" nodeType="withEffect">
                                  <p:stCondLst>
                                    <p:cond delay="0"/>
                                  </p:stCondLst>
                                  <p:childTnLst>
                                    <p:set>
                                      <p:cBhvr>
                                        <p:cTn id="66" dur="1" fill="hold">
                                          <p:stCondLst>
                                            <p:cond delay="0"/>
                                          </p:stCondLst>
                                        </p:cTn>
                                        <p:tgtEl>
                                          <p:spTgt spid="176"/>
                                        </p:tgtEl>
                                        <p:attrNameLst>
                                          <p:attrName>style.visibility</p:attrName>
                                        </p:attrNameLst>
                                      </p:cBhvr>
                                      <p:to>
                                        <p:strVal val="visible"/>
                                      </p:to>
                                    </p:set>
                                    <p:animEffect transition="in" filter="fade">
                                      <p:cBhvr>
                                        <p:cTn id="67" dur="1000"/>
                                        <p:tgtEl>
                                          <p:spTgt spid="176"/>
                                        </p:tgtEl>
                                      </p:cBhvr>
                                    </p:animEffect>
                                    <p:anim calcmode="lin" valueType="num">
                                      <p:cBhvr>
                                        <p:cTn id="68" dur="1000" fill="hold"/>
                                        <p:tgtEl>
                                          <p:spTgt spid="176"/>
                                        </p:tgtEl>
                                        <p:attrNameLst>
                                          <p:attrName>ppt_x</p:attrName>
                                        </p:attrNameLst>
                                      </p:cBhvr>
                                      <p:tavLst>
                                        <p:tav tm="0">
                                          <p:val>
                                            <p:strVal val="#ppt_x"/>
                                          </p:val>
                                        </p:tav>
                                        <p:tav tm="100000">
                                          <p:val>
                                            <p:strVal val="#ppt_x"/>
                                          </p:val>
                                        </p:tav>
                                      </p:tavLst>
                                    </p:anim>
                                    <p:anim calcmode="lin" valueType="num">
                                      <p:cBhvr>
                                        <p:cTn id="69" dur="1000" fill="hold"/>
                                        <p:tgtEl>
                                          <p:spTgt spid="17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5" grpId="1" animBg="1"/>
      <p:bldP spid="56" grpId="0" animBg="1"/>
      <p:bldP spid="56" grpId="1" animBg="1"/>
      <p:bldP spid="63" grpId="0" animBg="1"/>
      <p:bldP spid="63" grpId="1" animBg="1"/>
      <p:bldP spid="86" grpId="0" animBg="1"/>
      <p:bldP spid="86" grpId="1" animBg="1"/>
      <p:bldP spid="93" grpId="0" animBg="1"/>
      <p:bldP spid="148" grpId="0"/>
    </p:bldLst>
  </p:timing>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8B835496-2033-4D56-92BF-B44A62DEDB1B}"/>
              </a:ext>
            </a:extLst>
          </p:cNvPr>
          <p:cNvSpPr/>
          <p:nvPr/>
        </p:nvSpPr>
        <p:spPr>
          <a:xfrm>
            <a:off x="248061" y="4021713"/>
            <a:ext cx="11808823" cy="267153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914377">
              <a:lnSpc>
                <a:spcPct val="90000"/>
              </a:lnSpc>
              <a:spcBef>
                <a:spcPts val="600"/>
              </a:spcBef>
              <a:defRPr/>
            </a:pPr>
            <a:endParaRPr lang="en-US" sz="2000" err="1">
              <a:solidFill>
                <a:srgbClr val="FFFFFF"/>
              </a:solidFill>
              <a:latin typeface="Segoe UI"/>
            </a:endParaRPr>
          </a:p>
        </p:txBody>
      </p:sp>
      <p:sp>
        <p:nvSpPr>
          <p:cNvPr id="14" name="Rectangle 13">
            <a:extLst>
              <a:ext uri="{FF2B5EF4-FFF2-40B4-BE49-F238E27FC236}">
                <a16:creationId xmlns:a16="http://schemas.microsoft.com/office/drawing/2014/main" id="{1933DC88-D9F9-43D0-BE35-A6D23A456517}"/>
              </a:ext>
            </a:extLst>
          </p:cNvPr>
          <p:cNvSpPr/>
          <p:nvPr/>
        </p:nvSpPr>
        <p:spPr>
          <a:xfrm>
            <a:off x="216408" y="1311856"/>
            <a:ext cx="11759184" cy="2008621"/>
          </a:xfrm>
          <a:prstGeom prst="rect">
            <a:avLst/>
          </a:prstGeom>
          <a:noFill/>
          <a:ln w="5080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914377">
              <a:lnSpc>
                <a:spcPct val="90000"/>
              </a:lnSpc>
              <a:spcBef>
                <a:spcPts val="600"/>
              </a:spcBef>
              <a:defRPr/>
            </a:pPr>
            <a:endParaRPr lang="en-US" sz="2000" err="1">
              <a:solidFill>
                <a:srgbClr val="FFFFFF"/>
              </a:solidFill>
              <a:latin typeface="Segoe UI"/>
            </a:endParaRPr>
          </a:p>
        </p:txBody>
      </p:sp>
      <p:sp>
        <p:nvSpPr>
          <p:cNvPr id="61" name="Title 4">
            <a:extLst>
              <a:ext uri="{FF2B5EF4-FFF2-40B4-BE49-F238E27FC236}">
                <a16:creationId xmlns:a16="http://schemas.microsoft.com/office/drawing/2014/main" id="{16A4615D-FEAD-4749-B317-267EC61D6ED5}"/>
              </a:ext>
            </a:extLst>
          </p:cNvPr>
          <p:cNvSpPr>
            <a:spLocks noGrp="1"/>
          </p:cNvSpPr>
          <p:nvPr>
            <p:ph type="title"/>
          </p:nvPr>
        </p:nvSpPr>
        <p:spPr/>
        <p:txBody>
          <a:bodyPr/>
          <a:lstStyle/>
          <a:p>
            <a:r>
              <a:rPr lang="en-US"/>
              <a:t>Comprehensive IoT platform from Microsoft</a:t>
            </a:r>
          </a:p>
        </p:txBody>
      </p:sp>
      <p:pic>
        <p:nvPicPr>
          <p:cNvPr id="36" name="Picture 35">
            <a:extLst>
              <a:ext uri="{FF2B5EF4-FFF2-40B4-BE49-F238E27FC236}">
                <a16:creationId xmlns:a16="http://schemas.microsoft.com/office/drawing/2014/main" id="{27E5AAB8-2608-4D58-8DE2-F2B6BACE0D75}"/>
              </a:ext>
            </a:extLst>
          </p:cNvPr>
          <p:cNvPicPr>
            <a:picLocks noChangeAspect="1"/>
          </p:cNvPicPr>
          <p:nvPr/>
        </p:nvPicPr>
        <p:blipFill rotWithShape="1">
          <a:blip r:embed="rId4"/>
          <a:srcRect r="3475" b="18109"/>
          <a:stretch/>
        </p:blipFill>
        <p:spPr>
          <a:xfrm>
            <a:off x="4888127" y="2472502"/>
            <a:ext cx="2415748" cy="677893"/>
          </a:xfrm>
          <a:prstGeom prst="rect">
            <a:avLst/>
          </a:prstGeom>
        </p:spPr>
      </p:pic>
      <p:sp>
        <p:nvSpPr>
          <p:cNvPr id="32" name="Freeform 13" title="Icon of a cloud">
            <a:extLst>
              <a:ext uri="{FF2B5EF4-FFF2-40B4-BE49-F238E27FC236}">
                <a16:creationId xmlns:a16="http://schemas.microsoft.com/office/drawing/2014/main" id="{B21A0F07-65F6-4F24-9AFC-9F8D7BE4ECFA}"/>
              </a:ext>
            </a:extLst>
          </p:cNvPr>
          <p:cNvSpPr>
            <a:spLocks noChangeAspect="1"/>
          </p:cNvSpPr>
          <p:nvPr/>
        </p:nvSpPr>
        <p:spPr bwMode="auto">
          <a:xfrm>
            <a:off x="5583142" y="2023772"/>
            <a:ext cx="1025719" cy="562669"/>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US">
              <a:gradFill>
                <a:gsLst>
                  <a:gs pos="0">
                    <a:srgbClr val="505050"/>
                  </a:gs>
                  <a:gs pos="100000">
                    <a:srgbClr val="505050"/>
                  </a:gs>
                </a:gsLst>
              </a:gradFill>
              <a:latin typeface="Segoe UI"/>
            </a:endParaRPr>
          </a:p>
        </p:txBody>
      </p:sp>
      <p:sp>
        <p:nvSpPr>
          <p:cNvPr id="203" name="TextBox 202">
            <a:extLst>
              <a:ext uri="{FF2B5EF4-FFF2-40B4-BE49-F238E27FC236}">
                <a16:creationId xmlns:a16="http://schemas.microsoft.com/office/drawing/2014/main" id="{E361AD0D-4AA7-47C4-B48E-588D10A64EFA}"/>
              </a:ext>
            </a:extLst>
          </p:cNvPr>
          <p:cNvSpPr txBox="1"/>
          <p:nvPr/>
        </p:nvSpPr>
        <p:spPr>
          <a:xfrm>
            <a:off x="1692238" y="1597626"/>
            <a:ext cx="978452" cy="523220"/>
          </a:xfrm>
          <a:prstGeom prst="rect">
            <a:avLst/>
          </a:prstGeom>
        </p:spPr>
        <p:txBody>
          <a:bodyPr wrap="square">
            <a:spAutoFit/>
          </a:bodyPr>
          <a:lstStyle>
            <a:defPPr>
              <a:defRPr lang="en-US"/>
            </a:defPPr>
            <a:lvl1pPr algn="ctr" defTabSz="243870">
              <a:spcAft>
                <a:spcPts val="600"/>
              </a:spcAft>
              <a:defRPr b="1">
                <a:solidFill>
                  <a:schemeClr val="tx2"/>
                </a:solidFill>
                <a:latin typeface="Segoe UI Semibold" panose="020B0702040204020203" pitchFamily="34" charset="0"/>
                <a:cs typeface="Segoe UI Semibold" panose="020B0702040204020203" pitchFamily="34" charset="0"/>
              </a:defRPr>
            </a:lvl1pPr>
          </a:lstStyle>
          <a:p>
            <a:pPr algn="l" defTabSz="243865">
              <a:spcAft>
                <a:spcPts val="0"/>
              </a:spcAft>
              <a:defRPr/>
            </a:pPr>
            <a:r>
              <a:rPr lang="en-US" sz="1400">
                <a:solidFill>
                  <a:srgbClr val="2F2F2F"/>
                </a:solidFill>
              </a:rPr>
              <a:t>Azure </a:t>
            </a:r>
          </a:p>
          <a:p>
            <a:pPr algn="l" defTabSz="243865">
              <a:spcAft>
                <a:spcPts val="0"/>
              </a:spcAft>
              <a:defRPr/>
            </a:pPr>
            <a:r>
              <a:rPr lang="en-US" sz="1400">
                <a:solidFill>
                  <a:srgbClr val="2F2F2F"/>
                </a:solidFill>
              </a:rPr>
              <a:t>IoT Hub</a:t>
            </a:r>
          </a:p>
        </p:txBody>
      </p:sp>
      <p:sp>
        <p:nvSpPr>
          <p:cNvPr id="35" name="Rectangle 34">
            <a:extLst>
              <a:ext uri="{FF2B5EF4-FFF2-40B4-BE49-F238E27FC236}">
                <a16:creationId xmlns:a16="http://schemas.microsoft.com/office/drawing/2014/main" id="{B7257C14-FFD9-4E5B-8039-BA46A13A1F9D}"/>
              </a:ext>
            </a:extLst>
          </p:cNvPr>
          <p:cNvSpPr/>
          <p:nvPr/>
        </p:nvSpPr>
        <p:spPr>
          <a:xfrm>
            <a:off x="7625817" y="1597626"/>
            <a:ext cx="1237975" cy="523220"/>
          </a:xfrm>
          <a:prstGeom prst="rect">
            <a:avLst/>
          </a:prstGeom>
        </p:spPr>
        <p:txBody>
          <a:bodyPr wrap="square">
            <a:spAutoFit/>
          </a:bodyPr>
          <a:lstStyle/>
          <a:p>
            <a:pPr defTabSz="243865">
              <a:defRPr/>
            </a:pPr>
            <a:r>
              <a:rPr lang="en-US" sz="1400" b="1">
                <a:solidFill>
                  <a:srgbClr val="2F2F2F"/>
                </a:solidFill>
                <a:latin typeface="Segoe UI Semibold" panose="020B0702040204020203" pitchFamily="34" charset="0"/>
                <a:cs typeface="Segoe UI Semibold" panose="020B0702040204020203" pitchFamily="34" charset="0"/>
              </a:rPr>
              <a:t>Azure </a:t>
            </a:r>
          </a:p>
          <a:p>
            <a:pPr defTabSz="243865">
              <a:defRPr/>
            </a:pPr>
            <a:r>
              <a:rPr lang="en-US" sz="1400" b="1">
                <a:solidFill>
                  <a:srgbClr val="2F2F2F"/>
                </a:solidFill>
                <a:latin typeface="Segoe UI Semibold" panose="020B0702040204020203" pitchFamily="34" charset="0"/>
                <a:cs typeface="Segoe UI Semibold" panose="020B0702040204020203" pitchFamily="34" charset="0"/>
              </a:rPr>
              <a:t>IoT Central</a:t>
            </a:r>
          </a:p>
        </p:txBody>
      </p:sp>
      <p:sp>
        <p:nvSpPr>
          <p:cNvPr id="4" name="Rectangle 3">
            <a:extLst>
              <a:ext uri="{FF2B5EF4-FFF2-40B4-BE49-F238E27FC236}">
                <a16:creationId xmlns:a16="http://schemas.microsoft.com/office/drawing/2014/main" id="{A2805A11-3140-4D92-A8F9-657A7175DC2E}"/>
              </a:ext>
            </a:extLst>
          </p:cNvPr>
          <p:cNvSpPr/>
          <p:nvPr/>
        </p:nvSpPr>
        <p:spPr>
          <a:xfrm>
            <a:off x="4169678" y="1597626"/>
            <a:ext cx="1104969" cy="523220"/>
          </a:xfrm>
          <a:prstGeom prst="rect">
            <a:avLst/>
          </a:prstGeom>
        </p:spPr>
        <p:txBody>
          <a:bodyPr wrap="square">
            <a:spAutoFit/>
          </a:bodyPr>
          <a:lstStyle/>
          <a:p>
            <a:pPr defTabSz="243865">
              <a:defRPr/>
            </a:pPr>
            <a:r>
              <a:rPr lang="en-US" sz="1400" b="1">
                <a:solidFill>
                  <a:srgbClr val="2F2F2F"/>
                </a:solidFill>
                <a:latin typeface="Segoe UI Semibold" panose="020B0702040204020203" pitchFamily="34" charset="0"/>
                <a:cs typeface="Segoe UI Semibold" panose="020B0702040204020203" pitchFamily="34" charset="0"/>
              </a:rPr>
              <a:t>Azure </a:t>
            </a:r>
          </a:p>
          <a:p>
            <a:pPr defTabSz="243865">
              <a:defRPr/>
            </a:pPr>
            <a:r>
              <a:rPr lang="en-US" sz="1400" b="1">
                <a:solidFill>
                  <a:srgbClr val="2F2F2F"/>
                </a:solidFill>
                <a:latin typeface="Segoe UI Semibold" panose="020B0702040204020203" pitchFamily="34" charset="0"/>
                <a:cs typeface="Segoe UI Semibold" panose="020B0702040204020203" pitchFamily="34" charset="0"/>
              </a:rPr>
              <a:t>IoT Edge </a:t>
            </a:r>
          </a:p>
        </p:txBody>
      </p:sp>
      <p:sp>
        <p:nvSpPr>
          <p:cNvPr id="7" name="Rectangle 6">
            <a:extLst>
              <a:ext uri="{FF2B5EF4-FFF2-40B4-BE49-F238E27FC236}">
                <a16:creationId xmlns:a16="http://schemas.microsoft.com/office/drawing/2014/main" id="{F5579EF3-1C5E-4721-B178-59216D4325B4}"/>
              </a:ext>
            </a:extLst>
          </p:cNvPr>
          <p:cNvSpPr/>
          <p:nvPr/>
        </p:nvSpPr>
        <p:spPr>
          <a:xfrm>
            <a:off x="9936234" y="1597626"/>
            <a:ext cx="2154831" cy="523220"/>
          </a:xfrm>
          <a:prstGeom prst="rect">
            <a:avLst/>
          </a:prstGeom>
        </p:spPr>
        <p:txBody>
          <a:bodyPr wrap="square">
            <a:spAutoFit/>
          </a:bodyPr>
          <a:lstStyle/>
          <a:p>
            <a:pPr defTabSz="243865">
              <a:defRPr/>
            </a:pPr>
            <a:r>
              <a:rPr lang="en-US" sz="1400" b="1">
                <a:solidFill>
                  <a:srgbClr val="2F2F2F"/>
                </a:solidFill>
                <a:latin typeface="Segoe UI Semibold" panose="020B0702040204020203" pitchFamily="34" charset="0"/>
                <a:cs typeface="Segoe UI Semibold" panose="020B0702040204020203" pitchFamily="34" charset="0"/>
              </a:rPr>
              <a:t>Azure IoT </a:t>
            </a:r>
          </a:p>
          <a:p>
            <a:pPr defTabSz="243865">
              <a:defRPr/>
            </a:pPr>
            <a:r>
              <a:rPr lang="en-US" sz="1400" b="1">
                <a:solidFill>
                  <a:srgbClr val="2F2F2F"/>
                </a:solidFill>
                <a:latin typeface="Segoe UI Semibold" panose="020B0702040204020203" pitchFamily="34" charset="0"/>
                <a:cs typeface="Segoe UI Semibold" panose="020B0702040204020203" pitchFamily="34" charset="0"/>
              </a:rPr>
              <a:t>solution accelerators</a:t>
            </a:r>
          </a:p>
        </p:txBody>
      </p:sp>
      <p:sp>
        <p:nvSpPr>
          <p:cNvPr id="56" name="Rectangle 55">
            <a:extLst>
              <a:ext uri="{FF2B5EF4-FFF2-40B4-BE49-F238E27FC236}">
                <a16:creationId xmlns:a16="http://schemas.microsoft.com/office/drawing/2014/main" id="{FAD35A72-DF33-447C-A167-80272AA19C34}"/>
              </a:ext>
            </a:extLst>
          </p:cNvPr>
          <p:cNvSpPr/>
          <p:nvPr/>
        </p:nvSpPr>
        <p:spPr bwMode="auto">
          <a:xfrm>
            <a:off x="602551" y="5073119"/>
            <a:ext cx="2377440" cy="822960"/>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243865">
              <a:defRPr/>
            </a:pPr>
            <a:r>
              <a:rPr lang="en-US" sz="1600">
                <a:solidFill>
                  <a:srgbClr val="2F2F2F"/>
                </a:solidFill>
                <a:latin typeface="Segoe UI Semibold"/>
                <a:cs typeface="Segoe UI Semibold"/>
              </a:rPr>
              <a:t>AZURE SPHERE </a:t>
            </a:r>
            <a:endParaRPr lang="en-US" sz="1600">
              <a:solidFill>
                <a:srgbClr val="2F2F2F"/>
              </a:solidFill>
              <a:latin typeface="Segoe UI Semibold" panose="020B0702040204020203" pitchFamily="34" charset="0"/>
              <a:cs typeface="Segoe UI Semibold" panose="020B0702040204020203" pitchFamily="34" charset="0"/>
            </a:endParaRPr>
          </a:p>
          <a:p>
            <a:pPr algn="ctr" defTabSz="895998">
              <a:spcAft>
                <a:spcPts val="200"/>
              </a:spcAft>
              <a:defRPr/>
            </a:pPr>
            <a:endParaRPr lang="en-US" sz="1400" kern="0">
              <a:solidFill>
                <a:srgbClr val="2F2F2F"/>
              </a:solidFill>
              <a:latin typeface="Segoe UI"/>
            </a:endParaRPr>
          </a:p>
          <a:p>
            <a:pPr algn="ctr" defTabSz="895998">
              <a:spcAft>
                <a:spcPts val="200"/>
              </a:spcAft>
              <a:defRPr/>
            </a:pPr>
            <a:r>
              <a:rPr lang="en-US" sz="1400" kern="0">
                <a:solidFill>
                  <a:srgbClr val="2F2F2F"/>
                </a:solidFill>
                <a:latin typeface="Segoe UI"/>
              </a:rPr>
              <a:t>Peerless security for microcontroller-based devices</a:t>
            </a:r>
            <a:endParaRPr lang="en-US" sz="1400" kern="0">
              <a:solidFill>
                <a:srgbClr val="2F2F2F"/>
              </a:solidFill>
              <a:latin typeface="Segoe UI"/>
              <a:cs typeface="Segoe UI"/>
            </a:endParaRPr>
          </a:p>
        </p:txBody>
      </p:sp>
      <p:sp>
        <p:nvSpPr>
          <p:cNvPr id="72" name="Rectangle 71">
            <a:extLst>
              <a:ext uri="{FF2B5EF4-FFF2-40B4-BE49-F238E27FC236}">
                <a16:creationId xmlns:a16="http://schemas.microsoft.com/office/drawing/2014/main" id="{38DBCE97-2828-42D0-830C-BC2F7BD65EE9}"/>
              </a:ext>
            </a:extLst>
          </p:cNvPr>
          <p:cNvSpPr/>
          <p:nvPr/>
        </p:nvSpPr>
        <p:spPr bwMode="auto">
          <a:xfrm>
            <a:off x="3470416" y="5073119"/>
            <a:ext cx="2377440" cy="822960"/>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243865">
              <a:defRPr/>
            </a:pPr>
            <a:r>
              <a:rPr lang="en-US" sz="1600">
                <a:solidFill>
                  <a:srgbClr val="2F2F2F"/>
                </a:solidFill>
                <a:latin typeface="Segoe UI Semibold"/>
                <a:cs typeface="Segoe UI Semibold"/>
              </a:rPr>
              <a:t>WINDOWS 10 IoT</a:t>
            </a:r>
            <a:endParaRPr lang="en-US" sz="1600">
              <a:solidFill>
                <a:srgbClr val="2F2F2F"/>
              </a:solidFill>
              <a:latin typeface="Segoe UI Semibold" panose="020B0702040204020203" pitchFamily="34" charset="0"/>
              <a:cs typeface="Segoe UI Semibold" panose="020B0702040204020203" pitchFamily="34" charset="0"/>
            </a:endParaRPr>
          </a:p>
          <a:p>
            <a:pPr algn="ctr" defTabSz="895998">
              <a:spcAft>
                <a:spcPts val="200"/>
              </a:spcAft>
              <a:defRPr/>
            </a:pPr>
            <a:endParaRPr lang="en-US" sz="1400" kern="0">
              <a:solidFill>
                <a:srgbClr val="2F2F2F"/>
              </a:solidFill>
              <a:latin typeface="Segoe UI"/>
            </a:endParaRPr>
          </a:p>
          <a:p>
            <a:pPr algn="ctr" defTabSz="895998">
              <a:spcAft>
                <a:spcPts val="200"/>
              </a:spcAft>
              <a:defRPr/>
            </a:pPr>
            <a:r>
              <a:rPr lang="en-US" sz="1400" kern="0">
                <a:solidFill>
                  <a:srgbClr val="2F2F2F"/>
                </a:solidFill>
                <a:latin typeface="Segoe UI"/>
              </a:rPr>
              <a:t>The power of Windows: from small footprint to enterprise-grade edge devices</a:t>
            </a:r>
            <a:endParaRPr lang="en-US" sz="1400" kern="0">
              <a:solidFill>
                <a:srgbClr val="2F2F2F"/>
              </a:solidFill>
              <a:latin typeface="Segoe UI"/>
              <a:cs typeface="Segoe UI"/>
            </a:endParaRPr>
          </a:p>
        </p:txBody>
      </p:sp>
      <p:sp>
        <p:nvSpPr>
          <p:cNvPr id="15" name="Rectangle 14">
            <a:extLst>
              <a:ext uri="{FF2B5EF4-FFF2-40B4-BE49-F238E27FC236}">
                <a16:creationId xmlns:a16="http://schemas.microsoft.com/office/drawing/2014/main" id="{BAB5F312-0D70-4D19-BB02-F8D8AF09DE3C}"/>
              </a:ext>
            </a:extLst>
          </p:cNvPr>
          <p:cNvSpPr/>
          <p:nvPr/>
        </p:nvSpPr>
        <p:spPr>
          <a:xfrm>
            <a:off x="1341470" y="4347615"/>
            <a:ext cx="899605" cy="338554"/>
          </a:xfrm>
          <a:prstGeom prst="rect">
            <a:avLst/>
          </a:prstGeom>
        </p:spPr>
        <p:txBody>
          <a:bodyPr wrap="none">
            <a:spAutoFit/>
          </a:bodyPr>
          <a:lstStyle/>
          <a:p>
            <a:pPr defTabSz="914377">
              <a:defRPr/>
            </a:pPr>
            <a:r>
              <a:rPr lang="en-US" sz="1600" kern="0">
                <a:solidFill>
                  <a:sysClr val="windowText" lastClr="000000"/>
                </a:solidFill>
                <a:latin typeface="Segoe UI Semibold"/>
                <a:cs typeface="Segoe UI Semibold"/>
              </a:rPr>
              <a:t>Sensors</a:t>
            </a:r>
            <a:endParaRPr lang="en-US" sz="2000">
              <a:solidFill>
                <a:sysClr val="windowText" lastClr="000000"/>
              </a:solidFill>
              <a:latin typeface="Segoe UI"/>
            </a:endParaRPr>
          </a:p>
        </p:txBody>
      </p:sp>
      <p:sp>
        <p:nvSpPr>
          <p:cNvPr id="74" name="Rectangle 73">
            <a:extLst>
              <a:ext uri="{FF2B5EF4-FFF2-40B4-BE49-F238E27FC236}">
                <a16:creationId xmlns:a16="http://schemas.microsoft.com/office/drawing/2014/main" id="{74C0C961-DF54-4039-8CDD-6F768A028B60}"/>
              </a:ext>
            </a:extLst>
          </p:cNvPr>
          <p:cNvSpPr/>
          <p:nvPr/>
        </p:nvSpPr>
        <p:spPr>
          <a:xfrm>
            <a:off x="4188684" y="4347615"/>
            <a:ext cx="947695" cy="338554"/>
          </a:xfrm>
          <a:prstGeom prst="rect">
            <a:avLst/>
          </a:prstGeom>
        </p:spPr>
        <p:txBody>
          <a:bodyPr wrap="none">
            <a:spAutoFit/>
          </a:bodyPr>
          <a:lstStyle/>
          <a:p>
            <a:pPr defTabSz="914377">
              <a:defRPr/>
            </a:pPr>
            <a:r>
              <a:rPr lang="en-US" sz="1600" kern="0">
                <a:solidFill>
                  <a:sysClr val="windowText" lastClr="000000"/>
                </a:solidFill>
                <a:latin typeface="Segoe UI Semibold"/>
                <a:cs typeface="Segoe UI Semibold"/>
              </a:rPr>
              <a:t>PC-class</a:t>
            </a:r>
            <a:endParaRPr lang="en-US" sz="2000">
              <a:solidFill>
                <a:sysClr val="windowText" lastClr="000000"/>
              </a:solidFill>
              <a:latin typeface="Segoe UI"/>
            </a:endParaRPr>
          </a:p>
        </p:txBody>
      </p:sp>
      <p:sp>
        <p:nvSpPr>
          <p:cNvPr id="76" name="Rectangle 75">
            <a:extLst>
              <a:ext uri="{FF2B5EF4-FFF2-40B4-BE49-F238E27FC236}">
                <a16:creationId xmlns:a16="http://schemas.microsoft.com/office/drawing/2014/main" id="{C1EA0611-097D-4D9B-BABD-5AFED9394D89}"/>
              </a:ext>
            </a:extLst>
          </p:cNvPr>
          <p:cNvSpPr/>
          <p:nvPr/>
        </p:nvSpPr>
        <p:spPr bwMode="auto">
          <a:xfrm>
            <a:off x="6397919" y="5073119"/>
            <a:ext cx="2377440" cy="822960"/>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243865">
              <a:defRPr/>
            </a:pPr>
            <a:r>
              <a:rPr lang="en-US" sz="1600">
                <a:solidFill>
                  <a:srgbClr val="2F2F2F"/>
                </a:solidFill>
                <a:latin typeface="Segoe UI Semibold"/>
                <a:cs typeface="Segoe UI Semibold"/>
              </a:rPr>
              <a:t>WINDOWS SERVER IoT</a:t>
            </a:r>
            <a:endParaRPr lang="en-US" sz="1400" kern="0">
              <a:solidFill>
                <a:srgbClr val="2F2F2F"/>
              </a:solidFill>
              <a:latin typeface="Segoe UI"/>
            </a:endParaRPr>
          </a:p>
          <a:p>
            <a:pPr algn="ctr" defTabSz="895998">
              <a:spcAft>
                <a:spcPts val="200"/>
              </a:spcAft>
              <a:defRPr/>
            </a:pPr>
            <a:endParaRPr lang="en-US" sz="1400" kern="0">
              <a:solidFill>
                <a:srgbClr val="2F2F2F"/>
              </a:solidFill>
              <a:latin typeface="Segoe UI"/>
            </a:endParaRPr>
          </a:p>
          <a:p>
            <a:pPr algn="ctr" defTabSz="895998">
              <a:spcAft>
                <a:spcPts val="200"/>
              </a:spcAft>
              <a:defRPr/>
            </a:pPr>
            <a:r>
              <a:rPr lang="en-US" sz="1400" kern="0">
                <a:solidFill>
                  <a:srgbClr val="2F2F2F"/>
                </a:solidFill>
                <a:latin typeface="Segoe UI"/>
              </a:rPr>
              <a:t>For the most demanding edge computing workloads</a:t>
            </a:r>
            <a:endParaRPr lang="en-US" sz="1400" kern="0">
              <a:solidFill>
                <a:srgbClr val="2F2F2F"/>
              </a:solidFill>
              <a:latin typeface="Segoe UI"/>
              <a:cs typeface="Segoe UI"/>
            </a:endParaRPr>
          </a:p>
        </p:txBody>
      </p:sp>
      <p:sp>
        <p:nvSpPr>
          <p:cNvPr id="78" name="Rectangle 77">
            <a:extLst>
              <a:ext uri="{FF2B5EF4-FFF2-40B4-BE49-F238E27FC236}">
                <a16:creationId xmlns:a16="http://schemas.microsoft.com/office/drawing/2014/main" id="{3B704AFD-7EE7-412C-9CA3-C9357E3C55EB}"/>
              </a:ext>
            </a:extLst>
          </p:cNvPr>
          <p:cNvSpPr/>
          <p:nvPr/>
        </p:nvSpPr>
        <p:spPr>
          <a:xfrm>
            <a:off x="6899524" y="4347615"/>
            <a:ext cx="1284326" cy="338554"/>
          </a:xfrm>
          <a:prstGeom prst="rect">
            <a:avLst/>
          </a:prstGeom>
        </p:spPr>
        <p:txBody>
          <a:bodyPr wrap="none">
            <a:spAutoFit/>
          </a:bodyPr>
          <a:lstStyle/>
          <a:p>
            <a:pPr defTabSz="914377">
              <a:defRPr/>
            </a:pPr>
            <a:r>
              <a:rPr lang="en-US" sz="1600" kern="0">
                <a:solidFill>
                  <a:sysClr val="windowText" lastClr="000000"/>
                </a:solidFill>
                <a:latin typeface="Segoe UI Semibold"/>
                <a:cs typeface="Segoe UI Semibold"/>
              </a:rPr>
              <a:t>Server-class</a:t>
            </a:r>
          </a:p>
        </p:txBody>
      </p:sp>
      <p:sp>
        <p:nvSpPr>
          <p:cNvPr id="80" name="Rectangle 79">
            <a:extLst>
              <a:ext uri="{FF2B5EF4-FFF2-40B4-BE49-F238E27FC236}">
                <a16:creationId xmlns:a16="http://schemas.microsoft.com/office/drawing/2014/main" id="{66969CB1-ECDF-40EB-8EDD-48F81FF447C0}"/>
              </a:ext>
            </a:extLst>
          </p:cNvPr>
          <p:cNvSpPr/>
          <p:nvPr/>
        </p:nvSpPr>
        <p:spPr bwMode="auto">
          <a:xfrm>
            <a:off x="9281583" y="5073119"/>
            <a:ext cx="2377440" cy="822960"/>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243865">
              <a:defRPr/>
            </a:pPr>
            <a:r>
              <a:rPr lang="en-US" sz="1600">
                <a:solidFill>
                  <a:srgbClr val="2F2F2F"/>
                </a:solidFill>
                <a:latin typeface="Segoe UI Semibold" panose="020B0702040204020203" pitchFamily="34" charset="0"/>
                <a:cs typeface="Segoe UI Semibold" panose="020B0702040204020203" pitchFamily="34" charset="0"/>
              </a:rPr>
              <a:t>AZURE STACK</a:t>
            </a:r>
          </a:p>
          <a:p>
            <a:pPr algn="ctr" defTabSz="895998">
              <a:spcAft>
                <a:spcPts val="200"/>
              </a:spcAft>
              <a:defRPr/>
            </a:pPr>
            <a:endParaRPr lang="en-US" sz="1400" kern="0">
              <a:solidFill>
                <a:srgbClr val="2F2F2F"/>
              </a:solidFill>
              <a:latin typeface="Segoe UI"/>
            </a:endParaRPr>
          </a:p>
          <a:p>
            <a:pPr algn="ctr" defTabSz="895998">
              <a:spcAft>
                <a:spcPts val="200"/>
              </a:spcAft>
              <a:defRPr/>
            </a:pPr>
            <a:r>
              <a:rPr lang="en-US" sz="1400" kern="0">
                <a:solidFill>
                  <a:srgbClr val="2F2F2F"/>
                </a:solidFill>
                <a:latin typeface="Segoe UI"/>
              </a:rPr>
              <a:t>An extension of Azure to consistently build and run hybrid applications across cloud boundaries</a:t>
            </a:r>
          </a:p>
        </p:txBody>
      </p:sp>
      <p:sp>
        <p:nvSpPr>
          <p:cNvPr id="82" name="Rectangle 81">
            <a:extLst>
              <a:ext uri="{FF2B5EF4-FFF2-40B4-BE49-F238E27FC236}">
                <a16:creationId xmlns:a16="http://schemas.microsoft.com/office/drawing/2014/main" id="{9A5C976F-D6AD-4ACB-9810-AE057FD1D95F}"/>
              </a:ext>
            </a:extLst>
          </p:cNvPr>
          <p:cNvSpPr/>
          <p:nvPr/>
        </p:nvSpPr>
        <p:spPr>
          <a:xfrm>
            <a:off x="9754403" y="4347615"/>
            <a:ext cx="1431802" cy="338554"/>
          </a:xfrm>
          <a:prstGeom prst="rect">
            <a:avLst/>
          </a:prstGeom>
        </p:spPr>
        <p:txBody>
          <a:bodyPr wrap="none">
            <a:spAutoFit/>
          </a:bodyPr>
          <a:lstStyle/>
          <a:p>
            <a:pPr defTabSz="914377">
              <a:defRPr/>
            </a:pPr>
            <a:r>
              <a:rPr lang="en-US" sz="1600" kern="0">
                <a:solidFill>
                  <a:sysClr val="windowText" lastClr="000000"/>
                </a:solidFill>
                <a:latin typeface="Segoe UI Semibold"/>
                <a:cs typeface="Segoe UI Semibold"/>
              </a:rPr>
              <a:t>Hybrid server</a:t>
            </a:r>
          </a:p>
        </p:txBody>
      </p:sp>
      <p:grpSp>
        <p:nvGrpSpPr>
          <p:cNvPr id="83" name="Group 4">
            <a:extLst>
              <a:ext uri="{FF2B5EF4-FFF2-40B4-BE49-F238E27FC236}">
                <a16:creationId xmlns:a16="http://schemas.microsoft.com/office/drawing/2014/main" id="{11A18D63-BBAA-490B-9E03-E20341F61BA8}"/>
              </a:ext>
            </a:extLst>
          </p:cNvPr>
          <p:cNvGrpSpPr>
            <a:grpSpLocks/>
          </p:cNvGrpSpPr>
          <p:nvPr/>
        </p:nvGrpSpPr>
        <p:grpSpPr bwMode="auto">
          <a:xfrm flipH="1">
            <a:off x="3790332" y="4334011"/>
            <a:ext cx="365760" cy="365760"/>
            <a:chOff x="3794" y="2086"/>
            <a:chExt cx="245" cy="238"/>
          </a:xfrm>
        </p:grpSpPr>
        <p:sp>
          <p:nvSpPr>
            <p:cNvPr id="84" name="Rectangle 83">
              <a:extLst>
                <a:ext uri="{FF2B5EF4-FFF2-40B4-BE49-F238E27FC236}">
                  <a16:creationId xmlns:a16="http://schemas.microsoft.com/office/drawing/2014/main" id="{195799A5-4EE8-4F50-832D-44A91044C398}"/>
                </a:ext>
              </a:extLst>
            </p:cNvPr>
            <p:cNvSpPr>
              <a:spLocks noChangeArrowheads="1"/>
            </p:cNvSpPr>
            <p:nvPr/>
          </p:nvSpPr>
          <p:spPr bwMode="auto">
            <a:xfrm>
              <a:off x="3794" y="2086"/>
              <a:ext cx="245" cy="138"/>
            </a:xfrm>
            <a:prstGeom prst="rect">
              <a:avLst/>
            </a:prstGeom>
            <a:noFill/>
            <a:ln w="19050">
              <a:solidFill>
                <a:schemeClr val="accent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defTabSz="914377">
                <a:defRPr/>
              </a:pPr>
              <a:endParaRPr lang="en-US">
                <a:solidFill>
                  <a:srgbClr val="555555"/>
                </a:solidFill>
                <a:latin typeface="Segoe UI"/>
              </a:endParaRPr>
            </a:p>
          </p:txBody>
        </p:sp>
        <p:sp>
          <p:nvSpPr>
            <p:cNvPr id="85" name="Freeform 6">
              <a:extLst>
                <a:ext uri="{FF2B5EF4-FFF2-40B4-BE49-F238E27FC236}">
                  <a16:creationId xmlns:a16="http://schemas.microsoft.com/office/drawing/2014/main" id="{0CADEB00-9951-4A33-B728-7AA1C604A0AD}"/>
                </a:ext>
              </a:extLst>
            </p:cNvPr>
            <p:cNvSpPr>
              <a:spLocks/>
            </p:cNvSpPr>
            <p:nvPr/>
          </p:nvSpPr>
          <p:spPr bwMode="auto">
            <a:xfrm>
              <a:off x="3801" y="2287"/>
              <a:ext cx="231" cy="37"/>
            </a:xfrm>
            <a:custGeom>
              <a:avLst/>
              <a:gdLst>
                <a:gd name="T0" fmla="*/ 26 w 231"/>
                <a:gd name="T1" fmla="*/ 0 h 37"/>
                <a:gd name="T2" fmla="*/ 205 w 231"/>
                <a:gd name="T3" fmla="*/ 0 h 37"/>
                <a:gd name="T4" fmla="*/ 231 w 231"/>
                <a:gd name="T5" fmla="*/ 37 h 37"/>
                <a:gd name="T6" fmla="*/ 0 w 231"/>
                <a:gd name="T7" fmla="*/ 37 h 37"/>
                <a:gd name="T8" fmla="*/ 26 w 231"/>
                <a:gd name="T9" fmla="*/ 0 h 37"/>
              </a:gdLst>
              <a:ahLst/>
              <a:cxnLst>
                <a:cxn ang="0">
                  <a:pos x="T0" y="T1"/>
                </a:cxn>
                <a:cxn ang="0">
                  <a:pos x="T2" y="T3"/>
                </a:cxn>
                <a:cxn ang="0">
                  <a:pos x="T4" y="T5"/>
                </a:cxn>
                <a:cxn ang="0">
                  <a:pos x="T6" y="T7"/>
                </a:cxn>
                <a:cxn ang="0">
                  <a:pos x="T8" y="T9"/>
                </a:cxn>
              </a:cxnLst>
              <a:rect l="0" t="0" r="r" b="b"/>
              <a:pathLst>
                <a:path w="231" h="37">
                  <a:moveTo>
                    <a:pt x="26" y="0"/>
                  </a:moveTo>
                  <a:lnTo>
                    <a:pt x="205" y="0"/>
                  </a:lnTo>
                  <a:lnTo>
                    <a:pt x="231" y="37"/>
                  </a:lnTo>
                  <a:lnTo>
                    <a:pt x="0" y="37"/>
                  </a:lnTo>
                  <a:lnTo>
                    <a:pt x="26" y="0"/>
                  </a:lnTo>
                  <a:close/>
                </a:path>
              </a:pathLst>
            </a:custGeom>
            <a:noFill/>
            <a:ln w="19050">
              <a:solidFill>
                <a:schemeClr val="accent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defTabSz="914377">
                <a:defRPr/>
              </a:pPr>
              <a:endParaRPr lang="en-US">
                <a:solidFill>
                  <a:srgbClr val="555555"/>
                </a:solidFill>
                <a:latin typeface="Segoe UI"/>
              </a:endParaRPr>
            </a:p>
          </p:txBody>
        </p:sp>
        <p:sp>
          <p:nvSpPr>
            <p:cNvPr id="86" name="Line 7">
              <a:extLst>
                <a:ext uri="{FF2B5EF4-FFF2-40B4-BE49-F238E27FC236}">
                  <a16:creationId xmlns:a16="http://schemas.microsoft.com/office/drawing/2014/main" id="{7DC61684-9F87-482F-A057-09F7147017E7}"/>
                </a:ext>
              </a:extLst>
            </p:cNvPr>
            <p:cNvSpPr>
              <a:spLocks noChangeShapeType="1"/>
            </p:cNvSpPr>
            <p:nvPr/>
          </p:nvSpPr>
          <p:spPr bwMode="auto">
            <a:xfrm>
              <a:off x="3917" y="2224"/>
              <a:ext cx="0" cy="29"/>
            </a:xfrm>
            <a:prstGeom prst="line">
              <a:avLst/>
            </a:prstGeom>
            <a:noFill/>
            <a:ln w="19050">
              <a:solidFill>
                <a:schemeClr val="accent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defTabSz="914377">
                <a:defRPr/>
              </a:pPr>
              <a:endParaRPr lang="en-US">
                <a:solidFill>
                  <a:srgbClr val="555555"/>
                </a:solidFill>
                <a:latin typeface="Segoe UI"/>
              </a:endParaRPr>
            </a:p>
          </p:txBody>
        </p:sp>
        <p:sp>
          <p:nvSpPr>
            <p:cNvPr id="87" name="Line 8">
              <a:extLst>
                <a:ext uri="{FF2B5EF4-FFF2-40B4-BE49-F238E27FC236}">
                  <a16:creationId xmlns:a16="http://schemas.microsoft.com/office/drawing/2014/main" id="{E25254FB-87CB-460E-9769-15549AA1D445}"/>
                </a:ext>
              </a:extLst>
            </p:cNvPr>
            <p:cNvSpPr>
              <a:spLocks noChangeShapeType="1"/>
            </p:cNvSpPr>
            <p:nvPr/>
          </p:nvSpPr>
          <p:spPr bwMode="auto">
            <a:xfrm>
              <a:off x="3873" y="2255"/>
              <a:ext cx="86" cy="0"/>
            </a:xfrm>
            <a:prstGeom prst="line">
              <a:avLst/>
            </a:prstGeom>
            <a:noFill/>
            <a:ln w="19050">
              <a:solidFill>
                <a:schemeClr val="accent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defTabSz="914377">
                <a:defRPr/>
              </a:pPr>
              <a:endParaRPr lang="en-US">
                <a:solidFill>
                  <a:srgbClr val="555555"/>
                </a:solidFill>
                <a:latin typeface="Segoe UI"/>
              </a:endParaRPr>
            </a:p>
          </p:txBody>
        </p:sp>
      </p:grpSp>
      <p:sp>
        <p:nvSpPr>
          <p:cNvPr id="88" name="signal" title="Icon of a communication signal">
            <a:extLst>
              <a:ext uri="{FF2B5EF4-FFF2-40B4-BE49-F238E27FC236}">
                <a16:creationId xmlns:a16="http://schemas.microsoft.com/office/drawing/2014/main" id="{83784AA4-6100-4E15-B643-0BD230EAD5A6}"/>
              </a:ext>
            </a:extLst>
          </p:cNvPr>
          <p:cNvSpPr>
            <a:spLocks noChangeAspect="1" noEditPoints="1"/>
          </p:cNvSpPr>
          <p:nvPr/>
        </p:nvSpPr>
        <p:spPr bwMode="auto">
          <a:xfrm>
            <a:off x="938643" y="4318357"/>
            <a:ext cx="402827" cy="457200"/>
          </a:xfrm>
          <a:custGeom>
            <a:avLst/>
            <a:gdLst>
              <a:gd name="T0" fmla="*/ 105 w 296"/>
              <a:gd name="T1" fmla="*/ 225 h 337"/>
              <a:gd name="T2" fmla="*/ 148 w 296"/>
              <a:gd name="T3" fmla="*/ 182 h 337"/>
              <a:gd name="T4" fmla="*/ 190 w 296"/>
              <a:gd name="T5" fmla="*/ 225 h 337"/>
              <a:gd name="T6" fmla="*/ 148 w 296"/>
              <a:gd name="T7" fmla="*/ 267 h 337"/>
              <a:gd name="T8" fmla="*/ 105 w 296"/>
              <a:gd name="T9" fmla="*/ 225 h 337"/>
              <a:gd name="T10" fmla="*/ 148 w 296"/>
              <a:gd name="T11" fmla="*/ 267 h 337"/>
              <a:gd name="T12" fmla="*/ 148 w 296"/>
              <a:gd name="T13" fmla="*/ 337 h 337"/>
              <a:gd name="T14" fmla="*/ 296 w 296"/>
              <a:gd name="T15" fmla="*/ 61 h 337"/>
              <a:gd name="T16" fmla="*/ 148 w 296"/>
              <a:gd name="T17" fmla="*/ 0 h 337"/>
              <a:gd name="T18" fmla="*/ 0 w 296"/>
              <a:gd name="T19" fmla="*/ 62 h 337"/>
              <a:gd name="T20" fmla="*/ 255 w 296"/>
              <a:gd name="T21" fmla="*/ 104 h 337"/>
              <a:gd name="T22" fmla="*/ 149 w 296"/>
              <a:gd name="T23" fmla="*/ 60 h 337"/>
              <a:gd name="T24" fmla="*/ 41 w 296"/>
              <a:gd name="T25" fmla="*/ 105 h 337"/>
              <a:gd name="T26" fmla="*/ 208 w 296"/>
              <a:gd name="T27" fmla="*/ 150 h 337"/>
              <a:gd name="T28" fmla="*/ 148 w 296"/>
              <a:gd name="T29" fmla="*/ 125 h 337"/>
              <a:gd name="T30" fmla="*/ 88 w 296"/>
              <a:gd name="T31" fmla="*/ 14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337">
                <a:moveTo>
                  <a:pt x="105" y="225"/>
                </a:moveTo>
                <a:cubicBezTo>
                  <a:pt x="105" y="201"/>
                  <a:pt x="124" y="182"/>
                  <a:pt x="148" y="182"/>
                </a:cubicBezTo>
                <a:cubicBezTo>
                  <a:pt x="171" y="182"/>
                  <a:pt x="190" y="201"/>
                  <a:pt x="190" y="225"/>
                </a:cubicBezTo>
                <a:cubicBezTo>
                  <a:pt x="190" y="248"/>
                  <a:pt x="171" y="267"/>
                  <a:pt x="148" y="267"/>
                </a:cubicBezTo>
                <a:cubicBezTo>
                  <a:pt x="124" y="267"/>
                  <a:pt x="105" y="248"/>
                  <a:pt x="105" y="225"/>
                </a:cubicBezTo>
                <a:close/>
                <a:moveTo>
                  <a:pt x="148" y="267"/>
                </a:moveTo>
                <a:cubicBezTo>
                  <a:pt x="148" y="337"/>
                  <a:pt x="148" y="337"/>
                  <a:pt x="148" y="337"/>
                </a:cubicBezTo>
                <a:moveTo>
                  <a:pt x="296" y="61"/>
                </a:moveTo>
                <a:cubicBezTo>
                  <a:pt x="258" y="23"/>
                  <a:pt x="206" y="0"/>
                  <a:pt x="148" y="0"/>
                </a:cubicBezTo>
                <a:cubicBezTo>
                  <a:pt x="90" y="0"/>
                  <a:pt x="38" y="24"/>
                  <a:pt x="0" y="62"/>
                </a:cubicBezTo>
                <a:moveTo>
                  <a:pt x="255" y="104"/>
                </a:moveTo>
                <a:cubicBezTo>
                  <a:pt x="228" y="77"/>
                  <a:pt x="190" y="60"/>
                  <a:pt x="149" y="60"/>
                </a:cubicBezTo>
                <a:cubicBezTo>
                  <a:pt x="106" y="60"/>
                  <a:pt x="68" y="77"/>
                  <a:pt x="41" y="105"/>
                </a:cubicBezTo>
                <a:moveTo>
                  <a:pt x="208" y="150"/>
                </a:moveTo>
                <a:cubicBezTo>
                  <a:pt x="192" y="134"/>
                  <a:pt x="171" y="125"/>
                  <a:pt x="148" y="125"/>
                </a:cubicBezTo>
                <a:cubicBezTo>
                  <a:pt x="124" y="125"/>
                  <a:pt x="103" y="134"/>
                  <a:pt x="88" y="149"/>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1" tIns="44815" rIns="89631" bIns="44815" numCol="1" anchor="t" anchorCtr="0" compatLnSpc="1">
            <a:prstTxWarp prst="textNoShape">
              <a:avLst/>
            </a:prstTxWarp>
          </a:bodyPr>
          <a:lstStyle/>
          <a:p>
            <a:pPr defTabSz="914116">
              <a:defRPr/>
            </a:pPr>
            <a:endParaRPr lang="en-US" sz="2000">
              <a:solidFill>
                <a:prstClr val="black"/>
              </a:solidFill>
              <a:latin typeface="Calibri" panose="020F0502020204030204"/>
            </a:endParaRPr>
          </a:p>
        </p:txBody>
      </p:sp>
      <p:sp>
        <p:nvSpPr>
          <p:cNvPr id="89" name="server" title="Icon of a server tower">
            <a:extLst>
              <a:ext uri="{FF2B5EF4-FFF2-40B4-BE49-F238E27FC236}">
                <a16:creationId xmlns:a16="http://schemas.microsoft.com/office/drawing/2014/main" id="{40CA069B-7B1F-4834-A04B-D61E56DE718D}"/>
              </a:ext>
            </a:extLst>
          </p:cNvPr>
          <p:cNvSpPr>
            <a:spLocks noChangeAspect="1" noEditPoints="1"/>
          </p:cNvSpPr>
          <p:nvPr/>
        </p:nvSpPr>
        <p:spPr bwMode="auto">
          <a:xfrm>
            <a:off x="6635447" y="4353607"/>
            <a:ext cx="240712" cy="45720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US" sz="900">
              <a:gradFill>
                <a:gsLst>
                  <a:gs pos="0">
                    <a:srgbClr val="505050"/>
                  </a:gs>
                  <a:gs pos="100000">
                    <a:srgbClr val="505050"/>
                  </a:gs>
                </a:gsLst>
                <a:lin ang="5400000" scaled="1"/>
              </a:gradFill>
              <a:latin typeface="Segoe UI"/>
            </a:endParaRPr>
          </a:p>
        </p:txBody>
      </p:sp>
      <p:sp>
        <p:nvSpPr>
          <p:cNvPr id="90" name="network_3" title="Icon of a server connected to a network">
            <a:extLst>
              <a:ext uri="{FF2B5EF4-FFF2-40B4-BE49-F238E27FC236}">
                <a16:creationId xmlns:a16="http://schemas.microsoft.com/office/drawing/2014/main" id="{149F2350-6BCC-4EF3-B79F-B979D5F4C49C}"/>
              </a:ext>
            </a:extLst>
          </p:cNvPr>
          <p:cNvSpPr>
            <a:spLocks noChangeAspect="1" noEditPoints="1"/>
          </p:cNvSpPr>
          <p:nvPr/>
        </p:nvSpPr>
        <p:spPr bwMode="auto">
          <a:xfrm>
            <a:off x="9384496" y="4288291"/>
            <a:ext cx="440576" cy="45720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US">
              <a:solidFill>
                <a:srgbClr val="555555"/>
              </a:solidFill>
              <a:latin typeface="Segoe UI"/>
            </a:endParaRPr>
          </a:p>
        </p:txBody>
      </p:sp>
      <p:sp>
        <p:nvSpPr>
          <p:cNvPr id="92" name="IoT_Hub" title="Icon of circles connecting to a center circle surrounded by brackets">
            <a:extLst>
              <a:ext uri="{FF2B5EF4-FFF2-40B4-BE49-F238E27FC236}">
                <a16:creationId xmlns:a16="http://schemas.microsoft.com/office/drawing/2014/main" id="{31C1A45E-5E31-459E-8A7C-48D6B0401DA9}"/>
              </a:ext>
            </a:extLst>
          </p:cNvPr>
          <p:cNvSpPr>
            <a:spLocks noChangeAspect="1" noEditPoints="1"/>
          </p:cNvSpPr>
          <p:nvPr/>
        </p:nvSpPr>
        <p:spPr bwMode="auto">
          <a:xfrm>
            <a:off x="1000349" y="1584915"/>
            <a:ext cx="548640" cy="548640"/>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2700" cap="sq">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US">
              <a:gradFill>
                <a:gsLst>
                  <a:gs pos="0">
                    <a:srgbClr val="505050"/>
                  </a:gs>
                  <a:gs pos="100000">
                    <a:srgbClr val="505050"/>
                  </a:gs>
                </a:gsLst>
              </a:gradFill>
              <a:latin typeface="Segoe UI"/>
            </a:endParaRPr>
          </a:p>
        </p:txBody>
      </p:sp>
      <p:pic>
        <p:nvPicPr>
          <p:cNvPr id="21" name="Graphic 20">
            <a:extLst>
              <a:ext uri="{FF2B5EF4-FFF2-40B4-BE49-F238E27FC236}">
                <a16:creationId xmlns:a16="http://schemas.microsoft.com/office/drawing/2014/main" id="{ED2003CF-7E9A-483C-8E00-5ABF03D3787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50114" y="1584915"/>
            <a:ext cx="477079" cy="548640"/>
          </a:xfrm>
          <a:prstGeom prst="rect">
            <a:avLst/>
          </a:prstGeom>
        </p:spPr>
      </p:pic>
      <p:pic>
        <p:nvPicPr>
          <p:cNvPr id="23" name="Graphic 22">
            <a:extLst>
              <a:ext uri="{FF2B5EF4-FFF2-40B4-BE49-F238E27FC236}">
                <a16:creationId xmlns:a16="http://schemas.microsoft.com/office/drawing/2014/main" id="{6DEA6C35-01BC-4CE0-BD6D-E05CC397E15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2932" y="1584915"/>
            <a:ext cx="478601" cy="548640"/>
          </a:xfrm>
          <a:prstGeom prst="rect">
            <a:avLst/>
          </a:prstGeom>
        </p:spPr>
      </p:pic>
      <p:grpSp>
        <p:nvGrpSpPr>
          <p:cNvPr id="24" name="Graphic 18">
            <a:extLst>
              <a:ext uri="{FF2B5EF4-FFF2-40B4-BE49-F238E27FC236}">
                <a16:creationId xmlns:a16="http://schemas.microsoft.com/office/drawing/2014/main" id="{856AA042-92CE-4645-9534-89050CF435DF}"/>
              </a:ext>
            </a:extLst>
          </p:cNvPr>
          <p:cNvGrpSpPr/>
          <p:nvPr/>
        </p:nvGrpSpPr>
        <p:grpSpPr>
          <a:xfrm>
            <a:off x="3439857" y="1589614"/>
            <a:ext cx="598343" cy="539247"/>
            <a:chOff x="4187888" y="2840876"/>
            <a:chExt cx="771525" cy="695325"/>
          </a:xfrm>
        </p:grpSpPr>
        <p:sp>
          <p:nvSpPr>
            <p:cNvPr id="25" name="Freeform: Shape 24">
              <a:extLst>
                <a:ext uri="{FF2B5EF4-FFF2-40B4-BE49-F238E27FC236}">
                  <a16:creationId xmlns:a16="http://schemas.microsoft.com/office/drawing/2014/main" id="{391A4F0E-B752-4FAB-B947-621C501CBB27}"/>
                </a:ext>
              </a:extLst>
            </p:cNvPr>
            <p:cNvSpPr/>
            <p:nvPr/>
          </p:nvSpPr>
          <p:spPr>
            <a:xfrm>
              <a:off x="4206938" y="3324555"/>
              <a:ext cx="723900" cy="209550"/>
            </a:xfrm>
            <a:custGeom>
              <a:avLst/>
              <a:gdLst>
                <a:gd name="connsiteX0" fmla="*/ 732568 w 723900"/>
                <a:gd name="connsiteY0" fmla="*/ 211074 h 209550"/>
                <a:gd name="connsiteX1" fmla="*/ 0 w 723900"/>
                <a:gd name="connsiteY1" fmla="*/ 211074 h 209550"/>
                <a:gd name="connsiteX2" fmla="*/ 0 w 723900"/>
                <a:gd name="connsiteY2" fmla="*/ 0 h 209550"/>
                <a:gd name="connsiteX3" fmla="*/ 732568 w 723900"/>
                <a:gd name="connsiteY3" fmla="*/ 0 h 209550"/>
                <a:gd name="connsiteX4" fmla="*/ 732568 w 723900"/>
                <a:gd name="connsiteY4" fmla="*/ 211074 h 209550"/>
                <a:gd name="connsiteX5" fmla="*/ 605314 w 723900"/>
                <a:gd name="connsiteY5" fmla="*/ 113919 h 209550"/>
                <a:gd name="connsiteX6" fmla="*/ 626459 w 723900"/>
                <a:gd name="connsiteY6" fmla="*/ 89154 h 209550"/>
                <a:gd name="connsiteX7" fmla="*/ 605314 w 723900"/>
                <a:gd name="connsiteY7" fmla="*/ 67913 h 209550"/>
                <a:gd name="connsiteX8" fmla="*/ 584164 w 723900"/>
                <a:gd name="connsiteY8" fmla="*/ 87501 h 209550"/>
                <a:gd name="connsiteX9" fmla="*/ 584168 w 723900"/>
                <a:gd name="connsiteY9" fmla="*/ 89154 h 209550"/>
                <a:gd name="connsiteX10" fmla="*/ 605314 w 723900"/>
                <a:gd name="connsiteY10" fmla="*/ 113919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3900" h="209550">
                  <a:moveTo>
                    <a:pt x="732568" y="211074"/>
                  </a:moveTo>
                  <a:lnTo>
                    <a:pt x="0" y="211074"/>
                  </a:lnTo>
                  <a:lnTo>
                    <a:pt x="0" y="0"/>
                  </a:lnTo>
                  <a:lnTo>
                    <a:pt x="732568" y="0"/>
                  </a:lnTo>
                  <a:lnTo>
                    <a:pt x="732568" y="211074"/>
                  </a:lnTo>
                  <a:close/>
                  <a:moveTo>
                    <a:pt x="605314" y="113919"/>
                  </a:moveTo>
                  <a:cubicBezTo>
                    <a:pt x="617835" y="112617"/>
                    <a:pt x="627136" y="101725"/>
                    <a:pt x="626459" y="89154"/>
                  </a:cubicBezTo>
                  <a:cubicBezTo>
                    <a:pt x="625723" y="77778"/>
                    <a:pt x="616687" y="68700"/>
                    <a:pt x="605314" y="67913"/>
                  </a:cubicBezTo>
                  <a:cubicBezTo>
                    <a:pt x="594065" y="67482"/>
                    <a:pt x="584596" y="76251"/>
                    <a:pt x="584164" y="87501"/>
                  </a:cubicBezTo>
                  <a:cubicBezTo>
                    <a:pt x="584144" y="88052"/>
                    <a:pt x="584144" y="88603"/>
                    <a:pt x="584168" y="89154"/>
                  </a:cubicBezTo>
                  <a:cubicBezTo>
                    <a:pt x="584168" y="103346"/>
                    <a:pt x="591217" y="113919"/>
                    <a:pt x="605314" y="113919"/>
                  </a:cubicBezTo>
                  <a:close/>
                </a:path>
              </a:pathLst>
            </a:custGeom>
            <a:noFill/>
            <a:ln w="12700" cap="flat">
              <a:solidFill>
                <a:schemeClr val="tx2"/>
              </a:solidFill>
              <a:prstDash val="solid"/>
              <a:miter/>
            </a:ln>
          </p:spPr>
          <p:txBody>
            <a:bodyPr rtlCol="0" anchor="ctr"/>
            <a:lstStyle/>
            <a:p>
              <a:pPr defTabSz="914377">
                <a:defRPr/>
              </a:pPr>
              <a:endParaRPr lang="en-US">
                <a:solidFill>
                  <a:srgbClr val="555555"/>
                </a:solidFill>
                <a:latin typeface="Segoe UI"/>
              </a:endParaRPr>
            </a:p>
          </p:txBody>
        </p:sp>
        <p:sp>
          <p:nvSpPr>
            <p:cNvPr id="26" name="Freeform: Shape 25">
              <a:extLst>
                <a:ext uri="{FF2B5EF4-FFF2-40B4-BE49-F238E27FC236}">
                  <a16:creationId xmlns:a16="http://schemas.microsoft.com/office/drawing/2014/main" id="{B8BF40A6-073A-42FF-A680-BB86FB67E190}"/>
                </a:ext>
              </a:extLst>
            </p:cNvPr>
            <p:cNvSpPr/>
            <p:nvPr/>
          </p:nvSpPr>
          <p:spPr>
            <a:xfrm>
              <a:off x="4384559" y="2972757"/>
              <a:ext cx="381000" cy="504825"/>
            </a:xfrm>
            <a:custGeom>
              <a:avLst/>
              <a:gdLst>
                <a:gd name="connsiteX0" fmla="*/ 246718 w 381000"/>
                <a:gd name="connsiteY0" fmla="*/ 206637 h 504825"/>
                <a:gd name="connsiteX1" fmla="*/ 161056 w 381000"/>
                <a:gd name="connsiteY1" fmla="*/ 255741 h 504825"/>
                <a:gd name="connsiteX2" fmla="*/ 111952 w 381000"/>
                <a:gd name="connsiteY2" fmla="*/ 170080 h 504825"/>
                <a:gd name="connsiteX3" fmla="*/ 197378 w 381000"/>
                <a:gd name="connsiteY3" fmla="*/ 120912 h 504825"/>
                <a:gd name="connsiteX4" fmla="*/ 246718 w 381000"/>
                <a:gd name="connsiteY4" fmla="*/ 206637 h 504825"/>
                <a:gd name="connsiteX5" fmla="*/ 47455 w 381000"/>
                <a:gd name="connsiteY5" fmla="*/ 506294 h 504825"/>
                <a:gd name="connsiteX6" fmla="*/ 98604 w 381000"/>
                <a:gd name="connsiteY6" fmla="*/ 476576 h 504825"/>
                <a:gd name="connsiteX7" fmla="*/ 69720 w 381000"/>
                <a:gd name="connsiteY7" fmla="*/ 425904 h 504825"/>
                <a:gd name="connsiteX8" fmla="*/ 69362 w 381000"/>
                <a:gd name="connsiteY8" fmla="*/ 425807 h 504825"/>
                <a:gd name="connsiteX9" fmla="*/ 19157 w 381000"/>
                <a:gd name="connsiteY9" fmla="*/ 453039 h 504825"/>
                <a:gd name="connsiteX10" fmla="*/ 18594 w 381000"/>
                <a:gd name="connsiteY10" fmla="*/ 455144 h 504825"/>
                <a:gd name="connsiteX11" fmla="*/ 46719 w 381000"/>
                <a:gd name="connsiteY11" fmla="*/ 506089 h 504825"/>
                <a:gd name="connsiteX12" fmla="*/ 47455 w 381000"/>
                <a:gd name="connsiteY12" fmla="*/ 506294 h 504825"/>
                <a:gd name="connsiteX13" fmla="*/ 28881 w 381000"/>
                <a:gd name="connsiteY13" fmla="*/ 105291 h 504825"/>
                <a:gd name="connsiteX14" fmla="*/ 80394 w 381000"/>
                <a:gd name="connsiteY14" fmla="*/ 75436 h 504825"/>
                <a:gd name="connsiteX15" fmla="*/ 50979 w 381000"/>
                <a:gd name="connsiteY15" fmla="*/ 24043 h 504825"/>
                <a:gd name="connsiteX16" fmla="*/ 952 w 381000"/>
                <a:gd name="connsiteY16" fmla="*/ 56325 h 504825"/>
                <a:gd name="connsiteX17" fmla="*/ 29262 w 381000"/>
                <a:gd name="connsiteY17" fmla="*/ 105291 h 504825"/>
                <a:gd name="connsiteX18" fmla="*/ 265482 w 381000"/>
                <a:gd name="connsiteY18" fmla="*/ 81574 h 504825"/>
                <a:gd name="connsiteX19" fmla="*/ 316137 w 381000"/>
                <a:gd name="connsiteY19" fmla="*/ 52659 h 504825"/>
                <a:gd name="connsiteX20" fmla="*/ 316250 w 381000"/>
                <a:gd name="connsiteY20" fmla="*/ 52237 h 504825"/>
                <a:gd name="connsiteX21" fmla="*/ 287009 w 381000"/>
                <a:gd name="connsiteY21" fmla="*/ 1469 h 504825"/>
                <a:gd name="connsiteX22" fmla="*/ 236354 w 381000"/>
                <a:gd name="connsiteY22" fmla="*/ 30384 h 504825"/>
                <a:gd name="connsiteX23" fmla="*/ 236240 w 381000"/>
                <a:gd name="connsiteY23" fmla="*/ 30806 h 504825"/>
                <a:gd name="connsiteX24" fmla="*/ 263444 w 381000"/>
                <a:gd name="connsiteY24" fmla="*/ 81025 h 504825"/>
                <a:gd name="connsiteX25" fmla="*/ 265482 w 381000"/>
                <a:gd name="connsiteY25" fmla="*/ 81574 h 504825"/>
                <a:gd name="connsiteX26" fmla="*/ 336729 w 381000"/>
                <a:gd name="connsiteY26" fmla="*/ 245499 h 504825"/>
                <a:gd name="connsiteX27" fmla="*/ 388307 w 381000"/>
                <a:gd name="connsiteY27" fmla="*/ 215734 h 504825"/>
                <a:gd name="connsiteX28" fmla="*/ 358541 w 381000"/>
                <a:gd name="connsiteY28" fmla="*/ 164156 h 504825"/>
                <a:gd name="connsiteX29" fmla="*/ 306964 w 381000"/>
                <a:gd name="connsiteY29" fmla="*/ 193921 h 504825"/>
                <a:gd name="connsiteX30" fmla="*/ 336729 w 381000"/>
                <a:gd name="connsiteY30" fmla="*/ 245499 h 504825"/>
                <a:gd name="connsiteX31" fmla="*/ 140895 w 381000"/>
                <a:gd name="connsiteY31" fmla="*/ 246833 h 504825"/>
                <a:gd name="connsiteX32" fmla="*/ 71553 w 381000"/>
                <a:gd name="connsiteY32" fmla="*/ 419711 h 504825"/>
                <a:gd name="connsiteX33" fmla="*/ 127846 w 381000"/>
                <a:gd name="connsiteY33" fmla="*/ 142820 h 504825"/>
                <a:gd name="connsiteX34" fmla="*/ 71553 w 381000"/>
                <a:gd name="connsiteY34" fmla="*/ 92242 h 504825"/>
                <a:gd name="connsiteX35" fmla="*/ 218143 w 381000"/>
                <a:gd name="connsiteY35" fmla="*/ 130342 h 504825"/>
                <a:gd name="connsiteX36" fmla="*/ 253195 w 381000"/>
                <a:gd name="connsiteY36" fmla="*/ 77192 h 504825"/>
                <a:gd name="connsiteX37" fmla="*/ 305963 w 381000"/>
                <a:gd name="connsiteY37" fmla="*/ 201017 h 504825"/>
                <a:gd name="connsiteX38" fmla="*/ 248813 w 381000"/>
                <a:gd name="connsiteY38" fmla="*/ 195398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81000" h="504825">
                  <a:moveTo>
                    <a:pt x="246718" y="206637"/>
                  </a:moveTo>
                  <a:cubicBezTo>
                    <a:pt x="236623" y="243852"/>
                    <a:pt x="198271" y="265837"/>
                    <a:pt x="161056" y="255741"/>
                  </a:cubicBezTo>
                  <a:cubicBezTo>
                    <a:pt x="123842" y="245647"/>
                    <a:pt x="101857" y="207294"/>
                    <a:pt x="111952" y="170080"/>
                  </a:cubicBezTo>
                  <a:cubicBezTo>
                    <a:pt x="122021" y="132958"/>
                    <a:pt x="160220" y="110972"/>
                    <a:pt x="197378" y="120912"/>
                  </a:cubicBezTo>
                  <a:cubicBezTo>
                    <a:pt x="234377" y="131344"/>
                    <a:pt x="256284" y="169404"/>
                    <a:pt x="246718" y="206637"/>
                  </a:cubicBezTo>
                  <a:close/>
                  <a:moveTo>
                    <a:pt x="47455" y="506294"/>
                  </a:moveTo>
                  <a:cubicBezTo>
                    <a:pt x="69772" y="512109"/>
                    <a:pt x="92603" y="498843"/>
                    <a:pt x="98604" y="476576"/>
                  </a:cubicBezTo>
                  <a:cubicBezTo>
                    <a:pt x="104620" y="454606"/>
                    <a:pt x="91688" y="431920"/>
                    <a:pt x="69720" y="425904"/>
                  </a:cubicBezTo>
                  <a:cubicBezTo>
                    <a:pt x="69601" y="425871"/>
                    <a:pt x="69482" y="425839"/>
                    <a:pt x="69362" y="425807"/>
                  </a:cubicBezTo>
                  <a:cubicBezTo>
                    <a:pt x="47979" y="419464"/>
                    <a:pt x="25502" y="431655"/>
                    <a:pt x="19157" y="453039"/>
                  </a:cubicBezTo>
                  <a:cubicBezTo>
                    <a:pt x="18950" y="453736"/>
                    <a:pt x="18763" y="454438"/>
                    <a:pt x="18594" y="455144"/>
                  </a:cubicBezTo>
                  <a:cubicBezTo>
                    <a:pt x="12292" y="476979"/>
                    <a:pt x="24885" y="499787"/>
                    <a:pt x="46719" y="506089"/>
                  </a:cubicBezTo>
                  <a:cubicBezTo>
                    <a:pt x="46963" y="506159"/>
                    <a:pt x="47209" y="506228"/>
                    <a:pt x="47455" y="506294"/>
                  </a:cubicBezTo>
                  <a:close/>
                  <a:moveTo>
                    <a:pt x="28881" y="105291"/>
                  </a:moveTo>
                  <a:cubicBezTo>
                    <a:pt x="51351" y="111272"/>
                    <a:pt x="74414" y="97905"/>
                    <a:pt x="80394" y="75436"/>
                  </a:cubicBezTo>
                  <a:cubicBezTo>
                    <a:pt x="86328" y="53139"/>
                    <a:pt x="73211" y="30219"/>
                    <a:pt x="50979" y="24043"/>
                  </a:cubicBezTo>
                  <a:cubicBezTo>
                    <a:pt x="28250" y="19142"/>
                    <a:pt x="5852" y="33596"/>
                    <a:pt x="952" y="56325"/>
                  </a:cubicBezTo>
                  <a:cubicBezTo>
                    <a:pt x="-3613" y="77500"/>
                    <a:pt x="8634" y="98683"/>
                    <a:pt x="29262" y="105291"/>
                  </a:cubicBezTo>
                  <a:close/>
                  <a:moveTo>
                    <a:pt x="265482" y="81574"/>
                  </a:moveTo>
                  <a:cubicBezTo>
                    <a:pt x="287455" y="87578"/>
                    <a:pt x="310134" y="74632"/>
                    <a:pt x="316137" y="52659"/>
                  </a:cubicBezTo>
                  <a:cubicBezTo>
                    <a:pt x="316176" y="52519"/>
                    <a:pt x="316213" y="52378"/>
                    <a:pt x="316250" y="52237"/>
                  </a:cubicBezTo>
                  <a:cubicBezTo>
                    <a:pt x="321861" y="30188"/>
                    <a:pt x="308896" y="7679"/>
                    <a:pt x="287009" y="1469"/>
                  </a:cubicBezTo>
                  <a:cubicBezTo>
                    <a:pt x="265036" y="-4535"/>
                    <a:pt x="242357" y="8411"/>
                    <a:pt x="236354" y="30384"/>
                  </a:cubicBezTo>
                  <a:cubicBezTo>
                    <a:pt x="236315" y="30524"/>
                    <a:pt x="236278" y="30665"/>
                    <a:pt x="236240" y="30806"/>
                  </a:cubicBezTo>
                  <a:cubicBezTo>
                    <a:pt x="229884" y="52186"/>
                    <a:pt x="242064" y="74669"/>
                    <a:pt x="263444" y="81025"/>
                  </a:cubicBezTo>
                  <a:cubicBezTo>
                    <a:pt x="264118" y="81226"/>
                    <a:pt x="264798" y="81409"/>
                    <a:pt x="265482" y="81574"/>
                  </a:cubicBezTo>
                  <a:close/>
                  <a:moveTo>
                    <a:pt x="336729" y="245499"/>
                  </a:moveTo>
                  <a:cubicBezTo>
                    <a:pt x="359192" y="251523"/>
                    <a:pt x="382284" y="238196"/>
                    <a:pt x="388307" y="215734"/>
                  </a:cubicBezTo>
                  <a:cubicBezTo>
                    <a:pt x="394331" y="193271"/>
                    <a:pt x="381004" y="170179"/>
                    <a:pt x="358541" y="164156"/>
                  </a:cubicBezTo>
                  <a:cubicBezTo>
                    <a:pt x="336079" y="158132"/>
                    <a:pt x="312987" y="171459"/>
                    <a:pt x="306964" y="193921"/>
                  </a:cubicBezTo>
                  <a:cubicBezTo>
                    <a:pt x="300940" y="216384"/>
                    <a:pt x="314266" y="239476"/>
                    <a:pt x="336729" y="245499"/>
                  </a:cubicBezTo>
                  <a:close/>
                  <a:moveTo>
                    <a:pt x="140895" y="246833"/>
                  </a:moveTo>
                  <a:lnTo>
                    <a:pt x="71553" y="419711"/>
                  </a:lnTo>
                  <a:moveTo>
                    <a:pt x="127846" y="142820"/>
                  </a:moveTo>
                  <a:lnTo>
                    <a:pt x="71553" y="92242"/>
                  </a:lnTo>
                  <a:moveTo>
                    <a:pt x="218143" y="130342"/>
                  </a:moveTo>
                  <a:lnTo>
                    <a:pt x="253195" y="77192"/>
                  </a:lnTo>
                  <a:moveTo>
                    <a:pt x="305963" y="201017"/>
                  </a:moveTo>
                  <a:lnTo>
                    <a:pt x="248813" y="195398"/>
                  </a:lnTo>
                </a:path>
              </a:pathLst>
            </a:custGeom>
            <a:noFill/>
            <a:ln w="12700" cap="flat">
              <a:solidFill>
                <a:schemeClr val="tx2"/>
              </a:solidFill>
              <a:prstDash val="solid"/>
              <a:round/>
            </a:ln>
          </p:spPr>
          <p:txBody>
            <a:bodyPr rtlCol="0" anchor="ctr"/>
            <a:lstStyle/>
            <a:p>
              <a:pPr defTabSz="914377">
                <a:defRPr/>
              </a:pPr>
              <a:endParaRPr lang="en-US">
                <a:solidFill>
                  <a:srgbClr val="555555"/>
                </a:solidFill>
                <a:latin typeface="Segoe UI"/>
              </a:endParaRPr>
            </a:p>
          </p:txBody>
        </p:sp>
        <p:sp>
          <p:nvSpPr>
            <p:cNvPr id="27" name="Freeform: Shape 26">
              <a:extLst>
                <a:ext uri="{FF2B5EF4-FFF2-40B4-BE49-F238E27FC236}">
                  <a16:creationId xmlns:a16="http://schemas.microsoft.com/office/drawing/2014/main" id="{6DC8442F-18F2-4F6D-B674-B7C528294904}"/>
                </a:ext>
              </a:extLst>
            </p:cNvPr>
            <p:cNvSpPr/>
            <p:nvPr/>
          </p:nvSpPr>
          <p:spPr>
            <a:xfrm>
              <a:off x="4192688" y="2845639"/>
              <a:ext cx="752475" cy="419100"/>
            </a:xfrm>
            <a:custGeom>
              <a:avLst/>
              <a:gdLst>
                <a:gd name="connsiteX0" fmla="*/ 374486 w 752475"/>
                <a:gd name="connsiteY0" fmla="*/ 0 h 419100"/>
                <a:gd name="connsiteX1" fmla="*/ 539364 w 752475"/>
                <a:gd name="connsiteY1" fmla="*/ 110109 h 419100"/>
                <a:gd name="connsiteX2" fmla="*/ 541269 w 752475"/>
                <a:gd name="connsiteY2" fmla="*/ 115062 h 419100"/>
                <a:gd name="connsiteX3" fmla="*/ 555270 w 752475"/>
                <a:gd name="connsiteY3" fmla="*/ 110109 h 419100"/>
                <a:gd name="connsiteX4" fmla="*/ 602229 w 752475"/>
                <a:gd name="connsiteY4" fmla="*/ 103061 h 419100"/>
                <a:gd name="connsiteX5" fmla="*/ 761753 w 752475"/>
                <a:gd name="connsiteY5" fmla="*/ 261670 h 419100"/>
                <a:gd name="connsiteX6" fmla="*/ 618231 w 752475"/>
                <a:gd name="connsiteY6" fmla="*/ 420434 h 419100"/>
                <a:gd name="connsiteX7" fmla="*/ 606229 w 752475"/>
                <a:gd name="connsiteY7" fmla="*/ 421386 h 419100"/>
                <a:gd name="connsiteX8" fmla="*/ 88736 w 752475"/>
                <a:gd name="connsiteY8" fmla="*/ 421386 h 419100"/>
                <a:gd name="connsiteX9" fmla="*/ 81687 w 752475"/>
                <a:gd name="connsiteY9" fmla="*/ 422434 h 419100"/>
                <a:gd name="connsiteX10" fmla="*/ 64733 w 752475"/>
                <a:gd name="connsiteY10" fmla="*/ 419386 h 419100"/>
                <a:gd name="connsiteX11" fmla="*/ 3072 w 752475"/>
                <a:gd name="connsiteY11" fmla="*/ 311887 h 419100"/>
                <a:gd name="connsiteX12" fmla="*/ 91689 w 752475"/>
                <a:gd name="connsiteY12" fmla="*/ 247269 h 419100"/>
                <a:gd name="connsiteX13" fmla="*/ 98737 w 752475"/>
                <a:gd name="connsiteY13" fmla="*/ 249269 h 419100"/>
                <a:gd name="connsiteX14" fmla="*/ 96737 w 752475"/>
                <a:gd name="connsiteY14" fmla="*/ 238220 h 419100"/>
                <a:gd name="connsiteX15" fmla="*/ 109500 w 752475"/>
                <a:gd name="connsiteY15" fmla="*/ 179165 h 419100"/>
                <a:gd name="connsiteX16" fmla="*/ 191606 w 752475"/>
                <a:gd name="connsiteY16" fmla="*/ 128588 h 419100"/>
                <a:gd name="connsiteX17" fmla="*/ 203607 w 752475"/>
                <a:gd name="connsiteY17" fmla="*/ 128588 h 419100"/>
                <a:gd name="connsiteX18" fmla="*/ 203607 w 752475"/>
                <a:gd name="connsiteY18" fmla="*/ 127635 h 419100"/>
                <a:gd name="connsiteX19" fmla="*/ 374486 w 752475"/>
                <a:gd name="connsiteY19" fmla="*/ 0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2475" h="419100">
                  <a:moveTo>
                    <a:pt x="374486" y="0"/>
                  </a:moveTo>
                  <a:cubicBezTo>
                    <a:pt x="446526" y="406"/>
                    <a:pt x="511387" y="43722"/>
                    <a:pt x="539364" y="110109"/>
                  </a:cubicBezTo>
                  <a:lnTo>
                    <a:pt x="541269" y="115062"/>
                  </a:lnTo>
                  <a:lnTo>
                    <a:pt x="555270" y="110109"/>
                  </a:lnTo>
                  <a:cubicBezTo>
                    <a:pt x="570441" y="105243"/>
                    <a:pt x="586298" y="102862"/>
                    <a:pt x="602229" y="103061"/>
                  </a:cubicBezTo>
                  <a:cubicBezTo>
                    <a:pt x="690079" y="102808"/>
                    <a:pt x="761500" y="173820"/>
                    <a:pt x="761753" y="261670"/>
                  </a:cubicBezTo>
                  <a:cubicBezTo>
                    <a:pt x="761989" y="343675"/>
                    <a:pt x="699844" y="412420"/>
                    <a:pt x="618231" y="420434"/>
                  </a:cubicBezTo>
                  <a:lnTo>
                    <a:pt x="606229" y="421386"/>
                  </a:lnTo>
                  <a:lnTo>
                    <a:pt x="88736" y="421386"/>
                  </a:lnTo>
                  <a:lnTo>
                    <a:pt x="81687" y="422434"/>
                  </a:lnTo>
                  <a:cubicBezTo>
                    <a:pt x="75782" y="421386"/>
                    <a:pt x="69781" y="420434"/>
                    <a:pt x="64733" y="419386"/>
                  </a:cubicBezTo>
                  <a:cubicBezTo>
                    <a:pt x="18021" y="406728"/>
                    <a:pt x="-9586" y="358599"/>
                    <a:pt x="3072" y="311887"/>
                  </a:cubicBezTo>
                  <a:cubicBezTo>
                    <a:pt x="13815" y="272241"/>
                    <a:pt x="50656" y="245376"/>
                    <a:pt x="91689" y="247269"/>
                  </a:cubicBezTo>
                  <a:lnTo>
                    <a:pt x="98737" y="249269"/>
                  </a:lnTo>
                  <a:lnTo>
                    <a:pt x="96737" y="238220"/>
                  </a:lnTo>
                  <a:cubicBezTo>
                    <a:pt x="95546" y="217742"/>
                    <a:pt x="99958" y="197325"/>
                    <a:pt x="109500" y="179165"/>
                  </a:cubicBezTo>
                  <a:cubicBezTo>
                    <a:pt x="126593" y="149543"/>
                    <a:pt x="157462" y="130529"/>
                    <a:pt x="191606" y="128588"/>
                  </a:cubicBezTo>
                  <a:lnTo>
                    <a:pt x="203607" y="128588"/>
                  </a:lnTo>
                  <a:lnTo>
                    <a:pt x="203607" y="127635"/>
                  </a:lnTo>
                  <a:cubicBezTo>
                    <a:pt x="226335" y="52165"/>
                    <a:pt x="295669" y="377"/>
                    <a:pt x="374486" y="0"/>
                  </a:cubicBezTo>
                  <a:close/>
                </a:path>
              </a:pathLst>
            </a:custGeom>
            <a:noFill/>
            <a:ln w="12700" cap="flat">
              <a:solidFill>
                <a:schemeClr val="tx2"/>
              </a:solidFill>
              <a:prstDash val="solid"/>
              <a:miter/>
            </a:ln>
          </p:spPr>
          <p:txBody>
            <a:bodyPr rtlCol="0" anchor="ctr"/>
            <a:lstStyle/>
            <a:p>
              <a:pPr defTabSz="914377">
                <a:defRPr/>
              </a:pPr>
              <a:endParaRPr lang="en-US">
                <a:solidFill>
                  <a:srgbClr val="555555"/>
                </a:solidFill>
                <a:latin typeface="Segoe UI"/>
              </a:endParaRPr>
            </a:p>
          </p:txBody>
        </p:sp>
      </p:grpSp>
      <p:sp>
        <p:nvSpPr>
          <p:cNvPr id="41" name="TextBox 40">
            <a:extLst>
              <a:ext uri="{FF2B5EF4-FFF2-40B4-BE49-F238E27FC236}">
                <a16:creationId xmlns:a16="http://schemas.microsoft.com/office/drawing/2014/main" id="{DD23FE39-2C0D-423F-82D1-8E855FE612D7}"/>
              </a:ext>
            </a:extLst>
          </p:cNvPr>
          <p:cNvSpPr txBox="1"/>
          <p:nvPr/>
        </p:nvSpPr>
        <p:spPr>
          <a:xfrm>
            <a:off x="281145" y="6271053"/>
            <a:ext cx="2040068" cy="378565"/>
          </a:xfrm>
          <a:prstGeom prst="rect">
            <a:avLst/>
          </a:prstGeom>
          <a:solidFill>
            <a:schemeClr val="tx2"/>
          </a:solidFill>
          <a:ln>
            <a:noFill/>
          </a:ln>
        </p:spPr>
        <p:txBody>
          <a:bodyPr wrap="square" lIns="91440" tIns="91440" rIns="91440" bIns="91440" rtlCol="0">
            <a:spAutoFit/>
          </a:bodyPr>
          <a:lstStyle/>
          <a:p>
            <a:pPr algn="ctr" defTabSz="914377">
              <a:lnSpc>
                <a:spcPct val="90000"/>
              </a:lnSpc>
              <a:spcBef>
                <a:spcPts val="600"/>
              </a:spcBef>
              <a:defRPr/>
            </a:pPr>
            <a:r>
              <a:rPr lang="en-US" sz="1400">
                <a:solidFill>
                  <a:srgbClr val="FFFFFF"/>
                </a:solidFill>
                <a:latin typeface="Segoe UI Semibold" panose="020B0702040204020203" pitchFamily="34" charset="0"/>
                <a:cs typeface="Segoe UI Semibold" panose="020B0702040204020203" pitchFamily="34" charset="0"/>
              </a:rPr>
              <a:t>INTELLIGENT EDGE</a:t>
            </a:r>
          </a:p>
        </p:txBody>
      </p:sp>
      <p:sp>
        <p:nvSpPr>
          <p:cNvPr id="42" name="TextBox 41">
            <a:extLst>
              <a:ext uri="{FF2B5EF4-FFF2-40B4-BE49-F238E27FC236}">
                <a16:creationId xmlns:a16="http://schemas.microsoft.com/office/drawing/2014/main" id="{C2782886-1CC2-4FED-BA72-DF6912A56DD7}"/>
              </a:ext>
            </a:extLst>
          </p:cNvPr>
          <p:cNvSpPr txBox="1"/>
          <p:nvPr/>
        </p:nvSpPr>
        <p:spPr>
          <a:xfrm>
            <a:off x="238535" y="2933305"/>
            <a:ext cx="2034363" cy="378565"/>
          </a:xfrm>
          <a:prstGeom prst="rect">
            <a:avLst/>
          </a:prstGeom>
          <a:solidFill>
            <a:schemeClr val="accent1"/>
          </a:solidFill>
          <a:ln>
            <a:noFill/>
          </a:ln>
        </p:spPr>
        <p:txBody>
          <a:bodyPr wrap="square" lIns="91440" tIns="91440" rIns="91440" bIns="91440" rtlCol="0">
            <a:spAutoFit/>
          </a:bodyPr>
          <a:lstStyle>
            <a:defPPr>
              <a:defRPr lang="en-US"/>
            </a:defPPr>
            <a:lvl1pPr algn="ctr">
              <a:lnSpc>
                <a:spcPct val="90000"/>
              </a:lnSpc>
              <a:spcBef>
                <a:spcPts val="600"/>
              </a:spcBef>
              <a:defRPr sz="1400">
                <a:solidFill>
                  <a:schemeClr val="bg1"/>
                </a:solidFill>
                <a:latin typeface="Segoe UI Semibold" panose="020B0702040204020203" pitchFamily="34" charset="0"/>
                <a:cs typeface="Segoe UI Semibold" panose="020B0702040204020203" pitchFamily="34" charset="0"/>
              </a:defRPr>
            </a:lvl1pPr>
          </a:lstStyle>
          <a:p>
            <a:pPr defTabSz="914377">
              <a:defRPr/>
            </a:pPr>
            <a:r>
              <a:rPr lang="en-US">
                <a:solidFill>
                  <a:srgbClr val="FFFFFF"/>
                </a:solidFill>
              </a:rPr>
              <a:t>INTELLIGENT CLOUD</a:t>
            </a:r>
          </a:p>
        </p:txBody>
      </p:sp>
      <p:cxnSp>
        <p:nvCxnSpPr>
          <p:cNvPr id="3" name="Connector: Elbow 2">
            <a:extLst>
              <a:ext uri="{FF2B5EF4-FFF2-40B4-BE49-F238E27FC236}">
                <a16:creationId xmlns:a16="http://schemas.microsoft.com/office/drawing/2014/main" id="{1FCBD200-3627-4906-97F4-424027D24F4D}"/>
              </a:ext>
            </a:extLst>
          </p:cNvPr>
          <p:cNvCxnSpPr>
            <a:cxnSpLocks/>
            <a:stCxn id="36" idx="2"/>
            <a:endCxn id="15" idx="0"/>
          </p:cNvCxnSpPr>
          <p:nvPr/>
        </p:nvCxnSpPr>
        <p:spPr>
          <a:xfrm rot="5400000">
            <a:off x="3345027" y="1596641"/>
            <a:ext cx="1197220" cy="4304728"/>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070AE035-5622-4AEE-9CD3-183677190D76}"/>
              </a:ext>
            </a:extLst>
          </p:cNvPr>
          <p:cNvCxnSpPr>
            <a:cxnSpLocks/>
            <a:stCxn id="36" idx="2"/>
            <a:endCxn id="74" idx="0"/>
          </p:cNvCxnSpPr>
          <p:nvPr/>
        </p:nvCxnSpPr>
        <p:spPr>
          <a:xfrm rot="5400000">
            <a:off x="4780657" y="3032271"/>
            <a:ext cx="1197220" cy="1433469"/>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4842ED96-8647-4EF5-8F73-FE2D14501B00}"/>
              </a:ext>
            </a:extLst>
          </p:cNvPr>
          <p:cNvCxnSpPr>
            <a:cxnSpLocks/>
            <a:stCxn id="36" idx="2"/>
            <a:endCxn id="78" idx="0"/>
          </p:cNvCxnSpPr>
          <p:nvPr/>
        </p:nvCxnSpPr>
        <p:spPr>
          <a:xfrm rot="16200000" flipH="1">
            <a:off x="6220234" y="3026162"/>
            <a:ext cx="1197220" cy="1445686"/>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27FDC2BA-CEE7-4646-88E0-5C84CF1307CA}"/>
              </a:ext>
            </a:extLst>
          </p:cNvPr>
          <p:cNvCxnSpPr>
            <a:cxnSpLocks/>
            <a:stCxn id="36" idx="2"/>
            <a:endCxn id="82" idx="0"/>
          </p:cNvCxnSpPr>
          <p:nvPr/>
        </p:nvCxnSpPr>
        <p:spPr>
          <a:xfrm rot="16200000" flipH="1">
            <a:off x="7684542" y="1561853"/>
            <a:ext cx="1197220" cy="4374303"/>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40" name="Table 39">
            <a:extLst>
              <a:ext uri="{FF2B5EF4-FFF2-40B4-BE49-F238E27FC236}">
                <a16:creationId xmlns:a16="http://schemas.microsoft.com/office/drawing/2014/main" id="{300B2FF9-EB4F-4D72-9E09-5B04F198F91C}"/>
              </a:ext>
            </a:extLst>
          </p:cNvPr>
          <p:cNvGraphicFramePr>
            <a:graphicFrameLocks noGrp="1"/>
          </p:cNvGraphicFramePr>
          <p:nvPr/>
        </p:nvGraphicFramePr>
        <p:xfrm>
          <a:off x="12370435" y="39665"/>
          <a:ext cx="3032248" cy="2895600"/>
        </p:xfrm>
        <a:graphic>
          <a:graphicData uri="http://schemas.openxmlformats.org/drawingml/2006/table">
            <a:tbl>
              <a:tblPr firstRow="1" bandRow="1"/>
              <a:tblGrid>
                <a:gridCol w="2536063">
                  <a:extLst>
                    <a:ext uri="{9D8B030D-6E8A-4147-A177-3AD203B41FA5}">
                      <a16:colId xmlns:a16="http://schemas.microsoft.com/office/drawing/2014/main" val="2209810524"/>
                    </a:ext>
                  </a:extLst>
                </a:gridCol>
                <a:gridCol w="496185">
                  <a:extLst>
                    <a:ext uri="{9D8B030D-6E8A-4147-A177-3AD203B41FA5}">
                      <a16:colId xmlns:a16="http://schemas.microsoft.com/office/drawing/2014/main" val="1772490998"/>
                    </a:ext>
                  </a:extLst>
                </a:gridCol>
              </a:tblGrid>
              <a:tr h="335280">
                <a:tc>
                  <a:txBody>
                    <a:bodyPr/>
                    <a:lstStyle>
                      <a:lvl1pPr marL="0" algn="l" defTabSz="914377" rtl="0" eaLnBrk="1" latinLnBrk="0" hangingPunct="1">
                        <a:defRPr sz="1867" b="1" kern="1200">
                          <a:solidFill>
                            <a:schemeClr val="lt1"/>
                          </a:solidFill>
                          <a:latin typeface="Segoe UI"/>
                        </a:defRPr>
                      </a:lvl1pPr>
                      <a:lvl2pPr marL="457189" algn="l" defTabSz="914377" rtl="0" eaLnBrk="1" latinLnBrk="0" hangingPunct="1">
                        <a:defRPr sz="1867" b="1" kern="1200">
                          <a:solidFill>
                            <a:schemeClr val="lt1"/>
                          </a:solidFill>
                          <a:latin typeface="Segoe UI"/>
                        </a:defRPr>
                      </a:lvl2pPr>
                      <a:lvl3pPr marL="914377" algn="l" defTabSz="914377" rtl="0" eaLnBrk="1" latinLnBrk="0" hangingPunct="1">
                        <a:defRPr sz="1867" b="1" kern="1200">
                          <a:solidFill>
                            <a:schemeClr val="lt1"/>
                          </a:solidFill>
                          <a:latin typeface="Segoe UI"/>
                        </a:defRPr>
                      </a:lvl3pPr>
                      <a:lvl4pPr marL="1371566" algn="l" defTabSz="914377" rtl="0" eaLnBrk="1" latinLnBrk="0" hangingPunct="1">
                        <a:defRPr sz="1867" b="1" kern="1200">
                          <a:solidFill>
                            <a:schemeClr val="lt1"/>
                          </a:solidFill>
                          <a:latin typeface="Segoe UI"/>
                        </a:defRPr>
                      </a:lvl4pPr>
                      <a:lvl5pPr marL="1828754" algn="l" defTabSz="914377" rtl="0" eaLnBrk="1" latinLnBrk="0" hangingPunct="1">
                        <a:defRPr sz="1867" b="1" kern="1200">
                          <a:solidFill>
                            <a:schemeClr val="lt1"/>
                          </a:solidFill>
                          <a:latin typeface="Segoe UI"/>
                        </a:defRPr>
                      </a:lvl5pPr>
                      <a:lvl6pPr marL="2285943" algn="l" defTabSz="914377" rtl="0" eaLnBrk="1" latinLnBrk="0" hangingPunct="1">
                        <a:defRPr sz="1867" b="1" kern="1200">
                          <a:solidFill>
                            <a:schemeClr val="lt1"/>
                          </a:solidFill>
                          <a:latin typeface="Segoe UI"/>
                        </a:defRPr>
                      </a:lvl6pPr>
                      <a:lvl7pPr marL="2743131" algn="l" defTabSz="914377" rtl="0" eaLnBrk="1" latinLnBrk="0" hangingPunct="1">
                        <a:defRPr sz="1867" b="1" kern="1200">
                          <a:solidFill>
                            <a:schemeClr val="lt1"/>
                          </a:solidFill>
                          <a:latin typeface="Segoe UI"/>
                        </a:defRPr>
                      </a:lvl7pPr>
                      <a:lvl8pPr marL="3200320" algn="l" defTabSz="914377" rtl="0" eaLnBrk="1" latinLnBrk="0" hangingPunct="1">
                        <a:defRPr sz="1867" b="1" kern="1200">
                          <a:solidFill>
                            <a:schemeClr val="lt1"/>
                          </a:solidFill>
                          <a:latin typeface="Segoe UI"/>
                        </a:defRPr>
                      </a:lvl8pPr>
                      <a:lvl9pPr marL="3657509" algn="l" defTabSz="914377" rtl="0" eaLnBrk="1" latinLnBrk="0" hangingPunct="1">
                        <a:defRPr sz="1867" b="1" kern="1200">
                          <a:solidFill>
                            <a:schemeClr val="lt1"/>
                          </a:solidFill>
                          <a:latin typeface="Segoe UI"/>
                        </a:defRPr>
                      </a:lvl9pPr>
                    </a:lstStyle>
                    <a:p>
                      <a:pPr>
                        <a:buNone/>
                      </a:pPr>
                      <a:r>
                        <a:rPr lang="en-US" sz="1400">
                          <a:solidFill>
                            <a:srgbClr val="FFFFFF"/>
                          </a:solidFill>
                        </a:rPr>
                        <a:t>Slide</a:t>
                      </a:r>
                      <a:r>
                        <a:rPr lang="en-US" sz="1400" baseline="0">
                          <a:solidFill>
                            <a:srgbClr val="FFFFFF"/>
                          </a:solidFill>
                        </a:rPr>
                        <a:t> status</a:t>
                      </a:r>
                      <a:endParaRPr lang="en-US" sz="1400">
                        <a:solidFill>
                          <a:srgbClr val="FFFFFF"/>
                        </a:solidFill>
                      </a:endParaRPr>
                    </a:p>
                  </a:txBody>
                  <a:tcPr marL="121920" marR="121920" marT="60960" marB="609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377" rtl="0" eaLnBrk="1" latinLnBrk="0" hangingPunct="1">
                        <a:defRPr sz="1867" b="1" kern="1200">
                          <a:solidFill>
                            <a:schemeClr val="lt1"/>
                          </a:solidFill>
                          <a:latin typeface="Segoe UI"/>
                        </a:defRPr>
                      </a:lvl1pPr>
                      <a:lvl2pPr marL="457189" algn="l" defTabSz="914377" rtl="0" eaLnBrk="1" latinLnBrk="0" hangingPunct="1">
                        <a:defRPr sz="1867" b="1" kern="1200">
                          <a:solidFill>
                            <a:schemeClr val="lt1"/>
                          </a:solidFill>
                          <a:latin typeface="Segoe UI"/>
                        </a:defRPr>
                      </a:lvl2pPr>
                      <a:lvl3pPr marL="914377" algn="l" defTabSz="914377" rtl="0" eaLnBrk="1" latinLnBrk="0" hangingPunct="1">
                        <a:defRPr sz="1867" b="1" kern="1200">
                          <a:solidFill>
                            <a:schemeClr val="lt1"/>
                          </a:solidFill>
                          <a:latin typeface="Segoe UI"/>
                        </a:defRPr>
                      </a:lvl3pPr>
                      <a:lvl4pPr marL="1371566" algn="l" defTabSz="914377" rtl="0" eaLnBrk="1" latinLnBrk="0" hangingPunct="1">
                        <a:defRPr sz="1867" b="1" kern="1200">
                          <a:solidFill>
                            <a:schemeClr val="lt1"/>
                          </a:solidFill>
                          <a:latin typeface="Segoe UI"/>
                        </a:defRPr>
                      </a:lvl4pPr>
                      <a:lvl5pPr marL="1828754" algn="l" defTabSz="914377" rtl="0" eaLnBrk="1" latinLnBrk="0" hangingPunct="1">
                        <a:defRPr sz="1867" b="1" kern="1200">
                          <a:solidFill>
                            <a:schemeClr val="lt1"/>
                          </a:solidFill>
                          <a:latin typeface="Segoe UI"/>
                        </a:defRPr>
                      </a:lvl5pPr>
                      <a:lvl6pPr marL="2285943" algn="l" defTabSz="914377" rtl="0" eaLnBrk="1" latinLnBrk="0" hangingPunct="1">
                        <a:defRPr sz="1867" b="1" kern="1200">
                          <a:solidFill>
                            <a:schemeClr val="lt1"/>
                          </a:solidFill>
                          <a:latin typeface="Segoe UI"/>
                        </a:defRPr>
                      </a:lvl6pPr>
                      <a:lvl7pPr marL="2743131" algn="l" defTabSz="914377" rtl="0" eaLnBrk="1" latinLnBrk="0" hangingPunct="1">
                        <a:defRPr sz="1867" b="1" kern="1200">
                          <a:solidFill>
                            <a:schemeClr val="lt1"/>
                          </a:solidFill>
                          <a:latin typeface="Segoe UI"/>
                        </a:defRPr>
                      </a:lvl7pPr>
                      <a:lvl8pPr marL="3200320" algn="l" defTabSz="914377" rtl="0" eaLnBrk="1" latinLnBrk="0" hangingPunct="1">
                        <a:defRPr sz="1867" b="1" kern="1200">
                          <a:solidFill>
                            <a:schemeClr val="lt1"/>
                          </a:solidFill>
                          <a:latin typeface="Segoe UI"/>
                        </a:defRPr>
                      </a:lvl8pPr>
                      <a:lvl9pPr marL="3657509" algn="l" defTabSz="914377" rtl="0" eaLnBrk="1" latinLnBrk="0" hangingPunct="1">
                        <a:defRPr sz="1867" b="1" kern="1200">
                          <a:solidFill>
                            <a:schemeClr val="lt1"/>
                          </a:solidFill>
                          <a:latin typeface="Segoe UI"/>
                        </a:defRPr>
                      </a:lvl9pPr>
                    </a:lstStyle>
                    <a:p>
                      <a:endParaRPr lang="en-US" sz="1400">
                        <a:solidFill>
                          <a:schemeClr val="bg2"/>
                        </a:solidFill>
                      </a:endParaRPr>
                    </a:p>
                  </a:txBody>
                  <a:tcPr marL="121920" marR="121920" marT="60960" marB="609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649444171"/>
                  </a:ext>
                </a:extLst>
              </a:tr>
              <a:tr h="335280">
                <a:tc>
                  <a:txBody>
                    <a:bodyPr/>
                    <a:lstStyle>
                      <a:lvl1pPr marL="0" algn="l" defTabSz="914377" rtl="0" eaLnBrk="1" latinLnBrk="0" hangingPunct="1">
                        <a:defRPr sz="1867" kern="1200">
                          <a:solidFill>
                            <a:schemeClr val="dk1"/>
                          </a:solidFill>
                          <a:latin typeface="Segoe UI"/>
                        </a:defRPr>
                      </a:lvl1pPr>
                      <a:lvl2pPr marL="457189" algn="l" defTabSz="914377" rtl="0" eaLnBrk="1" latinLnBrk="0" hangingPunct="1">
                        <a:defRPr sz="1867" kern="1200">
                          <a:solidFill>
                            <a:schemeClr val="dk1"/>
                          </a:solidFill>
                          <a:latin typeface="Segoe UI"/>
                        </a:defRPr>
                      </a:lvl2pPr>
                      <a:lvl3pPr marL="914377" algn="l" defTabSz="914377" rtl="0" eaLnBrk="1" latinLnBrk="0" hangingPunct="1">
                        <a:defRPr sz="1867" kern="1200">
                          <a:solidFill>
                            <a:schemeClr val="dk1"/>
                          </a:solidFill>
                          <a:latin typeface="Segoe UI"/>
                        </a:defRPr>
                      </a:lvl3pPr>
                      <a:lvl4pPr marL="1371566" algn="l" defTabSz="914377" rtl="0" eaLnBrk="1" latinLnBrk="0" hangingPunct="1">
                        <a:defRPr sz="1867" kern="1200">
                          <a:solidFill>
                            <a:schemeClr val="dk1"/>
                          </a:solidFill>
                          <a:latin typeface="Segoe UI"/>
                        </a:defRPr>
                      </a:lvl4pPr>
                      <a:lvl5pPr marL="1828754" algn="l" defTabSz="914377" rtl="0" eaLnBrk="1" latinLnBrk="0" hangingPunct="1">
                        <a:defRPr sz="1867" kern="1200">
                          <a:solidFill>
                            <a:schemeClr val="dk1"/>
                          </a:solidFill>
                          <a:latin typeface="Segoe UI"/>
                        </a:defRPr>
                      </a:lvl5pPr>
                      <a:lvl6pPr marL="2285943" algn="l" defTabSz="914377" rtl="0" eaLnBrk="1" latinLnBrk="0" hangingPunct="1">
                        <a:defRPr sz="1867" kern="1200">
                          <a:solidFill>
                            <a:schemeClr val="dk1"/>
                          </a:solidFill>
                          <a:latin typeface="Segoe UI"/>
                        </a:defRPr>
                      </a:lvl6pPr>
                      <a:lvl7pPr marL="2743131" algn="l" defTabSz="914377" rtl="0" eaLnBrk="1" latinLnBrk="0" hangingPunct="1">
                        <a:defRPr sz="1867" kern="1200">
                          <a:solidFill>
                            <a:schemeClr val="dk1"/>
                          </a:solidFill>
                          <a:latin typeface="Segoe UI"/>
                        </a:defRPr>
                      </a:lvl7pPr>
                      <a:lvl8pPr marL="3200320" algn="l" defTabSz="914377" rtl="0" eaLnBrk="1" latinLnBrk="0" hangingPunct="1">
                        <a:defRPr sz="1867" kern="1200">
                          <a:solidFill>
                            <a:schemeClr val="dk1"/>
                          </a:solidFill>
                          <a:latin typeface="Segoe UI"/>
                        </a:defRPr>
                      </a:lvl8pPr>
                      <a:lvl9pPr marL="3657509" algn="l" defTabSz="914377" rtl="0" eaLnBrk="1" latinLnBrk="0" hangingPunct="1">
                        <a:defRPr sz="1867" kern="1200">
                          <a:solidFill>
                            <a:schemeClr val="dk1"/>
                          </a:solidFill>
                          <a:latin typeface="Segoe UI"/>
                        </a:defRPr>
                      </a:lvl9pPr>
                    </a:lstStyle>
                    <a:p>
                      <a:pPr>
                        <a:buNone/>
                      </a:pPr>
                      <a:r>
                        <a:rPr lang="en-US" sz="1400">
                          <a:solidFill>
                            <a:srgbClr val="000000"/>
                          </a:solidFill>
                        </a:rPr>
                        <a:t>Copy done</a:t>
                      </a: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67" kern="1200">
                          <a:solidFill>
                            <a:schemeClr val="dk1"/>
                          </a:solidFill>
                          <a:latin typeface="Segoe UI"/>
                        </a:defRPr>
                      </a:lvl1pPr>
                      <a:lvl2pPr marL="457189" algn="l" defTabSz="914377" rtl="0" eaLnBrk="1" latinLnBrk="0" hangingPunct="1">
                        <a:defRPr sz="1867" kern="1200">
                          <a:solidFill>
                            <a:schemeClr val="dk1"/>
                          </a:solidFill>
                          <a:latin typeface="Segoe UI"/>
                        </a:defRPr>
                      </a:lvl2pPr>
                      <a:lvl3pPr marL="914377" algn="l" defTabSz="914377" rtl="0" eaLnBrk="1" latinLnBrk="0" hangingPunct="1">
                        <a:defRPr sz="1867" kern="1200">
                          <a:solidFill>
                            <a:schemeClr val="dk1"/>
                          </a:solidFill>
                          <a:latin typeface="Segoe UI"/>
                        </a:defRPr>
                      </a:lvl3pPr>
                      <a:lvl4pPr marL="1371566" algn="l" defTabSz="914377" rtl="0" eaLnBrk="1" latinLnBrk="0" hangingPunct="1">
                        <a:defRPr sz="1867" kern="1200">
                          <a:solidFill>
                            <a:schemeClr val="dk1"/>
                          </a:solidFill>
                          <a:latin typeface="Segoe UI"/>
                        </a:defRPr>
                      </a:lvl4pPr>
                      <a:lvl5pPr marL="1828754" algn="l" defTabSz="914377" rtl="0" eaLnBrk="1" latinLnBrk="0" hangingPunct="1">
                        <a:defRPr sz="1867" kern="1200">
                          <a:solidFill>
                            <a:schemeClr val="dk1"/>
                          </a:solidFill>
                          <a:latin typeface="Segoe UI"/>
                        </a:defRPr>
                      </a:lvl5pPr>
                      <a:lvl6pPr marL="2285943" algn="l" defTabSz="914377" rtl="0" eaLnBrk="1" latinLnBrk="0" hangingPunct="1">
                        <a:defRPr sz="1867" kern="1200">
                          <a:solidFill>
                            <a:schemeClr val="dk1"/>
                          </a:solidFill>
                          <a:latin typeface="Segoe UI"/>
                        </a:defRPr>
                      </a:lvl6pPr>
                      <a:lvl7pPr marL="2743131" algn="l" defTabSz="914377" rtl="0" eaLnBrk="1" latinLnBrk="0" hangingPunct="1">
                        <a:defRPr sz="1867" kern="1200">
                          <a:solidFill>
                            <a:schemeClr val="dk1"/>
                          </a:solidFill>
                          <a:latin typeface="Segoe UI"/>
                        </a:defRPr>
                      </a:lvl7pPr>
                      <a:lvl8pPr marL="3200320" algn="l" defTabSz="914377" rtl="0" eaLnBrk="1" latinLnBrk="0" hangingPunct="1">
                        <a:defRPr sz="1867" kern="1200">
                          <a:solidFill>
                            <a:schemeClr val="dk1"/>
                          </a:solidFill>
                          <a:latin typeface="Segoe UI"/>
                        </a:defRPr>
                      </a:lvl8pPr>
                      <a:lvl9pPr marL="3657509" algn="l" defTabSz="914377" rtl="0" eaLnBrk="1" latinLnBrk="0" hangingPunct="1">
                        <a:defRPr sz="1867" kern="1200">
                          <a:solidFill>
                            <a:schemeClr val="dk1"/>
                          </a:solidFill>
                          <a:latin typeface="Segoe UI"/>
                        </a:defRPr>
                      </a:lvl9pPr>
                    </a:lstStyle>
                    <a:p>
                      <a:pPr algn="ctr"/>
                      <a:endParaRPr lang="en-US" sz="1400">
                        <a:solidFill>
                          <a:schemeClr val="bg2"/>
                        </a:solidFill>
                      </a:endParaRP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7755900"/>
                  </a:ext>
                </a:extLst>
              </a:tr>
              <a:tr h="335280">
                <a:tc>
                  <a:txBody>
                    <a:bodyPr/>
                    <a:lstStyle>
                      <a:lvl1pPr marL="0" algn="l" defTabSz="914377" rtl="0" eaLnBrk="1" latinLnBrk="0" hangingPunct="1">
                        <a:defRPr sz="1867" kern="1200">
                          <a:solidFill>
                            <a:schemeClr val="dk1"/>
                          </a:solidFill>
                          <a:latin typeface="Segoe UI"/>
                        </a:defRPr>
                      </a:lvl1pPr>
                      <a:lvl2pPr marL="457189" algn="l" defTabSz="914377" rtl="0" eaLnBrk="1" latinLnBrk="0" hangingPunct="1">
                        <a:defRPr sz="1867" kern="1200">
                          <a:solidFill>
                            <a:schemeClr val="dk1"/>
                          </a:solidFill>
                          <a:latin typeface="Segoe UI"/>
                        </a:defRPr>
                      </a:lvl2pPr>
                      <a:lvl3pPr marL="914377" algn="l" defTabSz="914377" rtl="0" eaLnBrk="1" latinLnBrk="0" hangingPunct="1">
                        <a:defRPr sz="1867" kern="1200">
                          <a:solidFill>
                            <a:schemeClr val="dk1"/>
                          </a:solidFill>
                          <a:latin typeface="Segoe UI"/>
                        </a:defRPr>
                      </a:lvl3pPr>
                      <a:lvl4pPr marL="1371566" algn="l" defTabSz="914377" rtl="0" eaLnBrk="1" latinLnBrk="0" hangingPunct="1">
                        <a:defRPr sz="1867" kern="1200">
                          <a:solidFill>
                            <a:schemeClr val="dk1"/>
                          </a:solidFill>
                          <a:latin typeface="Segoe UI"/>
                        </a:defRPr>
                      </a:lvl4pPr>
                      <a:lvl5pPr marL="1828754" algn="l" defTabSz="914377" rtl="0" eaLnBrk="1" latinLnBrk="0" hangingPunct="1">
                        <a:defRPr sz="1867" kern="1200">
                          <a:solidFill>
                            <a:schemeClr val="dk1"/>
                          </a:solidFill>
                          <a:latin typeface="Segoe UI"/>
                        </a:defRPr>
                      </a:lvl5pPr>
                      <a:lvl6pPr marL="2285943" algn="l" defTabSz="914377" rtl="0" eaLnBrk="1" latinLnBrk="0" hangingPunct="1">
                        <a:defRPr sz="1867" kern="1200">
                          <a:solidFill>
                            <a:schemeClr val="dk1"/>
                          </a:solidFill>
                          <a:latin typeface="Segoe UI"/>
                        </a:defRPr>
                      </a:lvl6pPr>
                      <a:lvl7pPr marL="2743131" algn="l" defTabSz="914377" rtl="0" eaLnBrk="1" latinLnBrk="0" hangingPunct="1">
                        <a:defRPr sz="1867" kern="1200">
                          <a:solidFill>
                            <a:schemeClr val="dk1"/>
                          </a:solidFill>
                          <a:latin typeface="Segoe UI"/>
                        </a:defRPr>
                      </a:lvl7pPr>
                      <a:lvl8pPr marL="3200320" algn="l" defTabSz="914377" rtl="0" eaLnBrk="1" latinLnBrk="0" hangingPunct="1">
                        <a:defRPr sz="1867" kern="1200">
                          <a:solidFill>
                            <a:schemeClr val="dk1"/>
                          </a:solidFill>
                          <a:latin typeface="Segoe UI"/>
                        </a:defRPr>
                      </a:lvl8pPr>
                      <a:lvl9pPr marL="3657509" algn="l" defTabSz="914377" rtl="0" eaLnBrk="1" latinLnBrk="0" hangingPunct="1">
                        <a:defRPr sz="1867" kern="1200">
                          <a:solidFill>
                            <a:schemeClr val="dk1"/>
                          </a:solidFill>
                          <a:latin typeface="Segoe UI"/>
                        </a:defRPr>
                      </a:lvl9pPr>
                    </a:lstStyle>
                    <a:p>
                      <a:pPr>
                        <a:buNone/>
                      </a:pPr>
                      <a:r>
                        <a:rPr lang="en-US" sz="1400">
                          <a:solidFill>
                            <a:srgbClr val="000000"/>
                          </a:solidFill>
                        </a:rPr>
                        <a:t>CELA approved</a:t>
                      </a: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67" kern="1200">
                          <a:solidFill>
                            <a:schemeClr val="dk1"/>
                          </a:solidFill>
                          <a:latin typeface="Segoe UI"/>
                        </a:defRPr>
                      </a:lvl1pPr>
                      <a:lvl2pPr marL="457189" algn="l" defTabSz="914377" rtl="0" eaLnBrk="1" latinLnBrk="0" hangingPunct="1">
                        <a:defRPr sz="1867" kern="1200">
                          <a:solidFill>
                            <a:schemeClr val="dk1"/>
                          </a:solidFill>
                          <a:latin typeface="Segoe UI"/>
                        </a:defRPr>
                      </a:lvl2pPr>
                      <a:lvl3pPr marL="914377" algn="l" defTabSz="914377" rtl="0" eaLnBrk="1" latinLnBrk="0" hangingPunct="1">
                        <a:defRPr sz="1867" kern="1200">
                          <a:solidFill>
                            <a:schemeClr val="dk1"/>
                          </a:solidFill>
                          <a:latin typeface="Segoe UI"/>
                        </a:defRPr>
                      </a:lvl3pPr>
                      <a:lvl4pPr marL="1371566" algn="l" defTabSz="914377" rtl="0" eaLnBrk="1" latinLnBrk="0" hangingPunct="1">
                        <a:defRPr sz="1867" kern="1200">
                          <a:solidFill>
                            <a:schemeClr val="dk1"/>
                          </a:solidFill>
                          <a:latin typeface="Segoe UI"/>
                        </a:defRPr>
                      </a:lvl4pPr>
                      <a:lvl5pPr marL="1828754" algn="l" defTabSz="914377" rtl="0" eaLnBrk="1" latinLnBrk="0" hangingPunct="1">
                        <a:defRPr sz="1867" kern="1200">
                          <a:solidFill>
                            <a:schemeClr val="dk1"/>
                          </a:solidFill>
                          <a:latin typeface="Segoe UI"/>
                        </a:defRPr>
                      </a:lvl5pPr>
                      <a:lvl6pPr marL="2285943" algn="l" defTabSz="914377" rtl="0" eaLnBrk="1" latinLnBrk="0" hangingPunct="1">
                        <a:defRPr sz="1867" kern="1200">
                          <a:solidFill>
                            <a:schemeClr val="dk1"/>
                          </a:solidFill>
                          <a:latin typeface="Segoe UI"/>
                        </a:defRPr>
                      </a:lvl6pPr>
                      <a:lvl7pPr marL="2743131" algn="l" defTabSz="914377" rtl="0" eaLnBrk="1" latinLnBrk="0" hangingPunct="1">
                        <a:defRPr sz="1867" kern="1200">
                          <a:solidFill>
                            <a:schemeClr val="dk1"/>
                          </a:solidFill>
                          <a:latin typeface="Segoe UI"/>
                        </a:defRPr>
                      </a:lvl7pPr>
                      <a:lvl8pPr marL="3200320" algn="l" defTabSz="914377" rtl="0" eaLnBrk="1" latinLnBrk="0" hangingPunct="1">
                        <a:defRPr sz="1867" kern="1200">
                          <a:solidFill>
                            <a:schemeClr val="dk1"/>
                          </a:solidFill>
                          <a:latin typeface="Segoe UI"/>
                        </a:defRPr>
                      </a:lvl8pPr>
                      <a:lvl9pPr marL="3657509" algn="l" defTabSz="914377" rtl="0" eaLnBrk="1" latinLnBrk="0" hangingPunct="1">
                        <a:defRPr sz="1867" kern="1200">
                          <a:solidFill>
                            <a:schemeClr val="dk1"/>
                          </a:solidFill>
                          <a:latin typeface="Segoe UI"/>
                        </a:defRPr>
                      </a:lvl9pPr>
                    </a:lstStyle>
                    <a:p>
                      <a:pPr algn="ctr"/>
                      <a:endParaRPr lang="en-US" sz="1400">
                        <a:solidFill>
                          <a:schemeClr val="bg2"/>
                        </a:solidFill>
                      </a:endParaRP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33917363"/>
                  </a:ext>
                </a:extLst>
              </a:tr>
              <a:tr h="335280">
                <a:tc>
                  <a:txBody>
                    <a:bodyPr/>
                    <a:lstStyle>
                      <a:lvl1pPr marL="0" algn="l" defTabSz="914377" rtl="0" eaLnBrk="1" latinLnBrk="0" hangingPunct="1">
                        <a:defRPr sz="1867" kern="1200">
                          <a:solidFill>
                            <a:schemeClr val="dk1"/>
                          </a:solidFill>
                          <a:latin typeface="Segoe UI"/>
                        </a:defRPr>
                      </a:lvl1pPr>
                      <a:lvl2pPr marL="457189" algn="l" defTabSz="914377" rtl="0" eaLnBrk="1" latinLnBrk="0" hangingPunct="1">
                        <a:defRPr sz="1867" kern="1200">
                          <a:solidFill>
                            <a:schemeClr val="dk1"/>
                          </a:solidFill>
                          <a:latin typeface="Segoe UI"/>
                        </a:defRPr>
                      </a:lvl2pPr>
                      <a:lvl3pPr marL="914377" algn="l" defTabSz="914377" rtl="0" eaLnBrk="1" latinLnBrk="0" hangingPunct="1">
                        <a:defRPr sz="1867" kern="1200">
                          <a:solidFill>
                            <a:schemeClr val="dk1"/>
                          </a:solidFill>
                          <a:latin typeface="Segoe UI"/>
                        </a:defRPr>
                      </a:lvl3pPr>
                      <a:lvl4pPr marL="1371566" algn="l" defTabSz="914377" rtl="0" eaLnBrk="1" latinLnBrk="0" hangingPunct="1">
                        <a:defRPr sz="1867" kern="1200">
                          <a:solidFill>
                            <a:schemeClr val="dk1"/>
                          </a:solidFill>
                          <a:latin typeface="Segoe UI"/>
                        </a:defRPr>
                      </a:lvl4pPr>
                      <a:lvl5pPr marL="1828754" algn="l" defTabSz="914377" rtl="0" eaLnBrk="1" latinLnBrk="0" hangingPunct="1">
                        <a:defRPr sz="1867" kern="1200">
                          <a:solidFill>
                            <a:schemeClr val="dk1"/>
                          </a:solidFill>
                          <a:latin typeface="Segoe UI"/>
                        </a:defRPr>
                      </a:lvl5pPr>
                      <a:lvl6pPr marL="2285943" algn="l" defTabSz="914377" rtl="0" eaLnBrk="1" latinLnBrk="0" hangingPunct="1">
                        <a:defRPr sz="1867" kern="1200">
                          <a:solidFill>
                            <a:schemeClr val="dk1"/>
                          </a:solidFill>
                          <a:latin typeface="Segoe UI"/>
                        </a:defRPr>
                      </a:lvl6pPr>
                      <a:lvl7pPr marL="2743131" algn="l" defTabSz="914377" rtl="0" eaLnBrk="1" latinLnBrk="0" hangingPunct="1">
                        <a:defRPr sz="1867" kern="1200">
                          <a:solidFill>
                            <a:schemeClr val="dk1"/>
                          </a:solidFill>
                          <a:latin typeface="Segoe UI"/>
                        </a:defRPr>
                      </a:lvl7pPr>
                      <a:lvl8pPr marL="3200320" algn="l" defTabSz="914377" rtl="0" eaLnBrk="1" latinLnBrk="0" hangingPunct="1">
                        <a:defRPr sz="1867" kern="1200">
                          <a:solidFill>
                            <a:schemeClr val="dk1"/>
                          </a:solidFill>
                          <a:latin typeface="Segoe UI"/>
                        </a:defRPr>
                      </a:lvl8pPr>
                      <a:lvl9pPr marL="3657509" algn="l" defTabSz="914377" rtl="0" eaLnBrk="1" latinLnBrk="0" hangingPunct="1">
                        <a:defRPr sz="1867" kern="1200">
                          <a:solidFill>
                            <a:schemeClr val="dk1"/>
                          </a:solidFill>
                          <a:latin typeface="Segoe UI"/>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400">
                          <a:solidFill>
                            <a:srgbClr val="000000"/>
                          </a:solidFill>
                        </a:rPr>
                        <a:t>Design done</a:t>
                      </a: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67" kern="1200">
                          <a:solidFill>
                            <a:schemeClr val="dk1"/>
                          </a:solidFill>
                          <a:latin typeface="Segoe UI"/>
                        </a:defRPr>
                      </a:lvl1pPr>
                      <a:lvl2pPr marL="457189" algn="l" defTabSz="914377" rtl="0" eaLnBrk="1" latinLnBrk="0" hangingPunct="1">
                        <a:defRPr sz="1867" kern="1200">
                          <a:solidFill>
                            <a:schemeClr val="dk1"/>
                          </a:solidFill>
                          <a:latin typeface="Segoe UI"/>
                        </a:defRPr>
                      </a:lvl2pPr>
                      <a:lvl3pPr marL="914377" algn="l" defTabSz="914377" rtl="0" eaLnBrk="1" latinLnBrk="0" hangingPunct="1">
                        <a:defRPr sz="1867" kern="1200">
                          <a:solidFill>
                            <a:schemeClr val="dk1"/>
                          </a:solidFill>
                          <a:latin typeface="Segoe UI"/>
                        </a:defRPr>
                      </a:lvl3pPr>
                      <a:lvl4pPr marL="1371566" algn="l" defTabSz="914377" rtl="0" eaLnBrk="1" latinLnBrk="0" hangingPunct="1">
                        <a:defRPr sz="1867" kern="1200">
                          <a:solidFill>
                            <a:schemeClr val="dk1"/>
                          </a:solidFill>
                          <a:latin typeface="Segoe UI"/>
                        </a:defRPr>
                      </a:lvl4pPr>
                      <a:lvl5pPr marL="1828754" algn="l" defTabSz="914377" rtl="0" eaLnBrk="1" latinLnBrk="0" hangingPunct="1">
                        <a:defRPr sz="1867" kern="1200">
                          <a:solidFill>
                            <a:schemeClr val="dk1"/>
                          </a:solidFill>
                          <a:latin typeface="Segoe UI"/>
                        </a:defRPr>
                      </a:lvl5pPr>
                      <a:lvl6pPr marL="2285943" algn="l" defTabSz="914377" rtl="0" eaLnBrk="1" latinLnBrk="0" hangingPunct="1">
                        <a:defRPr sz="1867" kern="1200">
                          <a:solidFill>
                            <a:schemeClr val="dk1"/>
                          </a:solidFill>
                          <a:latin typeface="Segoe UI"/>
                        </a:defRPr>
                      </a:lvl6pPr>
                      <a:lvl7pPr marL="2743131" algn="l" defTabSz="914377" rtl="0" eaLnBrk="1" latinLnBrk="0" hangingPunct="1">
                        <a:defRPr sz="1867" kern="1200">
                          <a:solidFill>
                            <a:schemeClr val="dk1"/>
                          </a:solidFill>
                          <a:latin typeface="Segoe UI"/>
                        </a:defRPr>
                      </a:lvl7pPr>
                      <a:lvl8pPr marL="3200320" algn="l" defTabSz="914377" rtl="0" eaLnBrk="1" latinLnBrk="0" hangingPunct="1">
                        <a:defRPr sz="1867" kern="1200">
                          <a:solidFill>
                            <a:schemeClr val="dk1"/>
                          </a:solidFill>
                          <a:latin typeface="Segoe UI"/>
                        </a:defRPr>
                      </a:lvl8pPr>
                      <a:lvl9pPr marL="3657509" algn="l" defTabSz="914377" rtl="0" eaLnBrk="1" latinLnBrk="0" hangingPunct="1">
                        <a:defRPr sz="1867" kern="1200">
                          <a:solidFill>
                            <a:schemeClr val="dk1"/>
                          </a:solidFill>
                          <a:latin typeface="Segoe UI"/>
                        </a:defRPr>
                      </a:lvl9pPr>
                    </a:lstStyle>
                    <a:p>
                      <a:pPr algn="ctr"/>
                      <a:endParaRPr lang="en-US" sz="1400">
                        <a:solidFill>
                          <a:schemeClr val="bg2"/>
                        </a:solidFill>
                      </a:endParaRP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39656401"/>
                  </a:ext>
                </a:extLst>
              </a:tr>
              <a:tr h="335280">
                <a:tc>
                  <a:txBody>
                    <a:bodyPr/>
                    <a:lstStyle>
                      <a:lvl1pPr marL="0" algn="l" defTabSz="914377" rtl="0" eaLnBrk="1" latinLnBrk="0" hangingPunct="1">
                        <a:defRPr sz="1867" kern="1200">
                          <a:solidFill>
                            <a:schemeClr val="dk1"/>
                          </a:solidFill>
                          <a:latin typeface="Segoe UI"/>
                        </a:defRPr>
                      </a:lvl1pPr>
                      <a:lvl2pPr marL="457189" algn="l" defTabSz="914377" rtl="0" eaLnBrk="1" latinLnBrk="0" hangingPunct="1">
                        <a:defRPr sz="1867" kern="1200">
                          <a:solidFill>
                            <a:schemeClr val="dk1"/>
                          </a:solidFill>
                          <a:latin typeface="Segoe UI"/>
                        </a:defRPr>
                      </a:lvl2pPr>
                      <a:lvl3pPr marL="914377" algn="l" defTabSz="914377" rtl="0" eaLnBrk="1" latinLnBrk="0" hangingPunct="1">
                        <a:defRPr sz="1867" kern="1200">
                          <a:solidFill>
                            <a:schemeClr val="dk1"/>
                          </a:solidFill>
                          <a:latin typeface="Segoe UI"/>
                        </a:defRPr>
                      </a:lvl3pPr>
                      <a:lvl4pPr marL="1371566" algn="l" defTabSz="914377" rtl="0" eaLnBrk="1" latinLnBrk="0" hangingPunct="1">
                        <a:defRPr sz="1867" kern="1200">
                          <a:solidFill>
                            <a:schemeClr val="dk1"/>
                          </a:solidFill>
                          <a:latin typeface="Segoe UI"/>
                        </a:defRPr>
                      </a:lvl4pPr>
                      <a:lvl5pPr marL="1828754" algn="l" defTabSz="914377" rtl="0" eaLnBrk="1" latinLnBrk="0" hangingPunct="1">
                        <a:defRPr sz="1867" kern="1200">
                          <a:solidFill>
                            <a:schemeClr val="dk1"/>
                          </a:solidFill>
                          <a:latin typeface="Segoe UI"/>
                        </a:defRPr>
                      </a:lvl5pPr>
                      <a:lvl6pPr marL="2285943" algn="l" defTabSz="914377" rtl="0" eaLnBrk="1" latinLnBrk="0" hangingPunct="1">
                        <a:defRPr sz="1867" kern="1200">
                          <a:solidFill>
                            <a:schemeClr val="dk1"/>
                          </a:solidFill>
                          <a:latin typeface="Segoe UI"/>
                        </a:defRPr>
                      </a:lvl6pPr>
                      <a:lvl7pPr marL="2743131" algn="l" defTabSz="914377" rtl="0" eaLnBrk="1" latinLnBrk="0" hangingPunct="1">
                        <a:defRPr sz="1867" kern="1200">
                          <a:solidFill>
                            <a:schemeClr val="dk1"/>
                          </a:solidFill>
                          <a:latin typeface="Segoe UI"/>
                        </a:defRPr>
                      </a:lvl7pPr>
                      <a:lvl8pPr marL="3200320" algn="l" defTabSz="914377" rtl="0" eaLnBrk="1" latinLnBrk="0" hangingPunct="1">
                        <a:defRPr sz="1867" kern="1200">
                          <a:solidFill>
                            <a:schemeClr val="dk1"/>
                          </a:solidFill>
                          <a:latin typeface="Segoe UI"/>
                        </a:defRPr>
                      </a:lvl8pPr>
                      <a:lvl9pPr marL="3657509" algn="l" defTabSz="914377" rtl="0" eaLnBrk="1" latinLnBrk="0" hangingPunct="1">
                        <a:defRPr sz="1867" kern="1200">
                          <a:solidFill>
                            <a:schemeClr val="dk1"/>
                          </a:solidFill>
                          <a:latin typeface="Segoe UI"/>
                        </a:defRPr>
                      </a:lvl9pPr>
                    </a:lstStyle>
                    <a:p>
                      <a:pPr>
                        <a:buNone/>
                      </a:pPr>
                      <a:r>
                        <a:rPr lang="en-US" sz="1400">
                          <a:solidFill>
                            <a:srgbClr val="000000"/>
                          </a:solidFill>
                        </a:rPr>
                        <a:t>Engineering signed off</a:t>
                      </a: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67" kern="1200">
                          <a:solidFill>
                            <a:schemeClr val="dk1"/>
                          </a:solidFill>
                          <a:latin typeface="Segoe UI"/>
                        </a:defRPr>
                      </a:lvl1pPr>
                      <a:lvl2pPr marL="457189" algn="l" defTabSz="914377" rtl="0" eaLnBrk="1" latinLnBrk="0" hangingPunct="1">
                        <a:defRPr sz="1867" kern="1200">
                          <a:solidFill>
                            <a:schemeClr val="dk1"/>
                          </a:solidFill>
                          <a:latin typeface="Segoe UI"/>
                        </a:defRPr>
                      </a:lvl2pPr>
                      <a:lvl3pPr marL="914377" algn="l" defTabSz="914377" rtl="0" eaLnBrk="1" latinLnBrk="0" hangingPunct="1">
                        <a:defRPr sz="1867" kern="1200">
                          <a:solidFill>
                            <a:schemeClr val="dk1"/>
                          </a:solidFill>
                          <a:latin typeface="Segoe UI"/>
                        </a:defRPr>
                      </a:lvl3pPr>
                      <a:lvl4pPr marL="1371566" algn="l" defTabSz="914377" rtl="0" eaLnBrk="1" latinLnBrk="0" hangingPunct="1">
                        <a:defRPr sz="1867" kern="1200">
                          <a:solidFill>
                            <a:schemeClr val="dk1"/>
                          </a:solidFill>
                          <a:latin typeface="Segoe UI"/>
                        </a:defRPr>
                      </a:lvl4pPr>
                      <a:lvl5pPr marL="1828754" algn="l" defTabSz="914377" rtl="0" eaLnBrk="1" latinLnBrk="0" hangingPunct="1">
                        <a:defRPr sz="1867" kern="1200">
                          <a:solidFill>
                            <a:schemeClr val="dk1"/>
                          </a:solidFill>
                          <a:latin typeface="Segoe UI"/>
                        </a:defRPr>
                      </a:lvl5pPr>
                      <a:lvl6pPr marL="2285943" algn="l" defTabSz="914377" rtl="0" eaLnBrk="1" latinLnBrk="0" hangingPunct="1">
                        <a:defRPr sz="1867" kern="1200">
                          <a:solidFill>
                            <a:schemeClr val="dk1"/>
                          </a:solidFill>
                          <a:latin typeface="Segoe UI"/>
                        </a:defRPr>
                      </a:lvl6pPr>
                      <a:lvl7pPr marL="2743131" algn="l" defTabSz="914377" rtl="0" eaLnBrk="1" latinLnBrk="0" hangingPunct="1">
                        <a:defRPr sz="1867" kern="1200">
                          <a:solidFill>
                            <a:schemeClr val="dk1"/>
                          </a:solidFill>
                          <a:latin typeface="Segoe UI"/>
                        </a:defRPr>
                      </a:lvl7pPr>
                      <a:lvl8pPr marL="3200320" algn="l" defTabSz="914377" rtl="0" eaLnBrk="1" latinLnBrk="0" hangingPunct="1">
                        <a:defRPr sz="1867" kern="1200">
                          <a:solidFill>
                            <a:schemeClr val="dk1"/>
                          </a:solidFill>
                          <a:latin typeface="Segoe UI"/>
                        </a:defRPr>
                      </a:lvl8pPr>
                      <a:lvl9pPr marL="3657509" algn="l" defTabSz="914377" rtl="0" eaLnBrk="1" latinLnBrk="0" hangingPunct="1">
                        <a:defRPr sz="1867" kern="1200">
                          <a:solidFill>
                            <a:schemeClr val="dk1"/>
                          </a:solidFill>
                          <a:latin typeface="Segoe UI"/>
                        </a:defRPr>
                      </a:lvl9pPr>
                    </a:lstStyle>
                    <a:p>
                      <a:pPr algn="ctr"/>
                      <a:endParaRPr lang="en-US" sz="1400">
                        <a:solidFill>
                          <a:schemeClr val="bg2"/>
                        </a:solidFill>
                      </a:endParaRP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46054016"/>
                  </a:ext>
                </a:extLst>
              </a:tr>
              <a:tr h="335280">
                <a:tc>
                  <a:txBody>
                    <a:bodyPr/>
                    <a:lstStyle>
                      <a:lvl1pPr marL="0" algn="l" defTabSz="914377" rtl="0" eaLnBrk="1" latinLnBrk="0" hangingPunct="1">
                        <a:defRPr sz="1867" kern="1200">
                          <a:solidFill>
                            <a:schemeClr val="dk1"/>
                          </a:solidFill>
                          <a:latin typeface="Segoe UI"/>
                        </a:defRPr>
                      </a:lvl1pPr>
                      <a:lvl2pPr marL="457189" algn="l" defTabSz="914377" rtl="0" eaLnBrk="1" latinLnBrk="0" hangingPunct="1">
                        <a:defRPr sz="1867" kern="1200">
                          <a:solidFill>
                            <a:schemeClr val="dk1"/>
                          </a:solidFill>
                          <a:latin typeface="Segoe UI"/>
                        </a:defRPr>
                      </a:lvl2pPr>
                      <a:lvl3pPr marL="914377" algn="l" defTabSz="914377" rtl="0" eaLnBrk="1" latinLnBrk="0" hangingPunct="1">
                        <a:defRPr sz="1867" kern="1200">
                          <a:solidFill>
                            <a:schemeClr val="dk1"/>
                          </a:solidFill>
                          <a:latin typeface="Segoe UI"/>
                        </a:defRPr>
                      </a:lvl3pPr>
                      <a:lvl4pPr marL="1371566" algn="l" defTabSz="914377" rtl="0" eaLnBrk="1" latinLnBrk="0" hangingPunct="1">
                        <a:defRPr sz="1867" kern="1200">
                          <a:solidFill>
                            <a:schemeClr val="dk1"/>
                          </a:solidFill>
                          <a:latin typeface="Segoe UI"/>
                        </a:defRPr>
                      </a:lvl4pPr>
                      <a:lvl5pPr marL="1828754" algn="l" defTabSz="914377" rtl="0" eaLnBrk="1" latinLnBrk="0" hangingPunct="1">
                        <a:defRPr sz="1867" kern="1200">
                          <a:solidFill>
                            <a:schemeClr val="dk1"/>
                          </a:solidFill>
                          <a:latin typeface="Segoe UI"/>
                        </a:defRPr>
                      </a:lvl5pPr>
                      <a:lvl6pPr marL="2285943" algn="l" defTabSz="914377" rtl="0" eaLnBrk="1" latinLnBrk="0" hangingPunct="1">
                        <a:defRPr sz="1867" kern="1200">
                          <a:solidFill>
                            <a:schemeClr val="dk1"/>
                          </a:solidFill>
                          <a:latin typeface="Segoe UI"/>
                        </a:defRPr>
                      </a:lvl6pPr>
                      <a:lvl7pPr marL="2743131" algn="l" defTabSz="914377" rtl="0" eaLnBrk="1" latinLnBrk="0" hangingPunct="1">
                        <a:defRPr sz="1867" kern="1200">
                          <a:solidFill>
                            <a:schemeClr val="dk1"/>
                          </a:solidFill>
                          <a:latin typeface="Segoe UI"/>
                        </a:defRPr>
                      </a:lvl7pPr>
                      <a:lvl8pPr marL="3200320" algn="l" defTabSz="914377" rtl="0" eaLnBrk="1" latinLnBrk="0" hangingPunct="1">
                        <a:defRPr sz="1867" kern="1200">
                          <a:solidFill>
                            <a:schemeClr val="dk1"/>
                          </a:solidFill>
                          <a:latin typeface="Segoe UI"/>
                        </a:defRPr>
                      </a:lvl8pPr>
                      <a:lvl9pPr marL="3657509" algn="l" defTabSz="914377" rtl="0" eaLnBrk="1" latinLnBrk="0" hangingPunct="1">
                        <a:defRPr sz="1867" kern="1200">
                          <a:solidFill>
                            <a:schemeClr val="dk1"/>
                          </a:solidFill>
                          <a:latin typeface="Segoe UI"/>
                        </a:defRPr>
                      </a:lvl9pPr>
                    </a:lstStyle>
                    <a:p>
                      <a:pPr>
                        <a:buNone/>
                      </a:pPr>
                      <a:r>
                        <a:rPr lang="en-US" sz="1400">
                          <a:solidFill>
                            <a:srgbClr val="000000"/>
                          </a:solidFill>
                        </a:rPr>
                        <a:t>Slide approved/FINAL</a:t>
                      </a: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67" kern="1200">
                          <a:solidFill>
                            <a:schemeClr val="dk1"/>
                          </a:solidFill>
                          <a:latin typeface="Segoe UI"/>
                        </a:defRPr>
                      </a:lvl1pPr>
                      <a:lvl2pPr marL="457189" algn="l" defTabSz="914377" rtl="0" eaLnBrk="1" latinLnBrk="0" hangingPunct="1">
                        <a:defRPr sz="1867" kern="1200">
                          <a:solidFill>
                            <a:schemeClr val="dk1"/>
                          </a:solidFill>
                          <a:latin typeface="Segoe UI"/>
                        </a:defRPr>
                      </a:lvl2pPr>
                      <a:lvl3pPr marL="914377" algn="l" defTabSz="914377" rtl="0" eaLnBrk="1" latinLnBrk="0" hangingPunct="1">
                        <a:defRPr sz="1867" kern="1200">
                          <a:solidFill>
                            <a:schemeClr val="dk1"/>
                          </a:solidFill>
                          <a:latin typeface="Segoe UI"/>
                        </a:defRPr>
                      </a:lvl3pPr>
                      <a:lvl4pPr marL="1371566" algn="l" defTabSz="914377" rtl="0" eaLnBrk="1" latinLnBrk="0" hangingPunct="1">
                        <a:defRPr sz="1867" kern="1200">
                          <a:solidFill>
                            <a:schemeClr val="dk1"/>
                          </a:solidFill>
                          <a:latin typeface="Segoe UI"/>
                        </a:defRPr>
                      </a:lvl4pPr>
                      <a:lvl5pPr marL="1828754" algn="l" defTabSz="914377" rtl="0" eaLnBrk="1" latinLnBrk="0" hangingPunct="1">
                        <a:defRPr sz="1867" kern="1200">
                          <a:solidFill>
                            <a:schemeClr val="dk1"/>
                          </a:solidFill>
                          <a:latin typeface="Segoe UI"/>
                        </a:defRPr>
                      </a:lvl5pPr>
                      <a:lvl6pPr marL="2285943" algn="l" defTabSz="914377" rtl="0" eaLnBrk="1" latinLnBrk="0" hangingPunct="1">
                        <a:defRPr sz="1867" kern="1200">
                          <a:solidFill>
                            <a:schemeClr val="dk1"/>
                          </a:solidFill>
                          <a:latin typeface="Segoe UI"/>
                        </a:defRPr>
                      </a:lvl6pPr>
                      <a:lvl7pPr marL="2743131" algn="l" defTabSz="914377" rtl="0" eaLnBrk="1" latinLnBrk="0" hangingPunct="1">
                        <a:defRPr sz="1867" kern="1200">
                          <a:solidFill>
                            <a:schemeClr val="dk1"/>
                          </a:solidFill>
                          <a:latin typeface="Segoe UI"/>
                        </a:defRPr>
                      </a:lvl7pPr>
                      <a:lvl8pPr marL="3200320" algn="l" defTabSz="914377" rtl="0" eaLnBrk="1" latinLnBrk="0" hangingPunct="1">
                        <a:defRPr sz="1867" kern="1200">
                          <a:solidFill>
                            <a:schemeClr val="dk1"/>
                          </a:solidFill>
                          <a:latin typeface="Segoe UI"/>
                        </a:defRPr>
                      </a:lvl8pPr>
                      <a:lvl9pPr marL="3657509" algn="l" defTabSz="914377" rtl="0" eaLnBrk="1" latinLnBrk="0" hangingPunct="1">
                        <a:defRPr sz="1867" kern="1200">
                          <a:solidFill>
                            <a:schemeClr val="dk1"/>
                          </a:solidFill>
                          <a:latin typeface="Segoe UI"/>
                        </a:defRPr>
                      </a:lvl9pPr>
                    </a:lstStyle>
                    <a:p>
                      <a:pPr algn="ctr"/>
                      <a:endParaRPr lang="en-US" sz="1400">
                        <a:solidFill>
                          <a:schemeClr val="bg2"/>
                        </a:solidFill>
                      </a:endParaRP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2864803"/>
                  </a:ext>
                </a:extLst>
              </a:tr>
              <a:tr h="548640">
                <a:tc gridSpan="2">
                  <a:txBody>
                    <a:bodyPr/>
                    <a:lstStyle/>
                    <a:p>
                      <a:pPr>
                        <a:buNone/>
                      </a:pPr>
                      <a:r>
                        <a:rPr lang="en-US" sz="1400" b="1">
                          <a:solidFill>
                            <a:srgbClr val="000000"/>
                          </a:solidFill>
                        </a:rPr>
                        <a:t>Comments</a:t>
                      </a:r>
                    </a:p>
                    <a:p>
                      <a:pPr>
                        <a:buNone/>
                      </a:pPr>
                      <a:endParaRPr lang="en-US" sz="1400" b="1">
                        <a:solidFill>
                          <a:srgbClr val="000000"/>
                        </a:solidFill>
                      </a:endParaRP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2208783039"/>
                  </a:ext>
                </a:extLst>
              </a:tr>
              <a:tr h="335280">
                <a:tc gridSpan="2">
                  <a:txBody>
                    <a:bodyPr/>
                    <a:lstStyle/>
                    <a:p>
                      <a:endParaRPr lang="en-US" sz="1400">
                        <a:solidFill>
                          <a:schemeClr val="bg2"/>
                        </a:solidFill>
                      </a:endParaRP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4054642781"/>
                  </a:ext>
                </a:extLst>
              </a:tr>
            </a:tbl>
          </a:graphicData>
        </a:graphic>
      </p:graphicFrame>
    </p:spTree>
    <p:extLst>
      <p:ext uri="{BB962C8B-B14F-4D97-AF65-F5344CB8AC3E}">
        <p14:creationId xmlns:p14="http://schemas.microsoft.com/office/powerpoint/2010/main" val="341502124"/>
      </p:ext>
    </p:extLst>
  </p:cSld>
  <p:clrMapOvr>
    <a:overrideClrMapping bg1="lt1" tx1="dk1" bg2="lt2" tx2="dk2" accent1="accent1" accent2="accent2" accent3="accent3" accent4="accent4" accent5="accent5" accent6="accent6" hlink="hlink" folHlink="folHlink"/>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6669" y="312783"/>
            <a:ext cx="11018520" cy="984885"/>
          </a:xfrm>
        </p:spPr>
        <p:txBody>
          <a:bodyPr/>
          <a:lstStyle/>
          <a:p>
            <a:pPr algn="l"/>
            <a:r>
              <a:rPr lang="en-US" dirty="0"/>
              <a:t>Insight IoT Offer </a:t>
            </a:r>
            <a:br>
              <a:rPr lang="en-US" sz="2800" dirty="0"/>
            </a:br>
            <a:r>
              <a:rPr lang="en-US" sz="2800" spc="-40" dirty="0">
                <a:gradFill>
                  <a:gsLst>
                    <a:gs pos="36713">
                      <a:schemeClr val="accent1"/>
                    </a:gs>
                    <a:gs pos="54000">
                      <a:schemeClr val="accent1"/>
                    </a:gs>
                  </a:gsLst>
                  <a:lin ang="5400000" scaled="0"/>
                </a:gradFill>
              </a:rPr>
              <a:t>Engagement model</a:t>
            </a:r>
          </a:p>
        </p:txBody>
      </p:sp>
      <p:sp>
        <p:nvSpPr>
          <p:cNvPr id="75" name="TextBox 74">
            <a:extLst>
              <a:ext uri="{FF2B5EF4-FFF2-40B4-BE49-F238E27FC236}">
                <a16:creationId xmlns:a16="http://schemas.microsoft.com/office/drawing/2014/main" id="{6422D392-078E-4989-AD8F-08214A2BEADF}"/>
              </a:ext>
            </a:extLst>
          </p:cNvPr>
          <p:cNvSpPr txBox="1"/>
          <p:nvPr/>
        </p:nvSpPr>
        <p:spPr>
          <a:xfrm>
            <a:off x="510854" y="1860772"/>
            <a:ext cx="2637901" cy="548918"/>
          </a:xfrm>
          <a:prstGeom prst="rect">
            <a:avLst/>
          </a:prstGeom>
          <a:noFill/>
          <a:ln w="3175">
            <a:solidFill>
              <a:schemeClr val="bg1">
                <a:lumMod val="75000"/>
              </a:schemeClr>
            </a:solidFill>
          </a:ln>
        </p:spPr>
        <p:txBody>
          <a:bodyPr wrap="square" lIns="91427" tIns="45713" rIns="91427" bIns="45713" rtlCol="0" anchor="ctr" anchorCtr="0">
            <a:no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Sprint</a:t>
            </a:r>
            <a:r>
              <a:rPr lang="en-US" sz="1400" dirty="0">
                <a:solidFill>
                  <a:srgbClr val="1A1A1A"/>
                </a:solidFill>
                <a:latin typeface="Segoe UI"/>
              </a:rPr>
              <a:t> 0</a:t>
            </a:r>
            <a:endParaRPr kumimoji="0" lang="en-US" sz="1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6" name="TextBox 75">
            <a:extLst>
              <a:ext uri="{FF2B5EF4-FFF2-40B4-BE49-F238E27FC236}">
                <a16:creationId xmlns:a16="http://schemas.microsoft.com/office/drawing/2014/main" id="{01A81E68-EF05-459D-B9F7-2022AF1B7AF4}"/>
              </a:ext>
            </a:extLst>
          </p:cNvPr>
          <p:cNvSpPr txBox="1"/>
          <p:nvPr/>
        </p:nvSpPr>
        <p:spPr>
          <a:xfrm>
            <a:off x="3306495" y="1860772"/>
            <a:ext cx="5418868" cy="548918"/>
          </a:xfrm>
          <a:prstGeom prst="rect">
            <a:avLst/>
          </a:prstGeom>
          <a:noFill/>
          <a:ln w="3175">
            <a:solidFill>
              <a:schemeClr val="bg1">
                <a:lumMod val="75000"/>
              </a:schemeClr>
            </a:solidFill>
          </a:ln>
        </p:spPr>
        <p:txBody>
          <a:bodyPr wrap="square" lIns="91427" tIns="45713" rIns="91427" bIns="45713" rtlCol="0" anchor="ctr" anchorCtr="0">
            <a:no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Sprint 1 and 2 </a:t>
            </a:r>
          </a:p>
        </p:txBody>
      </p:sp>
      <p:sp>
        <p:nvSpPr>
          <p:cNvPr id="79" name="TextBox 78">
            <a:extLst>
              <a:ext uri="{FF2B5EF4-FFF2-40B4-BE49-F238E27FC236}">
                <a16:creationId xmlns:a16="http://schemas.microsoft.com/office/drawing/2014/main" id="{B6244BC8-C7A3-4612-B812-2B7E5A7E13F6}"/>
              </a:ext>
            </a:extLst>
          </p:cNvPr>
          <p:cNvSpPr txBox="1"/>
          <p:nvPr/>
        </p:nvSpPr>
        <p:spPr>
          <a:xfrm>
            <a:off x="8906219" y="1860772"/>
            <a:ext cx="2626999" cy="548918"/>
          </a:xfrm>
          <a:prstGeom prst="rect">
            <a:avLst/>
          </a:prstGeom>
          <a:noFill/>
          <a:ln w="3175">
            <a:solidFill>
              <a:schemeClr val="bg1">
                <a:lumMod val="75000"/>
              </a:schemeClr>
            </a:solidFill>
          </a:ln>
        </p:spPr>
        <p:txBody>
          <a:bodyPr wrap="square" lIns="91427" tIns="45713" rIns="91427" bIns="45713" rtlCol="0" anchor="ctr" anchorCtr="0">
            <a:no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Sprint 3</a:t>
            </a:r>
          </a:p>
        </p:txBody>
      </p:sp>
      <p:sp>
        <p:nvSpPr>
          <p:cNvPr id="85" name="Arrow: Pentagon 84">
            <a:extLst>
              <a:ext uri="{FF2B5EF4-FFF2-40B4-BE49-F238E27FC236}">
                <a16:creationId xmlns:a16="http://schemas.microsoft.com/office/drawing/2014/main" id="{F74B94D8-CEA0-44FA-8189-DE32C78F8C44}"/>
              </a:ext>
            </a:extLst>
          </p:cNvPr>
          <p:cNvSpPr/>
          <p:nvPr/>
        </p:nvSpPr>
        <p:spPr bwMode="auto">
          <a:xfrm>
            <a:off x="510855" y="1422028"/>
            <a:ext cx="2799798" cy="443825"/>
          </a:xfrm>
          <a:prstGeom prst="homePlate">
            <a:avLst>
              <a:gd name="adj" fmla="val 3595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537855"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102" rtl="0" eaLnBrk="1" fontAlgn="base" latinLnBrk="0" hangingPunct="1">
              <a:lnSpc>
                <a:spcPct val="100000"/>
              </a:lnSpc>
              <a:spcBef>
                <a:spcPct val="0"/>
              </a:spcBef>
              <a:spcAft>
                <a:spcPct val="0"/>
              </a:spcAft>
              <a:buClrTx/>
              <a:buSzTx/>
              <a:buFontTx/>
              <a:buNone/>
              <a:tabLst/>
              <a:defRPr/>
            </a:pPr>
            <a:r>
              <a:rPr lang="en-IN" sz="1400" dirty="0">
                <a:solidFill>
                  <a:srgbClr val="FFFFFF"/>
                </a:solidFill>
                <a:latin typeface="Segoe UI Semibold" panose="020B0702040204020203" pitchFamily="34" charset="0"/>
                <a:ea typeface="Segoe UI" pitchFamily="34" charset="0"/>
                <a:cs typeface="Segoe UI Semibold" panose="020B0702040204020203" pitchFamily="34" charset="0"/>
              </a:rPr>
              <a:t>Rapid envisioning Workshop</a:t>
            </a:r>
            <a:endParaRPr kumimoji="0" lang="en-IN" sz="14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6" name="TextBox 85">
            <a:extLst>
              <a:ext uri="{FF2B5EF4-FFF2-40B4-BE49-F238E27FC236}">
                <a16:creationId xmlns:a16="http://schemas.microsoft.com/office/drawing/2014/main" id="{629D2E94-A9D6-45D7-BF93-223F930DB938}"/>
              </a:ext>
            </a:extLst>
          </p:cNvPr>
          <p:cNvSpPr txBox="1"/>
          <p:nvPr/>
        </p:nvSpPr>
        <p:spPr>
          <a:xfrm>
            <a:off x="510854" y="4502844"/>
            <a:ext cx="2636221" cy="1733161"/>
          </a:xfrm>
          <a:prstGeom prst="rect">
            <a:avLst/>
          </a:prstGeom>
          <a:noFill/>
          <a:ln w="3175">
            <a:solidFill>
              <a:schemeClr val="bg1">
                <a:lumMod val="75000"/>
              </a:schemeClr>
            </a:solidFill>
          </a:ln>
        </p:spPr>
        <p:txBody>
          <a:bodyPr wrap="square" lIns="91427" tIns="45713" rIns="91427" bIns="45713" rtlCol="0">
            <a:noAutofit/>
          </a:bodyPr>
          <a:lstStyle/>
          <a:p>
            <a:pPr marL="0" marR="0" lvl="0" indent="0" algn="l" defTabSz="914367" rtl="0" eaLnBrk="1" fontAlgn="auto" latinLnBrk="0" hangingPunct="1">
              <a:lnSpc>
                <a:spcPct val="100000"/>
              </a:lnSpc>
              <a:spcBef>
                <a:spcPts val="294"/>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Business Alignment Workshop, Plan</a:t>
            </a:r>
          </a:p>
          <a:p>
            <a:pPr marL="242771" marR="0" lvl="1" indent="-168072"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Identify high-impact business scenario</a:t>
            </a:r>
          </a:p>
          <a:p>
            <a:pPr marL="242771" marR="0" lvl="1" indent="-168072"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Devices, data sources and analytics requirement</a:t>
            </a:r>
          </a:p>
          <a:p>
            <a:pPr marL="242771" marR="0" lvl="1" indent="-168072"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a:p>
            <a:pPr marL="171450" marR="0" lvl="0" indent="-171450"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Vision and Scope sign off</a:t>
            </a:r>
          </a:p>
        </p:txBody>
      </p:sp>
      <p:sp>
        <p:nvSpPr>
          <p:cNvPr id="89" name="TextBox 88">
            <a:extLst>
              <a:ext uri="{FF2B5EF4-FFF2-40B4-BE49-F238E27FC236}">
                <a16:creationId xmlns:a16="http://schemas.microsoft.com/office/drawing/2014/main" id="{6C13D838-836B-454A-ABE3-01284EC1A882}"/>
              </a:ext>
            </a:extLst>
          </p:cNvPr>
          <p:cNvSpPr txBox="1"/>
          <p:nvPr/>
        </p:nvSpPr>
        <p:spPr>
          <a:xfrm>
            <a:off x="510854" y="6322902"/>
            <a:ext cx="2635637" cy="344556"/>
          </a:xfrm>
          <a:prstGeom prst="rect">
            <a:avLst/>
          </a:prstGeom>
          <a:solidFill>
            <a:schemeClr val="bg1">
              <a:lumMod val="85000"/>
            </a:schemeClr>
          </a:solidFill>
          <a:ln w="3175">
            <a:solidFill>
              <a:schemeClr val="bg1">
                <a:lumMod val="85000"/>
              </a:schemeClr>
            </a:solidFill>
          </a:ln>
        </p:spPr>
        <p:txBody>
          <a:bodyPr wrap="square" lIns="91427" tIns="45713" rIns="91427" bIns="45713" rtlCol="0" anchor="ctr" anchorCtr="0">
            <a:no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Two Weeks</a:t>
            </a:r>
          </a:p>
        </p:txBody>
      </p:sp>
      <p:sp>
        <p:nvSpPr>
          <p:cNvPr id="91" name="TextBox 90">
            <a:extLst>
              <a:ext uri="{FF2B5EF4-FFF2-40B4-BE49-F238E27FC236}">
                <a16:creationId xmlns:a16="http://schemas.microsoft.com/office/drawing/2014/main" id="{FB0F9771-14B2-4CD6-81BA-DB39A0A614CB}"/>
              </a:ext>
            </a:extLst>
          </p:cNvPr>
          <p:cNvSpPr txBox="1"/>
          <p:nvPr/>
        </p:nvSpPr>
        <p:spPr>
          <a:xfrm>
            <a:off x="3304792" y="4502844"/>
            <a:ext cx="2641760" cy="1733161"/>
          </a:xfrm>
          <a:prstGeom prst="rect">
            <a:avLst/>
          </a:prstGeom>
          <a:noFill/>
          <a:ln w="3175">
            <a:solidFill>
              <a:schemeClr val="bg1">
                <a:lumMod val="75000"/>
              </a:schemeClr>
            </a:solidFill>
          </a:ln>
        </p:spPr>
        <p:txBody>
          <a:bodyPr wrap="square" lIns="91427" tIns="45713" rIns="91427" bIns="45713" rtlCol="0">
            <a:noAutofit/>
          </a:bodyPr>
          <a:lstStyle/>
          <a:p>
            <a:pPr marL="0" marR="0" lvl="0" indent="0" algn="l" defTabSz="914367" rtl="0" eaLnBrk="1" fontAlgn="auto" latinLnBrk="0" hangingPunct="1">
              <a:lnSpc>
                <a:spcPct val="100000"/>
              </a:lnSpc>
              <a:spcBef>
                <a:spcPts val="294"/>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Design and develop technical architecture</a:t>
            </a:r>
          </a:p>
          <a:p>
            <a:pPr marL="202309" marR="0" lvl="1" indent="-127611"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r>
              <a:rPr lang="en-US" sz="1200" dirty="0">
                <a:solidFill>
                  <a:srgbClr val="1A1A1A"/>
                </a:solidFill>
                <a:latin typeface="Segoe UI"/>
              </a:rPr>
              <a:t>Provision IOT Hub and configure devices</a:t>
            </a:r>
          </a:p>
          <a:p>
            <a:pPr marL="202309" marR="0" lvl="1" indent="-127611"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r>
              <a:rPr lang="en-US" sz="1200" dirty="0">
                <a:solidFill>
                  <a:srgbClr val="1A1A1A"/>
                </a:solidFill>
                <a:latin typeface="Segoe UI"/>
              </a:rPr>
              <a:t>Device master data integration with Azure Data Factory</a:t>
            </a:r>
          </a:p>
          <a:p>
            <a:pPr marL="202309" marR="0" lvl="1" indent="-127611"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r>
              <a:rPr lang="en-US" sz="1200" dirty="0">
                <a:solidFill>
                  <a:srgbClr val="1A1A1A"/>
                </a:solidFill>
                <a:latin typeface="Segoe UI"/>
              </a:rPr>
              <a:t>Build warm and cold path analytical reports</a:t>
            </a:r>
          </a:p>
        </p:txBody>
      </p:sp>
      <p:sp>
        <p:nvSpPr>
          <p:cNvPr id="92" name="TextBox 91">
            <a:extLst>
              <a:ext uri="{FF2B5EF4-FFF2-40B4-BE49-F238E27FC236}">
                <a16:creationId xmlns:a16="http://schemas.microsoft.com/office/drawing/2014/main" id="{B016EBB9-FFF1-4DE5-83DE-9E9CCB774F34}"/>
              </a:ext>
            </a:extLst>
          </p:cNvPr>
          <p:cNvSpPr txBox="1"/>
          <p:nvPr/>
        </p:nvSpPr>
        <p:spPr>
          <a:xfrm>
            <a:off x="3306833" y="6322902"/>
            <a:ext cx="5443616" cy="344556"/>
          </a:xfrm>
          <a:prstGeom prst="rect">
            <a:avLst/>
          </a:prstGeom>
          <a:solidFill>
            <a:schemeClr val="bg1">
              <a:lumMod val="85000"/>
            </a:schemeClr>
          </a:solidFill>
          <a:ln w="3175">
            <a:solidFill>
              <a:schemeClr val="bg1">
                <a:lumMod val="85000"/>
              </a:schemeClr>
            </a:solidFill>
          </a:ln>
        </p:spPr>
        <p:txBody>
          <a:bodyPr wrap="square" lIns="91427" tIns="45713" rIns="91427" bIns="45713" rtlCol="0" anchor="ctr" anchorCtr="0">
            <a:no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Four Weeks</a:t>
            </a:r>
          </a:p>
        </p:txBody>
      </p:sp>
      <p:sp>
        <p:nvSpPr>
          <p:cNvPr id="93" name="Arrow: Chevron 92">
            <a:extLst>
              <a:ext uri="{FF2B5EF4-FFF2-40B4-BE49-F238E27FC236}">
                <a16:creationId xmlns:a16="http://schemas.microsoft.com/office/drawing/2014/main" id="{97A23FCF-35E2-44ED-AAE8-0D9587BDCA45}"/>
              </a:ext>
            </a:extLst>
          </p:cNvPr>
          <p:cNvSpPr/>
          <p:nvPr/>
        </p:nvSpPr>
        <p:spPr bwMode="auto">
          <a:xfrm>
            <a:off x="8900403" y="1422028"/>
            <a:ext cx="2799797" cy="443825"/>
          </a:xfrm>
          <a:prstGeom prst="chevron">
            <a:avLst>
              <a:gd name="adj" fmla="val 36635"/>
            </a:avLst>
          </a:prstGeom>
          <a:solidFill>
            <a:schemeClr val="accent2">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537855"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IN" sz="15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Stabilize &amp; Demonstrate</a:t>
            </a:r>
          </a:p>
        </p:txBody>
      </p:sp>
      <p:sp>
        <p:nvSpPr>
          <p:cNvPr id="102" name="TextBox 101">
            <a:extLst>
              <a:ext uri="{FF2B5EF4-FFF2-40B4-BE49-F238E27FC236}">
                <a16:creationId xmlns:a16="http://schemas.microsoft.com/office/drawing/2014/main" id="{05E13510-41A2-4BDC-8AB0-9EFA73907CE5}"/>
              </a:ext>
            </a:extLst>
          </p:cNvPr>
          <p:cNvSpPr txBox="1"/>
          <p:nvPr/>
        </p:nvSpPr>
        <p:spPr>
          <a:xfrm>
            <a:off x="8896997" y="4502844"/>
            <a:ext cx="2636221" cy="1733161"/>
          </a:xfrm>
          <a:prstGeom prst="rect">
            <a:avLst/>
          </a:prstGeom>
          <a:noFill/>
          <a:ln w="3175">
            <a:solidFill>
              <a:schemeClr val="bg1">
                <a:lumMod val="75000"/>
              </a:schemeClr>
            </a:solidFill>
          </a:ln>
        </p:spPr>
        <p:txBody>
          <a:bodyPr wrap="square" lIns="91427" tIns="45713" rIns="91427" bIns="45713" rtlCol="0">
            <a:noAutofit/>
          </a:bodyPr>
          <a:lstStyle/>
          <a:p>
            <a:pPr marL="171450" marR="0" lvl="0" indent="-171450"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Present pilot results and final demo</a:t>
            </a:r>
          </a:p>
          <a:p>
            <a:pPr marL="171450" marR="0" lvl="0" indent="-171450"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Handover environment</a:t>
            </a:r>
          </a:p>
          <a:p>
            <a:pPr marL="171450" marR="0" lvl="0" indent="-171450"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Sign off</a:t>
            </a:r>
          </a:p>
        </p:txBody>
      </p:sp>
      <p:sp>
        <p:nvSpPr>
          <p:cNvPr id="103" name="TextBox 102">
            <a:extLst>
              <a:ext uri="{FF2B5EF4-FFF2-40B4-BE49-F238E27FC236}">
                <a16:creationId xmlns:a16="http://schemas.microsoft.com/office/drawing/2014/main" id="{21B640A8-0426-4F00-BB36-5F1966B5B0AE}"/>
              </a:ext>
            </a:extLst>
          </p:cNvPr>
          <p:cNvSpPr txBox="1"/>
          <p:nvPr/>
        </p:nvSpPr>
        <p:spPr>
          <a:xfrm>
            <a:off x="8901027" y="6322902"/>
            <a:ext cx="2635636" cy="344556"/>
          </a:xfrm>
          <a:prstGeom prst="rect">
            <a:avLst/>
          </a:prstGeom>
          <a:solidFill>
            <a:schemeClr val="bg1">
              <a:lumMod val="85000"/>
            </a:schemeClr>
          </a:solidFill>
          <a:ln w="3175">
            <a:solidFill>
              <a:schemeClr val="bg1">
                <a:lumMod val="85000"/>
              </a:schemeClr>
            </a:solidFill>
          </a:ln>
        </p:spPr>
        <p:txBody>
          <a:bodyPr wrap="square" lIns="91427" tIns="45713" rIns="91427" bIns="45713" rtlCol="0" anchor="ctr" anchorCtr="0">
            <a:no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Two Weeks</a:t>
            </a:r>
          </a:p>
        </p:txBody>
      </p:sp>
      <p:sp>
        <p:nvSpPr>
          <p:cNvPr id="104" name="Arrow: Chevron 103">
            <a:extLst>
              <a:ext uri="{FF2B5EF4-FFF2-40B4-BE49-F238E27FC236}">
                <a16:creationId xmlns:a16="http://schemas.microsoft.com/office/drawing/2014/main" id="{649FE62B-7AC3-4B20-833E-C4F20C3B9D14}"/>
              </a:ext>
            </a:extLst>
          </p:cNvPr>
          <p:cNvSpPr/>
          <p:nvPr/>
        </p:nvSpPr>
        <p:spPr bwMode="auto">
          <a:xfrm>
            <a:off x="3224484" y="1422028"/>
            <a:ext cx="5678763" cy="443825"/>
          </a:xfrm>
          <a:prstGeom prst="chevron">
            <a:avLst>
              <a:gd name="adj" fmla="val 36635"/>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537855"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 Implement	</a:t>
            </a:r>
          </a:p>
        </p:txBody>
      </p:sp>
      <p:sp>
        <p:nvSpPr>
          <p:cNvPr id="105" name="TextBox 104">
            <a:extLst>
              <a:ext uri="{FF2B5EF4-FFF2-40B4-BE49-F238E27FC236}">
                <a16:creationId xmlns:a16="http://schemas.microsoft.com/office/drawing/2014/main" id="{6485C63C-1260-4678-ADD4-DE306DD9B11E}"/>
              </a:ext>
            </a:extLst>
          </p:cNvPr>
          <p:cNvSpPr txBox="1"/>
          <p:nvPr/>
        </p:nvSpPr>
        <p:spPr>
          <a:xfrm>
            <a:off x="6103281" y="4502844"/>
            <a:ext cx="2636220" cy="1733161"/>
          </a:xfrm>
          <a:prstGeom prst="rect">
            <a:avLst/>
          </a:prstGeom>
          <a:noFill/>
          <a:ln w="3175">
            <a:solidFill>
              <a:schemeClr val="bg1">
                <a:lumMod val="75000"/>
              </a:schemeClr>
            </a:solidFill>
          </a:ln>
        </p:spPr>
        <p:txBody>
          <a:bodyPr wrap="square" lIns="91427" tIns="45713" rIns="0" bIns="45713" rtlCol="0">
            <a:noAutofit/>
          </a:bodyPr>
          <a:lstStyle/>
          <a:p>
            <a:pPr marL="171450" marR="0" lvl="0" indent="-171450"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Develop visualizations</a:t>
            </a:r>
          </a:p>
          <a:p>
            <a:pPr marL="171450" marR="0" lvl="0" indent="-171450" algn="l" defTabSz="914367" rtl="0" eaLnBrk="1" fontAlgn="auto" latinLnBrk="0" hangingPunct="1">
              <a:lnSpc>
                <a:spcPct val="100000"/>
              </a:lnSpc>
              <a:spcBef>
                <a:spcPts val="29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Develop user portal</a:t>
            </a:r>
          </a:p>
          <a:p>
            <a:pPr marL="0" marR="0" lvl="0" indent="0" algn="l" defTabSz="914367" rtl="0" eaLnBrk="1" fontAlgn="auto" latinLnBrk="0" hangingPunct="1">
              <a:lnSpc>
                <a:spcPct val="100000"/>
              </a:lnSpc>
              <a:spcBef>
                <a:spcPts val="294"/>
              </a:spcBef>
              <a:spcAft>
                <a:spcPts val="0"/>
              </a:spcAft>
              <a:buClrTx/>
              <a:buSzTx/>
              <a:buFontTx/>
              <a:buNone/>
              <a:tabLst/>
              <a:defRPr/>
            </a:pPr>
            <a:endParaRPr kumimoji="0" lang="en-US" sz="12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0" name="Rectangle 109">
            <a:extLst>
              <a:ext uri="{FF2B5EF4-FFF2-40B4-BE49-F238E27FC236}">
                <a16:creationId xmlns:a16="http://schemas.microsoft.com/office/drawing/2014/main" id="{6239F6B1-153C-4AF5-B3C0-7103E07CDEED}"/>
              </a:ext>
            </a:extLst>
          </p:cNvPr>
          <p:cNvSpPr/>
          <p:nvPr/>
        </p:nvSpPr>
        <p:spPr>
          <a:xfrm>
            <a:off x="1847576" y="2462476"/>
            <a:ext cx="1302360" cy="1982440"/>
          </a:xfrm>
          <a:prstGeom prst="rect">
            <a:avLst/>
          </a:prstGeom>
          <a:solidFill>
            <a:schemeClr val="accent1">
              <a:lumMod val="20000"/>
              <a:lumOff val="80000"/>
            </a:schemeClr>
          </a:solidFill>
          <a:ln w="9525" cap="flat" cmpd="sng" algn="ctr">
            <a:noFill/>
            <a:prstDash val="solid"/>
          </a:ln>
          <a:effectLst/>
        </p:spPr>
        <p:txBody>
          <a:bodyPr lIns="89642" tIns="44821" rIns="89642" bIns="44821" rtlCol="0" anchor="t"/>
          <a:lstStyle/>
          <a:p>
            <a:pPr defTabSz="448107">
              <a:defRPr/>
            </a:pPr>
            <a:r>
              <a:rPr lang="en-US" sz="1400" dirty="0">
                <a:solidFill>
                  <a:srgbClr val="1A1A1A"/>
                </a:solidFill>
                <a:latin typeface="Segoe UI"/>
                <a:cs typeface="Segoe UI Light" panose="020B0502040204020203" pitchFamily="34" charset="0"/>
              </a:rPr>
              <a:t>Review data </a:t>
            </a:r>
            <a:r>
              <a:rPr kumimoji="0" lang="en-US"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sources, Sprint planning</a:t>
            </a:r>
            <a:r>
              <a:rPr lang="en-US" sz="1400" dirty="0">
                <a:solidFill>
                  <a:srgbClr val="1A1A1A"/>
                </a:solidFill>
                <a:latin typeface="Segoe UI"/>
                <a:cs typeface="Segoe UI Light" panose="020B0502040204020203" pitchFamily="34" charset="0"/>
              </a:rPr>
              <a:t> </a:t>
            </a:r>
            <a:endParaRPr kumimoji="0" lang="en-US"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endParaRPr>
          </a:p>
        </p:txBody>
      </p:sp>
      <p:sp>
        <p:nvSpPr>
          <p:cNvPr id="111" name="Rectangle 110">
            <a:extLst>
              <a:ext uri="{FF2B5EF4-FFF2-40B4-BE49-F238E27FC236}">
                <a16:creationId xmlns:a16="http://schemas.microsoft.com/office/drawing/2014/main" id="{9AC3BE3C-F35F-41B1-8A6D-84915E303100}"/>
              </a:ext>
            </a:extLst>
          </p:cNvPr>
          <p:cNvSpPr/>
          <p:nvPr/>
        </p:nvSpPr>
        <p:spPr>
          <a:xfrm>
            <a:off x="510270" y="2462476"/>
            <a:ext cx="1302360" cy="1982440"/>
          </a:xfrm>
          <a:prstGeom prst="rect">
            <a:avLst/>
          </a:prstGeom>
          <a:solidFill>
            <a:schemeClr val="accent1">
              <a:lumMod val="20000"/>
              <a:lumOff val="80000"/>
            </a:schemeClr>
          </a:solidFill>
          <a:ln w="9525" cap="flat" cmpd="sng" algn="ctr">
            <a:noFill/>
            <a:prstDash val="solid"/>
          </a:ln>
          <a:effectLst/>
        </p:spPr>
        <p:txBody>
          <a:bodyPr lIns="89642" tIns="44821" rIns="89642" bIns="44821" rtlCol="0" anchor="t"/>
          <a:lstStyle/>
          <a:p>
            <a:pPr marL="0" marR="0" lvl="0" indent="0" algn="l" defTabSz="44810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Identify a high impact business </a:t>
            </a:r>
            <a:br>
              <a:rPr kumimoji="0" lang="en-GB"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br>
            <a:r>
              <a:rPr kumimoji="0" lang="en-GB"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case</a:t>
            </a:r>
          </a:p>
        </p:txBody>
      </p:sp>
      <p:sp>
        <p:nvSpPr>
          <p:cNvPr id="115" name="Rectangle 114">
            <a:extLst>
              <a:ext uri="{FF2B5EF4-FFF2-40B4-BE49-F238E27FC236}">
                <a16:creationId xmlns:a16="http://schemas.microsoft.com/office/drawing/2014/main" id="{E550F8D3-6FFC-45FB-822F-040ADC0EDE9D}"/>
              </a:ext>
            </a:extLst>
          </p:cNvPr>
          <p:cNvSpPr/>
          <p:nvPr/>
        </p:nvSpPr>
        <p:spPr>
          <a:xfrm>
            <a:off x="10234887" y="2462476"/>
            <a:ext cx="1302360" cy="1982440"/>
          </a:xfrm>
          <a:prstGeom prst="rect">
            <a:avLst/>
          </a:prstGeom>
          <a:solidFill>
            <a:srgbClr val="E5EFFF"/>
          </a:solidFill>
          <a:ln w="9525" cap="flat" cmpd="sng" algn="ctr">
            <a:noFill/>
            <a:prstDash val="solid"/>
          </a:ln>
          <a:effectLst/>
        </p:spPr>
        <p:txBody>
          <a:bodyPr lIns="89642" tIns="44821" rIns="89642" bIns="44821" rtlCol="0" anchor="t"/>
          <a:lstStyle/>
          <a:p>
            <a:pPr marL="0" marR="0" lvl="0" indent="0" algn="l" defTabSz="44810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Value realization workshop</a:t>
            </a:r>
          </a:p>
        </p:txBody>
      </p:sp>
      <p:sp>
        <p:nvSpPr>
          <p:cNvPr id="116" name="Rectangle 115">
            <a:extLst>
              <a:ext uri="{FF2B5EF4-FFF2-40B4-BE49-F238E27FC236}">
                <a16:creationId xmlns:a16="http://schemas.microsoft.com/office/drawing/2014/main" id="{18FA8C84-ADBE-471A-893A-2E53CF3DB868}"/>
              </a:ext>
            </a:extLst>
          </p:cNvPr>
          <p:cNvSpPr/>
          <p:nvPr/>
        </p:nvSpPr>
        <p:spPr>
          <a:xfrm>
            <a:off x="8897581" y="2462476"/>
            <a:ext cx="1302360" cy="1982440"/>
          </a:xfrm>
          <a:prstGeom prst="rect">
            <a:avLst/>
          </a:prstGeom>
          <a:solidFill>
            <a:srgbClr val="E5EFFF"/>
          </a:solidFill>
          <a:ln w="9525" cap="flat" cmpd="sng" algn="ctr">
            <a:noFill/>
            <a:prstDash val="solid"/>
          </a:ln>
          <a:effectLst/>
        </p:spPr>
        <p:txBody>
          <a:bodyPr lIns="89642" tIns="44821" rIns="89642" bIns="44821" rtlCol="0" anchor="t"/>
          <a:lstStyle/>
          <a:p>
            <a:pPr marL="0" marR="0" lvl="0" indent="0" algn="l" defTabSz="44810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Stabilize</a:t>
            </a:r>
          </a:p>
        </p:txBody>
      </p:sp>
      <p:sp>
        <p:nvSpPr>
          <p:cNvPr id="118" name="Rectangle 117">
            <a:extLst>
              <a:ext uri="{FF2B5EF4-FFF2-40B4-BE49-F238E27FC236}">
                <a16:creationId xmlns:a16="http://schemas.microsoft.com/office/drawing/2014/main" id="{3E937F89-C98F-44E5-988C-7A3D16B57701}"/>
              </a:ext>
            </a:extLst>
          </p:cNvPr>
          <p:cNvSpPr/>
          <p:nvPr/>
        </p:nvSpPr>
        <p:spPr>
          <a:xfrm>
            <a:off x="5149328" y="2473601"/>
            <a:ext cx="1737360" cy="914400"/>
          </a:xfrm>
          <a:prstGeom prst="rect">
            <a:avLst/>
          </a:prstGeom>
          <a:solidFill>
            <a:srgbClr val="A7D9FF"/>
          </a:solidFill>
          <a:ln w="9525" cap="flat" cmpd="sng" algn="ctr">
            <a:noFill/>
            <a:prstDash val="solid"/>
          </a:ln>
          <a:effectLst/>
        </p:spPr>
        <p:txBody>
          <a:bodyPr lIns="89642" tIns="44821" rIns="89642" bIns="44821" rtlCol="0" anchor="t"/>
          <a:lstStyle/>
          <a:p>
            <a:pPr marL="0" marR="0" lvl="0" indent="0" algn="l" defTabSz="44810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Data</a:t>
            </a:r>
            <a:br>
              <a:rPr kumimoji="0" lang="en-US"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br>
            <a:r>
              <a:rPr kumimoji="0" lang="en-US"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validation</a:t>
            </a:r>
          </a:p>
        </p:txBody>
      </p:sp>
      <p:sp>
        <p:nvSpPr>
          <p:cNvPr id="119" name="Rectangle 118">
            <a:extLst>
              <a:ext uri="{FF2B5EF4-FFF2-40B4-BE49-F238E27FC236}">
                <a16:creationId xmlns:a16="http://schemas.microsoft.com/office/drawing/2014/main" id="{D2717B97-E47A-4F33-B3DD-3C6ED6A574B7}"/>
              </a:ext>
            </a:extLst>
          </p:cNvPr>
          <p:cNvSpPr/>
          <p:nvPr/>
        </p:nvSpPr>
        <p:spPr>
          <a:xfrm>
            <a:off x="3310653" y="3424130"/>
            <a:ext cx="1737360" cy="1005840"/>
          </a:xfrm>
          <a:prstGeom prst="rect">
            <a:avLst/>
          </a:prstGeom>
          <a:solidFill>
            <a:srgbClr val="A7D9FF"/>
          </a:solidFill>
          <a:ln w="9525" cap="flat" cmpd="sng" algn="ctr">
            <a:noFill/>
            <a:prstDash val="solid"/>
          </a:ln>
          <a:effectLst/>
        </p:spPr>
        <p:txBody>
          <a:bodyPr lIns="89642" tIns="44821" rIns="89642" bIns="44821" rtlCol="0" anchor="t"/>
          <a:lstStyle/>
          <a:p>
            <a:pPr marL="0" marR="0" lvl="0" indent="0" algn="l" defTabSz="44810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Data Integration and storage</a:t>
            </a:r>
          </a:p>
        </p:txBody>
      </p:sp>
      <p:sp>
        <p:nvSpPr>
          <p:cNvPr id="120" name="Rectangle 119">
            <a:extLst>
              <a:ext uri="{FF2B5EF4-FFF2-40B4-BE49-F238E27FC236}">
                <a16:creationId xmlns:a16="http://schemas.microsoft.com/office/drawing/2014/main" id="{B3A05E2C-F3B1-45D1-BEC9-8F7B9F8E2032}"/>
              </a:ext>
            </a:extLst>
          </p:cNvPr>
          <p:cNvSpPr/>
          <p:nvPr/>
        </p:nvSpPr>
        <p:spPr>
          <a:xfrm>
            <a:off x="6988003" y="3431524"/>
            <a:ext cx="1737360" cy="1005840"/>
          </a:xfrm>
          <a:prstGeom prst="rect">
            <a:avLst/>
          </a:prstGeom>
          <a:solidFill>
            <a:srgbClr val="A7D9FF"/>
          </a:solidFill>
          <a:ln w="9525" cap="flat" cmpd="sng" algn="ctr">
            <a:noFill/>
            <a:prstDash val="solid"/>
          </a:ln>
          <a:effectLst/>
        </p:spPr>
        <p:txBody>
          <a:bodyPr lIns="89642" tIns="44821" rIns="89642" bIns="44821" rtlCol="0" anchor="t"/>
          <a:lstStyle/>
          <a:p>
            <a:pPr marL="0" marR="0" lvl="0" indent="0" algn="l" defTabSz="44810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Visualization</a:t>
            </a:r>
          </a:p>
        </p:txBody>
      </p:sp>
      <p:sp>
        <p:nvSpPr>
          <p:cNvPr id="121" name="Rectangle 120">
            <a:extLst>
              <a:ext uri="{FF2B5EF4-FFF2-40B4-BE49-F238E27FC236}">
                <a16:creationId xmlns:a16="http://schemas.microsoft.com/office/drawing/2014/main" id="{1A987833-4F05-4DB3-AB98-11E863742F40}"/>
              </a:ext>
            </a:extLst>
          </p:cNvPr>
          <p:cNvSpPr/>
          <p:nvPr/>
        </p:nvSpPr>
        <p:spPr>
          <a:xfrm>
            <a:off x="5147249" y="3428962"/>
            <a:ext cx="1737360" cy="1005840"/>
          </a:xfrm>
          <a:prstGeom prst="rect">
            <a:avLst/>
          </a:prstGeom>
          <a:solidFill>
            <a:srgbClr val="E5EFFF"/>
          </a:solidFill>
          <a:ln w="9525" cap="flat" cmpd="sng" algn="ctr">
            <a:noFill/>
            <a:prstDash val="solid"/>
          </a:ln>
          <a:effectLst/>
        </p:spPr>
        <p:txBody>
          <a:bodyPr lIns="89642" tIns="44821" rIns="89642" bIns="44821" rtlCol="0" anchor="t"/>
          <a:lstStyle/>
          <a:p>
            <a:pPr defTabSz="448107"/>
            <a:r>
              <a:rPr lang="en-US" sz="1400" dirty="0">
                <a:solidFill>
                  <a:srgbClr val="1A1A1A"/>
                </a:solidFill>
                <a:latin typeface="Segoe UI"/>
                <a:cs typeface="Segoe UI Light" panose="020B0502040204020203" pitchFamily="34" charset="0"/>
              </a:rPr>
              <a:t>Data enrichment</a:t>
            </a:r>
          </a:p>
        </p:txBody>
      </p:sp>
      <p:sp>
        <p:nvSpPr>
          <p:cNvPr id="122" name="check 3" title="Icon of a checkmark with a circle around it">
            <a:extLst>
              <a:ext uri="{FF2B5EF4-FFF2-40B4-BE49-F238E27FC236}">
                <a16:creationId xmlns:a16="http://schemas.microsoft.com/office/drawing/2014/main" id="{689B7569-6F58-42A9-B8D4-767F64656174}"/>
              </a:ext>
            </a:extLst>
          </p:cNvPr>
          <p:cNvSpPr>
            <a:spLocks noChangeAspect="1" noEditPoints="1"/>
          </p:cNvSpPr>
          <p:nvPr/>
        </p:nvSpPr>
        <p:spPr bwMode="auto">
          <a:xfrm>
            <a:off x="586584" y="1470729"/>
            <a:ext cx="351424" cy="34938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4" name="Freeform 96" title="Icon of a gear with a wrench">
            <a:extLst>
              <a:ext uri="{FF2B5EF4-FFF2-40B4-BE49-F238E27FC236}">
                <a16:creationId xmlns:a16="http://schemas.microsoft.com/office/drawing/2014/main" id="{4254533C-5FB5-41F3-9A31-2CAF897CDD89}"/>
              </a:ext>
            </a:extLst>
          </p:cNvPr>
          <p:cNvSpPr>
            <a:spLocks noChangeAspect="1" noEditPoints="1"/>
          </p:cNvSpPr>
          <p:nvPr/>
        </p:nvSpPr>
        <p:spPr bwMode="auto">
          <a:xfrm>
            <a:off x="3538333" y="1506305"/>
            <a:ext cx="335484" cy="30890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125" name="Group 124">
            <a:extLst>
              <a:ext uri="{FF2B5EF4-FFF2-40B4-BE49-F238E27FC236}">
                <a16:creationId xmlns:a16="http://schemas.microsoft.com/office/drawing/2014/main" id="{3A051690-E5F5-4D73-B49B-FE089B958BF6}"/>
              </a:ext>
            </a:extLst>
          </p:cNvPr>
          <p:cNvGrpSpPr/>
          <p:nvPr/>
        </p:nvGrpSpPr>
        <p:grpSpPr>
          <a:xfrm>
            <a:off x="9130927" y="1506305"/>
            <a:ext cx="317368" cy="238108"/>
            <a:chOff x="-1360920" y="3668345"/>
            <a:chExt cx="411480" cy="308715"/>
          </a:xfrm>
        </p:grpSpPr>
        <p:sp>
          <p:nvSpPr>
            <p:cNvPr id="126" name="hand_2" title="Icon of a hand held out">
              <a:extLst>
                <a:ext uri="{FF2B5EF4-FFF2-40B4-BE49-F238E27FC236}">
                  <a16:creationId xmlns:a16="http://schemas.microsoft.com/office/drawing/2014/main" id="{C522A1A6-B795-4227-868A-33CA89D909FD}"/>
                </a:ext>
              </a:extLst>
            </p:cNvPr>
            <p:cNvSpPr>
              <a:spLocks noChangeAspect="1"/>
            </p:cNvSpPr>
            <p:nvPr/>
          </p:nvSpPr>
          <p:spPr bwMode="auto">
            <a:xfrm>
              <a:off x="-1360920" y="3772241"/>
              <a:ext cx="411480" cy="204819"/>
            </a:xfrm>
            <a:custGeom>
              <a:avLst/>
              <a:gdLst>
                <a:gd name="T0" fmla="*/ 76 w 306"/>
                <a:gd name="T1" fmla="*/ 65 h 151"/>
                <a:gd name="T2" fmla="*/ 211 w 306"/>
                <a:gd name="T3" fmla="*/ 66 h 151"/>
                <a:gd name="T4" fmla="*/ 256 w 306"/>
                <a:gd name="T5" fmla="*/ 22 h 151"/>
                <a:gd name="T6" fmla="*/ 306 w 306"/>
                <a:gd name="T7" fmla="*/ 28 h 151"/>
                <a:gd name="T8" fmla="*/ 227 w 306"/>
                <a:gd name="T9" fmla="*/ 106 h 151"/>
                <a:gd name="T10" fmla="*/ 93 w 306"/>
                <a:gd name="T11" fmla="*/ 140 h 151"/>
                <a:gd name="T12" fmla="*/ 19 w 306"/>
                <a:gd name="T13" fmla="*/ 132 h 151"/>
                <a:gd name="T14" fmla="*/ 20 w 306"/>
                <a:gd name="T15" fmla="*/ 63 h 151"/>
                <a:gd name="T16" fmla="*/ 63 w 306"/>
                <a:gd name="T17" fmla="*/ 22 h 151"/>
                <a:gd name="T18" fmla="*/ 168 w 306"/>
                <a:gd name="T19" fmla="*/ 23 h 151"/>
                <a:gd name="T20" fmla="*/ 138 w 306"/>
                <a:gd name="T21" fmla="*/ 6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6" h="151">
                  <a:moveTo>
                    <a:pt x="76" y="65"/>
                  </a:moveTo>
                  <a:cubicBezTo>
                    <a:pt x="211" y="66"/>
                    <a:pt x="211" y="66"/>
                    <a:pt x="211" y="66"/>
                  </a:cubicBezTo>
                  <a:cubicBezTo>
                    <a:pt x="211" y="66"/>
                    <a:pt x="233" y="45"/>
                    <a:pt x="256" y="22"/>
                  </a:cubicBezTo>
                  <a:cubicBezTo>
                    <a:pt x="279" y="0"/>
                    <a:pt x="306" y="28"/>
                    <a:pt x="306" y="28"/>
                  </a:cubicBezTo>
                  <a:cubicBezTo>
                    <a:pt x="227" y="106"/>
                    <a:pt x="227" y="106"/>
                    <a:pt x="227" y="106"/>
                  </a:cubicBezTo>
                  <a:cubicBezTo>
                    <a:pt x="227" y="106"/>
                    <a:pt x="94" y="140"/>
                    <a:pt x="93" y="140"/>
                  </a:cubicBezTo>
                  <a:cubicBezTo>
                    <a:pt x="72" y="147"/>
                    <a:pt x="38" y="151"/>
                    <a:pt x="19" y="132"/>
                  </a:cubicBezTo>
                  <a:cubicBezTo>
                    <a:pt x="0" y="113"/>
                    <a:pt x="0" y="82"/>
                    <a:pt x="20" y="63"/>
                  </a:cubicBezTo>
                  <a:cubicBezTo>
                    <a:pt x="63" y="22"/>
                    <a:pt x="63" y="22"/>
                    <a:pt x="63" y="22"/>
                  </a:cubicBezTo>
                  <a:cubicBezTo>
                    <a:pt x="168" y="23"/>
                    <a:pt x="168" y="23"/>
                    <a:pt x="168" y="23"/>
                  </a:cubicBezTo>
                  <a:cubicBezTo>
                    <a:pt x="168" y="54"/>
                    <a:pt x="138" y="65"/>
                    <a:pt x="138" y="65"/>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Star rating" title="Icon of three stars">
              <a:extLst>
                <a:ext uri="{FF2B5EF4-FFF2-40B4-BE49-F238E27FC236}">
                  <a16:creationId xmlns:a16="http://schemas.microsoft.com/office/drawing/2014/main" id="{47921BAC-F2EF-4792-BE1C-7355CE1D5C3E}"/>
                </a:ext>
              </a:extLst>
            </p:cNvPr>
            <p:cNvSpPr>
              <a:spLocks noChangeAspect="1" noEditPoints="1"/>
            </p:cNvSpPr>
            <p:nvPr/>
          </p:nvSpPr>
          <p:spPr bwMode="auto">
            <a:xfrm>
              <a:off x="-1193919" y="3668345"/>
              <a:ext cx="238343" cy="63672"/>
            </a:xfrm>
            <a:custGeom>
              <a:avLst/>
              <a:gdLst>
                <a:gd name="T0" fmla="*/ 67 w 700"/>
                <a:gd name="T1" fmla="*/ 75 h 187"/>
                <a:gd name="T2" fmla="*/ 88 w 700"/>
                <a:gd name="T3" fmla="*/ 0 h 187"/>
                <a:gd name="T4" fmla="*/ 111 w 700"/>
                <a:gd name="T5" fmla="*/ 75 h 187"/>
                <a:gd name="T6" fmla="*/ 180 w 700"/>
                <a:gd name="T7" fmla="*/ 75 h 187"/>
                <a:gd name="T8" fmla="*/ 124 w 700"/>
                <a:gd name="T9" fmla="*/ 120 h 187"/>
                <a:gd name="T10" fmla="*/ 147 w 700"/>
                <a:gd name="T11" fmla="*/ 187 h 187"/>
                <a:gd name="T12" fmla="*/ 90 w 700"/>
                <a:gd name="T13" fmla="*/ 151 h 187"/>
                <a:gd name="T14" fmla="*/ 33 w 700"/>
                <a:gd name="T15" fmla="*/ 187 h 187"/>
                <a:gd name="T16" fmla="*/ 53 w 700"/>
                <a:gd name="T17" fmla="*/ 120 h 187"/>
                <a:gd name="T18" fmla="*/ 0 w 700"/>
                <a:gd name="T19" fmla="*/ 75 h 187"/>
                <a:gd name="T20" fmla="*/ 67 w 700"/>
                <a:gd name="T21" fmla="*/ 75 h 187"/>
                <a:gd name="T22" fmla="*/ 327 w 700"/>
                <a:gd name="T23" fmla="*/ 75 h 187"/>
                <a:gd name="T24" fmla="*/ 350 w 700"/>
                <a:gd name="T25" fmla="*/ 0 h 187"/>
                <a:gd name="T26" fmla="*/ 371 w 700"/>
                <a:gd name="T27" fmla="*/ 75 h 187"/>
                <a:gd name="T28" fmla="*/ 440 w 700"/>
                <a:gd name="T29" fmla="*/ 75 h 187"/>
                <a:gd name="T30" fmla="*/ 384 w 700"/>
                <a:gd name="T31" fmla="*/ 120 h 187"/>
                <a:gd name="T32" fmla="*/ 408 w 700"/>
                <a:gd name="T33" fmla="*/ 187 h 187"/>
                <a:gd name="T34" fmla="*/ 350 w 700"/>
                <a:gd name="T35" fmla="*/ 151 h 187"/>
                <a:gd name="T36" fmla="*/ 293 w 700"/>
                <a:gd name="T37" fmla="*/ 187 h 187"/>
                <a:gd name="T38" fmla="*/ 313 w 700"/>
                <a:gd name="T39" fmla="*/ 120 h 187"/>
                <a:gd name="T40" fmla="*/ 260 w 700"/>
                <a:gd name="T41" fmla="*/ 75 h 187"/>
                <a:gd name="T42" fmla="*/ 327 w 700"/>
                <a:gd name="T43" fmla="*/ 75 h 187"/>
                <a:gd name="T44" fmla="*/ 587 w 700"/>
                <a:gd name="T45" fmla="*/ 75 h 187"/>
                <a:gd name="T46" fmla="*/ 610 w 700"/>
                <a:gd name="T47" fmla="*/ 0 h 187"/>
                <a:gd name="T48" fmla="*/ 631 w 700"/>
                <a:gd name="T49" fmla="*/ 75 h 187"/>
                <a:gd name="T50" fmla="*/ 700 w 700"/>
                <a:gd name="T51" fmla="*/ 75 h 187"/>
                <a:gd name="T52" fmla="*/ 644 w 700"/>
                <a:gd name="T53" fmla="*/ 120 h 187"/>
                <a:gd name="T54" fmla="*/ 668 w 700"/>
                <a:gd name="T55" fmla="*/ 187 h 187"/>
                <a:gd name="T56" fmla="*/ 610 w 700"/>
                <a:gd name="T57" fmla="*/ 151 h 187"/>
                <a:gd name="T58" fmla="*/ 553 w 700"/>
                <a:gd name="T59" fmla="*/ 187 h 187"/>
                <a:gd name="T60" fmla="*/ 573 w 700"/>
                <a:gd name="T61" fmla="*/ 120 h 187"/>
                <a:gd name="T62" fmla="*/ 520 w 700"/>
                <a:gd name="T63" fmla="*/ 75 h 187"/>
                <a:gd name="T64" fmla="*/ 587 w 700"/>
                <a:gd name="T65" fmla="*/ 7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0" h="187">
                  <a:moveTo>
                    <a:pt x="67" y="75"/>
                  </a:moveTo>
                  <a:lnTo>
                    <a:pt x="88" y="0"/>
                  </a:lnTo>
                  <a:lnTo>
                    <a:pt x="111" y="75"/>
                  </a:lnTo>
                  <a:lnTo>
                    <a:pt x="180" y="75"/>
                  </a:lnTo>
                  <a:lnTo>
                    <a:pt x="124" y="120"/>
                  </a:lnTo>
                  <a:lnTo>
                    <a:pt x="147" y="187"/>
                  </a:lnTo>
                  <a:lnTo>
                    <a:pt x="90" y="151"/>
                  </a:lnTo>
                  <a:lnTo>
                    <a:pt x="33" y="187"/>
                  </a:lnTo>
                  <a:lnTo>
                    <a:pt x="53" y="120"/>
                  </a:lnTo>
                  <a:lnTo>
                    <a:pt x="0" y="75"/>
                  </a:lnTo>
                  <a:lnTo>
                    <a:pt x="67" y="75"/>
                  </a:lnTo>
                  <a:close/>
                  <a:moveTo>
                    <a:pt x="327" y="75"/>
                  </a:moveTo>
                  <a:lnTo>
                    <a:pt x="350" y="0"/>
                  </a:lnTo>
                  <a:lnTo>
                    <a:pt x="371" y="75"/>
                  </a:lnTo>
                  <a:lnTo>
                    <a:pt x="440" y="75"/>
                  </a:lnTo>
                  <a:lnTo>
                    <a:pt x="384" y="120"/>
                  </a:lnTo>
                  <a:lnTo>
                    <a:pt x="408" y="187"/>
                  </a:lnTo>
                  <a:lnTo>
                    <a:pt x="350" y="151"/>
                  </a:lnTo>
                  <a:lnTo>
                    <a:pt x="293" y="187"/>
                  </a:lnTo>
                  <a:lnTo>
                    <a:pt x="313" y="120"/>
                  </a:lnTo>
                  <a:lnTo>
                    <a:pt x="260" y="75"/>
                  </a:lnTo>
                  <a:lnTo>
                    <a:pt x="327" y="75"/>
                  </a:lnTo>
                  <a:close/>
                  <a:moveTo>
                    <a:pt x="587" y="75"/>
                  </a:moveTo>
                  <a:lnTo>
                    <a:pt x="610" y="0"/>
                  </a:lnTo>
                  <a:lnTo>
                    <a:pt x="631" y="75"/>
                  </a:lnTo>
                  <a:lnTo>
                    <a:pt x="700" y="75"/>
                  </a:lnTo>
                  <a:lnTo>
                    <a:pt x="644" y="120"/>
                  </a:lnTo>
                  <a:lnTo>
                    <a:pt x="668" y="187"/>
                  </a:lnTo>
                  <a:lnTo>
                    <a:pt x="610" y="151"/>
                  </a:lnTo>
                  <a:lnTo>
                    <a:pt x="553" y="187"/>
                  </a:lnTo>
                  <a:lnTo>
                    <a:pt x="573" y="120"/>
                  </a:lnTo>
                  <a:lnTo>
                    <a:pt x="520" y="75"/>
                  </a:lnTo>
                  <a:lnTo>
                    <a:pt x="587" y="75"/>
                  </a:ln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128" name="magnify" title="Icon of a magnifying glass">
            <a:extLst>
              <a:ext uri="{FF2B5EF4-FFF2-40B4-BE49-F238E27FC236}">
                <a16:creationId xmlns:a16="http://schemas.microsoft.com/office/drawing/2014/main" id="{C1B532B8-9E22-4D63-87B2-1681914CA337}"/>
              </a:ext>
            </a:extLst>
          </p:cNvPr>
          <p:cNvSpPr>
            <a:spLocks noChangeAspect="1" noEditPoints="1"/>
          </p:cNvSpPr>
          <p:nvPr/>
        </p:nvSpPr>
        <p:spPr bwMode="auto">
          <a:xfrm flipH="1">
            <a:off x="1312490" y="3961380"/>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9" name="Database_EFC7" title="Icon of a cylinder">
            <a:extLst>
              <a:ext uri="{FF2B5EF4-FFF2-40B4-BE49-F238E27FC236}">
                <a16:creationId xmlns:a16="http://schemas.microsoft.com/office/drawing/2014/main" id="{F03F9EA7-90BD-423C-9872-B5735D61AE17}"/>
              </a:ext>
            </a:extLst>
          </p:cNvPr>
          <p:cNvSpPr>
            <a:spLocks noChangeAspect="1" noEditPoints="1"/>
          </p:cNvSpPr>
          <p:nvPr/>
        </p:nvSpPr>
        <p:spPr bwMode="auto">
          <a:xfrm>
            <a:off x="2686242" y="3938520"/>
            <a:ext cx="316562" cy="4114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0" name="Trackers_EADF" title="Icon of a clipboard with a checklist on it">
            <a:extLst>
              <a:ext uri="{FF2B5EF4-FFF2-40B4-BE49-F238E27FC236}">
                <a16:creationId xmlns:a16="http://schemas.microsoft.com/office/drawing/2014/main" id="{2891B26B-3D68-4375-81FB-D6E7CDF3FC8A}"/>
              </a:ext>
            </a:extLst>
          </p:cNvPr>
          <p:cNvSpPr>
            <a:spLocks noChangeAspect="1" noEditPoints="1"/>
          </p:cNvSpPr>
          <p:nvPr/>
        </p:nvSpPr>
        <p:spPr bwMode="auto">
          <a:xfrm>
            <a:off x="2317616" y="3911804"/>
            <a:ext cx="304600" cy="41533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2" name="Processing_E9F5" title="Icon of two interlocked gears">
            <a:extLst>
              <a:ext uri="{FF2B5EF4-FFF2-40B4-BE49-F238E27FC236}">
                <a16:creationId xmlns:a16="http://schemas.microsoft.com/office/drawing/2014/main" id="{D210ED74-F0B9-4295-B60E-F77C814C3FA4}"/>
              </a:ext>
            </a:extLst>
          </p:cNvPr>
          <p:cNvSpPr>
            <a:spLocks noChangeAspect="1" noEditPoints="1"/>
          </p:cNvSpPr>
          <p:nvPr/>
        </p:nvSpPr>
        <p:spPr bwMode="auto">
          <a:xfrm>
            <a:off x="4460376" y="3877783"/>
            <a:ext cx="419963" cy="36576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3" name="Intelligence" title="Icon of circles connected by crossing lines">
            <a:extLst>
              <a:ext uri="{FF2B5EF4-FFF2-40B4-BE49-F238E27FC236}">
                <a16:creationId xmlns:a16="http://schemas.microsoft.com/office/drawing/2014/main" id="{692C1C1E-97A4-40FC-9831-CE1619F62A3D}"/>
              </a:ext>
            </a:extLst>
          </p:cNvPr>
          <p:cNvSpPr>
            <a:spLocks noChangeAspect="1" noEditPoints="1"/>
          </p:cNvSpPr>
          <p:nvPr/>
        </p:nvSpPr>
        <p:spPr bwMode="auto">
          <a:xfrm>
            <a:off x="6403912" y="3880688"/>
            <a:ext cx="380638" cy="365760"/>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4" name="Eye" title="Icon of an eye">
            <a:extLst>
              <a:ext uri="{FF2B5EF4-FFF2-40B4-BE49-F238E27FC236}">
                <a16:creationId xmlns:a16="http://schemas.microsoft.com/office/drawing/2014/main" id="{47C7511B-ECE9-4CB9-B17B-7859BBABD049}"/>
              </a:ext>
            </a:extLst>
          </p:cNvPr>
          <p:cNvSpPr>
            <a:spLocks noChangeAspect="1" noEditPoints="1"/>
          </p:cNvSpPr>
          <p:nvPr/>
        </p:nvSpPr>
        <p:spPr bwMode="auto">
          <a:xfrm>
            <a:off x="8207027" y="4063568"/>
            <a:ext cx="428012" cy="236314"/>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Financial_E7BB" title="Icon of a chart made of vertical lines with a line tracing the top of each, turning into an arrow pointing up">
            <a:extLst>
              <a:ext uri="{FF2B5EF4-FFF2-40B4-BE49-F238E27FC236}">
                <a16:creationId xmlns:a16="http://schemas.microsoft.com/office/drawing/2014/main" id="{CB73E994-38A3-4337-ACC3-C08BF42CCB5C}"/>
              </a:ext>
            </a:extLst>
          </p:cNvPr>
          <p:cNvSpPr>
            <a:spLocks noChangeAspect="1" noEditPoints="1"/>
          </p:cNvSpPr>
          <p:nvPr/>
        </p:nvSpPr>
        <p:spPr bwMode="auto">
          <a:xfrm>
            <a:off x="11022431" y="3982021"/>
            <a:ext cx="374026" cy="333644"/>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flat">
            <a:solidFill>
              <a:schemeClr val="tx1">
                <a:lumMod val="50000"/>
                <a:lumOff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6" name="binary" title="Icon of binary code, ones and zeros">
            <a:extLst>
              <a:ext uri="{FF2B5EF4-FFF2-40B4-BE49-F238E27FC236}">
                <a16:creationId xmlns:a16="http://schemas.microsoft.com/office/drawing/2014/main" id="{A6DE3909-EE63-44B8-A5B5-EA661E12FEA5}"/>
              </a:ext>
            </a:extLst>
          </p:cNvPr>
          <p:cNvSpPr>
            <a:spLocks noChangeAspect="1" noEditPoints="1"/>
          </p:cNvSpPr>
          <p:nvPr/>
        </p:nvSpPr>
        <p:spPr bwMode="auto">
          <a:xfrm>
            <a:off x="9673979" y="4005298"/>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7" name="Beaker_F196" title="Icon of a scientific flask with liquid in it">
            <a:extLst>
              <a:ext uri="{FF2B5EF4-FFF2-40B4-BE49-F238E27FC236}">
                <a16:creationId xmlns:a16="http://schemas.microsoft.com/office/drawing/2014/main" id="{2B0E26C0-A8AA-4330-9194-F6652E07C8FE}"/>
              </a:ext>
            </a:extLst>
          </p:cNvPr>
          <p:cNvSpPr>
            <a:spLocks noChangeAspect="1" noEditPoints="1"/>
          </p:cNvSpPr>
          <p:nvPr/>
        </p:nvSpPr>
        <p:spPr bwMode="auto">
          <a:xfrm>
            <a:off x="6449163" y="2902171"/>
            <a:ext cx="290136" cy="335234"/>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58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6" name="Rectangle 45">
            <a:extLst>
              <a:ext uri="{FF2B5EF4-FFF2-40B4-BE49-F238E27FC236}">
                <a16:creationId xmlns:a16="http://schemas.microsoft.com/office/drawing/2014/main" id="{F157D228-1A30-47A3-9D4C-BBF7CC90C8A1}"/>
              </a:ext>
            </a:extLst>
          </p:cNvPr>
          <p:cNvSpPr/>
          <p:nvPr/>
        </p:nvSpPr>
        <p:spPr>
          <a:xfrm>
            <a:off x="3310653" y="2471231"/>
            <a:ext cx="1737360" cy="914400"/>
          </a:xfrm>
          <a:prstGeom prst="rect">
            <a:avLst/>
          </a:prstGeom>
          <a:solidFill>
            <a:srgbClr val="E5EFFF"/>
          </a:solidFill>
          <a:ln w="9525" cap="flat" cmpd="sng" algn="ctr">
            <a:noFill/>
            <a:prstDash val="solid"/>
          </a:ln>
          <a:effectLst/>
        </p:spPr>
        <p:txBody>
          <a:bodyPr lIns="89642" tIns="44821" rIns="89642" bIns="44821" rtlCol="0" anchor="t"/>
          <a:lstStyle/>
          <a:p>
            <a:pPr marL="0" marR="0" lvl="0" indent="0" algn="l" defTabSz="44810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IOT Device Integration</a:t>
            </a:r>
          </a:p>
        </p:txBody>
      </p:sp>
      <p:sp>
        <p:nvSpPr>
          <p:cNvPr id="47" name="binary" title="Icon of binary code, ones and zeros">
            <a:extLst>
              <a:ext uri="{FF2B5EF4-FFF2-40B4-BE49-F238E27FC236}">
                <a16:creationId xmlns:a16="http://schemas.microsoft.com/office/drawing/2014/main" id="{A7B08BEA-88D0-4634-BFE6-0674959E4B35}"/>
              </a:ext>
            </a:extLst>
          </p:cNvPr>
          <p:cNvSpPr>
            <a:spLocks noChangeAspect="1" noEditPoints="1"/>
          </p:cNvSpPr>
          <p:nvPr/>
        </p:nvSpPr>
        <p:spPr bwMode="auto">
          <a:xfrm>
            <a:off x="4514579" y="3011751"/>
            <a:ext cx="365760" cy="253066"/>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Rectangle 47">
            <a:extLst>
              <a:ext uri="{FF2B5EF4-FFF2-40B4-BE49-F238E27FC236}">
                <a16:creationId xmlns:a16="http://schemas.microsoft.com/office/drawing/2014/main" id="{69E4D6E8-E934-43EE-9544-5E74DCD6ED89}"/>
              </a:ext>
            </a:extLst>
          </p:cNvPr>
          <p:cNvSpPr/>
          <p:nvPr/>
        </p:nvSpPr>
        <p:spPr>
          <a:xfrm>
            <a:off x="6988003" y="2477949"/>
            <a:ext cx="1737360" cy="914400"/>
          </a:xfrm>
          <a:prstGeom prst="rect">
            <a:avLst/>
          </a:prstGeom>
          <a:solidFill>
            <a:srgbClr val="E5EFFF"/>
          </a:solidFill>
          <a:ln w="9525" cap="flat" cmpd="sng" algn="ctr">
            <a:noFill/>
            <a:prstDash val="solid"/>
          </a:ln>
          <a:effectLst/>
        </p:spPr>
        <p:txBody>
          <a:bodyPr lIns="89642" tIns="44821" rIns="89642" bIns="44821" rtlCol="0" anchor="t"/>
          <a:lstStyle/>
          <a:p>
            <a:pPr defTabSz="448107"/>
            <a:r>
              <a:rPr lang="en-US" sz="1400" dirty="0">
                <a:solidFill>
                  <a:srgbClr val="1A1A1A"/>
                </a:solidFill>
                <a:latin typeface="Segoe UI"/>
                <a:cs typeface="Segoe UI Light" panose="020B0502040204020203" pitchFamily="34" charset="0"/>
              </a:rPr>
              <a:t>User portal</a:t>
            </a:r>
          </a:p>
        </p:txBody>
      </p:sp>
      <p:pic>
        <p:nvPicPr>
          <p:cNvPr id="4" name="Graphic 3" descr="Key">
            <a:extLst>
              <a:ext uri="{FF2B5EF4-FFF2-40B4-BE49-F238E27FC236}">
                <a16:creationId xmlns:a16="http://schemas.microsoft.com/office/drawing/2014/main" id="{77E1B7F8-5824-4493-B7C7-1854A84EFB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07027" y="2976348"/>
            <a:ext cx="371926" cy="371926"/>
          </a:xfrm>
          <a:prstGeom prst="rect">
            <a:avLst/>
          </a:prstGeom>
        </p:spPr>
      </p:pic>
    </p:spTree>
    <p:extLst>
      <p:ext uri="{BB962C8B-B14F-4D97-AF65-F5344CB8AC3E}">
        <p14:creationId xmlns:p14="http://schemas.microsoft.com/office/powerpoint/2010/main" val="670929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AE3C4C-6420-424F-8B58-82BC9B0A44A9}"/>
              </a:ext>
            </a:extLst>
          </p:cNvPr>
          <p:cNvSpPr>
            <a:spLocks noGrp="1"/>
          </p:cNvSpPr>
          <p:nvPr>
            <p:ph type="title"/>
          </p:nvPr>
        </p:nvSpPr>
        <p:spPr/>
        <p:txBody>
          <a:bodyPr/>
          <a:lstStyle/>
          <a:p>
            <a:r>
              <a:rPr lang="en-US"/>
              <a:t>Azure IoT reference architecture</a:t>
            </a:r>
          </a:p>
        </p:txBody>
      </p:sp>
      <p:sp>
        <p:nvSpPr>
          <p:cNvPr id="30" name="Rectangle 29">
            <a:extLst>
              <a:ext uri="{FF2B5EF4-FFF2-40B4-BE49-F238E27FC236}">
                <a16:creationId xmlns:a16="http://schemas.microsoft.com/office/drawing/2014/main" id="{55BA9939-AF38-4F71-8574-1EA514BB81E5}"/>
              </a:ext>
            </a:extLst>
          </p:cNvPr>
          <p:cNvSpPr/>
          <p:nvPr/>
        </p:nvSpPr>
        <p:spPr bwMode="auto">
          <a:xfrm>
            <a:off x="986828" y="1520982"/>
            <a:ext cx="2933322" cy="4125839"/>
          </a:xfrm>
          <a:prstGeom prst="rect">
            <a:avLst/>
          </a:prstGeom>
          <a:noFill/>
          <a:ln w="38100" cap="flat" cmpd="sng" algn="ctr">
            <a:solidFill>
              <a:srgbClr val="0078D7"/>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3290C08E-200D-4AB1-B795-9D5A7000CEA4}"/>
              </a:ext>
            </a:extLst>
          </p:cNvPr>
          <p:cNvSpPr/>
          <p:nvPr/>
        </p:nvSpPr>
        <p:spPr bwMode="auto">
          <a:xfrm>
            <a:off x="4059238" y="1520982"/>
            <a:ext cx="3971186" cy="4125839"/>
          </a:xfrm>
          <a:prstGeom prst="rect">
            <a:avLst/>
          </a:prstGeom>
          <a:noFill/>
          <a:ln w="38100" cap="flat" cmpd="sng" algn="ctr">
            <a:solidFill>
              <a:srgbClr val="0078D7"/>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ADD31753-36A9-418B-97B9-7E072D1893C7}"/>
              </a:ext>
            </a:extLst>
          </p:cNvPr>
          <p:cNvSpPr/>
          <p:nvPr/>
        </p:nvSpPr>
        <p:spPr bwMode="auto">
          <a:xfrm>
            <a:off x="8169512" y="1520982"/>
            <a:ext cx="2966250" cy="4125839"/>
          </a:xfrm>
          <a:prstGeom prst="rect">
            <a:avLst/>
          </a:prstGeom>
          <a:noFill/>
          <a:ln w="38100" cap="flat" cmpd="sng" algn="ctr">
            <a:solidFill>
              <a:srgbClr val="0078D7"/>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4C7DB914-45ED-4B97-8970-B7E3330AB271}"/>
              </a:ext>
            </a:extLst>
          </p:cNvPr>
          <p:cNvSpPr txBox="1"/>
          <p:nvPr/>
        </p:nvSpPr>
        <p:spPr>
          <a:xfrm>
            <a:off x="820134" y="1072981"/>
            <a:ext cx="2701664" cy="517065"/>
          </a:xfrm>
          <a:prstGeom prst="rect">
            <a:avLst/>
          </a:prstGeom>
          <a:noFill/>
        </p:spPr>
        <p:txBody>
          <a:bodyPr wrap="square" lIns="182880" tIns="146304" rIns="182880" bIns="146304" rtlCol="0">
            <a:spAutoFit/>
          </a:bodyPr>
          <a:lstStyle/>
          <a:p>
            <a:pPr marL="0" marR="0" lvl="0" indent="0" algn="l" defTabSz="914314"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Core Subsystems</a:t>
            </a:r>
          </a:p>
        </p:txBody>
      </p:sp>
      <p:grpSp>
        <p:nvGrpSpPr>
          <p:cNvPr id="34" name="Group 33">
            <a:extLst>
              <a:ext uri="{FF2B5EF4-FFF2-40B4-BE49-F238E27FC236}">
                <a16:creationId xmlns:a16="http://schemas.microsoft.com/office/drawing/2014/main" id="{FC90B1F3-0E33-4FEB-84D5-3348A3D45726}"/>
              </a:ext>
            </a:extLst>
          </p:cNvPr>
          <p:cNvGrpSpPr/>
          <p:nvPr/>
        </p:nvGrpSpPr>
        <p:grpSpPr>
          <a:xfrm>
            <a:off x="1021762" y="2906455"/>
            <a:ext cx="1512416" cy="1045090"/>
            <a:chOff x="1021762" y="3396757"/>
            <a:chExt cx="1512416" cy="1045090"/>
          </a:xfrm>
        </p:grpSpPr>
        <p:sp>
          <p:nvSpPr>
            <p:cNvPr id="35" name="Rectangle 34">
              <a:extLst>
                <a:ext uri="{FF2B5EF4-FFF2-40B4-BE49-F238E27FC236}">
                  <a16:creationId xmlns:a16="http://schemas.microsoft.com/office/drawing/2014/main" id="{F7FE5141-4BBC-4780-B078-BD0564731EEC}"/>
                </a:ext>
              </a:extLst>
            </p:cNvPr>
            <p:cNvSpPr/>
            <p:nvPr/>
          </p:nvSpPr>
          <p:spPr bwMode="auto">
            <a:xfrm>
              <a:off x="1160850" y="3576129"/>
              <a:ext cx="1373328" cy="865718"/>
            </a:xfrm>
            <a:prstGeom prst="rect">
              <a:avLst/>
            </a:prstGeom>
            <a:solidFill>
              <a:srgbClr val="0078D7"/>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86977A71-A7B8-41DD-AA84-B6AB3AE8C2F7}"/>
                </a:ext>
              </a:extLst>
            </p:cNvPr>
            <p:cNvSpPr/>
            <p:nvPr/>
          </p:nvSpPr>
          <p:spPr bwMode="auto">
            <a:xfrm>
              <a:off x="1091306" y="3486443"/>
              <a:ext cx="1373328" cy="865718"/>
            </a:xfrm>
            <a:prstGeom prst="rect">
              <a:avLst/>
            </a:prstGeom>
            <a:solidFill>
              <a:srgbClr val="0078D7"/>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B0A3C0E6-418D-4BD4-92AF-FA42B3CDF624}"/>
                </a:ext>
              </a:extLst>
            </p:cNvPr>
            <p:cNvSpPr/>
            <p:nvPr/>
          </p:nvSpPr>
          <p:spPr bwMode="auto">
            <a:xfrm>
              <a:off x="1021762" y="3396757"/>
              <a:ext cx="1373328" cy="865718"/>
            </a:xfrm>
            <a:prstGeom prst="rect">
              <a:avLst/>
            </a:prstGeom>
            <a:solidFill>
              <a:srgbClr val="0078D7"/>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t>IoT Devices</a:t>
              </a:r>
            </a:p>
          </p:txBody>
        </p:sp>
      </p:grpSp>
      <p:sp>
        <p:nvSpPr>
          <p:cNvPr id="38" name="Rectangle 37">
            <a:extLst>
              <a:ext uri="{FF2B5EF4-FFF2-40B4-BE49-F238E27FC236}">
                <a16:creationId xmlns:a16="http://schemas.microsoft.com/office/drawing/2014/main" id="{CC5F3962-0E65-42B8-B362-111D67BC7BA2}"/>
              </a:ext>
            </a:extLst>
          </p:cNvPr>
          <p:cNvSpPr/>
          <p:nvPr/>
        </p:nvSpPr>
        <p:spPr bwMode="auto">
          <a:xfrm>
            <a:off x="3400180" y="2996141"/>
            <a:ext cx="1373328" cy="865718"/>
          </a:xfrm>
          <a:prstGeom prst="rect">
            <a:avLst/>
          </a:prstGeom>
          <a:solidFill>
            <a:srgbClr val="0078D7"/>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t>Cloud Gateway </a:t>
            </a:r>
            <a:b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br>
            <a: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t>(IoT Hub)</a:t>
            </a:r>
          </a:p>
        </p:txBody>
      </p:sp>
      <p:sp>
        <p:nvSpPr>
          <p:cNvPr id="39" name="Cylinder 38">
            <a:extLst>
              <a:ext uri="{FF2B5EF4-FFF2-40B4-BE49-F238E27FC236}">
                <a16:creationId xmlns:a16="http://schemas.microsoft.com/office/drawing/2014/main" id="{C3636640-344B-4A1F-8D1F-036E4C088D4E}"/>
              </a:ext>
            </a:extLst>
          </p:cNvPr>
          <p:cNvSpPr/>
          <p:nvPr/>
        </p:nvSpPr>
        <p:spPr bwMode="auto">
          <a:xfrm>
            <a:off x="6701050" y="4361832"/>
            <a:ext cx="1073083" cy="1149139"/>
          </a:xfrm>
          <a:prstGeom prst="can">
            <a:avLst/>
          </a:prstGeom>
          <a:solidFill>
            <a:srgbClr val="0078D7"/>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t>Storage</a:t>
            </a:r>
          </a:p>
        </p:txBody>
      </p:sp>
      <p:sp>
        <p:nvSpPr>
          <p:cNvPr id="40" name="Rectangle 39">
            <a:extLst>
              <a:ext uri="{FF2B5EF4-FFF2-40B4-BE49-F238E27FC236}">
                <a16:creationId xmlns:a16="http://schemas.microsoft.com/office/drawing/2014/main" id="{96992000-0686-4E43-A095-AF910AB2D559}"/>
              </a:ext>
            </a:extLst>
          </p:cNvPr>
          <p:cNvSpPr/>
          <p:nvPr/>
        </p:nvSpPr>
        <p:spPr bwMode="auto">
          <a:xfrm>
            <a:off x="6550927" y="2996141"/>
            <a:ext cx="1373328" cy="865718"/>
          </a:xfrm>
          <a:prstGeom prst="rect">
            <a:avLst/>
          </a:prstGeom>
          <a:solidFill>
            <a:srgbClr val="0078D7"/>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t>Stream Processing</a:t>
            </a:r>
          </a:p>
        </p:txBody>
      </p:sp>
      <p:sp>
        <p:nvSpPr>
          <p:cNvPr id="41" name="Rectangle 40">
            <a:extLst>
              <a:ext uri="{FF2B5EF4-FFF2-40B4-BE49-F238E27FC236}">
                <a16:creationId xmlns:a16="http://schemas.microsoft.com/office/drawing/2014/main" id="{2DCCB6C7-D763-43B1-8727-B701B992C41E}"/>
              </a:ext>
            </a:extLst>
          </p:cNvPr>
          <p:cNvSpPr/>
          <p:nvPr/>
        </p:nvSpPr>
        <p:spPr bwMode="auto">
          <a:xfrm>
            <a:off x="6550926" y="1590046"/>
            <a:ext cx="1373328" cy="865718"/>
          </a:xfrm>
          <a:prstGeom prst="rect">
            <a:avLst/>
          </a:prstGeom>
          <a:solidFill>
            <a:srgbClr val="0078D7"/>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t>UI &amp; Reporting Tools</a:t>
            </a:r>
          </a:p>
        </p:txBody>
      </p:sp>
      <p:sp>
        <p:nvSpPr>
          <p:cNvPr id="42" name="Rectangle 41">
            <a:extLst>
              <a:ext uri="{FF2B5EF4-FFF2-40B4-BE49-F238E27FC236}">
                <a16:creationId xmlns:a16="http://schemas.microsoft.com/office/drawing/2014/main" id="{389CBB48-F2BE-47D8-AEF6-19536F54966A}"/>
              </a:ext>
            </a:extLst>
          </p:cNvPr>
          <p:cNvSpPr/>
          <p:nvPr/>
        </p:nvSpPr>
        <p:spPr bwMode="auto">
          <a:xfrm>
            <a:off x="9657822" y="2996141"/>
            <a:ext cx="1373328" cy="865718"/>
          </a:xfrm>
          <a:prstGeom prst="rect">
            <a:avLst/>
          </a:prstGeom>
          <a:solidFill>
            <a:srgbClr val="0078D7"/>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6398">
                      <a:srgbClr val="FFFFFF"/>
                    </a:gs>
                    <a:gs pos="2917">
                      <a:srgbClr val="FFFFFF"/>
                    </a:gs>
                  </a:gsLst>
                  <a:lin ang="5400000" scaled="0"/>
                </a:gradFill>
                <a:effectLst/>
                <a:uLnTx/>
                <a:uFillTx/>
                <a:latin typeface="Segoe UI Semibold"/>
                <a:ea typeface="+mn-ea"/>
                <a:cs typeface="Segoe UI Semilight" panose="020B0402040204020203" pitchFamily="34" charset="0"/>
              </a:rPr>
              <a:t>Business Integration</a:t>
            </a:r>
          </a:p>
        </p:txBody>
      </p:sp>
      <p:cxnSp>
        <p:nvCxnSpPr>
          <p:cNvPr id="43" name="Straight Arrow Connector 42">
            <a:extLst>
              <a:ext uri="{FF2B5EF4-FFF2-40B4-BE49-F238E27FC236}">
                <a16:creationId xmlns:a16="http://schemas.microsoft.com/office/drawing/2014/main" id="{B1C80695-4538-4709-8895-B45D7813B1F8}"/>
              </a:ext>
            </a:extLst>
          </p:cNvPr>
          <p:cNvCxnSpPr>
            <a:cxnSpLocks/>
            <a:endCxn id="38" idx="1"/>
          </p:cNvCxnSpPr>
          <p:nvPr/>
        </p:nvCxnSpPr>
        <p:spPr>
          <a:xfrm>
            <a:off x="2537552" y="3429000"/>
            <a:ext cx="862628" cy="0"/>
          </a:xfrm>
          <a:prstGeom prst="straightConnector1">
            <a:avLst/>
          </a:prstGeom>
          <a:noFill/>
          <a:ln w="9525" cap="flat" cmpd="sng" algn="ctr">
            <a:solidFill>
              <a:srgbClr val="000000"/>
            </a:solidFill>
            <a:prstDash val="solid"/>
            <a:headEnd type="triangle"/>
            <a:tailEnd type="triangle"/>
          </a:ln>
          <a:effectLst/>
        </p:spPr>
      </p:cxnSp>
      <p:cxnSp>
        <p:nvCxnSpPr>
          <p:cNvPr id="44" name="Straight Arrow Connector 43">
            <a:extLst>
              <a:ext uri="{FF2B5EF4-FFF2-40B4-BE49-F238E27FC236}">
                <a16:creationId xmlns:a16="http://schemas.microsoft.com/office/drawing/2014/main" id="{5B21A6D4-0ED4-45C4-868B-9257C24F0209}"/>
              </a:ext>
            </a:extLst>
          </p:cNvPr>
          <p:cNvCxnSpPr>
            <a:stCxn id="38" idx="3"/>
            <a:endCxn id="40" idx="1"/>
          </p:cNvCxnSpPr>
          <p:nvPr/>
        </p:nvCxnSpPr>
        <p:spPr>
          <a:xfrm>
            <a:off x="4773508" y="3429000"/>
            <a:ext cx="1777419" cy="0"/>
          </a:xfrm>
          <a:prstGeom prst="straightConnector1">
            <a:avLst/>
          </a:prstGeom>
          <a:noFill/>
          <a:ln w="9525" cap="flat" cmpd="sng" algn="ctr">
            <a:solidFill>
              <a:srgbClr val="000000"/>
            </a:solidFill>
            <a:prstDash val="solid"/>
            <a:headEnd type="none"/>
            <a:tailEnd type="triangle"/>
          </a:ln>
          <a:effectLst/>
        </p:spPr>
      </p:cxnSp>
      <p:cxnSp>
        <p:nvCxnSpPr>
          <p:cNvPr id="45" name="Connector: Elbow 44">
            <a:extLst>
              <a:ext uri="{FF2B5EF4-FFF2-40B4-BE49-F238E27FC236}">
                <a16:creationId xmlns:a16="http://schemas.microsoft.com/office/drawing/2014/main" id="{D24A44BD-7FD6-409B-A00E-B23F6C22B5FF}"/>
              </a:ext>
            </a:extLst>
          </p:cNvPr>
          <p:cNvCxnSpPr>
            <a:cxnSpLocks/>
            <a:endCxn id="39" idx="2"/>
          </p:cNvCxnSpPr>
          <p:nvPr/>
        </p:nvCxnSpPr>
        <p:spPr>
          <a:xfrm>
            <a:off x="4773508" y="3642082"/>
            <a:ext cx="1927542" cy="1294320"/>
          </a:xfrm>
          <a:prstGeom prst="bentConnector3">
            <a:avLst/>
          </a:prstGeom>
          <a:noFill/>
          <a:ln w="9525" cap="flat" cmpd="sng" algn="ctr">
            <a:solidFill>
              <a:srgbClr val="000000"/>
            </a:solidFill>
            <a:prstDash val="solid"/>
            <a:headEnd type="none"/>
            <a:tailEnd type="triangle"/>
          </a:ln>
          <a:effectLst/>
        </p:spPr>
      </p:cxnSp>
      <p:cxnSp>
        <p:nvCxnSpPr>
          <p:cNvPr id="46" name="Straight Arrow Connector 45">
            <a:extLst>
              <a:ext uri="{FF2B5EF4-FFF2-40B4-BE49-F238E27FC236}">
                <a16:creationId xmlns:a16="http://schemas.microsoft.com/office/drawing/2014/main" id="{10161DC8-3EE6-42FA-9937-0694BA984AB6}"/>
              </a:ext>
            </a:extLst>
          </p:cNvPr>
          <p:cNvCxnSpPr>
            <a:stCxn id="40" idx="2"/>
          </p:cNvCxnSpPr>
          <p:nvPr/>
        </p:nvCxnSpPr>
        <p:spPr>
          <a:xfrm flipH="1">
            <a:off x="7237590" y="3861859"/>
            <a:ext cx="1" cy="499973"/>
          </a:xfrm>
          <a:prstGeom prst="straightConnector1">
            <a:avLst/>
          </a:prstGeom>
          <a:noFill/>
          <a:ln w="9525" cap="flat" cmpd="sng" algn="ctr">
            <a:solidFill>
              <a:srgbClr val="000000"/>
            </a:solidFill>
            <a:prstDash val="solid"/>
            <a:headEnd type="none"/>
            <a:tailEnd type="triangle"/>
          </a:ln>
          <a:effectLst/>
        </p:spPr>
      </p:cxnSp>
      <p:cxnSp>
        <p:nvCxnSpPr>
          <p:cNvPr id="47" name="Straight Arrow Connector 46">
            <a:extLst>
              <a:ext uri="{FF2B5EF4-FFF2-40B4-BE49-F238E27FC236}">
                <a16:creationId xmlns:a16="http://schemas.microsoft.com/office/drawing/2014/main" id="{251EB627-BCF0-431C-8A8D-D7F2A884317A}"/>
              </a:ext>
            </a:extLst>
          </p:cNvPr>
          <p:cNvCxnSpPr>
            <a:stCxn id="41" idx="2"/>
            <a:endCxn id="40" idx="0"/>
          </p:cNvCxnSpPr>
          <p:nvPr/>
        </p:nvCxnSpPr>
        <p:spPr>
          <a:xfrm>
            <a:off x="7237590" y="2455764"/>
            <a:ext cx="1" cy="540377"/>
          </a:xfrm>
          <a:prstGeom prst="straightConnector1">
            <a:avLst/>
          </a:prstGeom>
          <a:noFill/>
          <a:ln w="9525" cap="flat" cmpd="sng" algn="ctr">
            <a:solidFill>
              <a:srgbClr val="000000"/>
            </a:solidFill>
            <a:prstDash val="solid"/>
            <a:headEnd type="triangle"/>
            <a:tailEnd type="triangle"/>
          </a:ln>
          <a:effectLst/>
        </p:spPr>
      </p:cxnSp>
      <p:sp>
        <p:nvSpPr>
          <p:cNvPr id="61" name="TextBox 60">
            <a:extLst>
              <a:ext uri="{FF2B5EF4-FFF2-40B4-BE49-F238E27FC236}">
                <a16:creationId xmlns:a16="http://schemas.microsoft.com/office/drawing/2014/main" id="{D8834871-D238-442C-BCC3-B322EB340623}"/>
              </a:ext>
            </a:extLst>
          </p:cNvPr>
          <p:cNvSpPr txBox="1"/>
          <p:nvPr/>
        </p:nvSpPr>
        <p:spPr>
          <a:xfrm>
            <a:off x="2017554" y="6007395"/>
            <a:ext cx="871870" cy="246221"/>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Things</a:t>
            </a:r>
          </a:p>
        </p:txBody>
      </p:sp>
      <p:sp>
        <p:nvSpPr>
          <p:cNvPr id="62" name="TextBox 61">
            <a:extLst>
              <a:ext uri="{FF2B5EF4-FFF2-40B4-BE49-F238E27FC236}">
                <a16:creationId xmlns:a16="http://schemas.microsoft.com/office/drawing/2014/main" id="{841B8A65-D2F6-449D-9554-034E0AB8CBBB}"/>
              </a:ext>
            </a:extLst>
          </p:cNvPr>
          <p:cNvSpPr txBox="1"/>
          <p:nvPr/>
        </p:nvSpPr>
        <p:spPr>
          <a:xfrm>
            <a:off x="5608896" y="6007395"/>
            <a:ext cx="871870" cy="246221"/>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Insights</a:t>
            </a:r>
          </a:p>
        </p:txBody>
      </p:sp>
      <p:sp>
        <p:nvSpPr>
          <p:cNvPr id="63" name="TextBox 62">
            <a:extLst>
              <a:ext uri="{FF2B5EF4-FFF2-40B4-BE49-F238E27FC236}">
                <a16:creationId xmlns:a16="http://schemas.microsoft.com/office/drawing/2014/main" id="{785885D6-4D82-4678-9EF8-E57421E749EC}"/>
              </a:ext>
            </a:extLst>
          </p:cNvPr>
          <p:cNvSpPr txBox="1"/>
          <p:nvPr/>
        </p:nvSpPr>
        <p:spPr>
          <a:xfrm>
            <a:off x="9216702" y="6007395"/>
            <a:ext cx="871870" cy="246221"/>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Actions</a:t>
            </a:r>
          </a:p>
        </p:txBody>
      </p:sp>
      <p:cxnSp>
        <p:nvCxnSpPr>
          <p:cNvPr id="65" name="Connector: Elbow 64">
            <a:extLst>
              <a:ext uri="{FF2B5EF4-FFF2-40B4-BE49-F238E27FC236}">
                <a16:creationId xmlns:a16="http://schemas.microsoft.com/office/drawing/2014/main" id="{F381FB92-4318-4B79-B3BF-78C890FB5ACF}"/>
              </a:ext>
            </a:extLst>
          </p:cNvPr>
          <p:cNvCxnSpPr>
            <a:stCxn id="42" idx="0"/>
            <a:endCxn id="41" idx="3"/>
          </p:cNvCxnSpPr>
          <p:nvPr/>
        </p:nvCxnSpPr>
        <p:spPr>
          <a:xfrm rot="16200000" flipV="1">
            <a:off x="8647752" y="1299407"/>
            <a:ext cx="973236" cy="2420232"/>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612FAD85-4F88-44C5-A301-66E37B811AE7}"/>
              </a:ext>
            </a:extLst>
          </p:cNvPr>
          <p:cNvCxnSpPr>
            <a:stCxn id="40" idx="3"/>
            <a:endCxn id="42" idx="1"/>
          </p:cNvCxnSpPr>
          <p:nvPr/>
        </p:nvCxnSpPr>
        <p:spPr>
          <a:xfrm>
            <a:off x="7924255" y="3429000"/>
            <a:ext cx="1733567"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88200797-5283-45FC-A3BA-AE920C51B73D}"/>
              </a:ext>
            </a:extLst>
          </p:cNvPr>
          <p:cNvCxnSpPr>
            <a:stCxn id="39" idx="4"/>
            <a:endCxn id="42" idx="2"/>
          </p:cNvCxnSpPr>
          <p:nvPr/>
        </p:nvCxnSpPr>
        <p:spPr>
          <a:xfrm flipV="1">
            <a:off x="7774133" y="3861859"/>
            <a:ext cx="2570353" cy="1074543"/>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CC6BCEF1-BCCF-4D53-B271-0787C9754E26}"/>
              </a:ext>
            </a:extLst>
          </p:cNvPr>
          <p:cNvSpPr txBox="1"/>
          <p:nvPr/>
        </p:nvSpPr>
        <p:spPr>
          <a:xfrm>
            <a:off x="2603722" y="2967329"/>
            <a:ext cx="723540" cy="369332"/>
          </a:xfrm>
          <a:prstGeom prst="rect">
            <a:avLst/>
          </a:prstGeom>
          <a:noFill/>
        </p:spPr>
        <p:txBody>
          <a:bodyPr wrap="square" lIns="0" tIns="0" rIns="0" bIns="0"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Provision and send data from device to cloud</a:t>
            </a:r>
          </a:p>
        </p:txBody>
      </p:sp>
      <p:sp>
        <p:nvSpPr>
          <p:cNvPr id="73" name="TextBox 72">
            <a:extLst>
              <a:ext uri="{FF2B5EF4-FFF2-40B4-BE49-F238E27FC236}">
                <a16:creationId xmlns:a16="http://schemas.microsoft.com/office/drawing/2014/main" id="{5F65EC3B-DD45-477D-9269-BDE229F48415}"/>
              </a:ext>
            </a:extLst>
          </p:cNvPr>
          <p:cNvSpPr txBox="1"/>
          <p:nvPr/>
        </p:nvSpPr>
        <p:spPr>
          <a:xfrm>
            <a:off x="2603722" y="3521340"/>
            <a:ext cx="723540" cy="246221"/>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Device Management</a:t>
            </a:r>
          </a:p>
        </p:txBody>
      </p:sp>
      <p:sp>
        <p:nvSpPr>
          <p:cNvPr id="74" name="TextBox 73">
            <a:extLst>
              <a:ext uri="{FF2B5EF4-FFF2-40B4-BE49-F238E27FC236}">
                <a16:creationId xmlns:a16="http://schemas.microsoft.com/office/drawing/2014/main" id="{86EB3ED3-9FAB-41F1-8DD2-94FCF7A46A65}"/>
              </a:ext>
            </a:extLst>
          </p:cNvPr>
          <p:cNvSpPr txBox="1"/>
          <p:nvPr/>
        </p:nvSpPr>
        <p:spPr>
          <a:xfrm>
            <a:off x="5062836" y="3075259"/>
            <a:ext cx="1291214" cy="246221"/>
          </a:xfrm>
          <a:prstGeom prst="rect">
            <a:avLst/>
          </a:prstGeom>
          <a:noFill/>
        </p:spPr>
        <p:txBody>
          <a:bodyPr wrap="square" lIns="0" tIns="0" rIns="0" bIns="0"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Stream processing and rules evaluation over data</a:t>
            </a:r>
          </a:p>
        </p:txBody>
      </p:sp>
      <p:sp>
        <p:nvSpPr>
          <p:cNvPr id="75" name="TextBox 74">
            <a:extLst>
              <a:ext uri="{FF2B5EF4-FFF2-40B4-BE49-F238E27FC236}">
                <a16:creationId xmlns:a16="http://schemas.microsoft.com/office/drawing/2014/main" id="{A9C05937-8DC0-4A89-8D55-43E1B00B5951}"/>
              </a:ext>
            </a:extLst>
          </p:cNvPr>
          <p:cNvSpPr txBox="1"/>
          <p:nvPr/>
        </p:nvSpPr>
        <p:spPr>
          <a:xfrm>
            <a:off x="5864313" y="4752646"/>
            <a:ext cx="645607" cy="123111"/>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Store data</a:t>
            </a:r>
          </a:p>
        </p:txBody>
      </p:sp>
      <p:sp>
        <p:nvSpPr>
          <p:cNvPr id="76" name="TextBox 75">
            <a:extLst>
              <a:ext uri="{FF2B5EF4-FFF2-40B4-BE49-F238E27FC236}">
                <a16:creationId xmlns:a16="http://schemas.microsoft.com/office/drawing/2014/main" id="{CA3D115E-C624-4B1D-8A8C-C3ADA4A6F900}"/>
              </a:ext>
            </a:extLst>
          </p:cNvPr>
          <p:cNvSpPr txBox="1"/>
          <p:nvPr/>
        </p:nvSpPr>
        <p:spPr>
          <a:xfrm>
            <a:off x="8437462" y="4748931"/>
            <a:ext cx="1679125" cy="123111"/>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Integrate with business processes</a:t>
            </a:r>
          </a:p>
        </p:txBody>
      </p:sp>
      <p:sp>
        <p:nvSpPr>
          <p:cNvPr id="77" name="TextBox 76">
            <a:extLst>
              <a:ext uri="{FF2B5EF4-FFF2-40B4-BE49-F238E27FC236}">
                <a16:creationId xmlns:a16="http://schemas.microsoft.com/office/drawing/2014/main" id="{BC56C8A7-5EF4-4FE5-9B81-D5633E28320B}"/>
              </a:ext>
            </a:extLst>
          </p:cNvPr>
          <p:cNvSpPr txBox="1"/>
          <p:nvPr/>
        </p:nvSpPr>
        <p:spPr>
          <a:xfrm>
            <a:off x="8437461" y="1823803"/>
            <a:ext cx="1679125" cy="123111"/>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rPr>
              <a:t>Visualize data and learnings</a:t>
            </a:r>
          </a:p>
        </p:txBody>
      </p:sp>
      <p:sp>
        <p:nvSpPr>
          <p:cNvPr id="57" name="Oval 56">
            <a:extLst>
              <a:ext uri="{FF2B5EF4-FFF2-40B4-BE49-F238E27FC236}">
                <a16:creationId xmlns:a16="http://schemas.microsoft.com/office/drawing/2014/main" id="{FD1FF027-A30D-432C-A59A-5C81BE6A8966}"/>
              </a:ext>
            </a:extLst>
          </p:cNvPr>
          <p:cNvSpPr>
            <a:spLocks/>
          </p:cNvSpPr>
          <p:nvPr/>
        </p:nvSpPr>
        <p:spPr bwMode="auto">
          <a:xfrm>
            <a:off x="2170966" y="5345501"/>
            <a:ext cx="548640" cy="54864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58" name="Freeform: Shape 57">
            <a:extLst>
              <a:ext uri="{FF2B5EF4-FFF2-40B4-BE49-F238E27FC236}">
                <a16:creationId xmlns:a16="http://schemas.microsoft.com/office/drawing/2014/main" id="{DD6FA760-4FC3-40BC-80C0-3C7D8E0530E2}"/>
              </a:ext>
            </a:extLst>
          </p:cNvPr>
          <p:cNvSpPr>
            <a:spLocks noChangeAspect="1" noChangeArrowheads="1"/>
          </p:cNvSpPr>
          <p:nvPr/>
        </p:nvSpPr>
        <p:spPr bwMode="auto">
          <a:xfrm rot="2700000">
            <a:off x="2311065" y="5454692"/>
            <a:ext cx="274320" cy="274320"/>
          </a:xfrm>
          <a:custGeom>
            <a:avLst/>
            <a:gdLst>
              <a:gd name="connsiteX0" fmla="*/ 546713 w 700850"/>
              <a:gd name="connsiteY0" fmla="*/ 546768 h 700855"/>
              <a:gd name="connsiteX1" fmla="*/ 609420 w 700850"/>
              <a:gd name="connsiteY1" fmla="*/ 520743 h 700855"/>
              <a:gd name="connsiteX2" fmla="*/ 698101 w 700850"/>
              <a:gd name="connsiteY2" fmla="*/ 609596 h 700855"/>
              <a:gd name="connsiteX3" fmla="*/ 609420 w 700850"/>
              <a:gd name="connsiteY3" fmla="*/ 698449 h 700855"/>
              <a:gd name="connsiteX4" fmla="*/ 520739 w 700850"/>
              <a:gd name="connsiteY4" fmla="*/ 609596 h 700855"/>
              <a:gd name="connsiteX5" fmla="*/ 546713 w 700850"/>
              <a:gd name="connsiteY5" fmla="*/ 546768 h 700855"/>
              <a:gd name="connsiteX6" fmla="*/ 435700 w 700850"/>
              <a:gd name="connsiteY6" fmla="*/ 435945 h 700855"/>
              <a:gd name="connsiteX7" fmla="*/ 700850 w 700850"/>
              <a:gd name="connsiteY7" fmla="*/ 326194 h 700855"/>
              <a:gd name="connsiteX8" fmla="*/ 700850 w 700850"/>
              <a:gd name="connsiteY8" fmla="*/ 397868 h 700855"/>
              <a:gd name="connsiteX9" fmla="*/ 397588 w 700850"/>
              <a:gd name="connsiteY9" fmla="*/ 700854 h 700855"/>
              <a:gd name="connsiteX10" fmla="*/ 325849 w 700850"/>
              <a:gd name="connsiteY10" fmla="*/ 700854 h 700855"/>
              <a:gd name="connsiteX11" fmla="*/ 435700 w 700850"/>
              <a:gd name="connsiteY11" fmla="*/ 435945 h 700855"/>
              <a:gd name="connsiteX12" fmla="*/ 320634 w 700850"/>
              <a:gd name="connsiteY12" fmla="*/ 320880 h 700855"/>
              <a:gd name="connsiteX13" fmla="*/ 700850 w 700850"/>
              <a:gd name="connsiteY13" fmla="*/ 163270 h 700855"/>
              <a:gd name="connsiteX14" fmla="*/ 700850 w 700850"/>
              <a:gd name="connsiteY14" fmla="*/ 234948 h 700855"/>
              <a:gd name="connsiteX15" fmla="*/ 234647 w 700850"/>
              <a:gd name="connsiteY15" fmla="*/ 700854 h 700855"/>
              <a:gd name="connsiteX16" fmla="*/ 162924 w 700850"/>
              <a:gd name="connsiteY16" fmla="*/ 700854 h 700855"/>
              <a:gd name="connsiteX17" fmla="*/ 320634 w 700850"/>
              <a:gd name="connsiteY17" fmla="*/ 320880 h 700855"/>
              <a:gd name="connsiteX18" fmla="*/ 205365 w 700850"/>
              <a:gd name="connsiteY18" fmla="*/ 205367 h 700855"/>
              <a:gd name="connsiteX19" fmla="*/ 700850 w 700850"/>
              <a:gd name="connsiteY19" fmla="*/ 0 h 700855"/>
              <a:gd name="connsiteX20" fmla="*/ 700850 w 700850"/>
              <a:gd name="connsiteY20" fmla="*/ 71716 h 700855"/>
              <a:gd name="connsiteX21" fmla="*/ 71715 w 700850"/>
              <a:gd name="connsiteY21" fmla="*/ 700854 h 700855"/>
              <a:gd name="connsiteX22" fmla="*/ 0 w 700850"/>
              <a:gd name="connsiteY22" fmla="*/ 700855 h 700855"/>
              <a:gd name="connsiteX23" fmla="*/ 205365 w 700850"/>
              <a:gd name="connsiteY23" fmla="*/ 205367 h 70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0850" h="700855">
                <a:moveTo>
                  <a:pt x="546713" y="546768"/>
                </a:moveTo>
                <a:cubicBezTo>
                  <a:pt x="562761" y="530688"/>
                  <a:pt x="584932" y="520743"/>
                  <a:pt x="609420" y="520743"/>
                </a:cubicBezTo>
                <a:cubicBezTo>
                  <a:pt x="658397" y="520743"/>
                  <a:pt x="698101" y="560524"/>
                  <a:pt x="698101" y="609596"/>
                </a:cubicBezTo>
                <a:cubicBezTo>
                  <a:pt x="698101" y="658668"/>
                  <a:pt x="658397" y="698449"/>
                  <a:pt x="609420" y="698449"/>
                </a:cubicBezTo>
                <a:cubicBezTo>
                  <a:pt x="560443" y="698449"/>
                  <a:pt x="520739" y="658668"/>
                  <a:pt x="520739" y="609596"/>
                </a:cubicBezTo>
                <a:cubicBezTo>
                  <a:pt x="520739" y="585060"/>
                  <a:pt x="530665" y="562847"/>
                  <a:pt x="546713" y="546768"/>
                </a:cubicBezTo>
                <a:close/>
                <a:moveTo>
                  <a:pt x="435700" y="435945"/>
                </a:moveTo>
                <a:cubicBezTo>
                  <a:pt x="503567" y="368140"/>
                  <a:pt x="597317" y="326194"/>
                  <a:pt x="700850" y="326194"/>
                </a:cubicBezTo>
                <a:cubicBezTo>
                  <a:pt x="700850" y="397868"/>
                  <a:pt x="700850" y="397868"/>
                  <a:pt x="700850" y="397868"/>
                </a:cubicBezTo>
                <a:cubicBezTo>
                  <a:pt x="533730" y="397868"/>
                  <a:pt x="397588" y="533886"/>
                  <a:pt x="397588" y="700854"/>
                </a:cubicBezTo>
                <a:cubicBezTo>
                  <a:pt x="325849" y="700854"/>
                  <a:pt x="325849" y="700854"/>
                  <a:pt x="325849" y="700854"/>
                </a:cubicBezTo>
                <a:cubicBezTo>
                  <a:pt x="325849" y="597415"/>
                  <a:pt x="367833" y="503750"/>
                  <a:pt x="435700" y="435945"/>
                </a:cubicBezTo>
                <a:close/>
                <a:moveTo>
                  <a:pt x="320634" y="320880"/>
                </a:moveTo>
                <a:cubicBezTo>
                  <a:pt x="418031" y="223545"/>
                  <a:pt x="552513" y="163270"/>
                  <a:pt x="700850" y="163270"/>
                </a:cubicBezTo>
                <a:cubicBezTo>
                  <a:pt x="700850" y="234948"/>
                  <a:pt x="700850" y="234948"/>
                  <a:pt x="700850" y="234948"/>
                </a:cubicBezTo>
                <a:cubicBezTo>
                  <a:pt x="444112" y="234948"/>
                  <a:pt x="234647" y="444280"/>
                  <a:pt x="234647" y="700854"/>
                </a:cubicBezTo>
                <a:cubicBezTo>
                  <a:pt x="162924" y="700854"/>
                  <a:pt x="162924" y="700854"/>
                  <a:pt x="162924" y="700854"/>
                </a:cubicBezTo>
                <a:cubicBezTo>
                  <a:pt x="162924" y="552611"/>
                  <a:pt x="223237" y="418215"/>
                  <a:pt x="320634" y="320880"/>
                </a:cubicBezTo>
                <a:close/>
                <a:moveTo>
                  <a:pt x="205365" y="205367"/>
                </a:moveTo>
                <a:cubicBezTo>
                  <a:pt x="337386" y="72531"/>
                  <a:pt x="513413" y="1"/>
                  <a:pt x="700850" y="0"/>
                </a:cubicBezTo>
                <a:cubicBezTo>
                  <a:pt x="700850" y="71716"/>
                  <a:pt x="700850" y="71716"/>
                  <a:pt x="700850" y="71716"/>
                </a:cubicBezTo>
                <a:cubicBezTo>
                  <a:pt x="353684" y="71716"/>
                  <a:pt x="71715" y="353687"/>
                  <a:pt x="71715" y="700854"/>
                </a:cubicBezTo>
                <a:cubicBezTo>
                  <a:pt x="0" y="700855"/>
                  <a:pt x="0" y="700855"/>
                  <a:pt x="0" y="700855"/>
                </a:cubicBezTo>
                <a:cubicBezTo>
                  <a:pt x="0" y="513417"/>
                  <a:pt x="72529" y="337388"/>
                  <a:pt x="205365" y="205367"/>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05" tIns="47552" rIns="95105" bIns="47552" numCol="1" anchor="t" anchorCtr="0" compatLnSpc="1">
            <a:prstTxWarp prst="textNoShape">
              <a:avLst/>
            </a:prstTxWarp>
            <a:noAutofit/>
          </a:bodyPr>
          <a:lstStyle/>
          <a:p>
            <a:pPr marL="0" marR="0" lvl="0" indent="0" algn="l" defTabSz="951061" rtl="0" eaLnBrk="1" fontAlgn="auto" latinLnBrk="0" hangingPunct="1">
              <a:lnSpc>
                <a:spcPct val="100000"/>
              </a:lnSpc>
              <a:spcBef>
                <a:spcPts val="0"/>
              </a:spcBef>
              <a:spcAft>
                <a:spcPts val="0"/>
              </a:spcAft>
              <a:buClrTx/>
              <a:buSzTx/>
              <a:buFontTx/>
              <a:buNone/>
              <a:tabLst/>
              <a:defRPr/>
            </a:pPr>
            <a:endParaRPr kumimoji="0" lang="en-US" sz="6599" b="0" i="0" u="none" strike="noStrike" kern="1200" cap="none" spc="0" normalizeH="0" baseline="0" noProof="0">
              <a:ln>
                <a:noFill/>
              </a:ln>
              <a:solidFill>
                <a:prstClr val="black"/>
              </a:solidFill>
              <a:effectLst/>
              <a:uLnTx/>
              <a:uFillTx/>
              <a:latin typeface="Segoe UI Light"/>
              <a:ea typeface="+mn-ea"/>
              <a:cs typeface="+mn-cs"/>
            </a:endParaRPr>
          </a:p>
        </p:txBody>
      </p:sp>
      <p:sp>
        <p:nvSpPr>
          <p:cNvPr id="60" name="Oval 59">
            <a:extLst>
              <a:ext uri="{FF2B5EF4-FFF2-40B4-BE49-F238E27FC236}">
                <a16:creationId xmlns:a16="http://schemas.microsoft.com/office/drawing/2014/main" id="{34DF50FE-101E-437E-9149-62E9E2CF8D4A}"/>
              </a:ext>
            </a:extLst>
          </p:cNvPr>
          <p:cNvSpPr>
            <a:spLocks/>
          </p:cNvSpPr>
          <p:nvPr/>
        </p:nvSpPr>
        <p:spPr bwMode="auto">
          <a:xfrm>
            <a:off x="5821680" y="5343601"/>
            <a:ext cx="548640" cy="54864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59" name="Freeform: Shape 58">
            <a:extLst>
              <a:ext uri="{FF2B5EF4-FFF2-40B4-BE49-F238E27FC236}">
                <a16:creationId xmlns:a16="http://schemas.microsoft.com/office/drawing/2014/main" id="{3F7EF8FE-9E73-46FA-ACBE-6E21991D6792}"/>
              </a:ext>
            </a:extLst>
          </p:cNvPr>
          <p:cNvSpPr>
            <a:spLocks noChangeAspect="1"/>
          </p:cNvSpPr>
          <p:nvPr/>
        </p:nvSpPr>
        <p:spPr bwMode="auto">
          <a:xfrm>
            <a:off x="5983417" y="5440138"/>
            <a:ext cx="225165" cy="365760"/>
          </a:xfrm>
          <a:custGeom>
            <a:avLst/>
            <a:gdLst>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377800 w 528287"/>
              <a:gd name="connsiteY32" fmla="*/ 94874 h 858155"/>
              <a:gd name="connsiteX33" fmla="*/ 143953 w 528287"/>
              <a:gd name="connsiteY33" fmla="*/ 99114 h 858155"/>
              <a:gd name="connsiteX34" fmla="*/ 65532 w 528287"/>
              <a:gd name="connsiteY34" fmla="*/ 281902 h 858155"/>
              <a:gd name="connsiteX35" fmla="*/ 117970 w 528287"/>
              <a:gd name="connsiteY35" fmla="*/ 409570 h 858155"/>
              <a:gd name="connsiteX36" fmla="*/ 183636 w 528287"/>
              <a:gd name="connsiteY36" fmla="*/ 538652 h 858155"/>
              <a:gd name="connsiteX37" fmla="*/ 197809 w 528287"/>
              <a:gd name="connsiteY37" fmla="*/ 621566 h 858155"/>
              <a:gd name="connsiteX38" fmla="*/ 142064 w 528287"/>
              <a:gd name="connsiteY38" fmla="*/ 621566 h 858155"/>
              <a:gd name="connsiteX39" fmla="*/ 134977 w 528287"/>
              <a:gd name="connsiteY39" fmla="*/ 614028 h 858155"/>
              <a:gd name="connsiteX40" fmla="*/ 93405 w 528287"/>
              <a:gd name="connsiteY40" fmla="*/ 493426 h 858155"/>
              <a:gd name="connsiteX41" fmla="*/ 28684 w 528287"/>
              <a:gd name="connsiteY41" fmla="*/ 376122 h 858155"/>
              <a:gd name="connsiteX42" fmla="*/ 6008 w 528287"/>
              <a:gd name="connsiteY42" fmla="*/ 196632 h 858155"/>
              <a:gd name="connsiteX43" fmla="*/ 131671 w 528287"/>
              <a:gd name="connsiteY43" fmla="*/ 32218 h 858155"/>
              <a:gd name="connsiteX44" fmla="*/ 266900 w 528287"/>
              <a:gd name="connsiteY44" fmla="*/ 6 h 85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28287" h="858155">
                <a:moveTo>
                  <a:pt x="180897" y="808532"/>
                </a:moveTo>
                <a:cubicBezTo>
                  <a:pt x="237061" y="808532"/>
                  <a:pt x="292752" y="808532"/>
                  <a:pt x="351275" y="808532"/>
                </a:cubicBezTo>
                <a:cubicBezTo>
                  <a:pt x="332869" y="824175"/>
                  <a:pt x="317294" y="838396"/>
                  <a:pt x="300775" y="851668"/>
                </a:cubicBezTo>
                <a:cubicBezTo>
                  <a:pt x="296056" y="855461"/>
                  <a:pt x="288504" y="857831"/>
                  <a:pt x="281897" y="857831"/>
                </a:cubicBezTo>
                <a:cubicBezTo>
                  <a:pt x="226206" y="857357"/>
                  <a:pt x="239892" y="864941"/>
                  <a:pt x="198832" y="827019"/>
                </a:cubicBezTo>
                <a:cubicBezTo>
                  <a:pt x="192696" y="821331"/>
                  <a:pt x="187505" y="815168"/>
                  <a:pt x="180897" y="808532"/>
                </a:cubicBezTo>
                <a:close/>
                <a:moveTo>
                  <a:pt x="182285" y="731401"/>
                </a:moveTo>
                <a:cubicBezTo>
                  <a:pt x="237543" y="731401"/>
                  <a:pt x="292328" y="731401"/>
                  <a:pt x="347585" y="731401"/>
                </a:cubicBezTo>
                <a:cubicBezTo>
                  <a:pt x="365532" y="731401"/>
                  <a:pt x="375450" y="740280"/>
                  <a:pt x="375450" y="755235"/>
                </a:cubicBezTo>
                <a:cubicBezTo>
                  <a:pt x="374978" y="770189"/>
                  <a:pt x="365532" y="778134"/>
                  <a:pt x="347585" y="778134"/>
                </a:cubicBezTo>
                <a:cubicBezTo>
                  <a:pt x="320193" y="778601"/>
                  <a:pt x="292328" y="778601"/>
                  <a:pt x="264935" y="778601"/>
                </a:cubicBezTo>
                <a:cubicBezTo>
                  <a:pt x="237070" y="778601"/>
                  <a:pt x="209678" y="778601"/>
                  <a:pt x="181813" y="778134"/>
                </a:cubicBezTo>
                <a:cubicBezTo>
                  <a:pt x="165283" y="778134"/>
                  <a:pt x="154420" y="768787"/>
                  <a:pt x="154893" y="754300"/>
                </a:cubicBezTo>
                <a:cubicBezTo>
                  <a:pt x="155365" y="740280"/>
                  <a:pt x="165283" y="731401"/>
                  <a:pt x="182285" y="731401"/>
                </a:cubicBezTo>
                <a:close/>
                <a:moveTo>
                  <a:pt x="174924" y="655422"/>
                </a:moveTo>
                <a:cubicBezTo>
                  <a:pt x="235089" y="655422"/>
                  <a:pt x="295255" y="655422"/>
                  <a:pt x="354947" y="655422"/>
                </a:cubicBezTo>
                <a:cubicBezTo>
                  <a:pt x="369633" y="655422"/>
                  <a:pt x="379581" y="664350"/>
                  <a:pt x="379581" y="677976"/>
                </a:cubicBezTo>
                <a:cubicBezTo>
                  <a:pt x="380055" y="691133"/>
                  <a:pt x="370107" y="701000"/>
                  <a:pt x="355421" y="701000"/>
                </a:cubicBezTo>
                <a:cubicBezTo>
                  <a:pt x="325575" y="701470"/>
                  <a:pt x="295255" y="701000"/>
                  <a:pt x="264935" y="701000"/>
                </a:cubicBezTo>
                <a:cubicBezTo>
                  <a:pt x="235089" y="701000"/>
                  <a:pt x="205243" y="701000"/>
                  <a:pt x="175397" y="701000"/>
                </a:cubicBezTo>
                <a:cubicBezTo>
                  <a:pt x="159764" y="701000"/>
                  <a:pt x="150289" y="692542"/>
                  <a:pt x="149815" y="678446"/>
                </a:cubicBezTo>
                <a:cubicBezTo>
                  <a:pt x="149815" y="664350"/>
                  <a:pt x="159290" y="655422"/>
                  <a:pt x="174924" y="655422"/>
                </a:cubicBezTo>
                <a:close/>
                <a:moveTo>
                  <a:pt x="266900" y="6"/>
                </a:moveTo>
                <a:cubicBezTo>
                  <a:pt x="312016" y="300"/>
                  <a:pt x="357014" y="11725"/>
                  <a:pt x="401421" y="34573"/>
                </a:cubicBezTo>
                <a:cubicBezTo>
                  <a:pt x="484566" y="77914"/>
                  <a:pt x="523777" y="149993"/>
                  <a:pt x="528029" y="242329"/>
                </a:cubicBezTo>
                <a:cubicBezTo>
                  <a:pt x="530863" y="305928"/>
                  <a:pt x="510077" y="362460"/>
                  <a:pt x="479842" y="416637"/>
                </a:cubicBezTo>
                <a:cubicBezTo>
                  <a:pt x="470394" y="433125"/>
                  <a:pt x="460945" y="450085"/>
                  <a:pt x="451025" y="466574"/>
                </a:cubicBezTo>
                <a:cubicBezTo>
                  <a:pt x="422680" y="514626"/>
                  <a:pt x="393862" y="562207"/>
                  <a:pt x="393390" y="621095"/>
                </a:cubicBezTo>
                <a:cubicBezTo>
                  <a:pt x="372131" y="621095"/>
                  <a:pt x="352289" y="621095"/>
                  <a:pt x="331503" y="621095"/>
                </a:cubicBezTo>
                <a:cubicBezTo>
                  <a:pt x="331031" y="590002"/>
                  <a:pt x="335282" y="560323"/>
                  <a:pt x="347093" y="532528"/>
                </a:cubicBezTo>
                <a:cubicBezTo>
                  <a:pt x="363155" y="496724"/>
                  <a:pt x="381107" y="461862"/>
                  <a:pt x="400476" y="427943"/>
                </a:cubicBezTo>
                <a:cubicBezTo>
                  <a:pt x="422680" y="387899"/>
                  <a:pt x="447245" y="349740"/>
                  <a:pt x="458583" y="304986"/>
                </a:cubicBezTo>
                <a:cubicBezTo>
                  <a:pt x="480315" y="219245"/>
                  <a:pt x="449607" y="135389"/>
                  <a:pt x="377800" y="94874"/>
                </a:cubicBezTo>
                <a:cubicBezTo>
                  <a:pt x="299851" y="50590"/>
                  <a:pt x="220013" y="51533"/>
                  <a:pt x="143953" y="99114"/>
                </a:cubicBezTo>
                <a:cubicBezTo>
                  <a:pt x="77343" y="141042"/>
                  <a:pt x="57029" y="206525"/>
                  <a:pt x="65532" y="281902"/>
                </a:cubicBezTo>
                <a:cubicBezTo>
                  <a:pt x="71201" y="329012"/>
                  <a:pt x="93877" y="369527"/>
                  <a:pt x="117970" y="409570"/>
                </a:cubicBezTo>
                <a:cubicBezTo>
                  <a:pt x="142536" y="451498"/>
                  <a:pt x="168519" y="492013"/>
                  <a:pt x="183636" y="538652"/>
                </a:cubicBezTo>
                <a:cubicBezTo>
                  <a:pt x="192140" y="565034"/>
                  <a:pt x="197809" y="591887"/>
                  <a:pt x="197809" y="621566"/>
                </a:cubicBezTo>
                <a:cubicBezTo>
                  <a:pt x="177967" y="621566"/>
                  <a:pt x="160016" y="622037"/>
                  <a:pt x="142064" y="621566"/>
                </a:cubicBezTo>
                <a:cubicBezTo>
                  <a:pt x="139702" y="621095"/>
                  <a:pt x="135450" y="616855"/>
                  <a:pt x="134977" y="614028"/>
                </a:cubicBezTo>
                <a:cubicBezTo>
                  <a:pt x="133088" y="569745"/>
                  <a:pt x="114191" y="531114"/>
                  <a:pt x="93405" y="493426"/>
                </a:cubicBezTo>
                <a:cubicBezTo>
                  <a:pt x="71674" y="454325"/>
                  <a:pt x="48525" y="416166"/>
                  <a:pt x="28684" y="376122"/>
                </a:cubicBezTo>
                <a:cubicBezTo>
                  <a:pt x="811" y="319119"/>
                  <a:pt x="-6748" y="258818"/>
                  <a:pt x="6008" y="196632"/>
                </a:cubicBezTo>
                <a:cubicBezTo>
                  <a:pt x="21125" y="121256"/>
                  <a:pt x="63170" y="65666"/>
                  <a:pt x="131671" y="32218"/>
                </a:cubicBezTo>
                <a:cubicBezTo>
                  <a:pt x="176550" y="10547"/>
                  <a:pt x="221784" y="-288"/>
                  <a:pt x="266900" y="6"/>
                </a:cubicBezTo>
                <a:close/>
              </a:path>
            </a:pathLst>
          </a:custGeom>
          <a:solidFill>
            <a:schemeClr val="accent1"/>
          </a:solidFill>
          <a:ln w="9525">
            <a:noFill/>
            <a:round/>
            <a:headEnd/>
            <a:tailEnd/>
          </a:ln>
        </p:spPr>
        <p:txBody>
          <a:bodyPr vert="horz" wrap="square" lIns="93235" tIns="46617" rIns="93235" bIns="46617" numCol="1" anchor="t" anchorCtr="0" compatLnSpc="1">
            <a:prstTxWarp prst="textNoShape">
              <a:avLst/>
            </a:prstTxWarp>
            <a:noAutofit/>
          </a:bodyPr>
          <a:lstStyle/>
          <a:p>
            <a:pPr marL="0" marR="0" lvl="0" indent="0" algn="l" defTabSz="932507"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505050"/>
              </a:solidFill>
              <a:effectLst/>
              <a:uLnTx/>
              <a:uFillTx/>
              <a:latin typeface="Segoe UI Light"/>
              <a:ea typeface="+mn-ea"/>
              <a:cs typeface="+mn-cs"/>
            </a:endParaRPr>
          </a:p>
        </p:txBody>
      </p:sp>
      <p:sp>
        <p:nvSpPr>
          <p:cNvPr id="64" name="Oval 63">
            <a:extLst>
              <a:ext uri="{FF2B5EF4-FFF2-40B4-BE49-F238E27FC236}">
                <a16:creationId xmlns:a16="http://schemas.microsoft.com/office/drawing/2014/main" id="{D5D014B7-4506-4D79-B062-DCE89F60826B}"/>
              </a:ext>
            </a:extLst>
          </p:cNvPr>
          <p:cNvSpPr>
            <a:spLocks/>
          </p:cNvSpPr>
          <p:nvPr/>
        </p:nvSpPr>
        <p:spPr bwMode="auto">
          <a:xfrm>
            <a:off x="9373616" y="5361781"/>
            <a:ext cx="548640" cy="54864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66" name="Freeform 104">
            <a:extLst>
              <a:ext uri="{FF2B5EF4-FFF2-40B4-BE49-F238E27FC236}">
                <a16:creationId xmlns:a16="http://schemas.microsoft.com/office/drawing/2014/main" id="{4FA2F955-2929-4CB7-972A-31348CDDBA29}"/>
              </a:ext>
            </a:extLst>
          </p:cNvPr>
          <p:cNvSpPr>
            <a:spLocks noChangeAspect="1"/>
          </p:cNvSpPr>
          <p:nvPr/>
        </p:nvSpPr>
        <p:spPr bwMode="black">
          <a:xfrm>
            <a:off x="9548094" y="5440138"/>
            <a:ext cx="219456" cy="36576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accent1"/>
          </a:solidFill>
          <a:ln>
            <a:noFill/>
          </a:ln>
        </p:spPr>
        <p:txBody>
          <a:bodyPr vert="horz" wrap="square" lIns="93235" tIns="46617" rIns="93235" bIns="46617" numCol="1" anchor="t" anchorCtr="0" compatLnSpc="1">
            <a:prstTxWarp prst="textNoShape">
              <a:avLst/>
            </a:prstTxWarp>
            <a:noAutofit/>
          </a:bodyPr>
          <a:lstStyle/>
          <a:p>
            <a:pPr marL="0" marR="0" lvl="0" indent="0" algn="l" defTabSz="932507"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505050"/>
              </a:solidFill>
              <a:effectLst/>
              <a:uLnTx/>
              <a:uFillTx/>
              <a:latin typeface="Segoe UI Light"/>
              <a:ea typeface="+mn-ea"/>
              <a:cs typeface="+mn-cs"/>
            </a:endParaRPr>
          </a:p>
        </p:txBody>
      </p:sp>
    </p:spTree>
    <p:extLst>
      <p:ext uri="{BB962C8B-B14F-4D97-AF65-F5344CB8AC3E}">
        <p14:creationId xmlns:p14="http://schemas.microsoft.com/office/powerpoint/2010/main" val="2227213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additive="base">
                                        <p:cTn id="7" dur="750" fill="hold"/>
                                        <p:tgtEl>
                                          <p:spTgt spid="57"/>
                                        </p:tgtEl>
                                        <p:attrNameLst>
                                          <p:attrName>ppt_x</p:attrName>
                                        </p:attrNameLst>
                                      </p:cBhvr>
                                      <p:tavLst>
                                        <p:tav tm="0">
                                          <p:val>
                                            <p:strVal val="#ppt_x"/>
                                          </p:val>
                                        </p:tav>
                                        <p:tav tm="100000">
                                          <p:val>
                                            <p:strVal val="#ppt_x"/>
                                          </p:val>
                                        </p:tav>
                                      </p:tavLst>
                                    </p:anim>
                                    <p:anim calcmode="lin" valueType="num">
                                      <p:cBhvr additive="base">
                                        <p:cTn id="8" dur="750" fill="hold"/>
                                        <p:tgtEl>
                                          <p:spTgt spid="5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750" fill="hold"/>
                                        <p:tgtEl>
                                          <p:spTgt spid="58"/>
                                        </p:tgtEl>
                                        <p:attrNameLst>
                                          <p:attrName>ppt_x</p:attrName>
                                        </p:attrNameLst>
                                      </p:cBhvr>
                                      <p:tavLst>
                                        <p:tav tm="0">
                                          <p:val>
                                            <p:strVal val="#ppt_x"/>
                                          </p:val>
                                        </p:tav>
                                        <p:tav tm="100000">
                                          <p:val>
                                            <p:strVal val="#ppt_x"/>
                                          </p:val>
                                        </p:tav>
                                      </p:tavLst>
                                    </p:anim>
                                    <p:anim calcmode="lin" valueType="num">
                                      <p:cBhvr additive="base">
                                        <p:cTn id="12" dur="750" fill="hold"/>
                                        <p:tgtEl>
                                          <p:spTgt spid="58"/>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750" fill="hold"/>
                                        <p:tgtEl>
                                          <p:spTgt spid="59"/>
                                        </p:tgtEl>
                                        <p:attrNameLst>
                                          <p:attrName>ppt_x</p:attrName>
                                        </p:attrNameLst>
                                      </p:cBhvr>
                                      <p:tavLst>
                                        <p:tav tm="0">
                                          <p:val>
                                            <p:strVal val="#ppt_x"/>
                                          </p:val>
                                        </p:tav>
                                        <p:tav tm="100000">
                                          <p:val>
                                            <p:strVal val="#ppt_x"/>
                                          </p:val>
                                        </p:tav>
                                      </p:tavLst>
                                    </p:anim>
                                    <p:anim calcmode="lin" valueType="num">
                                      <p:cBhvr additive="base">
                                        <p:cTn id="16" dur="750" fill="hold"/>
                                        <p:tgtEl>
                                          <p:spTgt spid="59"/>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60"/>
                                        </p:tgtEl>
                                        <p:attrNameLst>
                                          <p:attrName>style.visibility</p:attrName>
                                        </p:attrNameLst>
                                      </p:cBhvr>
                                      <p:to>
                                        <p:strVal val="visible"/>
                                      </p:to>
                                    </p:set>
                                    <p:anim calcmode="lin" valueType="num">
                                      <p:cBhvr additive="base">
                                        <p:cTn id="19" dur="750" fill="hold"/>
                                        <p:tgtEl>
                                          <p:spTgt spid="60"/>
                                        </p:tgtEl>
                                        <p:attrNameLst>
                                          <p:attrName>ppt_x</p:attrName>
                                        </p:attrNameLst>
                                      </p:cBhvr>
                                      <p:tavLst>
                                        <p:tav tm="0">
                                          <p:val>
                                            <p:strVal val="#ppt_x"/>
                                          </p:val>
                                        </p:tav>
                                        <p:tav tm="100000">
                                          <p:val>
                                            <p:strVal val="#ppt_x"/>
                                          </p:val>
                                        </p:tav>
                                      </p:tavLst>
                                    </p:anim>
                                    <p:anim calcmode="lin" valueType="num">
                                      <p:cBhvr additive="base">
                                        <p:cTn id="20" dur="750" fill="hold"/>
                                        <p:tgtEl>
                                          <p:spTgt spid="60"/>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64"/>
                                        </p:tgtEl>
                                        <p:attrNameLst>
                                          <p:attrName>style.visibility</p:attrName>
                                        </p:attrNameLst>
                                      </p:cBhvr>
                                      <p:to>
                                        <p:strVal val="visible"/>
                                      </p:to>
                                    </p:set>
                                    <p:anim calcmode="lin" valueType="num">
                                      <p:cBhvr additive="base">
                                        <p:cTn id="23" dur="750" fill="hold"/>
                                        <p:tgtEl>
                                          <p:spTgt spid="64"/>
                                        </p:tgtEl>
                                        <p:attrNameLst>
                                          <p:attrName>ppt_x</p:attrName>
                                        </p:attrNameLst>
                                      </p:cBhvr>
                                      <p:tavLst>
                                        <p:tav tm="0">
                                          <p:val>
                                            <p:strVal val="#ppt_x"/>
                                          </p:val>
                                        </p:tav>
                                        <p:tav tm="100000">
                                          <p:val>
                                            <p:strVal val="#ppt_x"/>
                                          </p:val>
                                        </p:tav>
                                      </p:tavLst>
                                    </p:anim>
                                    <p:anim calcmode="lin" valueType="num">
                                      <p:cBhvr additive="base">
                                        <p:cTn id="24" dur="750" fill="hold"/>
                                        <p:tgtEl>
                                          <p:spTgt spid="64"/>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66"/>
                                        </p:tgtEl>
                                        <p:attrNameLst>
                                          <p:attrName>style.visibility</p:attrName>
                                        </p:attrNameLst>
                                      </p:cBhvr>
                                      <p:to>
                                        <p:strVal val="visible"/>
                                      </p:to>
                                    </p:set>
                                    <p:anim calcmode="lin" valueType="num">
                                      <p:cBhvr additive="base">
                                        <p:cTn id="27" dur="750" fill="hold"/>
                                        <p:tgtEl>
                                          <p:spTgt spid="66"/>
                                        </p:tgtEl>
                                        <p:attrNameLst>
                                          <p:attrName>ppt_x</p:attrName>
                                        </p:attrNameLst>
                                      </p:cBhvr>
                                      <p:tavLst>
                                        <p:tav tm="0">
                                          <p:val>
                                            <p:strVal val="#ppt_x"/>
                                          </p:val>
                                        </p:tav>
                                        <p:tav tm="100000">
                                          <p:val>
                                            <p:strVal val="#ppt_x"/>
                                          </p:val>
                                        </p:tav>
                                      </p:tavLst>
                                    </p:anim>
                                    <p:anim calcmode="lin" valueType="num">
                                      <p:cBhvr additive="base">
                                        <p:cTn id="28" dur="750" fill="hold"/>
                                        <p:tgtEl>
                                          <p:spTgt spid="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8" grpId="0" animBg="1"/>
      <p:bldP spid="60" grpId="0" animBg="1"/>
      <p:bldP spid="59" grpId="0" animBg="1"/>
      <p:bldP spid="64" grpId="0" animBg="1"/>
      <p:bldP spid="66"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p:cNvSpPr>
            <a:spLocks noChangeAspect="1"/>
          </p:cNvSpPr>
          <p:nvPr/>
        </p:nvSpPr>
        <p:spPr bwMode="black">
          <a:xfrm>
            <a:off x="2758747" y="1260148"/>
            <a:ext cx="9264675" cy="490877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40000"/>
              <a:lumOff val="60000"/>
            </a:schemeClr>
          </a:solidFill>
          <a:ln w="76200">
            <a:gradFill flip="none" rotWithShape="1">
              <a:gsLst>
                <a:gs pos="50000">
                  <a:srgbClr val="5EB6DA"/>
                </a:gs>
                <a:gs pos="50000">
                  <a:srgbClr val="3999C6"/>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tIns="822727" rtlCol="0" anchor="ctr"/>
          <a:lstStyle/>
          <a:p>
            <a:pPr marL="0" marR="0" lvl="0" indent="0" algn="ctr" defTabSz="914049" rtl="0" eaLnBrk="1" fontAlgn="auto" latinLnBrk="0" hangingPunct="1">
              <a:lnSpc>
                <a:spcPct val="80000"/>
              </a:lnSpc>
              <a:spcBef>
                <a:spcPts val="0"/>
              </a:spcBef>
              <a:spcAft>
                <a:spcPts val="0"/>
              </a:spcAft>
              <a:buClrTx/>
              <a:buSzTx/>
              <a:buFontTx/>
              <a:buNone/>
              <a:tabLst/>
              <a:defRPr/>
            </a:pPr>
            <a:endParaRPr kumimoji="0" lang="en-US" sz="4400" b="0" i="0" u="none" strike="noStrike" kern="0" cap="none" spc="-15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95" name="Rectangle 94"/>
          <p:cNvSpPr/>
          <p:nvPr/>
        </p:nvSpPr>
        <p:spPr bwMode="auto">
          <a:xfrm>
            <a:off x="308389" y="6433626"/>
            <a:ext cx="2452181" cy="1828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519249" y="333814"/>
            <a:ext cx="11151917" cy="605975"/>
          </a:xfrm>
        </p:spPr>
        <p:txBody>
          <a:bodyPr/>
          <a:lstStyle/>
          <a:p>
            <a:r>
              <a:rPr lang="en-US" sz="3600" b="1" spc="-50" dirty="0">
                <a:gradFill>
                  <a:gsLst>
                    <a:gs pos="1250">
                      <a:schemeClr val="tx1"/>
                    </a:gs>
                    <a:gs pos="100000">
                      <a:schemeClr val="tx1"/>
                    </a:gs>
                  </a:gsLst>
                  <a:lin ang="5400000" scaled="0"/>
                </a:gradFill>
                <a:cs typeface="Segoe UI" pitchFamily="34" charset="0"/>
              </a:rPr>
              <a:t>Big Picture for IoT, AI, Digital Twins, and your business</a:t>
            </a:r>
          </a:p>
        </p:txBody>
      </p:sp>
      <p:cxnSp>
        <p:nvCxnSpPr>
          <p:cNvPr id="8" name="2 Arrow"/>
          <p:cNvCxnSpPr/>
          <p:nvPr/>
        </p:nvCxnSpPr>
        <p:spPr>
          <a:xfrm>
            <a:off x="943530" y="1765844"/>
            <a:ext cx="2780096"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 name="2 Device"/>
          <p:cNvSpPr txBox="1"/>
          <p:nvPr/>
        </p:nvSpPr>
        <p:spPr>
          <a:xfrm>
            <a:off x="586932" y="5874704"/>
            <a:ext cx="4296751" cy="573442"/>
          </a:xfrm>
          <a:prstGeom prst="rect">
            <a:avLst/>
          </a:prstGeom>
          <a:solidFill>
            <a:srgbClr val="3999C6"/>
          </a:solidFill>
        </p:spPr>
        <p:txBody>
          <a:bodyPr wrap="square" lIns="91414" tIns="91414" rIns="0" bIns="91414" rtlCol="0" anchor="ctr">
            <a:spAutoFit/>
          </a:bodyPr>
          <a:lstStyle>
            <a:defPPr>
              <a:defRPr lang="en-US"/>
            </a:defPPr>
            <a:lvl1pPr defTabSz="932597">
              <a:defRPr sz="1600">
                <a:solidFill>
                  <a:schemeClr val="bg2"/>
                </a:solidFill>
              </a:defRPr>
            </a:lvl1p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THINGS</a:t>
            </a:r>
          </a:p>
        </p:txBody>
      </p:sp>
      <p:sp>
        <p:nvSpPr>
          <p:cNvPr id="13" name="3"/>
          <p:cNvSpPr txBox="1"/>
          <p:nvPr/>
        </p:nvSpPr>
        <p:spPr>
          <a:xfrm>
            <a:off x="5034681" y="5874704"/>
            <a:ext cx="4296751" cy="573442"/>
          </a:xfrm>
          <a:prstGeom prst="rect">
            <a:avLst/>
          </a:prstGeom>
          <a:solidFill>
            <a:srgbClr val="3999C6"/>
          </a:solidFill>
        </p:spPr>
        <p:txBody>
          <a:bodyPr wrap="square" lIns="91414" tIns="91414" rIns="0" bIns="91414" rtlCol="0" anchor="ctr">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NSIGHTS</a:t>
            </a:r>
          </a:p>
        </p:txBody>
      </p:sp>
      <p:sp>
        <p:nvSpPr>
          <p:cNvPr id="14" name="7 Presentation"/>
          <p:cNvSpPr txBox="1"/>
          <p:nvPr/>
        </p:nvSpPr>
        <p:spPr>
          <a:xfrm>
            <a:off x="9483892" y="5874704"/>
            <a:ext cx="2468530" cy="573442"/>
          </a:xfrm>
          <a:prstGeom prst="rect">
            <a:avLst/>
          </a:prstGeom>
          <a:solidFill>
            <a:srgbClr val="3999C6"/>
          </a:solidFill>
        </p:spPr>
        <p:txBody>
          <a:bodyPr wrap="square" lIns="91414" tIns="91414" rIns="0" bIns="91414" rtlCol="0" anchor="ctr">
            <a:spAutoFit/>
          </a:bodyPr>
          <a:lstStyle>
            <a:defPPr>
              <a:defRPr lang="en-US"/>
            </a:defPPr>
            <a:lvl1pPr defTabSz="932597">
              <a:defRPr sz="1600">
                <a:solidFill>
                  <a:schemeClr val="bg2"/>
                </a:solidFill>
              </a:defRPr>
            </a:lvl1p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CTIONS</a:t>
            </a:r>
          </a:p>
        </p:txBody>
      </p:sp>
      <p:sp>
        <p:nvSpPr>
          <p:cNvPr id="22" name="Rectangle 21"/>
          <p:cNvSpPr/>
          <p:nvPr/>
        </p:nvSpPr>
        <p:spPr bwMode="auto">
          <a:xfrm>
            <a:off x="586933" y="1602086"/>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 name="TextBox 22"/>
          <p:cNvSpPr txBox="1"/>
          <p:nvPr/>
        </p:nvSpPr>
        <p:spPr>
          <a:xfrm rot="16200000">
            <a:off x="-1564523" y="3467842"/>
            <a:ext cx="3975711" cy="215419"/>
          </a:xfrm>
          <a:prstGeom prst="rect">
            <a:avLst/>
          </a:prstGeom>
          <a:noFill/>
          <a:ln>
            <a:noFill/>
            <a:headEnd type="none" w="med" len="med"/>
            <a:tailEnd type="none" w="med" len="med"/>
          </a:ln>
        </p:spPr>
        <p:txBody>
          <a:bodyPr wrap="square" lIns="0" tIns="0" rIns="0" bIns="0" rtlCol="0">
            <a:spAutoFit/>
          </a:bodyPr>
          <a:lstStyle/>
          <a:p>
            <a:pPr marL="0" marR="0" lvl="0" indent="0" algn="ctr" defTabSz="932026" rtl="0" eaLnBrk="1" fontAlgn="auto" latinLnBrk="0" hangingPunct="1">
              <a:lnSpc>
                <a:spcPct val="100000"/>
              </a:lnSpc>
              <a:spcBef>
                <a:spcPts val="0"/>
              </a:spcBef>
              <a:spcAft>
                <a:spcPts val="0"/>
              </a:spcAft>
              <a:buClrTx/>
              <a:buSzTx/>
              <a:buFontTx/>
              <a:buNone/>
              <a:tabLst/>
              <a:defRPr/>
            </a:pPr>
            <a:r>
              <a:rPr kumimoji="0" lang="en-US" sz="1400" b="1" i="0" u="none" strike="noStrike" kern="0" cap="none" spc="-38" normalizeH="0" baseline="0" noProof="0" dirty="0">
                <a:ln>
                  <a:noFill/>
                </a:ln>
                <a:solidFill>
                  <a:srgbClr val="000000">
                    <a:lumMod val="65000"/>
                    <a:lumOff val="35000"/>
                  </a:srgbClr>
                </a:solidFill>
                <a:effectLst/>
                <a:uLnTx/>
                <a:uFillTx/>
                <a:latin typeface="Segoe UI" panose="020B0502040204020203" pitchFamily="34" charset="0"/>
                <a:ea typeface="Segoe UI Black" panose="020B0A02040204020203" pitchFamily="34" charset="0"/>
                <a:cs typeface="Segoe UI" panose="020B0502040204020203" pitchFamily="34" charset="0"/>
              </a:rPr>
              <a:t>Devices: </a:t>
            </a:r>
            <a:r>
              <a:rPr kumimoji="0" lang="en-US" sz="1200" b="0" i="0" u="none" strike="noStrike" kern="0" cap="none" spc="-38"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RTOS, Linux, Windows, Android, iOS </a:t>
            </a:r>
          </a:p>
        </p:txBody>
      </p:sp>
      <p:sp>
        <p:nvSpPr>
          <p:cNvPr id="24" name="Frame 5"/>
          <p:cNvSpPr>
            <a:spLocks noChangeAspect="1"/>
          </p:cNvSpPr>
          <p:nvPr/>
        </p:nvSpPr>
        <p:spPr bwMode="auto">
          <a:xfrm>
            <a:off x="629441" y="1638304"/>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 name="Rectangle 24"/>
          <p:cNvSpPr/>
          <p:nvPr/>
        </p:nvSpPr>
        <p:spPr bwMode="auto">
          <a:xfrm>
            <a:off x="586933" y="1963928"/>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 name="Frame 5"/>
          <p:cNvSpPr>
            <a:spLocks noChangeAspect="1"/>
          </p:cNvSpPr>
          <p:nvPr/>
        </p:nvSpPr>
        <p:spPr bwMode="auto">
          <a:xfrm>
            <a:off x="629441" y="2000147"/>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 name="Rectangle 26"/>
          <p:cNvSpPr/>
          <p:nvPr/>
        </p:nvSpPr>
        <p:spPr bwMode="auto">
          <a:xfrm>
            <a:off x="586933" y="2329469"/>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 name="Frame 5"/>
          <p:cNvSpPr>
            <a:spLocks noChangeAspect="1"/>
          </p:cNvSpPr>
          <p:nvPr/>
        </p:nvSpPr>
        <p:spPr bwMode="auto">
          <a:xfrm>
            <a:off x="629441" y="2365688"/>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 name="Rectangle 28"/>
          <p:cNvSpPr/>
          <p:nvPr/>
        </p:nvSpPr>
        <p:spPr bwMode="auto">
          <a:xfrm>
            <a:off x="586933" y="2695037"/>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 name="Frame 5"/>
          <p:cNvSpPr>
            <a:spLocks noChangeAspect="1"/>
          </p:cNvSpPr>
          <p:nvPr/>
        </p:nvSpPr>
        <p:spPr bwMode="auto">
          <a:xfrm>
            <a:off x="629441" y="2731256"/>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 name="Rectangle 30"/>
          <p:cNvSpPr/>
          <p:nvPr/>
        </p:nvSpPr>
        <p:spPr bwMode="auto">
          <a:xfrm>
            <a:off x="586933" y="3057873"/>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Frame 5"/>
          <p:cNvSpPr>
            <a:spLocks noChangeAspect="1"/>
          </p:cNvSpPr>
          <p:nvPr/>
        </p:nvSpPr>
        <p:spPr bwMode="auto">
          <a:xfrm>
            <a:off x="629441" y="3094092"/>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 name="Rectangle 32"/>
          <p:cNvSpPr/>
          <p:nvPr/>
        </p:nvSpPr>
        <p:spPr bwMode="auto">
          <a:xfrm>
            <a:off x="586933" y="3419379"/>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 name="Frame 5"/>
          <p:cNvSpPr>
            <a:spLocks noChangeAspect="1"/>
          </p:cNvSpPr>
          <p:nvPr/>
        </p:nvSpPr>
        <p:spPr bwMode="auto">
          <a:xfrm>
            <a:off x="629441" y="3455597"/>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 name="Rectangle 34"/>
          <p:cNvSpPr/>
          <p:nvPr/>
        </p:nvSpPr>
        <p:spPr bwMode="auto">
          <a:xfrm>
            <a:off x="586933" y="3773830"/>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 name="Frame 5"/>
          <p:cNvSpPr>
            <a:spLocks noChangeAspect="1"/>
          </p:cNvSpPr>
          <p:nvPr/>
        </p:nvSpPr>
        <p:spPr bwMode="auto">
          <a:xfrm>
            <a:off x="629441" y="3810048"/>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 name="Rectangle 36"/>
          <p:cNvSpPr/>
          <p:nvPr/>
        </p:nvSpPr>
        <p:spPr bwMode="auto">
          <a:xfrm>
            <a:off x="586933" y="4134139"/>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 name="Frame 5"/>
          <p:cNvSpPr>
            <a:spLocks noChangeAspect="1"/>
          </p:cNvSpPr>
          <p:nvPr/>
        </p:nvSpPr>
        <p:spPr bwMode="auto">
          <a:xfrm>
            <a:off x="629441" y="4170357"/>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 name="Rectangle 38"/>
          <p:cNvSpPr/>
          <p:nvPr/>
        </p:nvSpPr>
        <p:spPr bwMode="auto">
          <a:xfrm>
            <a:off x="586933" y="4494494"/>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 name="Frame 5"/>
          <p:cNvSpPr>
            <a:spLocks noChangeAspect="1"/>
          </p:cNvSpPr>
          <p:nvPr/>
        </p:nvSpPr>
        <p:spPr bwMode="auto">
          <a:xfrm>
            <a:off x="629441" y="4530713"/>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 name="Frame 5"/>
          <p:cNvSpPr>
            <a:spLocks noChangeAspect="1"/>
          </p:cNvSpPr>
          <p:nvPr/>
        </p:nvSpPr>
        <p:spPr bwMode="auto">
          <a:xfrm>
            <a:off x="629441" y="4888788"/>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9" name="Rectangle 178">
            <a:extLst>
              <a:ext uri="{FF2B5EF4-FFF2-40B4-BE49-F238E27FC236}">
                <a16:creationId xmlns:a16="http://schemas.microsoft.com/office/drawing/2014/main" id="{35DF32D7-E289-419B-9580-B3C7EA33D6F7}"/>
              </a:ext>
            </a:extLst>
          </p:cNvPr>
          <p:cNvSpPr/>
          <p:nvPr/>
        </p:nvSpPr>
        <p:spPr bwMode="auto">
          <a:xfrm>
            <a:off x="586933" y="4860260"/>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0" name="Frame 5">
            <a:extLst>
              <a:ext uri="{FF2B5EF4-FFF2-40B4-BE49-F238E27FC236}">
                <a16:creationId xmlns:a16="http://schemas.microsoft.com/office/drawing/2014/main" id="{F7A30AA8-001E-4FE2-8098-960A9035FE24}"/>
              </a:ext>
            </a:extLst>
          </p:cNvPr>
          <p:cNvSpPr>
            <a:spLocks noChangeAspect="1"/>
          </p:cNvSpPr>
          <p:nvPr/>
        </p:nvSpPr>
        <p:spPr bwMode="auto">
          <a:xfrm>
            <a:off x="629441" y="4896481"/>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1" name="Rectangle 180">
            <a:extLst>
              <a:ext uri="{FF2B5EF4-FFF2-40B4-BE49-F238E27FC236}">
                <a16:creationId xmlns:a16="http://schemas.microsoft.com/office/drawing/2014/main" id="{1808C9F1-1DD7-4DAE-9E99-741D33EF9735}"/>
              </a:ext>
            </a:extLst>
          </p:cNvPr>
          <p:cNvSpPr/>
          <p:nvPr/>
        </p:nvSpPr>
        <p:spPr bwMode="auto">
          <a:xfrm>
            <a:off x="586934" y="5226027"/>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2" name="Frame 5">
            <a:extLst>
              <a:ext uri="{FF2B5EF4-FFF2-40B4-BE49-F238E27FC236}">
                <a16:creationId xmlns:a16="http://schemas.microsoft.com/office/drawing/2014/main" id="{FDE821F9-B5A0-42F1-8BB9-17D4AC466C44}"/>
              </a:ext>
            </a:extLst>
          </p:cNvPr>
          <p:cNvSpPr>
            <a:spLocks noChangeAspect="1"/>
          </p:cNvSpPr>
          <p:nvPr/>
        </p:nvSpPr>
        <p:spPr bwMode="auto">
          <a:xfrm>
            <a:off x="629441" y="5262253"/>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122" name="2 fg"/>
          <p:cNvCxnSpPr/>
          <p:nvPr/>
        </p:nvCxnSpPr>
        <p:spPr>
          <a:xfrm flipV="1">
            <a:off x="936753" y="4095642"/>
            <a:ext cx="333637" cy="200081"/>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4" name="Rectangle 123"/>
          <p:cNvSpPr/>
          <p:nvPr/>
        </p:nvSpPr>
        <p:spPr bwMode="auto">
          <a:xfrm>
            <a:off x="1317652" y="3138796"/>
            <a:ext cx="768873" cy="1064792"/>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14" rIns="0"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1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Azure </a:t>
            </a:r>
            <a:br>
              <a:rPr kumimoji="0" lang="en-US" sz="11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1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IoT Edge</a:t>
            </a:r>
          </a:p>
        </p:txBody>
      </p:sp>
      <p:sp>
        <p:nvSpPr>
          <p:cNvPr id="127" name="Rectangle 126"/>
          <p:cNvSpPr/>
          <p:nvPr/>
        </p:nvSpPr>
        <p:spPr bwMode="auto">
          <a:xfrm>
            <a:off x="2082287" y="3138796"/>
            <a:ext cx="1330784" cy="1064790"/>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31" tIns="91414" rIns="0" bIns="91388" numCol="1" spcCol="0" rtlCol="0" fromWordArt="0" anchor="b" anchorCtr="0" forceAA="0" compatLnSpc="1">
            <a:prstTxWarp prst="textNoShape">
              <a:avLst/>
            </a:prstTxWarp>
            <a:noAutofit/>
          </a:bodyPr>
          <a:lstStyle/>
          <a:p>
            <a:pPr marL="0" marR="0" lvl="0" indent="0" algn="l" defTabSz="913397" rtl="0" eaLnBrk="1" fontAlgn="base" latinLnBrk="0" hangingPunct="1">
              <a:lnSpc>
                <a:spcPct val="90000"/>
              </a:lnSpc>
              <a:spcBef>
                <a:spcPct val="0"/>
              </a:spcBef>
              <a:spcAft>
                <a:spcPts val="20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Edge Modules:</a:t>
            </a:r>
          </a:p>
          <a:p>
            <a:pPr marL="55553" marR="0" lvl="0" indent="-55553" algn="l" defTabSz="913397" rtl="0" eaLnBrk="1" fontAlgn="base" latinLnBrk="0" hangingPunct="1">
              <a:lnSpc>
                <a:spcPct val="90000"/>
              </a:lnSpc>
              <a:spcBef>
                <a:spcPct val="0"/>
              </a:spcBef>
              <a:spcAft>
                <a:spcPts val="20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Protocol Adaptation</a:t>
            </a:r>
          </a:p>
          <a:p>
            <a:pPr marL="55553" marR="0" lvl="0" indent="-55553" algn="l" defTabSz="913397" rtl="0" eaLnBrk="1" fontAlgn="base" latinLnBrk="0" hangingPunct="1">
              <a:lnSpc>
                <a:spcPct val="90000"/>
              </a:lnSpc>
              <a:spcBef>
                <a:spcPct val="0"/>
              </a:spcBef>
              <a:spcAft>
                <a:spcPts val="20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Functions</a:t>
            </a:r>
          </a:p>
          <a:p>
            <a:pPr marL="55553" marR="0" lvl="0" indent="-55553" algn="l" defTabSz="913397" rtl="0" eaLnBrk="1" fontAlgn="base" latinLnBrk="0" hangingPunct="1">
              <a:lnSpc>
                <a:spcPct val="90000"/>
              </a:lnSpc>
              <a:spcBef>
                <a:spcPct val="0"/>
              </a:spcBef>
              <a:spcAft>
                <a:spcPts val="20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Stream Analytics</a:t>
            </a:r>
          </a:p>
          <a:p>
            <a:pPr marL="55553" marR="0" lvl="0" indent="-55553" algn="l" defTabSz="913397" rtl="0" eaLnBrk="1" fontAlgn="base" latinLnBrk="0" hangingPunct="1">
              <a:lnSpc>
                <a:spcPct val="90000"/>
              </a:lnSpc>
              <a:spcBef>
                <a:spcPct val="0"/>
              </a:spcBef>
              <a:spcAft>
                <a:spcPts val="20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Machine Learning</a:t>
            </a:r>
          </a:p>
          <a:p>
            <a:pPr marL="55553" marR="0" lvl="0" indent="-55553" algn="l" defTabSz="913397" rtl="0" eaLnBrk="1" fontAlgn="base" latinLnBrk="0" hangingPunct="1">
              <a:lnSpc>
                <a:spcPct val="90000"/>
              </a:lnSpc>
              <a:spcBef>
                <a:spcPct val="0"/>
              </a:spcBef>
              <a:spcAft>
                <a:spcPts val="20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AI</a:t>
            </a:r>
          </a:p>
        </p:txBody>
      </p:sp>
      <p:cxnSp>
        <p:nvCxnSpPr>
          <p:cNvPr id="137" name="2   Arrow fg"/>
          <p:cNvCxnSpPr>
            <a:cxnSpLocks/>
            <a:stCxn id="127" idx="3"/>
          </p:cNvCxnSpPr>
          <p:nvPr/>
        </p:nvCxnSpPr>
        <p:spPr>
          <a:xfrm>
            <a:off x="3413071" y="3671190"/>
            <a:ext cx="307499"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8" name="2   Arrow fg"/>
          <p:cNvCxnSpPr>
            <a:cxnSpLocks/>
          </p:cNvCxnSpPr>
          <p:nvPr/>
        </p:nvCxnSpPr>
        <p:spPr>
          <a:xfrm>
            <a:off x="943465" y="2499841"/>
            <a:ext cx="321419"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Arrow fg"/>
          <p:cNvCxnSpPr>
            <a:cxnSpLocks/>
          </p:cNvCxnSpPr>
          <p:nvPr/>
        </p:nvCxnSpPr>
        <p:spPr>
          <a:xfrm>
            <a:off x="943465" y="2145072"/>
            <a:ext cx="321420"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0" name="2   Arrow fg"/>
          <p:cNvCxnSpPr>
            <a:cxnSpLocks/>
          </p:cNvCxnSpPr>
          <p:nvPr/>
        </p:nvCxnSpPr>
        <p:spPr>
          <a:xfrm>
            <a:off x="943465" y="2846024"/>
            <a:ext cx="321420"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a:off x="939319" y="3218164"/>
            <a:ext cx="325567" cy="160045"/>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2" name="2 fg"/>
          <p:cNvCxnSpPr/>
          <p:nvPr/>
        </p:nvCxnSpPr>
        <p:spPr>
          <a:xfrm>
            <a:off x="942718" y="3591231"/>
            <a:ext cx="326933" cy="5813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3" name="2 fg"/>
          <p:cNvCxnSpPr/>
          <p:nvPr/>
        </p:nvCxnSpPr>
        <p:spPr>
          <a:xfrm flipV="1">
            <a:off x="945225" y="3871388"/>
            <a:ext cx="319659" cy="86921"/>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8" name="Rectangle 107"/>
          <p:cNvSpPr/>
          <p:nvPr/>
        </p:nvSpPr>
        <p:spPr bwMode="auto">
          <a:xfrm>
            <a:off x="3725984" y="1508794"/>
            <a:ext cx="2468530" cy="4039046"/>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0" bIns="91388" numCol="1" spcCol="0" rtlCol="0" fromWordArt="0" anchor="b" anchorCtr="0" forceAA="0" compatLnSpc="1">
            <a:prstTxWarp prst="textNoShape">
              <a:avLst/>
            </a:prstTxWarp>
            <a:no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a:p>
            <a:pPr marL="0" marR="0" lvl="0" indent="0" algn="ctr" defTabSz="913573" rtl="0" eaLnBrk="1" fontAlgn="base" latinLnBrk="0" hangingPunct="1">
              <a:lnSpc>
                <a:spcPct val="9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Azure Digital Twins</a:t>
            </a:r>
          </a:p>
        </p:txBody>
      </p:sp>
      <p:sp>
        <p:nvSpPr>
          <p:cNvPr id="74" name="Rectangle 73"/>
          <p:cNvSpPr/>
          <p:nvPr/>
        </p:nvSpPr>
        <p:spPr bwMode="auto">
          <a:xfrm>
            <a:off x="9483892" y="1519216"/>
            <a:ext cx="2468530" cy="4039046"/>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0" bIns="91388" numCol="1" spcCol="0" rtlCol="0" fromWordArt="0" anchor="b" anchorCtr="0" forceAA="0" compatLnSpc="1">
            <a:prstTxWarp prst="textNoShape">
              <a:avLst/>
            </a:prstTxWarp>
            <a:no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8" name="Group 57"/>
          <p:cNvGrpSpPr>
            <a:grpSpLocks noChangeAspect="1"/>
          </p:cNvGrpSpPr>
          <p:nvPr/>
        </p:nvGrpSpPr>
        <p:grpSpPr bwMode="auto">
          <a:xfrm>
            <a:off x="9704221" y="2858471"/>
            <a:ext cx="774480" cy="796699"/>
            <a:chOff x="6253" y="2122"/>
            <a:chExt cx="488" cy="502"/>
          </a:xfrm>
        </p:grpSpPr>
        <p:sp>
          <p:nvSpPr>
            <p:cNvPr id="94"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97"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101"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grpSp>
      <p:sp>
        <p:nvSpPr>
          <p:cNvPr id="81" name="AutoShape 77"/>
          <p:cNvSpPr>
            <a:spLocks noChangeAspect="1" noChangeArrowheads="1" noTextEdit="1"/>
          </p:cNvSpPr>
          <p:nvPr/>
        </p:nvSpPr>
        <p:spPr bwMode="auto">
          <a:xfrm>
            <a:off x="10427364" y="2140839"/>
            <a:ext cx="1031403" cy="443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3" name="Rectangle 2"/>
          <p:cNvSpPr/>
          <p:nvPr/>
        </p:nvSpPr>
        <p:spPr>
          <a:xfrm>
            <a:off x="9606319" y="2415216"/>
            <a:ext cx="699628" cy="252068"/>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Power BI</a:t>
            </a: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151" name="Rectangle 150"/>
          <p:cNvSpPr/>
          <p:nvPr/>
        </p:nvSpPr>
        <p:spPr>
          <a:xfrm>
            <a:off x="9645751" y="3234352"/>
            <a:ext cx="631723" cy="381307"/>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App Service</a:t>
            </a:r>
          </a:p>
        </p:txBody>
      </p:sp>
      <p:sp>
        <p:nvSpPr>
          <p:cNvPr id="152" name="Rectangle 151"/>
          <p:cNvSpPr/>
          <p:nvPr/>
        </p:nvSpPr>
        <p:spPr>
          <a:xfrm>
            <a:off x="9913148" y="5024573"/>
            <a:ext cx="874472" cy="240609"/>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Logic Apps</a:t>
            </a:r>
          </a:p>
        </p:txBody>
      </p:sp>
      <p:sp>
        <p:nvSpPr>
          <p:cNvPr id="166" name="Rectangle 165"/>
          <p:cNvSpPr/>
          <p:nvPr/>
        </p:nvSpPr>
        <p:spPr>
          <a:xfrm>
            <a:off x="10424610" y="3234352"/>
            <a:ext cx="679306" cy="388898"/>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Web Apps </a:t>
            </a:r>
          </a:p>
        </p:txBody>
      </p:sp>
      <p:sp>
        <p:nvSpPr>
          <p:cNvPr id="167" name="Rectangle 166"/>
          <p:cNvSpPr/>
          <p:nvPr/>
        </p:nvSpPr>
        <p:spPr>
          <a:xfrm>
            <a:off x="11087377" y="3234352"/>
            <a:ext cx="740051" cy="381307"/>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Mobile Apps</a:t>
            </a:r>
          </a:p>
        </p:txBody>
      </p:sp>
      <p:sp>
        <p:nvSpPr>
          <p:cNvPr id="162" name="Rectangle 161"/>
          <p:cNvSpPr/>
          <p:nvPr/>
        </p:nvSpPr>
        <p:spPr>
          <a:xfrm>
            <a:off x="11141541" y="2415217"/>
            <a:ext cx="631723" cy="237757"/>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Search</a:t>
            </a:r>
          </a:p>
        </p:txBody>
      </p:sp>
      <p:sp>
        <p:nvSpPr>
          <p:cNvPr id="163" name="Rectangle 162"/>
          <p:cNvSpPr/>
          <p:nvPr/>
        </p:nvSpPr>
        <p:spPr>
          <a:xfrm>
            <a:off x="10424610" y="2415217"/>
            <a:ext cx="679306" cy="388898"/>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Azure Maps</a:t>
            </a:r>
          </a:p>
        </p:txBody>
      </p:sp>
      <p:pic>
        <p:nvPicPr>
          <p:cNvPr id="73" name="Picture 7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03933" y="2114104"/>
            <a:ext cx="306941" cy="306941"/>
          </a:xfrm>
          <a:prstGeom prst="rect">
            <a:avLst/>
          </a:prstGeom>
        </p:spPr>
      </p:pic>
      <p:sp>
        <p:nvSpPr>
          <p:cNvPr id="164" name="Rectangle 163"/>
          <p:cNvSpPr/>
          <p:nvPr/>
        </p:nvSpPr>
        <p:spPr>
          <a:xfrm>
            <a:off x="9628708" y="1594565"/>
            <a:ext cx="1971994" cy="472948"/>
          </a:xfrm>
          <a:prstGeom prst="rect">
            <a:avLst/>
          </a:prstGeom>
        </p:spPr>
        <p:txBody>
          <a:bodyPr wrap="square">
            <a:spAutoFit/>
          </a:bodyPr>
          <a:lstStyle/>
          <a:p>
            <a:pPr marL="0" marR="0" lvl="0" indent="0" algn="l" defTabSz="895575" rtl="0" eaLnBrk="1" fontAlgn="base" latinLnBrk="0" hangingPunct="1">
              <a:lnSpc>
                <a:spcPct val="90000"/>
              </a:lnSpc>
              <a:spcBef>
                <a:spcPct val="0"/>
              </a:spcBef>
              <a:spcAft>
                <a:spcPts val="588"/>
              </a:spcAft>
              <a:buClrTx/>
              <a:buSzTx/>
              <a:buFontTx/>
              <a:buNone/>
              <a:tabLst/>
              <a:defRPr/>
            </a:pPr>
            <a:r>
              <a:rPr kumimoji="0" lang="en-US" sz="1100" b="1"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Black" panose="020B0A02040204020203" pitchFamily="34" charset="0"/>
                <a:cs typeface="Segoe UI" panose="020B0502040204020203" pitchFamily="34" charset="0"/>
              </a:rPr>
              <a:t>Manage</a:t>
            </a:r>
          </a:p>
          <a:p>
            <a:pPr marL="0" marR="0" lvl="0" indent="0" algn="l" defTabSz="895575" rtl="0" eaLnBrk="1" fontAlgn="base" latinLnBrk="0" hangingPunct="1">
              <a:lnSpc>
                <a:spcPct val="90000"/>
              </a:lnSpc>
              <a:spcBef>
                <a:spcPct val="0"/>
              </a:spcBef>
              <a:spcAft>
                <a:spcPts val="588"/>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View and manage solutions</a:t>
            </a:r>
          </a:p>
        </p:txBody>
      </p:sp>
      <p:sp>
        <p:nvSpPr>
          <p:cNvPr id="183" name="Rectangle 182">
            <a:extLst>
              <a:ext uri="{FF2B5EF4-FFF2-40B4-BE49-F238E27FC236}">
                <a16:creationId xmlns:a16="http://schemas.microsoft.com/office/drawing/2014/main" id="{54A6F7DA-8B8E-4D0C-B1AF-2072ED15DF9D}"/>
              </a:ext>
            </a:extLst>
          </p:cNvPr>
          <p:cNvSpPr/>
          <p:nvPr/>
        </p:nvSpPr>
        <p:spPr bwMode="auto">
          <a:xfrm>
            <a:off x="1317617" y="4410377"/>
            <a:ext cx="2099018" cy="1120421"/>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14" rIns="0"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endParaRPr kumimoji="0" lang="en-US" sz="11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1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Azure Sphere</a:t>
            </a:r>
          </a:p>
        </p:txBody>
      </p:sp>
      <p:cxnSp>
        <p:nvCxnSpPr>
          <p:cNvPr id="148" name="2 Arrow">
            <a:extLst>
              <a:ext uri="{FF2B5EF4-FFF2-40B4-BE49-F238E27FC236}">
                <a16:creationId xmlns:a16="http://schemas.microsoft.com/office/drawing/2014/main" id="{34ABF04A-E2D6-4859-B2F2-9032F1DC0AC0}"/>
              </a:ext>
            </a:extLst>
          </p:cNvPr>
          <p:cNvCxnSpPr>
            <a:cxnSpLocks/>
            <a:stCxn id="9220" idx="3"/>
            <a:endCxn id="158" idx="2"/>
          </p:cNvCxnSpPr>
          <p:nvPr/>
        </p:nvCxnSpPr>
        <p:spPr>
          <a:xfrm>
            <a:off x="1832593" y="4722618"/>
            <a:ext cx="303975" cy="836"/>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0" name="2 Arrow">
            <a:extLst>
              <a:ext uri="{FF2B5EF4-FFF2-40B4-BE49-F238E27FC236}">
                <a16:creationId xmlns:a16="http://schemas.microsoft.com/office/drawing/2014/main" id="{631B788D-C35B-4E6C-9843-468A185FAC91}"/>
              </a:ext>
            </a:extLst>
          </p:cNvPr>
          <p:cNvCxnSpPr>
            <a:cxnSpLocks/>
            <a:stCxn id="39" idx="3"/>
          </p:cNvCxnSpPr>
          <p:nvPr/>
        </p:nvCxnSpPr>
        <p:spPr>
          <a:xfrm flipV="1">
            <a:off x="920485" y="4654532"/>
            <a:ext cx="374437" cy="867"/>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9220" name="Picture 4" descr="Image result for Azure Sphere logo">
            <a:extLst>
              <a:ext uri="{FF2B5EF4-FFF2-40B4-BE49-F238E27FC236}">
                <a16:creationId xmlns:a16="http://schemas.microsoft.com/office/drawing/2014/main" id="{06763744-A87F-40D5-9D28-6F1EECF12C2A}"/>
              </a:ext>
            </a:extLst>
          </p:cNvPr>
          <p:cNvPicPr>
            <a:picLocks noChangeAspect="1" noChangeArrowheads="1"/>
          </p:cNvPicPr>
          <p:nvPr/>
        </p:nvPicPr>
        <p:blipFill rotWithShape="1">
          <a:blip r:embed="rId4" cstate="print">
            <a:duotone>
              <a:prstClr val="black"/>
              <a:srgbClr val="D9C3A5">
                <a:tint val="50000"/>
                <a:satMod val="180000"/>
              </a:srgbClr>
            </a:duotone>
            <a:extLst>
              <a:ext uri="{28A0092B-C50C-407E-A947-70E740481C1C}">
                <a14:useLocalDpi xmlns:a14="http://schemas.microsoft.com/office/drawing/2010/main" val="0"/>
              </a:ext>
            </a:extLst>
          </a:blip>
          <a:srcRect l="20166" t="58207" r="63528" b="16896"/>
          <a:stretch/>
        </p:blipFill>
        <p:spPr bwMode="auto">
          <a:xfrm>
            <a:off x="1509304" y="4559998"/>
            <a:ext cx="323289" cy="325239"/>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4" descr="Image result for Azure Sphere logo">
            <a:extLst>
              <a:ext uri="{FF2B5EF4-FFF2-40B4-BE49-F238E27FC236}">
                <a16:creationId xmlns:a16="http://schemas.microsoft.com/office/drawing/2014/main" id="{C435FEFC-C68F-4E29-8D60-71CDE4E91F7C}"/>
              </a:ext>
            </a:extLst>
          </p:cNvPr>
          <p:cNvPicPr>
            <a:picLocks noChangeAspect="1" noChangeArrowheads="1"/>
          </p:cNvPicPr>
          <p:nvPr/>
        </p:nvPicPr>
        <p:blipFill rotWithShape="1">
          <a:blip r:embed="rId5" cstate="print">
            <a:duotone>
              <a:prstClr val="black"/>
              <a:srgbClr val="D9C3A5">
                <a:tint val="50000"/>
                <a:satMod val="180000"/>
              </a:srgbClr>
            </a:duotone>
            <a:extLst>
              <a:ext uri="{28A0092B-C50C-407E-A947-70E740481C1C}">
                <a14:useLocalDpi xmlns:a14="http://schemas.microsoft.com/office/drawing/2010/main" val="0"/>
              </a:ext>
            </a:extLst>
          </a:blip>
          <a:srcRect l="64216" t="57031" r="17628" b="15600"/>
          <a:stretch/>
        </p:blipFill>
        <p:spPr bwMode="auto">
          <a:xfrm>
            <a:off x="2136568" y="4554329"/>
            <a:ext cx="340615" cy="338249"/>
          </a:xfrm>
          <a:prstGeom prst="ellipse">
            <a:avLst/>
          </a:prstGeom>
          <a:noFill/>
          <a:extLst>
            <a:ext uri="{909E8E84-426E-40DD-AFC4-6F175D3DCCD1}">
              <a14:hiddenFill xmlns:a14="http://schemas.microsoft.com/office/drawing/2010/main">
                <a:solidFill>
                  <a:srgbClr val="FFFFFF"/>
                </a:solidFill>
              </a14:hiddenFill>
            </a:ext>
          </a:extLst>
        </p:spPr>
      </p:pic>
      <p:cxnSp>
        <p:nvCxnSpPr>
          <p:cNvPr id="171" name="2 Arrow">
            <a:extLst>
              <a:ext uri="{FF2B5EF4-FFF2-40B4-BE49-F238E27FC236}">
                <a16:creationId xmlns:a16="http://schemas.microsoft.com/office/drawing/2014/main" id="{01E594EB-7C9A-4CCD-9556-428836EB4FB4}"/>
              </a:ext>
            </a:extLst>
          </p:cNvPr>
          <p:cNvCxnSpPr>
            <a:cxnSpLocks/>
            <a:stCxn id="158" idx="6"/>
            <a:endCxn id="9234" idx="1"/>
          </p:cNvCxnSpPr>
          <p:nvPr/>
        </p:nvCxnSpPr>
        <p:spPr>
          <a:xfrm>
            <a:off x="2477183" y="4723454"/>
            <a:ext cx="308252" cy="312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EAD382E-2ECD-42FE-B651-3378CD53DA58}"/>
              </a:ext>
            </a:extLst>
          </p:cNvPr>
          <p:cNvSpPr txBox="1"/>
          <p:nvPr/>
        </p:nvSpPr>
        <p:spPr>
          <a:xfrm>
            <a:off x="1438936" y="4933440"/>
            <a:ext cx="42671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ecured MCU</a:t>
            </a:r>
          </a:p>
        </p:txBody>
      </p:sp>
      <p:sp>
        <p:nvSpPr>
          <p:cNvPr id="172" name="TextBox 171">
            <a:extLst>
              <a:ext uri="{FF2B5EF4-FFF2-40B4-BE49-F238E27FC236}">
                <a16:creationId xmlns:a16="http://schemas.microsoft.com/office/drawing/2014/main" id="{A74ED67D-0EAF-41C5-9BA4-072225AAC444}"/>
              </a:ext>
            </a:extLst>
          </p:cNvPr>
          <p:cNvSpPr txBox="1"/>
          <p:nvPr/>
        </p:nvSpPr>
        <p:spPr>
          <a:xfrm>
            <a:off x="2051153" y="4933440"/>
            <a:ext cx="479188"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ecured OS</a:t>
            </a:r>
          </a:p>
        </p:txBody>
      </p:sp>
      <p:sp>
        <p:nvSpPr>
          <p:cNvPr id="173" name="TextBox 172">
            <a:extLst>
              <a:ext uri="{FF2B5EF4-FFF2-40B4-BE49-F238E27FC236}">
                <a16:creationId xmlns:a16="http://schemas.microsoft.com/office/drawing/2014/main" id="{B66E424D-44E5-44D2-9DB0-FC7B9AD11E85}"/>
              </a:ext>
            </a:extLst>
          </p:cNvPr>
          <p:cNvSpPr txBox="1"/>
          <p:nvPr/>
        </p:nvSpPr>
        <p:spPr>
          <a:xfrm>
            <a:off x="2632717" y="4933440"/>
            <a:ext cx="609607"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loud Security</a:t>
            </a:r>
          </a:p>
        </p:txBody>
      </p:sp>
      <p:pic>
        <p:nvPicPr>
          <p:cNvPr id="9234" name="Picture 6" descr="https://azurecomcdn.azureedge.net/mediahandler/acomblog/media/Default/blog/bd5000d5-6cba-45c7-9d88-d081731c0989.png">
            <a:extLst>
              <a:ext uri="{FF2B5EF4-FFF2-40B4-BE49-F238E27FC236}">
                <a16:creationId xmlns:a16="http://schemas.microsoft.com/office/drawing/2014/main" id="{77840F2A-3195-4028-A2DD-BD8C2EEDED3B}"/>
              </a:ext>
            </a:extLst>
          </p:cNvPr>
          <p:cNvPicPr>
            <a:picLocks noChangeAspect="1" noChangeArrowheads="1"/>
          </p:cNvPicPr>
          <p:nvPr/>
        </p:nvPicPr>
        <p:blipFill rotWithShape="1">
          <a:blip r:embed="rId6" cstate="print">
            <a:grayscl/>
            <a:extLst>
              <a:ext uri="{28A0092B-C50C-407E-A947-70E740481C1C}">
                <a14:useLocalDpi xmlns:a14="http://schemas.microsoft.com/office/drawing/2010/main" val="0"/>
              </a:ext>
            </a:extLst>
          </a:blip>
          <a:srcRect l="42184" t="7472" r="40288" b="61275"/>
          <a:stretch/>
        </p:blipFill>
        <p:spPr bwMode="auto">
          <a:xfrm>
            <a:off x="2785435" y="4548678"/>
            <a:ext cx="303033" cy="355791"/>
          </a:xfrm>
          <a:prstGeom prst="rect">
            <a:avLst/>
          </a:prstGeom>
          <a:noFill/>
          <a:extLst>
            <a:ext uri="{909E8E84-426E-40DD-AFC4-6F175D3DCCD1}">
              <a14:hiddenFill xmlns:a14="http://schemas.microsoft.com/office/drawing/2010/main">
                <a:solidFill>
                  <a:srgbClr val="FFFFFF"/>
                </a:solidFill>
              </a14:hiddenFill>
            </a:ext>
          </a:extLst>
        </p:spPr>
      </p:pic>
      <p:cxnSp>
        <p:nvCxnSpPr>
          <p:cNvPr id="184" name="2 Arrow">
            <a:extLst>
              <a:ext uri="{FF2B5EF4-FFF2-40B4-BE49-F238E27FC236}">
                <a16:creationId xmlns:a16="http://schemas.microsoft.com/office/drawing/2014/main" id="{E04EDC29-6CCE-418C-941B-FC461FE91F74}"/>
              </a:ext>
            </a:extLst>
          </p:cNvPr>
          <p:cNvCxnSpPr>
            <a:cxnSpLocks/>
          </p:cNvCxnSpPr>
          <p:nvPr/>
        </p:nvCxnSpPr>
        <p:spPr>
          <a:xfrm>
            <a:off x="3408062" y="4656233"/>
            <a:ext cx="310065" cy="1"/>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8" name="2 Arrow">
            <a:extLst>
              <a:ext uri="{FF2B5EF4-FFF2-40B4-BE49-F238E27FC236}">
                <a16:creationId xmlns:a16="http://schemas.microsoft.com/office/drawing/2014/main" id="{B9A264F2-14BA-4FAF-83F8-40E41B110E63}"/>
              </a:ext>
            </a:extLst>
          </p:cNvPr>
          <p:cNvCxnSpPr>
            <a:cxnSpLocks/>
          </p:cNvCxnSpPr>
          <p:nvPr/>
        </p:nvCxnSpPr>
        <p:spPr>
          <a:xfrm flipV="1">
            <a:off x="2306876" y="4183267"/>
            <a:ext cx="0" cy="231868"/>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2050" name="Picture 2" descr="Image result for azure maps logo">
            <a:extLst>
              <a:ext uri="{FF2B5EF4-FFF2-40B4-BE49-F238E27FC236}">
                <a16:creationId xmlns:a16="http://schemas.microsoft.com/office/drawing/2014/main" id="{CB5A7519-C33D-47D3-9830-9AFA4427F44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458098" y="2111333"/>
            <a:ext cx="612332" cy="321476"/>
          </a:xfrm>
          <a:prstGeom prst="rect">
            <a:avLst/>
          </a:prstGeom>
          <a:noFill/>
          <a:extLst>
            <a:ext uri="{909E8E84-426E-40DD-AFC4-6F175D3DCCD1}">
              <a14:hiddenFill xmlns:a14="http://schemas.microsoft.com/office/drawing/2010/main">
                <a:solidFill>
                  <a:srgbClr val="FFFFFF"/>
                </a:solidFill>
              </a14:hiddenFill>
            </a:ext>
          </a:extLst>
        </p:spPr>
      </p:pic>
      <p:sp>
        <p:nvSpPr>
          <p:cNvPr id="132" name="Rectangle 131">
            <a:extLst>
              <a:ext uri="{FF2B5EF4-FFF2-40B4-BE49-F238E27FC236}">
                <a16:creationId xmlns:a16="http://schemas.microsoft.com/office/drawing/2014/main" id="{5C8A0E22-3183-469B-908D-F66ED9C2CCE2}"/>
              </a:ext>
            </a:extLst>
          </p:cNvPr>
          <p:cNvSpPr/>
          <p:nvPr/>
        </p:nvSpPr>
        <p:spPr>
          <a:xfrm>
            <a:off x="4913277" y="1410817"/>
            <a:ext cx="1345779" cy="2784865"/>
          </a:xfrm>
          <a:prstGeom prst="rect">
            <a:avLst/>
          </a:prstGeom>
        </p:spPr>
        <p:txBody>
          <a:bodyPr wrap="square">
            <a:spAutoFit/>
          </a:bodyPr>
          <a:lstStyle/>
          <a:p>
            <a:pPr marL="0" marR="0" lvl="0" indent="0" algn="l" defTabSz="609468" rtl="0" eaLnBrk="1" fontAlgn="auto" latinLnBrk="0" hangingPunct="1">
              <a:lnSpc>
                <a:spcPct val="90000"/>
              </a:lnSpc>
              <a:spcBef>
                <a:spcPts val="600"/>
              </a:spcBef>
              <a:spcAft>
                <a:spcPts val="0"/>
              </a:spcAft>
              <a:buClrTx/>
              <a:buSzTx/>
              <a:buFontTx/>
              <a:buNone/>
              <a:tabLst/>
              <a:defRPr/>
            </a:pPr>
            <a:endParaRPr kumimoji="0" lang="en-US" sz="1050" b="1"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Black" panose="020B0A02040204020203" pitchFamily="34" charset="0"/>
              <a:cs typeface="Segoe UI" panose="020B0502040204020203" pitchFamily="34" charset="0"/>
            </a:endParaRPr>
          </a:p>
          <a:p>
            <a:pPr marL="115866" marR="0" lvl="0" indent="-115866" algn="l" defTabSz="609468"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Spatial Intelligence</a:t>
            </a:r>
            <a:endParaRPr kumimoji="0" lang="en-US" sz="1000" b="0" i="0" u="none" strike="noStrike" kern="0" cap="none" spc="0" normalizeH="0" baseline="0" noProof="0" dirty="0">
              <a:ln>
                <a:noFill/>
              </a:ln>
              <a:solidFill>
                <a:srgbClr val="000000">
                  <a:lumMod val="65000"/>
                  <a:lumOff val="35000"/>
                </a:srgbClr>
              </a:solidFill>
              <a:effectLst/>
              <a:uLnTx/>
              <a:uFillTx/>
              <a:latin typeface="Segoe UI"/>
              <a:ea typeface="+mn-ea"/>
              <a:cs typeface="+mn-cs"/>
            </a:endParaRPr>
          </a:p>
          <a:p>
            <a:pPr marL="169863" marR="0" lvl="1" indent="-53975" algn="l" defTabSz="913397" rtl="0" eaLnBrk="1" fontAlgn="base" latinLnBrk="0" hangingPunct="1">
              <a:lnSpc>
                <a:spcPct val="90000"/>
              </a:lnSpc>
              <a:spcBef>
                <a:spcPct val="0"/>
              </a:spcBef>
              <a:spcAft>
                <a:spcPts val="20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People, Space, device Twins</a:t>
            </a:r>
          </a:p>
          <a:p>
            <a:pPr marL="169863" marR="0" lvl="1" indent="-53975" algn="l" defTabSz="913397" rtl="0" eaLnBrk="1" fontAlgn="base" latinLnBrk="0" hangingPunct="1">
              <a:lnSpc>
                <a:spcPct val="90000"/>
              </a:lnSpc>
              <a:spcBef>
                <a:spcPct val="0"/>
              </a:spcBef>
              <a:spcAft>
                <a:spcPts val="20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Sensor Processing</a:t>
            </a:r>
            <a:b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Functions)</a:t>
            </a:r>
          </a:p>
          <a:p>
            <a:pPr marL="115866" marR="0" lvl="0" indent="-115866" algn="l" defTabSz="609468"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Nested Tenancy</a:t>
            </a:r>
          </a:p>
          <a:p>
            <a:pPr marL="115866" marR="0" lvl="0" indent="-115866" algn="l" defTabSz="609468"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Loadable Twin Object Models </a:t>
            </a:r>
          </a:p>
          <a:p>
            <a:pPr marL="115866" marR="0" lvl="0" indent="-115866" algn="l" defTabSz="609468"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Role-based Access &amp; Control</a:t>
            </a:r>
          </a:p>
          <a:p>
            <a:pPr marL="115866" marR="0" lvl="0" indent="-115866" algn="l" defTabSz="609468"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AuthN/AuthZ </a:t>
            </a:r>
            <a:b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b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via AAD</a:t>
            </a:r>
          </a:p>
          <a:p>
            <a:pPr marL="115866" marR="0" lvl="0" indent="-115866" algn="l" defTabSz="609468"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Notifications &amp; egress routing</a:t>
            </a:r>
          </a:p>
        </p:txBody>
      </p:sp>
      <p:grpSp>
        <p:nvGrpSpPr>
          <p:cNvPr id="2071" name="Group 2070">
            <a:extLst>
              <a:ext uri="{FF2B5EF4-FFF2-40B4-BE49-F238E27FC236}">
                <a16:creationId xmlns:a16="http://schemas.microsoft.com/office/drawing/2014/main" id="{23744432-3074-4369-BB2C-7EBBB33A4B5B}"/>
              </a:ext>
            </a:extLst>
          </p:cNvPr>
          <p:cNvGrpSpPr/>
          <p:nvPr/>
        </p:nvGrpSpPr>
        <p:grpSpPr>
          <a:xfrm>
            <a:off x="6386431" y="1516808"/>
            <a:ext cx="2898471" cy="942121"/>
            <a:chOff x="6432652" y="1516537"/>
            <a:chExt cx="2898882" cy="942254"/>
          </a:xfrm>
        </p:grpSpPr>
        <p:sp>
          <p:nvSpPr>
            <p:cNvPr id="187" name="Rectangle 186">
              <a:extLst>
                <a:ext uri="{FF2B5EF4-FFF2-40B4-BE49-F238E27FC236}">
                  <a16:creationId xmlns:a16="http://schemas.microsoft.com/office/drawing/2014/main" id="{87A1FF71-1C78-4716-B4B1-7C81AD4BF774}"/>
                </a:ext>
              </a:extLst>
            </p:cNvPr>
            <p:cNvSpPr/>
            <p:nvPr/>
          </p:nvSpPr>
          <p:spPr bwMode="auto">
            <a:xfrm>
              <a:off x="6432652" y="1516537"/>
              <a:ext cx="2898882" cy="942254"/>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0" bIns="91388" numCol="1" spcCol="0" rtlCol="0" fromWordArt="0" anchor="b" anchorCtr="0" forceAA="0" compatLnSpc="1">
              <a:prstTxWarp prst="textNoShape">
                <a:avLst/>
              </a:prstTxWarp>
              <a:no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70" name="Rectangle 2069">
              <a:extLst>
                <a:ext uri="{FF2B5EF4-FFF2-40B4-BE49-F238E27FC236}">
                  <a16:creationId xmlns:a16="http://schemas.microsoft.com/office/drawing/2014/main" id="{2BA8AB9A-E7B4-4681-8DFE-CADB72E1A18C}"/>
                </a:ext>
              </a:extLst>
            </p:cNvPr>
            <p:cNvSpPr/>
            <p:nvPr/>
          </p:nvSpPr>
          <p:spPr>
            <a:xfrm>
              <a:off x="6460814" y="1601087"/>
              <a:ext cx="1352062" cy="621324"/>
            </a:xfrm>
            <a:prstGeom prst="rect">
              <a:avLst/>
            </a:prstGeom>
          </p:spPr>
          <p:txBody>
            <a:bodyPr wrap="square">
              <a:sp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r>
                <a:rPr kumimoji="0" lang="en-US" sz="1100" b="1"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Black" panose="020B0A02040204020203" pitchFamily="34" charset="0"/>
                  <a:cs typeface="Segoe UI" panose="020B0502040204020203" pitchFamily="34" charset="0"/>
                </a:rPr>
                <a:t>Cold Analytics</a:t>
              </a:r>
            </a:p>
            <a:p>
              <a:pPr marL="0" marR="0" lvl="0" indent="0" algn="l" defTabSz="895575" rtl="0" eaLnBrk="1" fontAlgn="base" latinLnBrk="0" hangingPunct="1">
                <a:lnSpc>
                  <a:spcPct val="90000"/>
                </a:lnSpc>
                <a:spcBef>
                  <a:spcPct val="0"/>
                </a:spcBef>
                <a:spcAft>
                  <a:spcPts val="588"/>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Find insights </a:t>
              </a:r>
              <a:b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b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over historical data</a:t>
              </a:r>
            </a:p>
          </p:txBody>
        </p:sp>
      </p:grpSp>
      <p:sp>
        <p:nvSpPr>
          <p:cNvPr id="126" name="Rectangle 125"/>
          <p:cNvSpPr/>
          <p:nvPr/>
        </p:nvSpPr>
        <p:spPr>
          <a:xfrm>
            <a:off x="8113773" y="1663182"/>
            <a:ext cx="1154632" cy="383182"/>
          </a:xfrm>
          <a:prstGeom prst="rect">
            <a:avLst/>
          </a:prstGeom>
        </p:spPr>
        <p:txBody>
          <a:bodyPr wrap="square">
            <a:spAutoFit/>
          </a:bodyPr>
          <a:lstStyle/>
          <a:p>
            <a:pPr marL="0" marR="0" lvl="0" indent="0" algn="l" defTabSz="895575" rtl="0" eaLnBrk="1" fontAlgn="base" latinLnBrk="0" hangingPunct="1">
              <a:lnSpc>
                <a:spcPct val="9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Azure Machine Learning</a:t>
            </a:r>
          </a:p>
        </p:txBody>
      </p:sp>
      <p:sp>
        <p:nvSpPr>
          <p:cNvPr id="149" name="Rectangle 148"/>
          <p:cNvSpPr/>
          <p:nvPr/>
        </p:nvSpPr>
        <p:spPr>
          <a:xfrm>
            <a:off x="8108202" y="1988894"/>
            <a:ext cx="1248907" cy="388898"/>
          </a:xfrm>
          <a:prstGeom prst="rect">
            <a:avLst/>
          </a:prstGeom>
        </p:spPr>
        <p:txBody>
          <a:bodyPr wrap="square">
            <a:spAutoFit/>
          </a:bodyPr>
          <a:lstStyle/>
          <a:p>
            <a:pPr marL="0" marR="0" lvl="0" indent="0" algn="l" defTabSz="895575" rtl="0" eaLnBrk="1" fontAlgn="base" latinLnBrk="0" hangingPunct="1">
              <a:lnSpc>
                <a:spcPct val="9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Azure Data Lake Analytics</a:t>
            </a:r>
          </a:p>
        </p:txBody>
      </p:sp>
      <p:pic>
        <p:nvPicPr>
          <p:cNvPr id="59" name="Picture 5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794415" y="1651279"/>
            <a:ext cx="300282" cy="300282"/>
          </a:xfrm>
          <a:prstGeom prst="rect">
            <a:avLst/>
          </a:prstGeom>
        </p:spPr>
      </p:pic>
      <p:pic>
        <p:nvPicPr>
          <p:cNvPr id="65" name="Picture 6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785536" y="2032445"/>
            <a:ext cx="313128" cy="313128"/>
          </a:xfrm>
          <a:prstGeom prst="rect">
            <a:avLst/>
          </a:prstGeom>
        </p:spPr>
      </p:pic>
      <p:grpSp>
        <p:nvGrpSpPr>
          <p:cNvPr id="188" name="Group 187">
            <a:extLst>
              <a:ext uri="{FF2B5EF4-FFF2-40B4-BE49-F238E27FC236}">
                <a16:creationId xmlns:a16="http://schemas.microsoft.com/office/drawing/2014/main" id="{61684841-DE4E-4B95-9DA8-A64BC7C45952}"/>
              </a:ext>
            </a:extLst>
          </p:cNvPr>
          <p:cNvGrpSpPr/>
          <p:nvPr/>
        </p:nvGrpSpPr>
        <p:grpSpPr>
          <a:xfrm>
            <a:off x="6381032" y="2546539"/>
            <a:ext cx="2903869" cy="942121"/>
            <a:chOff x="6432652" y="1516537"/>
            <a:chExt cx="2904281" cy="942254"/>
          </a:xfrm>
        </p:grpSpPr>
        <p:sp>
          <p:nvSpPr>
            <p:cNvPr id="189" name="Rectangle 188">
              <a:extLst>
                <a:ext uri="{FF2B5EF4-FFF2-40B4-BE49-F238E27FC236}">
                  <a16:creationId xmlns:a16="http://schemas.microsoft.com/office/drawing/2014/main" id="{F140F6BC-F41D-4BFF-AD62-7B77081C971A}"/>
                </a:ext>
              </a:extLst>
            </p:cNvPr>
            <p:cNvSpPr/>
            <p:nvPr/>
          </p:nvSpPr>
          <p:spPr bwMode="auto">
            <a:xfrm>
              <a:off x="6432652" y="1516537"/>
              <a:ext cx="2904281" cy="942254"/>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0" bIns="91388" numCol="1" spcCol="0" rtlCol="0" fromWordArt="0" anchor="b" anchorCtr="0" forceAA="0" compatLnSpc="1">
              <a:prstTxWarp prst="textNoShape">
                <a:avLst/>
              </a:prstTxWarp>
              <a:no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0" name="Rectangle 189">
              <a:extLst>
                <a:ext uri="{FF2B5EF4-FFF2-40B4-BE49-F238E27FC236}">
                  <a16:creationId xmlns:a16="http://schemas.microsoft.com/office/drawing/2014/main" id="{1DAAA227-3A4F-4AFE-BBA0-9B49856F605D}"/>
                </a:ext>
              </a:extLst>
            </p:cNvPr>
            <p:cNvSpPr/>
            <p:nvPr/>
          </p:nvSpPr>
          <p:spPr>
            <a:xfrm>
              <a:off x="6460814" y="1582298"/>
              <a:ext cx="1352062" cy="612561"/>
            </a:xfrm>
            <a:prstGeom prst="rect">
              <a:avLst/>
            </a:prstGeom>
          </p:spPr>
          <p:txBody>
            <a:bodyPr wrap="square">
              <a:sp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r>
                <a:rPr kumimoji="0" lang="en-US" sz="1100" b="1"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Black" panose="020B0A02040204020203" pitchFamily="34" charset="0"/>
                  <a:cs typeface="Segoe UI" panose="020B0502040204020203" pitchFamily="34" charset="0"/>
                </a:rPr>
                <a:t>Hot Analytics</a:t>
              </a:r>
            </a:p>
            <a:p>
              <a:pPr marL="0" marR="0" lvl="0" indent="0" algn="l"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Real-time </a:t>
              </a:r>
              <a:br>
                <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monitoring</a:t>
              </a:r>
            </a:p>
          </p:txBody>
        </p:sp>
      </p:grpSp>
      <p:sp>
        <p:nvSpPr>
          <p:cNvPr id="64" name="Freeform 63"/>
          <p:cNvSpPr/>
          <p:nvPr/>
        </p:nvSpPr>
        <p:spPr bwMode="auto">
          <a:xfrm>
            <a:off x="7967878" y="2717808"/>
            <a:ext cx="562410" cy="759311"/>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pic>
        <p:nvPicPr>
          <p:cNvPr id="10246" name="Picture 6" descr="Image result for App Service Logo 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667432" y="2895895"/>
            <a:ext cx="606755" cy="318545"/>
          </a:xfrm>
          <a:prstGeom prst="rect">
            <a:avLst/>
          </a:prstGeom>
          <a:noFill/>
          <a:extLst>
            <a:ext uri="{909E8E84-426E-40DD-AFC4-6F175D3DCCD1}">
              <a14:hiddenFill xmlns:a14="http://schemas.microsoft.com/office/drawing/2010/main">
                <a:solidFill>
                  <a:srgbClr val="FFFFFF"/>
                </a:solidFill>
              </a14:hiddenFill>
            </a:ext>
          </a:extLst>
        </p:spPr>
      </p:pic>
      <p:pic>
        <p:nvPicPr>
          <p:cNvPr id="10248" name="Picture 8" descr="Image result for Web Apps Logo 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468741" y="2887753"/>
            <a:ext cx="591042" cy="310297"/>
          </a:xfrm>
          <a:prstGeom prst="rect">
            <a:avLst/>
          </a:prstGeom>
          <a:noFill/>
          <a:extLst>
            <a:ext uri="{909E8E84-426E-40DD-AFC4-6F175D3DCCD1}">
              <a14:hiddenFill xmlns:a14="http://schemas.microsoft.com/office/drawing/2010/main">
                <a:solidFill>
                  <a:srgbClr val="FFFFFF"/>
                </a:solidFill>
              </a14:hiddenFill>
            </a:ext>
          </a:extLst>
        </p:spPr>
      </p:pic>
      <p:sp>
        <p:nvSpPr>
          <p:cNvPr id="146" name="Rectangle 145"/>
          <p:cNvSpPr/>
          <p:nvPr/>
        </p:nvSpPr>
        <p:spPr>
          <a:xfrm>
            <a:off x="8126131" y="2631608"/>
            <a:ext cx="1248907" cy="388898"/>
          </a:xfrm>
          <a:prstGeom prst="rect">
            <a:avLst/>
          </a:prstGeom>
        </p:spPr>
        <p:txBody>
          <a:bodyPr wrap="square">
            <a:spAutoFit/>
          </a:bodyPr>
          <a:lstStyle/>
          <a:p>
            <a:pPr marL="0" marR="0" lvl="0" indent="0" algn="l" defTabSz="895575" rtl="0" eaLnBrk="1" fontAlgn="base" latinLnBrk="0" hangingPunct="1">
              <a:lnSpc>
                <a:spcPct val="9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Azure Stream Analytics</a:t>
            </a:r>
          </a:p>
        </p:txBody>
      </p:sp>
      <p:sp>
        <p:nvSpPr>
          <p:cNvPr id="153" name="Rectangle 152"/>
          <p:cNvSpPr/>
          <p:nvPr/>
        </p:nvSpPr>
        <p:spPr>
          <a:xfrm>
            <a:off x="8126527" y="3060945"/>
            <a:ext cx="1248907" cy="388898"/>
          </a:xfrm>
          <a:prstGeom prst="rect">
            <a:avLst/>
          </a:prstGeom>
        </p:spPr>
        <p:txBody>
          <a:bodyPr wrap="square">
            <a:spAutoFit/>
          </a:bodyPr>
          <a:lstStyle/>
          <a:p>
            <a:pPr marL="0" marR="0" lvl="0" indent="0" algn="l" defTabSz="895575" rtl="0" eaLnBrk="1" fontAlgn="base" latinLnBrk="0" hangingPunct="1">
              <a:lnSpc>
                <a:spcPct val="9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HDInsight Spark </a:t>
            </a:r>
          </a:p>
          <a:p>
            <a:pPr marL="0" marR="0" lvl="0" indent="0" algn="l" defTabSz="895575" rtl="0" eaLnBrk="1" fontAlgn="base" latinLnBrk="0" hangingPunct="1">
              <a:lnSpc>
                <a:spcPct val="9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amp; Storm</a:t>
            </a:r>
          </a:p>
        </p:txBody>
      </p:sp>
      <p:pic>
        <p:nvPicPr>
          <p:cNvPr id="66" name="Picture 6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752221" y="2645137"/>
            <a:ext cx="400356" cy="400356"/>
          </a:xfrm>
          <a:prstGeom prst="rect">
            <a:avLst/>
          </a:prstGeom>
        </p:spPr>
      </p:pic>
      <p:pic>
        <p:nvPicPr>
          <p:cNvPr id="68" name="Picture 6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790725" y="3060397"/>
            <a:ext cx="363961" cy="363961"/>
          </a:xfrm>
          <a:prstGeom prst="rect">
            <a:avLst/>
          </a:prstGeom>
        </p:spPr>
      </p:pic>
      <p:pic>
        <p:nvPicPr>
          <p:cNvPr id="77" name="Picture 7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290811" y="2884270"/>
            <a:ext cx="333186" cy="333186"/>
          </a:xfrm>
          <a:prstGeom prst="rect">
            <a:avLst/>
          </a:prstGeom>
        </p:spPr>
      </p:pic>
      <p:cxnSp>
        <p:nvCxnSpPr>
          <p:cNvPr id="175" name="Straight Arrow Connector 174"/>
          <p:cNvCxnSpPr>
            <a:cxnSpLocks/>
          </p:cNvCxnSpPr>
          <p:nvPr/>
        </p:nvCxnSpPr>
        <p:spPr>
          <a:xfrm>
            <a:off x="9276024" y="3031904"/>
            <a:ext cx="201140" cy="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054" name="Group 2053">
            <a:extLst>
              <a:ext uri="{FF2B5EF4-FFF2-40B4-BE49-F238E27FC236}">
                <a16:creationId xmlns:a16="http://schemas.microsoft.com/office/drawing/2014/main" id="{DFE42BD2-28FD-4EE8-9F1A-D4D18E4D180F}"/>
              </a:ext>
            </a:extLst>
          </p:cNvPr>
          <p:cNvGrpSpPr/>
          <p:nvPr/>
        </p:nvGrpSpPr>
        <p:grpSpPr>
          <a:xfrm>
            <a:off x="6386429" y="3576270"/>
            <a:ext cx="2903869" cy="942121"/>
            <a:chOff x="6386470" y="3623918"/>
            <a:chExt cx="2904281" cy="942254"/>
          </a:xfrm>
        </p:grpSpPr>
        <p:sp>
          <p:nvSpPr>
            <p:cNvPr id="192" name="Rectangle 191">
              <a:extLst>
                <a:ext uri="{FF2B5EF4-FFF2-40B4-BE49-F238E27FC236}">
                  <a16:creationId xmlns:a16="http://schemas.microsoft.com/office/drawing/2014/main" id="{4DCCD8FD-DEE1-4B13-B13E-A4A1D8CCC317}"/>
                </a:ext>
              </a:extLst>
            </p:cNvPr>
            <p:cNvSpPr/>
            <p:nvPr/>
          </p:nvSpPr>
          <p:spPr bwMode="auto">
            <a:xfrm>
              <a:off x="6386470" y="3623918"/>
              <a:ext cx="2904281" cy="942254"/>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0" bIns="91388" numCol="1" spcCol="0" rtlCol="0" fromWordArt="0" anchor="b" anchorCtr="0" forceAA="0" compatLnSpc="1">
              <a:prstTxWarp prst="textNoShape">
                <a:avLst/>
              </a:prstTxWarp>
              <a:no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3" name="Rectangle 192">
              <a:extLst>
                <a:ext uri="{FF2B5EF4-FFF2-40B4-BE49-F238E27FC236}">
                  <a16:creationId xmlns:a16="http://schemas.microsoft.com/office/drawing/2014/main" id="{5A017C9B-EACB-43BC-A218-F6C778681349}"/>
                </a:ext>
              </a:extLst>
            </p:cNvPr>
            <p:cNvSpPr/>
            <p:nvPr/>
          </p:nvSpPr>
          <p:spPr>
            <a:xfrm>
              <a:off x="6414632" y="3714731"/>
              <a:ext cx="1407374" cy="612561"/>
            </a:xfrm>
            <a:prstGeom prst="rect">
              <a:avLst/>
            </a:prstGeom>
          </p:spPr>
          <p:txBody>
            <a:bodyPr wrap="square">
              <a:sp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r>
                <a:rPr kumimoji="0" lang="en-US" sz="1100" b="1"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Black" panose="020B0A02040204020203" pitchFamily="34" charset="0"/>
                  <a:cs typeface="Segoe UI" panose="020B0502040204020203" pitchFamily="34" charset="0"/>
                </a:rPr>
                <a:t>Warm Analytics</a:t>
              </a:r>
            </a:p>
            <a:p>
              <a:pPr marL="0" marR="0" lvl="0" indent="0" algn="l"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Time series data </a:t>
              </a:r>
              <a:br>
                <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storage &amp; analytics</a:t>
              </a:r>
            </a:p>
          </p:txBody>
        </p:sp>
      </p:grpSp>
      <p:sp>
        <p:nvSpPr>
          <p:cNvPr id="157" name="Rectangle 156"/>
          <p:cNvSpPr/>
          <p:nvPr/>
        </p:nvSpPr>
        <p:spPr>
          <a:xfrm>
            <a:off x="8134676" y="3846019"/>
            <a:ext cx="1248907" cy="388898"/>
          </a:xfrm>
          <a:prstGeom prst="rect">
            <a:avLst/>
          </a:prstGeom>
        </p:spPr>
        <p:txBody>
          <a:bodyPr wrap="square">
            <a:spAutoFit/>
          </a:bodyPr>
          <a:lstStyle/>
          <a:p>
            <a:pPr marL="0" marR="0" lvl="0" indent="0" algn="l" defTabSz="895575" rtl="0" eaLnBrk="1" fontAlgn="base" latinLnBrk="0" hangingPunct="1">
              <a:lnSpc>
                <a:spcPct val="9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Azure Time </a:t>
            </a:r>
            <a:b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b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Series Insights</a:t>
            </a:r>
          </a:p>
        </p:txBody>
      </p:sp>
      <p:sp>
        <p:nvSpPr>
          <p:cNvPr id="87" name="Rectangle 86"/>
          <p:cNvSpPr/>
          <p:nvPr/>
        </p:nvSpPr>
        <p:spPr>
          <a:xfrm>
            <a:off x="9615043" y="3714691"/>
            <a:ext cx="2033934" cy="472948"/>
          </a:xfrm>
          <a:prstGeom prst="rect">
            <a:avLst/>
          </a:prstGeom>
        </p:spPr>
        <p:txBody>
          <a:bodyPr wrap="square">
            <a:spAutoFit/>
          </a:bodyPr>
          <a:lstStyle/>
          <a:p>
            <a:pPr marL="0" marR="0" lvl="0" indent="0" algn="l" defTabSz="895575" rtl="0" eaLnBrk="1" fontAlgn="base" latinLnBrk="0" hangingPunct="1">
              <a:lnSpc>
                <a:spcPct val="90000"/>
              </a:lnSpc>
              <a:spcBef>
                <a:spcPct val="0"/>
              </a:spcBef>
              <a:spcAft>
                <a:spcPts val="588"/>
              </a:spcAft>
              <a:buClrTx/>
              <a:buSzTx/>
              <a:buFontTx/>
              <a:buNone/>
              <a:tabLst/>
              <a:defRPr/>
            </a:pPr>
            <a:r>
              <a:rPr kumimoji="0" lang="en-US" sz="1100" b="1"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Black" panose="020B0A02040204020203" pitchFamily="34" charset="0"/>
                <a:cs typeface="Segoe UI" panose="020B0502040204020203" pitchFamily="34" charset="0"/>
              </a:rPr>
              <a:t>Business Integration</a:t>
            </a:r>
          </a:p>
          <a:p>
            <a:pPr marL="0" marR="0" lvl="0" indent="0" algn="l" defTabSz="895575" rtl="0" eaLnBrk="1" fontAlgn="base" latinLnBrk="0" hangingPunct="1">
              <a:lnSpc>
                <a:spcPct val="90000"/>
              </a:lnSpc>
              <a:spcBef>
                <a:spcPct val="0"/>
              </a:spcBef>
              <a:spcAft>
                <a:spcPts val="588"/>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Connect to Business Processes</a:t>
            </a:r>
          </a:p>
        </p:txBody>
      </p:sp>
      <p:cxnSp>
        <p:nvCxnSpPr>
          <p:cNvPr id="176" name="Straight Arrow Connector 175"/>
          <p:cNvCxnSpPr>
            <a:cxnSpLocks/>
          </p:cNvCxnSpPr>
          <p:nvPr/>
        </p:nvCxnSpPr>
        <p:spPr>
          <a:xfrm flipV="1">
            <a:off x="9276022" y="4036873"/>
            <a:ext cx="201140" cy="142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44" name="Picture 2" descr="Image result for Azure time series insights logo"/>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20657" r="20939"/>
          <a:stretch/>
        </p:blipFill>
        <p:spPr bwMode="auto">
          <a:xfrm>
            <a:off x="7804571" y="3873013"/>
            <a:ext cx="366156" cy="329142"/>
          </a:xfrm>
          <a:prstGeom prst="rect">
            <a:avLst/>
          </a:prstGeom>
          <a:noFill/>
          <a:extLst>
            <a:ext uri="{909E8E84-426E-40DD-AFC4-6F175D3DCCD1}">
              <a14:hiddenFill xmlns:a14="http://schemas.microsoft.com/office/drawing/2010/main">
                <a:solidFill>
                  <a:srgbClr val="FFFFFF"/>
                </a:solidFill>
              </a14:hiddenFill>
            </a:ext>
          </a:extLst>
        </p:spPr>
      </p:pic>
      <p:cxnSp>
        <p:nvCxnSpPr>
          <p:cNvPr id="194" name="Straight Arrow Connector 193">
            <a:extLst>
              <a:ext uri="{FF2B5EF4-FFF2-40B4-BE49-F238E27FC236}">
                <a16:creationId xmlns:a16="http://schemas.microsoft.com/office/drawing/2014/main" id="{55552BDA-BCBD-4C65-8613-E3EB8AC15ED5}"/>
              </a:ext>
            </a:extLst>
          </p:cNvPr>
          <p:cNvCxnSpPr>
            <a:cxnSpLocks/>
          </p:cNvCxnSpPr>
          <p:nvPr/>
        </p:nvCxnSpPr>
        <p:spPr>
          <a:xfrm>
            <a:off x="9268405" y="1993756"/>
            <a:ext cx="201140" cy="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FF699D84-8469-4DF5-8891-6D6E43DABB4D}"/>
              </a:ext>
            </a:extLst>
          </p:cNvPr>
          <p:cNvCxnSpPr>
            <a:cxnSpLocks/>
          </p:cNvCxnSpPr>
          <p:nvPr/>
        </p:nvCxnSpPr>
        <p:spPr>
          <a:xfrm flipV="1">
            <a:off x="6190438" y="1993756"/>
            <a:ext cx="201140" cy="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C07E7D4E-1EE7-464F-ADAC-3F212A0B5122}"/>
              </a:ext>
            </a:extLst>
          </p:cNvPr>
          <p:cNvCxnSpPr>
            <a:cxnSpLocks/>
          </p:cNvCxnSpPr>
          <p:nvPr/>
        </p:nvCxnSpPr>
        <p:spPr>
          <a:xfrm>
            <a:off x="6190438" y="3031904"/>
            <a:ext cx="201140" cy="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15198316-8059-4759-9EB7-D86E373D90DD}"/>
              </a:ext>
            </a:extLst>
          </p:cNvPr>
          <p:cNvCxnSpPr>
            <a:cxnSpLocks/>
          </p:cNvCxnSpPr>
          <p:nvPr/>
        </p:nvCxnSpPr>
        <p:spPr>
          <a:xfrm>
            <a:off x="6190438" y="4036874"/>
            <a:ext cx="201140" cy="1421"/>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B60EADB8-674E-4037-87A4-EB2AE19BA511}"/>
              </a:ext>
            </a:extLst>
          </p:cNvPr>
          <p:cNvSpPr/>
          <p:nvPr/>
        </p:nvSpPr>
        <p:spPr>
          <a:xfrm>
            <a:off x="10746393" y="4248210"/>
            <a:ext cx="1150029" cy="290038"/>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400" b="0" i="0" u="none" strike="noStrike" kern="0" cap="none" spc="0" normalizeH="0" baseline="0" noProof="0" dirty="0">
                <a:ln>
                  <a:noFill/>
                </a:ln>
                <a:solidFill>
                  <a:srgbClr val="EB3C00"/>
                </a:solidFill>
                <a:effectLst/>
                <a:uLnTx/>
                <a:uFillTx/>
                <a:latin typeface="Segoe UI" panose="020B0502040204020203" pitchFamily="34" charset="0"/>
                <a:ea typeface="Segoe UI" panose="020B0502040204020203" pitchFamily="34" charset="0"/>
                <a:cs typeface="Segoe UI" panose="020B0502040204020203" pitchFamily="34" charset="0"/>
              </a:rPr>
              <a:t>Office 365</a:t>
            </a:r>
          </a:p>
        </p:txBody>
      </p:sp>
      <p:sp>
        <p:nvSpPr>
          <p:cNvPr id="170" name="Rectangle 169">
            <a:extLst>
              <a:ext uri="{FF2B5EF4-FFF2-40B4-BE49-F238E27FC236}">
                <a16:creationId xmlns:a16="http://schemas.microsoft.com/office/drawing/2014/main" id="{FF3D14F0-C999-4F42-95AF-CF85E93582FC}"/>
              </a:ext>
            </a:extLst>
          </p:cNvPr>
          <p:cNvSpPr/>
          <p:nvPr/>
        </p:nvSpPr>
        <p:spPr>
          <a:xfrm>
            <a:off x="9610845" y="4248210"/>
            <a:ext cx="1282992" cy="284377"/>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400" b="0" i="0" u="none" strike="noStrike" kern="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Dynamics 365</a:t>
            </a:r>
          </a:p>
        </p:txBody>
      </p:sp>
      <p:pic>
        <p:nvPicPr>
          <p:cNvPr id="2048" name="Picture 2047" descr="A picture containing paper clip&#10;&#10;Description generated with high confidence">
            <a:extLst>
              <a:ext uri="{FF2B5EF4-FFF2-40B4-BE49-F238E27FC236}">
                <a16:creationId xmlns:a16="http://schemas.microsoft.com/office/drawing/2014/main" id="{BD746B46-42AF-4F39-A6E3-B905037AA7CA}"/>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711606" y="1996089"/>
            <a:ext cx="516990" cy="516990"/>
          </a:xfrm>
          <a:prstGeom prst="rect">
            <a:avLst/>
          </a:prstGeom>
        </p:spPr>
      </p:pic>
      <p:pic>
        <p:nvPicPr>
          <p:cNvPr id="2051" name="Picture 2050" descr="A close up of a logo&#10;&#10;Description generated with very high confidence">
            <a:extLst>
              <a:ext uri="{FF2B5EF4-FFF2-40B4-BE49-F238E27FC236}">
                <a16:creationId xmlns:a16="http://schemas.microsoft.com/office/drawing/2014/main" id="{3F76FEFA-0C5B-49DC-9BCA-F7FEADC0669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915927" y="4613792"/>
            <a:ext cx="516990" cy="516990"/>
          </a:xfrm>
          <a:prstGeom prst="rect">
            <a:avLst/>
          </a:prstGeom>
        </p:spPr>
      </p:pic>
      <p:sp>
        <p:nvSpPr>
          <p:cNvPr id="174" name="Rectangle 173">
            <a:extLst>
              <a:ext uri="{FF2B5EF4-FFF2-40B4-BE49-F238E27FC236}">
                <a16:creationId xmlns:a16="http://schemas.microsoft.com/office/drawing/2014/main" id="{DC7CD314-A2E4-424A-A655-109608FCFA2A}"/>
              </a:ext>
            </a:extLst>
          </p:cNvPr>
          <p:cNvSpPr/>
          <p:nvPr/>
        </p:nvSpPr>
        <p:spPr>
          <a:xfrm>
            <a:off x="10742889" y="5024573"/>
            <a:ext cx="874472" cy="240609"/>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Flow</a:t>
            </a:r>
          </a:p>
        </p:txBody>
      </p:sp>
      <p:pic>
        <p:nvPicPr>
          <p:cNvPr id="2052" name="Picture 4" descr="Image result for logic apps logo">
            <a:extLst>
              <a:ext uri="{FF2B5EF4-FFF2-40B4-BE49-F238E27FC236}">
                <a16:creationId xmlns:a16="http://schemas.microsoft.com/office/drawing/2014/main" id="{85B61AA1-B377-4C85-9E1D-90ED1C6BCA21}"/>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091204" y="4735575"/>
            <a:ext cx="479452" cy="251713"/>
          </a:xfrm>
          <a:prstGeom prst="rect">
            <a:avLst/>
          </a:prstGeom>
          <a:noFill/>
          <a:extLst>
            <a:ext uri="{909E8E84-426E-40DD-AFC4-6F175D3DCCD1}">
              <a14:hiddenFill xmlns:a14="http://schemas.microsoft.com/office/drawing/2010/main">
                <a:solidFill>
                  <a:srgbClr val="FFFFFF"/>
                </a:solidFill>
              </a14:hiddenFill>
            </a:ext>
          </a:extLst>
        </p:spPr>
      </p:pic>
      <p:grpSp>
        <p:nvGrpSpPr>
          <p:cNvPr id="2053" name="Group 2052">
            <a:extLst>
              <a:ext uri="{FF2B5EF4-FFF2-40B4-BE49-F238E27FC236}">
                <a16:creationId xmlns:a16="http://schemas.microsoft.com/office/drawing/2014/main" id="{3C3F1D9E-2E6C-4868-9550-4B10BD5873FE}"/>
              </a:ext>
            </a:extLst>
          </p:cNvPr>
          <p:cNvGrpSpPr/>
          <p:nvPr/>
        </p:nvGrpSpPr>
        <p:grpSpPr>
          <a:xfrm>
            <a:off x="1309044" y="1953673"/>
            <a:ext cx="2099018" cy="978573"/>
            <a:chOff x="6386470" y="4592572"/>
            <a:chExt cx="2099316" cy="978711"/>
          </a:xfrm>
        </p:grpSpPr>
        <p:sp>
          <p:nvSpPr>
            <p:cNvPr id="201" name="Rectangle 200">
              <a:extLst>
                <a:ext uri="{FF2B5EF4-FFF2-40B4-BE49-F238E27FC236}">
                  <a16:creationId xmlns:a16="http://schemas.microsoft.com/office/drawing/2014/main" id="{393FFC5E-6E26-4333-9DA0-F5D4AB7B7D11}"/>
                </a:ext>
              </a:extLst>
            </p:cNvPr>
            <p:cNvSpPr/>
            <p:nvPr/>
          </p:nvSpPr>
          <p:spPr bwMode="auto">
            <a:xfrm>
              <a:off x="6386470" y="4592572"/>
              <a:ext cx="2099316" cy="978711"/>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0" bIns="91388" numCol="1" spcCol="0" rtlCol="0" fromWordArt="0" anchor="b" anchorCtr="0" forceAA="0" compatLnSpc="1">
              <a:prstTxWarp prst="textNoShape">
                <a:avLst/>
              </a:prstTxWarp>
              <a:no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2" name="Rectangle 201">
              <a:extLst>
                <a:ext uri="{FF2B5EF4-FFF2-40B4-BE49-F238E27FC236}">
                  <a16:creationId xmlns:a16="http://schemas.microsoft.com/office/drawing/2014/main" id="{BEEB6DFE-7D99-4239-9BFC-D686900C1738}"/>
                </a:ext>
              </a:extLst>
            </p:cNvPr>
            <p:cNvSpPr/>
            <p:nvPr/>
          </p:nvSpPr>
          <p:spPr>
            <a:xfrm>
              <a:off x="6517372" y="5266104"/>
              <a:ext cx="1710842" cy="247760"/>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1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Black" panose="020B0A02040204020203" pitchFamily="34" charset="0"/>
                  <a:cs typeface="Segoe UI" panose="020B0502040204020203" pitchFamily="34" charset="0"/>
                </a:rPr>
                <a:t>AI - </a:t>
              </a:r>
              <a:r>
                <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Cognitive Services</a:t>
              </a:r>
            </a:p>
          </p:txBody>
        </p:sp>
      </p:grpSp>
      <p:sp>
        <p:nvSpPr>
          <p:cNvPr id="195" name="Eye" title="Icon of an eye">
            <a:extLst>
              <a:ext uri="{FF2B5EF4-FFF2-40B4-BE49-F238E27FC236}">
                <a16:creationId xmlns:a16="http://schemas.microsoft.com/office/drawing/2014/main" id="{891E13C9-CCF5-4676-9CCA-5CD2AABAE646}"/>
              </a:ext>
            </a:extLst>
          </p:cNvPr>
          <p:cNvSpPr>
            <a:spLocks noChangeAspect="1" noEditPoints="1"/>
          </p:cNvSpPr>
          <p:nvPr/>
        </p:nvSpPr>
        <p:spPr bwMode="auto">
          <a:xfrm>
            <a:off x="1503202" y="2372513"/>
            <a:ext cx="258041" cy="142469"/>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Microsoft_E720" title="Icon of a microphone">
            <a:extLst>
              <a:ext uri="{FF2B5EF4-FFF2-40B4-BE49-F238E27FC236}">
                <a16:creationId xmlns:a16="http://schemas.microsoft.com/office/drawing/2014/main" id="{568AC55E-7D8E-43E4-9401-27E8AEC74497}"/>
              </a:ext>
            </a:extLst>
          </p:cNvPr>
          <p:cNvSpPr>
            <a:spLocks noChangeAspect="1" noEditPoints="1"/>
          </p:cNvSpPr>
          <p:nvPr/>
        </p:nvSpPr>
        <p:spPr bwMode="auto">
          <a:xfrm>
            <a:off x="2740192" y="2345553"/>
            <a:ext cx="125050" cy="187666"/>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97" name="Dictionary_E82D" title="Icon of a book">
            <a:extLst>
              <a:ext uri="{FF2B5EF4-FFF2-40B4-BE49-F238E27FC236}">
                <a16:creationId xmlns:a16="http://schemas.microsoft.com/office/drawing/2014/main" id="{43F651EB-A8CC-499E-801F-E99A20973A97}"/>
              </a:ext>
            </a:extLst>
          </p:cNvPr>
          <p:cNvSpPr>
            <a:spLocks noChangeAspect="1" noEditPoints="1"/>
          </p:cNvSpPr>
          <p:nvPr/>
        </p:nvSpPr>
        <p:spPr bwMode="auto">
          <a:xfrm>
            <a:off x="1880011" y="2345555"/>
            <a:ext cx="150133" cy="187666"/>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98" name="magnify" title="Icon of a magnifying glass">
            <a:extLst>
              <a:ext uri="{FF2B5EF4-FFF2-40B4-BE49-F238E27FC236}">
                <a16:creationId xmlns:a16="http://schemas.microsoft.com/office/drawing/2014/main" id="{C35C4505-14D1-4D64-92C9-2DB77D9559A5}"/>
              </a:ext>
            </a:extLst>
          </p:cNvPr>
          <p:cNvSpPr>
            <a:spLocks noChangeAspect="1" noEditPoints="1"/>
          </p:cNvSpPr>
          <p:nvPr/>
        </p:nvSpPr>
        <p:spPr bwMode="auto">
          <a:xfrm flipH="1">
            <a:off x="2430100" y="2343464"/>
            <a:ext cx="191323" cy="18766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9" name="Characters_E8C1" title="Icon of the letter A and a letter in another language">
            <a:extLst>
              <a:ext uri="{FF2B5EF4-FFF2-40B4-BE49-F238E27FC236}">
                <a16:creationId xmlns:a16="http://schemas.microsoft.com/office/drawing/2014/main" id="{1289AD19-A49F-421C-9662-BE6F1E1B2130}"/>
              </a:ext>
            </a:extLst>
          </p:cNvPr>
          <p:cNvSpPr>
            <a:spLocks noChangeAspect="1" noEditPoints="1"/>
          </p:cNvSpPr>
          <p:nvPr/>
        </p:nvSpPr>
        <p:spPr bwMode="auto">
          <a:xfrm>
            <a:off x="2984014" y="2345552"/>
            <a:ext cx="181932" cy="187666"/>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737373"/>
          </a:solidFill>
          <a:ln w="3175" cap="sq">
            <a:no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0" name="Beaker_F196" title="Icon of a scientific flask with liquid in it">
            <a:extLst>
              <a:ext uri="{FF2B5EF4-FFF2-40B4-BE49-F238E27FC236}">
                <a16:creationId xmlns:a16="http://schemas.microsoft.com/office/drawing/2014/main" id="{7598CFB8-116C-4791-9C1C-2BD161AFAE66}"/>
              </a:ext>
            </a:extLst>
          </p:cNvPr>
          <p:cNvSpPr>
            <a:spLocks noChangeAspect="1" noEditPoints="1"/>
          </p:cNvSpPr>
          <p:nvPr/>
        </p:nvSpPr>
        <p:spPr bwMode="auto">
          <a:xfrm>
            <a:off x="2148911" y="2345554"/>
            <a:ext cx="162419" cy="187666"/>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cxnSp>
        <p:nvCxnSpPr>
          <p:cNvPr id="203" name="Straight Arrow Connector 202">
            <a:extLst>
              <a:ext uri="{FF2B5EF4-FFF2-40B4-BE49-F238E27FC236}">
                <a16:creationId xmlns:a16="http://schemas.microsoft.com/office/drawing/2014/main" id="{C0CB31EC-E015-4E7A-81DF-2026A83722B9}"/>
              </a:ext>
            </a:extLst>
          </p:cNvPr>
          <p:cNvCxnSpPr>
            <a:cxnSpLocks/>
          </p:cNvCxnSpPr>
          <p:nvPr/>
        </p:nvCxnSpPr>
        <p:spPr>
          <a:xfrm>
            <a:off x="6190438" y="5080665"/>
            <a:ext cx="3288019" cy="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5" name="2 Arrow">
            <a:extLst>
              <a:ext uri="{FF2B5EF4-FFF2-40B4-BE49-F238E27FC236}">
                <a16:creationId xmlns:a16="http://schemas.microsoft.com/office/drawing/2014/main" id="{41564F25-0CB2-47B6-93D8-5196AF66C56E}"/>
              </a:ext>
            </a:extLst>
          </p:cNvPr>
          <p:cNvCxnSpPr>
            <a:cxnSpLocks/>
          </p:cNvCxnSpPr>
          <p:nvPr/>
        </p:nvCxnSpPr>
        <p:spPr>
          <a:xfrm flipV="1">
            <a:off x="2296735" y="2906927"/>
            <a:ext cx="0" cy="231868"/>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7" name="2   Arrow fg">
            <a:extLst>
              <a:ext uri="{FF2B5EF4-FFF2-40B4-BE49-F238E27FC236}">
                <a16:creationId xmlns:a16="http://schemas.microsoft.com/office/drawing/2014/main" id="{0EDEA809-9C2D-408C-AD70-B40DCF7F5269}"/>
              </a:ext>
            </a:extLst>
          </p:cNvPr>
          <p:cNvCxnSpPr>
            <a:cxnSpLocks/>
            <a:stCxn id="201" idx="3"/>
          </p:cNvCxnSpPr>
          <p:nvPr/>
        </p:nvCxnSpPr>
        <p:spPr>
          <a:xfrm>
            <a:off x="3408062" y="2442959"/>
            <a:ext cx="310064"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29" name="Picture 8" descr="Image result for Azure IoT Edge logo png">
            <a:extLst>
              <a:ext uri="{FF2B5EF4-FFF2-40B4-BE49-F238E27FC236}">
                <a16:creationId xmlns:a16="http://schemas.microsoft.com/office/drawing/2014/main" id="{F747B297-48AB-4EFF-B7CC-780901916D42}"/>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543611" y="3343018"/>
            <a:ext cx="348746" cy="348746"/>
          </a:xfrm>
          <a:prstGeom prst="rect">
            <a:avLst/>
          </a:prstGeom>
          <a:noFill/>
          <a:extLst>
            <a:ext uri="{909E8E84-426E-40DD-AFC4-6F175D3DCCD1}">
              <a14:hiddenFill xmlns:a14="http://schemas.microsoft.com/office/drawing/2010/main">
                <a:solidFill>
                  <a:srgbClr val="FFFFFF"/>
                </a:solidFill>
              </a14:hiddenFill>
            </a:ext>
          </a:extLst>
        </p:spPr>
      </p:pic>
      <p:cxnSp>
        <p:nvCxnSpPr>
          <p:cNvPr id="130" name="2 Arrow">
            <a:extLst>
              <a:ext uri="{FF2B5EF4-FFF2-40B4-BE49-F238E27FC236}">
                <a16:creationId xmlns:a16="http://schemas.microsoft.com/office/drawing/2014/main" id="{585DAE21-3910-4840-865B-DDA57C8951D4}"/>
              </a:ext>
            </a:extLst>
          </p:cNvPr>
          <p:cNvCxnSpPr>
            <a:cxnSpLocks/>
          </p:cNvCxnSpPr>
          <p:nvPr/>
        </p:nvCxnSpPr>
        <p:spPr>
          <a:xfrm flipV="1">
            <a:off x="912137" y="5027325"/>
            <a:ext cx="382784"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1" name="2 Arrow">
            <a:extLst>
              <a:ext uri="{FF2B5EF4-FFF2-40B4-BE49-F238E27FC236}">
                <a16:creationId xmlns:a16="http://schemas.microsoft.com/office/drawing/2014/main" id="{E5C63C99-7766-4836-BCF8-FFE9774AC9B0}"/>
              </a:ext>
            </a:extLst>
          </p:cNvPr>
          <p:cNvCxnSpPr>
            <a:cxnSpLocks/>
          </p:cNvCxnSpPr>
          <p:nvPr/>
        </p:nvCxnSpPr>
        <p:spPr>
          <a:xfrm flipV="1">
            <a:off x="903440" y="5383936"/>
            <a:ext cx="382784"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3" name="Group 132">
            <a:extLst>
              <a:ext uri="{FF2B5EF4-FFF2-40B4-BE49-F238E27FC236}">
                <a16:creationId xmlns:a16="http://schemas.microsoft.com/office/drawing/2014/main" id="{525C1621-4FF3-4AA4-B5BA-F1C810883E9D}"/>
              </a:ext>
            </a:extLst>
          </p:cNvPr>
          <p:cNvGrpSpPr/>
          <p:nvPr/>
        </p:nvGrpSpPr>
        <p:grpSpPr>
          <a:xfrm>
            <a:off x="3848719" y="1593653"/>
            <a:ext cx="1076596" cy="3544508"/>
            <a:chOff x="3773902" y="1594114"/>
            <a:chExt cx="935598" cy="3332094"/>
          </a:xfrm>
        </p:grpSpPr>
        <p:sp>
          <p:nvSpPr>
            <p:cNvPr id="134" name="Rectangle 133">
              <a:extLst>
                <a:ext uri="{FF2B5EF4-FFF2-40B4-BE49-F238E27FC236}">
                  <a16:creationId xmlns:a16="http://schemas.microsoft.com/office/drawing/2014/main" id="{8108C714-E67F-4330-9DFF-1F48B68F1674}"/>
                </a:ext>
              </a:extLst>
            </p:cNvPr>
            <p:cNvSpPr/>
            <p:nvPr/>
          </p:nvSpPr>
          <p:spPr bwMode="auto">
            <a:xfrm>
              <a:off x="3773902" y="1594114"/>
              <a:ext cx="935598" cy="3332094"/>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3" rtl="0" eaLnBrk="1" fontAlgn="base" latinLnBrk="0" hangingPunct="1">
                <a:lnSpc>
                  <a:spcPct val="90000"/>
                </a:lnSpc>
                <a:spcBef>
                  <a:spcPct val="0"/>
                </a:spcBef>
                <a:spcAft>
                  <a:spcPts val="0"/>
                </a:spcAft>
                <a:buClrTx/>
                <a:buSzTx/>
                <a:buFontTx/>
                <a:buNone/>
                <a:tabLst/>
                <a:defRPr/>
              </a:pPr>
              <a:endParaRPr kumimoji="0" lang="en-US" sz="8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573" rtl="0" eaLnBrk="1" fontAlgn="base" latinLnBrk="0" hangingPunct="1">
                <a:lnSpc>
                  <a:spcPct val="9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Azure IoT Hub</a:t>
              </a:r>
            </a:p>
          </p:txBody>
        </p:sp>
        <p:pic>
          <p:nvPicPr>
            <p:cNvPr id="135" name="Picture 134">
              <a:extLst>
                <a:ext uri="{FF2B5EF4-FFF2-40B4-BE49-F238E27FC236}">
                  <a16:creationId xmlns:a16="http://schemas.microsoft.com/office/drawing/2014/main" id="{4F06C854-2D58-4D53-89EC-10087A03212D}"/>
                </a:ext>
              </a:extLst>
            </p:cNvPr>
            <p:cNvPicPr>
              <a:picLocks noChangeAspect="1"/>
            </p:cNvPicPr>
            <p:nvPr/>
          </p:nvPicPr>
          <p:blipFill rotWithShape="1">
            <a:blip r:embed="rId20"/>
            <a:srcRect l="21003" r="21522"/>
            <a:stretch/>
          </p:blipFill>
          <p:spPr>
            <a:xfrm>
              <a:off x="3931523" y="4186375"/>
              <a:ext cx="298708" cy="300390"/>
            </a:xfrm>
            <a:prstGeom prst="rect">
              <a:avLst/>
            </a:prstGeom>
          </p:spPr>
        </p:pic>
      </p:grpSp>
      <p:sp>
        <p:nvSpPr>
          <p:cNvPr id="136" name="Rectangle 135">
            <a:extLst>
              <a:ext uri="{FF2B5EF4-FFF2-40B4-BE49-F238E27FC236}">
                <a16:creationId xmlns:a16="http://schemas.microsoft.com/office/drawing/2014/main" id="{17E4397B-2375-474E-AFD2-871DEDB6A693}"/>
              </a:ext>
            </a:extLst>
          </p:cNvPr>
          <p:cNvSpPr/>
          <p:nvPr/>
        </p:nvSpPr>
        <p:spPr>
          <a:xfrm>
            <a:off x="3773351" y="1632991"/>
            <a:ext cx="1115175" cy="2589940"/>
          </a:xfrm>
          <a:prstGeom prst="rect">
            <a:avLst/>
          </a:prstGeom>
        </p:spPr>
        <p:txBody>
          <a:bodyPr wrap="square">
            <a:spAutoFit/>
          </a:bodyPr>
          <a:lstStyle/>
          <a:p>
            <a:pPr marL="115888" marR="0" lvl="0" indent="-115888" algn="l" defTabSz="609585"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Bi-directional device-cloud </a:t>
            </a:r>
          </a:p>
          <a:p>
            <a:pPr marL="115888" marR="0" lvl="0" indent="-115888" algn="l" defTabSz="609585"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Telemetry ingestion</a:t>
            </a:r>
          </a:p>
          <a:p>
            <a:pPr marL="115888" marR="0" lvl="0" indent="-115888" algn="l" defTabSz="609585"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Command &amp; Control</a:t>
            </a:r>
          </a:p>
          <a:p>
            <a:pPr marL="115888" marR="0" lvl="0" indent="-115888" algn="l" defTabSz="609585"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Device Registry &amp; Identity</a:t>
            </a:r>
          </a:p>
          <a:p>
            <a:pPr marL="115888" marR="0" lvl="0" indent="-115888" algn="l" defTabSz="609585"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Device Provisioning</a:t>
            </a:r>
          </a:p>
          <a:p>
            <a:pPr marL="115888" marR="0" lvl="0" indent="-115888" algn="l" defTabSz="609585"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Device Mgmt</a:t>
            </a:r>
          </a:p>
          <a:p>
            <a:pPr marL="115888" marR="0" lvl="0" indent="-115888" algn="l" defTabSz="609585"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HTTP, AMQP, MQTT</a:t>
            </a:r>
          </a:p>
        </p:txBody>
      </p:sp>
      <p:pic>
        <p:nvPicPr>
          <p:cNvPr id="4" name="Graphic 3">
            <a:extLst>
              <a:ext uri="{FF2B5EF4-FFF2-40B4-BE49-F238E27FC236}">
                <a16:creationId xmlns:a16="http://schemas.microsoft.com/office/drawing/2014/main" id="{336DD69E-06C7-468B-B210-E8A7646FC528}"/>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316017" y="4646708"/>
            <a:ext cx="428650" cy="428650"/>
          </a:xfrm>
          <a:prstGeom prst="rect">
            <a:avLst/>
          </a:prstGeom>
        </p:spPr>
      </p:pic>
    </p:spTree>
    <p:extLst>
      <p:ext uri="{BB962C8B-B14F-4D97-AF65-F5344CB8AC3E}">
        <p14:creationId xmlns:p14="http://schemas.microsoft.com/office/powerpoint/2010/main" val="151599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bwMode="auto">
          <a:xfrm>
            <a:off x="586933" y="4405993"/>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pPr>
            <a:endParaRPr lang="en-US" sz="1765" kern="0" spc="-50" dirty="0">
              <a:solidFill>
                <a:srgbClr val="000000">
                  <a:lumMod val="65000"/>
                  <a:lumOff val="35000"/>
                </a:srgbClr>
              </a:solidFill>
              <a:latin typeface="Segoe UI" panose="020B0502040204020203" pitchFamily="34" charset="0"/>
              <a:cs typeface="Segoe UI" panose="020B0502040204020203" pitchFamily="34" charset="0"/>
            </a:endParaRPr>
          </a:p>
        </p:txBody>
      </p:sp>
      <p:sp>
        <p:nvSpPr>
          <p:cNvPr id="38" name="Frame 5"/>
          <p:cNvSpPr>
            <a:spLocks noChangeAspect="1"/>
          </p:cNvSpPr>
          <p:nvPr/>
        </p:nvSpPr>
        <p:spPr bwMode="auto">
          <a:xfrm>
            <a:off x="629441" y="4442211"/>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137" name="2   Arrow fg"/>
          <p:cNvCxnSpPr>
            <a:cxnSpLocks/>
            <a:stCxn id="127" idx="3"/>
          </p:cNvCxnSpPr>
          <p:nvPr/>
        </p:nvCxnSpPr>
        <p:spPr>
          <a:xfrm>
            <a:off x="3413071" y="3967758"/>
            <a:ext cx="307499" cy="0"/>
          </a:xfrm>
          <a:prstGeom prst="straightConnector1">
            <a:avLst/>
          </a:prstGeom>
          <a:ln w="31750">
            <a:solidFill>
              <a:schemeClr val="accent6">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7" name="Rectangle 126"/>
          <p:cNvSpPr/>
          <p:nvPr/>
        </p:nvSpPr>
        <p:spPr bwMode="auto">
          <a:xfrm>
            <a:off x="2082287" y="3410650"/>
            <a:ext cx="1330784" cy="1064790"/>
          </a:xfrm>
          <a:prstGeom prst="rect">
            <a:avLst/>
          </a:prstGeom>
          <a:solidFill>
            <a:schemeClr val="bg1">
              <a:alpha val="79000"/>
            </a:schemeClr>
          </a:solidFill>
          <a:ln w="19050">
            <a:solidFill>
              <a:schemeClr val="accent6">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31" tIns="91414" rIns="0" bIns="91388" numCol="1" spcCol="0" rtlCol="0" fromWordArt="0" anchor="b" anchorCtr="0" forceAA="0" compatLnSpc="1">
            <a:prstTxWarp prst="textNoShape">
              <a:avLst/>
            </a:prstTxWarp>
            <a:noAutofit/>
          </a:bodyPr>
          <a:lstStyle/>
          <a:p>
            <a:pPr marL="0" marR="0" lvl="0" indent="0" algn="l" defTabSz="913397" rtl="0" eaLnBrk="1" fontAlgn="base" latinLnBrk="0" hangingPunct="1">
              <a:lnSpc>
                <a:spcPct val="90000"/>
              </a:lnSpc>
              <a:spcBef>
                <a:spcPct val="0"/>
              </a:spcBef>
              <a:spcAft>
                <a:spcPts val="20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Edge Modules:</a:t>
            </a:r>
          </a:p>
          <a:p>
            <a:pPr marL="55553" marR="0" lvl="0" indent="-55553" algn="l" defTabSz="913397" rtl="0" eaLnBrk="1" fontAlgn="base" latinLnBrk="0" hangingPunct="1">
              <a:lnSpc>
                <a:spcPct val="90000"/>
              </a:lnSpc>
              <a:spcBef>
                <a:spcPct val="0"/>
              </a:spcBef>
              <a:spcAft>
                <a:spcPts val="20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Protocol Adaptation</a:t>
            </a:r>
          </a:p>
          <a:p>
            <a:pPr marL="55553" marR="0" lvl="0" indent="-55553" algn="l" defTabSz="913397" rtl="0" eaLnBrk="1" fontAlgn="base" latinLnBrk="0" hangingPunct="1">
              <a:lnSpc>
                <a:spcPct val="90000"/>
              </a:lnSpc>
              <a:spcBef>
                <a:spcPct val="0"/>
              </a:spcBef>
              <a:spcAft>
                <a:spcPts val="20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Functions</a:t>
            </a:r>
          </a:p>
          <a:p>
            <a:pPr marL="55553" marR="0" lvl="0" indent="-55553" algn="l" defTabSz="913397" rtl="0" eaLnBrk="1" fontAlgn="base" latinLnBrk="0" hangingPunct="1">
              <a:lnSpc>
                <a:spcPct val="90000"/>
              </a:lnSpc>
              <a:spcBef>
                <a:spcPct val="0"/>
              </a:spcBef>
              <a:spcAft>
                <a:spcPts val="20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Stream Analytics</a:t>
            </a:r>
          </a:p>
          <a:p>
            <a:pPr marL="55553" marR="0" lvl="0" indent="-55553" algn="l" defTabSz="913397" rtl="0" eaLnBrk="1" fontAlgn="base" latinLnBrk="0" hangingPunct="1">
              <a:lnSpc>
                <a:spcPct val="90000"/>
              </a:lnSpc>
              <a:spcBef>
                <a:spcPct val="0"/>
              </a:spcBef>
              <a:spcAft>
                <a:spcPts val="20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Machine Learning</a:t>
            </a:r>
          </a:p>
          <a:p>
            <a:pPr marL="55553" marR="0" lvl="0" indent="-55553" algn="l" defTabSz="913397" rtl="0" eaLnBrk="1" fontAlgn="base" latinLnBrk="0" hangingPunct="1">
              <a:lnSpc>
                <a:spcPct val="90000"/>
              </a:lnSpc>
              <a:spcBef>
                <a:spcPct val="0"/>
              </a:spcBef>
              <a:spcAft>
                <a:spcPts val="20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AI</a:t>
            </a:r>
          </a:p>
        </p:txBody>
      </p:sp>
      <p:sp>
        <p:nvSpPr>
          <p:cNvPr id="124" name="Rectangle 123"/>
          <p:cNvSpPr/>
          <p:nvPr/>
        </p:nvSpPr>
        <p:spPr bwMode="auto">
          <a:xfrm>
            <a:off x="1317652" y="3410650"/>
            <a:ext cx="768873" cy="1064792"/>
          </a:xfrm>
          <a:prstGeom prst="rect">
            <a:avLst/>
          </a:prstGeom>
          <a:solidFill>
            <a:schemeClr val="bg1">
              <a:alpha val="79000"/>
            </a:schemeClr>
          </a:solidFill>
          <a:ln w="19050">
            <a:solidFill>
              <a:schemeClr val="accent6">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14" rIns="0"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100" b="0" i="0" u="none" strike="noStrike" kern="0" cap="none" spc="0" normalizeH="0" baseline="0" noProof="0" dirty="0">
                <a:ln>
                  <a:noFill/>
                </a:ln>
                <a:solidFill>
                  <a:schemeClr val="accent6">
                    <a:lumMod val="50000"/>
                  </a:schemeClr>
                </a:solidFill>
                <a:effectLst/>
                <a:uLnTx/>
                <a:uFillTx/>
                <a:latin typeface="Segoe UI" panose="020B0502040204020203" pitchFamily="34" charset="0"/>
                <a:ea typeface="Segoe UI" panose="020B0502040204020203" pitchFamily="34" charset="0"/>
                <a:cs typeface="Segoe UI" panose="020B0502040204020203" pitchFamily="34" charset="0"/>
              </a:rPr>
              <a:t>Azure </a:t>
            </a:r>
            <a:br>
              <a:rPr kumimoji="0" lang="en-US" sz="1100" b="0" i="0" u="none" strike="noStrike" kern="0" cap="none" spc="0" normalizeH="0" baseline="0" noProof="0" dirty="0">
                <a:ln>
                  <a:noFill/>
                </a:ln>
                <a:solidFill>
                  <a:schemeClr val="accent6">
                    <a:lumMod val="50000"/>
                  </a:scheme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100" b="0" i="0" u="none" strike="noStrike" kern="0" cap="none" spc="0" normalizeH="0" baseline="0" noProof="0" dirty="0">
                <a:ln>
                  <a:noFill/>
                </a:ln>
                <a:solidFill>
                  <a:schemeClr val="accent6">
                    <a:lumMod val="50000"/>
                  </a:schemeClr>
                </a:solidFill>
                <a:effectLst/>
                <a:uLnTx/>
                <a:uFillTx/>
                <a:latin typeface="Segoe UI" panose="020B0502040204020203" pitchFamily="34" charset="0"/>
                <a:ea typeface="Segoe UI" panose="020B0502040204020203" pitchFamily="34" charset="0"/>
                <a:cs typeface="Segoe UI" panose="020B0502040204020203" pitchFamily="34" charset="0"/>
              </a:rPr>
              <a:t>IoT Edge</a:t>
            </a:r>
          </a:p>
        </p:txBody>
      </p:sp>
      <p:sp>
        <p:nvSpPr>
          <p:cNvPr id="5" name="cloud"/>
          <p:cNvSpPr>
            <a:spLocks noChangeAspect="1"/>
          </p:cNvSpPr>
          <p:nvPr/>
        </p:nvSpPr>
        <p:spPr bwMode="black">
          <a:xfrm>
            <a:off x="2758747" y="1532002"/>
            <a:ext cx="9264675" cy="490877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40000"/>
              <a:lumOff val="60000"/>
            </a:schemeClr>
          </a:solidFill>
          <a:ln w="76200">
            <a:gradFill flip="none" rotWithShape="1">
              <a:gsLst>
                <a:gs pos="50000">
                  <a:srgbClr val="5EB6DA"/>
                </a:gs>
                <a:gs pos="50000">
                  <a:srgbClr val="3999C6"/>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tIns="822727" rtlCol="0" anchor="ctr"/>
          <a:lstStyle/>
          <a:p>
            <a:pPr marL="0" marR="0" lvl="0" indent="0" algn="ctr" defTabSz="914049" rtl="0" eaLnBrk="1" fontAlgn="auto" latinLnBrk="0" hangingPunct="1">
              <a:lnSpc>
                <a:spcPct val="80000"/>
              </a:lnSpc>
              <a:spcBef>
                <a:spcPts val="0"/>
              </a:spcBef>
              <a:spcAft>
                <a:spcPts val="0"/>
              </a:spcAft>
              <a:buClrTx/>
              <a:buSzTx/>
              <a:buFontTx/>
              <a:buNone/>
              <a:tabLst/>
              <a:defRPr/>
            </a:pPr>
            <a:endParaRPr kumimoji="0" lang="en-US" sz="4400" b="0" i="0" u="none" strike="noStrike" kern="0" cap="none" spc="-15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12" name="2 Device"/>
          <p:cNvSpPr txBox="1"/>
          <p:nvPr/>
        </p:nvSpPr>
        <p:spPr>
          <a:xfrm>
            <a:off x="586932" y="6146558"/>
            <a:ext cx="4296751" cy="573442"/>
          </a:xfrm>
          <a:prstGeom prst="rect">
            <a:avLst/>
          </a:prstGeom>
          <a:solidFill>
            <a:srgbClr val="3999C6"/>
          </a:solidFill>
        </p:spPr>
        <p:txBody>
          <a:bodyPr wrap="square" lIns="91414" tIns="91414" rIns="0" bIns="91414" rtlCol="0" anchor="ctr">
            <a:spAutoFit/>
          </a:bodyPr>
          <a:lstStyle>
            <a:defPPr>
              <a:defRPr lang="en-US"/>
            </a:defPPr>
            <a:lvl1pPr defTabSz="932597">
              <a:defRPr sz="1600">
                <a:solidFill>
                  <a:schemeClr val="bg2"/>
                </a:solidFill>
              </a:defRPr>
            </a:lvl1p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THINGS</a:t>
            </a:r>
          </a:p>
        </p:txBody>
      </p:sp>
      <p:sp>
        <p:nvSpPr>
          <p:cNvPr id="13" name="3"/>
          <p:cNvSpPr txBox="1"/>
          <p:nvPr/>
        </p:nvSpPr>
        <p:spPr>
          <a:xfrm>
            <a:off x="5034681" y="6146558"/>
            <a:ext cx="4296751" cy="573442"/>
          </a:xfrm>
          <a:prstGeom prst="rect">
            <a:avLst/>
          </a:prstGeom>
          <a:solidFill>
            <a:srgbClr val="3999C6"/>
          </a:solidFill>
        </p:spPr>
        <p:txBody>
          <a:bodyPr wrap="square" lIns="91414" tIns="91414" rIns="0" bIns="91414" rtlCol="0" anchor="ctr">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NSIGHTS</a:t>
            </a:r>
          </a:p>
        </p:txBody>
      </p:sp>
      <p:sp>
        <p:nvSpPr>
          <p:cNvPr id="14" name="7 Presentation"/>
          <p:cNvSpPr txBox="1"/>
          <p:nvPr/>
        </p:nvSpPr>
        <p:spPr>
          <a:xfrm>
            <a:off x="9483892" y="6146558"/>
            <a:ext cx="2468530" cy="573442"/>
          </a:xfrm>
          <a:prstGeom prst="rect">
            <a:avLst/>
          </a:prstGeom>
          <a:solidFill>
            <a:srgbClr val="3999C6"/>
          </a:solidFill>
        </p:spPr>
        <p:txBody>
          <a:bodyPr wrap="square" lIns="91414" tIns="91414" rIns="0" bIns="91414" rtlCol="0" anchor="ctr">
            <a:spAutoFit/>
          </a:bodyPr>
          <a:lstStyle>
            <a:defPPr>
              <a:defRPr lang="en-US"/>
            </a:defPPr>
            <a:lvl1pPr defTabSz="932597">
              <a:defRPr sz="1600">
                <a:solidFill>
                  <a:schemeClr val="bg2"/>
                </a:solidFill>
              </a:defRPr>
            </a:lvl1p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CTIONS</a:t>
            </a:r>
          </a:p>
        </p:txBody>
      </p:sp>
      <p:sp>
        <p:nvSpPr>
          <p:cNvPr id="23" name="TextBox 22"/>
          <p:cNvSpPr txBox="1"/>
          <p:nvPr/>
        </p:nvSpPr>
        <p:spPr>
          <a:xfrm rot="16200000">
            <a:off x="-1564523" y="3739696"/>
            <a:ext cx="3975711" cy="215419"/>
          </a:xfrm>
          <a:prstGeom prst="rect">
            <a:avLst/>
          </a:prstGeom>
          <a:noFill/>
          <a:ln>
            <a:noFill/>
            <a:headEnd type="none" w="med" len="med"/>
            <a:tailEnd type="none" w="med" len="med"/>
          </a:ln>
        </p:spPr>
        <p:txBody>
          <a:bodyPr wrap="square" lIns="0" tIns="0" rIns="0" bIns="0" rtlCol="0">
            <a:spAutoFit/>
          </a:bodyPr>
          <a:lstStyle/>
          <a:p>
            <a:pPr marL="0" marR="0" lvl="0" indent="0" algn="ctr" defTabSz="932026" rtl="0" eaLnBrk="1" fontAlgn="auto" latinLnBrk="0" hangingPunct="1">
              <a:lnSpc>
                <a:spcPct val="100000"/>
              </a:lnSpc>
              <a:spcBef>
                <a:spcPts val="0"/>
              </a:spcBef>
              <a:spcAft>
                <a:spcPts val="0"/>
              </a:spcAft>
              <a:buClrTx/>
              <a:buSzTx/>
              <a:buFontTx/>
              <a:buNone/>
              <a:tabLst/>
              <a:defRPr/>
            </a:pPr>
            <a:r>
              <a:rPr kumimoji="0" lang="en-US" sz="1400" b="1" i="0" u="none" strike="noStrike" kern="0" cap="none" spc="-38" normalizeH="0" baseline="0" noProof="0" dirty="0">
                <a:ln>
                  <a:noFill/>
                </a:ln>
                <a:solidFill>
                  <a:srgbClr val="000000">
                    <a:lumMod val="65000"/>
                    <a:lumOff val="35000"/>
                  </a:srgbClr>
                </a:solidFill>
                <a:effectLst/>
                <a:uLnTx/>
                <a:uFillTx/>
                <a:latin typeface="Segoe UI" panose="020B0502040204020203" pitchFamily="34" charset="0"/>
                <a:ea typeface="Segoe UI Black" panose="020B0A02040204020203" pitchFamily="34" charset="0"/>
                <a:cs typeface="Segoe UI" panose="020B0502040204020203" pitchFamily="34" charset="0"/>
              </a:rPr>
              <a:t>Devices: </a:t>
            </a:r>
            <a:r>
              <a:rPr kumimoji="0" lang="en-US" sz="1200" b="0" i="0" u="none" strike="noStrike" kern="0" cap="none" spc="-38"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RTOS, Linux, Windows, Android, iOS </a:t>
            </a:r>
          </a:p>
        </p:txBody>
      </p:sp>
      <p:sp>
        <p:nvSpPr>
          <p:cNvPr id="25" name="Rectangle 24"/>
          <p:cNvSpPr/>
          <p:nvPr/>
        </p:nvSpPr>
        <p:spPr bwMode="auto">
          <a:xfrm>
            <a:off x="586933" y="2235782"/>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 name="Frame 5"/>
          <p:cNvSpPr>
            <a:spLocks noChangeAspect="1"/>
          </p:cNvSpPr>
          <p:nvPr/>
        </p:nvSpPr>
        <p:spPr bwMode="auto">
          <a:xfrm>
            <a:off x="629441" y="2272001"/>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 name="Rectangle 26"/>
          <p:cNvSpPr/>
          <p:nvPr/>
        </p:nvSpPr>
        <p:spPr bwMode="auto">
          <a:xfrm>
            <a:off x="586933" y="2601323"/>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 name="Frame 5"/>
          <p:cNvSpPr>
            <a:spLocks noChangeAspect="1"/>
          </p:cNvSpPr>
          <p:nvPr/>
        </p:nvSpPr>
        <p:spPr bwMode="auto">
          <a:xfrm>
            <a:off x="629441" y="2637542"/>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 name="Rectangle 28"/>
          <p:cNvSpPr/>
          <p:nvPr/>
        </p:nvSpPr>
        <p:spPr bwMode="auto">
          <a:xfrm>
            <a:off x="586933" y="2966891"/>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 name="Frame 5"/>
          <p:cNvSpPr>
            <a:spLocks noChangeAspect="1"/>
          </p:cNvSpPr>
          <p:nvPr/>
        </p:nvSpPr>
        <p:spPr bwMode="auto">
          <a:xfrm>
            <a:off x="629441" y="3003110"/>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 name="Rectangle 30"/>
          <p:cNvSpPr/>
          <p:nvPr/>
        </p:nvSpPr>
        <p:spPr bwMode="auto">
          <a:xfrm>
            <a:off x="586933" y="3329727"/>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Frame 5"/>
          <p:cNvSpPr>
            <a:spLocks noChangeAspect="1"/>
          </p:cNvSpPr>
          <p:nvPr/>
        </p:nvSpPr>
        <p:spPr bwMode="auto">
          <a:xfrm>
            <a:off x="629441" y="3365946"/>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 name="Rectangle 32"/>
          <p:cNvSpPr/>
          <p:nvPr/>
        </p:nvSpPr>
        <p:spPr bwMode="auto">
          <a:xfrm>
            <a:off x="586933" y="3691233"/>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397" fontAlgn="base">
              <a:spcBef>
                <a:spcPct val="0"/>
              </a:spcBef>
              <a:spcAft>
                <a:spcPct val="0"/>
              </a:spcAft>
            </a:pPr>
            <a:endParaRPr lang="en-US" sz="1765" kern="0" spc="-50" dirty="0">
              <a:solidFill>
                <a:srgbClr val="000000">
                  <a:lumMod val="65000"/>
                  <a:lumOff val="35000"/>
                </a:srgbClr>
              </a:solidFill>
              <a:latin typeface="Segoe UI" panose="020B0502040204020203" pitchFamily="34" charset="0"/>
              <a:cs typeface="Segoe UI" panose="020B0502040204020203" pitchFamily="34" charset="0"/>
            </a:endParaRPr>
          </a:p>
        </p:txBody>
      </p:sp>
      <p:sp>
        <p:nvSpPr>
          <p:cNvPr id="34" name="Frame 5"/>
          <p:cNvSpPr>
            <a:spLocks noChangeAspect="1"/>
          </p:cNvSpPr>
          <p:nvPr/>
        </p:nvSpPr>
        <p:spPr bwMode="auto">
          <a:xfrm>
            <a:off x="629441" y="3727451"/>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 name="Rectangle 34"/>
          <p:cNvSpPr/>
          <p:nvPr/>
        </p:nvSpPr>
        <p:spPr bwMode="auto">
          <a:xfrm>
            <a:off x="586933" y="4045684"/>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 name="Frame 5"/>
          <p:cNvSpPr>
            <a:spLocks noChangeAspect="1"/>
          </p:cNvSpPr>
          <p:nvPr/>
        </p:nvSpPr>
        <p:spPr bwMode="auto">
          <a:xfrm>
            <a:off x="629441" y="4081902"/>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 name="Rectangle 38"/>
          <p:cNvSpPr/>
          <p:nvPr/>
        </p:nvSpPr>
        <p:spPr bwMode="auto">
          <a:xfrm>
            <a:off x="586933" y="4766348"/>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 name="Frame 5"/>
          <p:cNvSpPr>
            <a:spLocks noChangeAspect="1"/>
          </p:cNvSpPr>
          <p:nvPr/>
        </p:nvSpPr>
        <p:spPr bwMode="auto">
          <a:xfrm>
            <a:off x="629441" y="4802567"/>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 name="Frame 5"/>
          <p:cNvSpPr>
            <a:spLocks noChangeAspect="1"/>
          </p:cNvSpPr>
          <p:nvPr/>
        </p:nvSpPr>
        <p:spPr bwMode="auto">
          <a:xfrm>
            <a:off x="629441" y="5160642"/>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9" name="Rectangle 178">
            <a:extLst>
              <a:ext uri="{FF2B5EF4-FFF2-40B4-BE49-F238E27FC236}">
                <a16:creationId xmlns:a16="http://schemas.microsoft.com/office/drawing/2014/main" id="{35DF32D7-E289-419B-9580-B3C7EA33D6F7}"/>
              </a:ext>
            </a:extLst>
          </p:cNvPr>
          <p:cNvSpPr/>
          <p:nvPr/>
        </p:nvSpPr>
        <p:spPr bwMode="auto">
          <a:xfrm>
            <a:off x="586933" y="5132114"/>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0" name="Frame 5">
            <a:extLst>
              <a:ext uri="{FF2B5EF4-FFF2-40B4-BE49-F238E27FC236}">
                <a16:creationId xmlns:a16="http://schemas.microsoft.com/office/drawing/2014/main" id="{F7A30AA8-001E-4FE2-8098-960A9035FE24}"/>
              </a:ext>
            </a:extLst>
          </p:cNvPr>
          <p:cNvSpPr>
            <a:spLocks noChangeAspect="1"/>
          </p:cNvSpPr>
          <p:nvPr/>
        </p:nvSpPr>
        <p:spPr bwMode="auto">
          <a:xfrm>
            <a:off x="629441" y="5168335"/>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1" name="Rectangle 180">
            <a:extLst>
              <a:ext uri="{FF2B5EF4-FFF2-40B4-BE49-F238E27FC236}">
                <a16:creationId xmlns:a16="http://schemas.microsoft.com/office/drawing/2014/main" id="{1808C9F1-1DD7-4DAE-9E99-741D33EF9735}"/>
              </a:ext>
            </a:extLst>
          </p:cNvPr>
          <p:cNvSpPr/>
          <p:nvPr/>
        </p:nvSpPr>
        <p:spPr bwMode="auto">
          <a:xfrm>
            <a:off x="586934" y="5497881"/>
            <a:ext cx="333553" cy="32181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2" name="Frame 5">
            <a:extLst>
              <a:ext uri="{FF2B5EF4-FFF2-40B4-BE49-F238E27FC236}">
                <a16:creationId xmlns:a16="http://schemas.microsoft.com/office/drawing/2014/main" id="{FDE821F9-B5A0-42F1-8BB9-17D4AC466C44}"/>
              </a:ext>
            </a:extLst>
          </p:cNvPr>
          <p:cNvSpPr>
            <a:spLocks noChangeAspect="1"/>
          </p:cNvSpPr>
          <p:nvPr/>
        </p:nvSpPr>
        <p:spPr bwMode="auto">
          <a:xfrm>
            <a:off x="629441" y="5534107"/>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138" name="2   Arrow fg"/>
          <p:cNvCxnSpPr>
            <a:cxnSpLocks/>
          </p:cNvCxnSpPr>
          <p:nvPr/>
        </p:nvCxnSpPr>
        <p:spPr>
          <a:xfrm>
            <a:off x="943465" y="2771695"/>
            <a:ext cx="321419"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Arrow fg"/>
          <p:cNvCxnSpPr>
            <a:cxnSpLocks/>
          </p:cNvCxnSpPr>
          <p:nvPr/>
        </p:nvCxnSpPr>
        <p:spPr>
          <a:xfrm>
            <a:off x="943465" y="2416926"/>
            <a:ext cx="321420"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0" name="2   Arrow fg"/>
          <p:cNvCxnSpPr>
            <a:cxnSpLocks/>
          </p:cNvCxnSpPr>
          <p:nvPr/>
        </p:nvCxnSpPr>
        <p:spPr>
          <a:xfrm>
            <a:off x="943465" y="3117878"/>
            <a:ext cx="321420"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a:off x="939319" y="3490018"/>
            <a:ext cx="325567" cy="160045"/>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2" name="2 fg"/>
          <p:cNvCxnSpPr/>
          <p:nvPr/>
        </p:nvCxnSpPr>
        <p:spPr>
          <a:xfrm>
            <a:off x="942718" y="3863085"/>
            <a:ext cx="326933" cy="5813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3" name="2 fg"/>
          <p:cNvCxnSpPr/>
          <p:nvPr/>
        </p:nvCxnSpPr>
        <p:spPr>
          <a:xfrm flipV="1">
            <a:off x="945225" y="4143242"/>
            <a:ext cx="319659" cy="86921"/>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8" name="Rectangle 107"/>
          <p:cNvSpPr/>
          <p:nvPr/>
        </p:nvSpPr>
        <p:spPr bwMode="auto">
          <a:xfrm>
            <a:off x="3725984" y="1780648"/>
            <a:ext cx="2468530" cy="4039046"/>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0" bIns="91388" numCol="1" spcCol="0" rtlCol="0" fromWordArt="0" anchor="b" anchorCtr="0" forceAA="0" compatLnSpc="1">
            <a:prstTxWarp prst="textNoShape">
              <a:avLst/>
            </a:prstTxWarp>
            <a:no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a:p>
            <a:pPr marL="0" marR="0" lvl="0" indent="0" algn="ctr" defTabSz="913573" rtl="0" eaLnBrk="1" fontAlgn="base" latinLnBrk="0" hangingPunct="1">
              <a:lnSpc>
                <a:spcPct val="9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Azure Digital Twins</a:t>
            </a:r>
          </a:p>
        </p:txBody>
      </p:sp>
      <p:sp>
        <p:nvSpPr>
          <p:cNvPr id="183" name="Rectangle 182">
            <a:extLst>
              <a:ext uri="{FF2B5EF4-FFF2-40B4-BE49-F238E27FC236}">
                <a16:creationId xmlns:a16="http://schemas.microsoft.com/office/drawing/2014/main" id="{54A6F7DA-8B8E-4D0C-B1AF-2072ED15DF9D}"/>
              </a:ext>
            </a:extLst>
          </p:cNvPr>
          <p:cNvSpPr/>
          <p:nvPr/>
        </p:nvSpPr>
        <p:spPr bwMode="auto">
          <a:xfrm>
            <a:off x="1317617" y="4682231"/>
            <a:ext cx="2099018" cy="1120421"/>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14" rIns="0"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endParaRPr kumimoji="0" lang="en-US" sz="11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1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Azure Sphere</a:t>
            </a:r>
          </a:p>
        </p:txBody>
      </p:sp>
      <p:cxnSp>
        <p:nvCxnSpPr>
          <p:cNvPr id="148" name="2 Arrow">
            <a:extLst>
              <a:ext uri="{FF2B5EF4-FFF2-40B4-BE49-F238E27FC236}">
                <a16:creationId xmlns:a16="http://schemas.microsoft.com/office/drawing/2014/main" id="{34ABF04A-E2D6-4859-B2F2-9032F1DC0AC0}"/>
              </a:ext>
            </a:extLst>
          </p:cNvPr>
          <p:cNvCxnSpPr>
            <a:cxnSpLocks/>
            <a:stCxn id="9220" idx="3"/>
            <a:endCxn id="158" idx="2"/>
          </p:cNvCxnSpPr>
          <p:nvPr/>
        </p:nvCxnSpPr>
        <p:spPr>
          <a:xfrm>
            <a:off x="1832593" y="4994472"/>
            <a:ext cx="303975" cy="836"/>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0" name="2 Arrow">
            <a:extLst>
              <a:ext uri="{FF2B5EF4-FFF2-40B4-BE49-F238E27FC236}">
                <a16:creationId xmlns:a16="http://schemas.microsoft.com/office/drawing/2014/main" id="{631B788D-C35B-4E6C-9843-468A185FAC91}"/>
              </a:ext>
            </a:extLst>
          </p:cNvPr>
          <p:cNvCxnSpPr>
            <a:cxnSpLocks/>
            <a:stCxn id="39" idx="3"/>
          </p:cNvCxnSpPr>
          <p:nvPr/>
        </p:nvCxnSpPr>
        <p:spPr>
          <a:xfrm flipV="1">
            <a:off x="920485" y="4926386"/>
            <a:ext cx="374437" cy="867"/>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9220" name="Picture 4" descr="Image result for Azure Sphere logo">
            <a:extLst>
              <a:ext uri="{FF2B5EF4-FFF2-40B4-BE49-F238E27FC236}">
                <a16:creationId xmlns:a16="http://schemas.microsoft.com/office/drawing/2014/main" id="{06763744-A87F-40D5-9D28-6F1EECF12C2A}"/>
              </a:ext>
            </a:extLst>
          </p:cNvPr>
          <p:cNvPicPr>
            <a:picLocks noChangeAspect="1" noChangeArrowheads="1"/>
          </p:cNvPicPr>
          <p:nvPr/>
        </p:nvPicPr>
        <p:blipFill rotWithShape="1">
          <a:blip r:embed="rId3" cstate="print">
            <a:duotone>
              <a:prstClr val="black"/>
              <a:srgbClr val="D9C3A5">
                <a:tint val="50000"/>
                <a:satMod val="180000"/>
              </a:srgbClr>
            </a:duotone>
            <a:extLst>
              <a:ext uri="{28A0092B-C50C-407E-A947-70E740481C1C}">
                <a14:useLocalDpi xmlns:a14="http://schemas.microsoft.com/office/drawing/2010/main" val="0"/>
              </a:ext>
            </a:extLst>
          </a:blip>
          <a:srcRect l="20166" t="58207" r="63528" b="16896"/>
          <a:stretch/>
        </p:blipFill>
        <p:spPr bwMode="auto">
          <a:xfrm>
            <a:off x="1509304" y="4831852"/>
            <a:ext cx="323289" cy="325239"/>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4" descr="Image result for Azure Sphere logo">
            <a:extLst>
              <a:ext uri="{FF2B5EF4-FFF2-40B4-BE49-F238E27FC236}">
                <a16:creationId xmlns:a16="http://schemas.microsoft.com/office/drawing/2014/main" id="{C435FEFC-C68F-4E29-8D60-71CDE4E91F7C}"/>
              </a:ext>
            </a:extLst>
          </p:cNvPr>
          <p:cNvPicPr>
            <a:picLocks noChangeAspect="1" noChangeArrowheads="1"/>
          </p:cNvPicPr>
          <p:nvPr/>
        </p:nvPicPr>
        <p:blipFill rotWithShape="1">
          <a:blip r:embed="rId4" cstate="print">
            <a:duotone>
              <a:prstClr val="black"/>
              <a:srgbClr val="D9C3A5">
                <a:tint val="50000"/>
                <a:satMod val="180000"/>
              </a:srgbClr>
            </a:duotone>
            <a:extLst>
              <a:ext uri="{28A0092B-C50C-407E-A947-70E740481C1C}">
                <a14:useLocalDpi xmlns:a14="http://schemas.microsoft.com/office/drawing/2010/main" val="0"/>
              </a:ext>
            </a:extLst>
          </a:blip>
          <a:srcRect l="64216" t="57031" r="17628" b="15600"/>
          <a:stretch/>
        </p:blipFill>
        <p:spPr bwMode="auto">
          <a:xfrm>
            <a:off x="2136568" y="4826183"/>
            <a:ext cx="340615" cy="338249"/>
          </a:xfrm>
          <a:prstGeom prst="ellipse">
            <a:avLst/>
          </a:prstGeom>
          <a:noFill/>
          <a:extLst>
            <a:ext uri="{909E8E84-426E-40DD-AFC4-6F175D3DCCD1}">
              <a14:hiddenFill xmlns:a14="http://schemas.microsoft.com/office/drawing/2010/main">
                <a:solidFill>
                  <a:srgbClr val="FFFFFF"/>
                </a:solidFill>
              </a14:hiddenFill>
            </a:ext>
          </a:extLst>
        </p:spPr>
      </p:pic>
      <p:cxnSp>
        <p:nvCxnSpPr>
          <p:cNvPr id="171" name="2 Arrow">
            <a:extLst>
              <a:ext uri="{FF2B5EF4-FFF2-40B4-BE49-F238E27FC236}">
                <a16:creationId xmlns:a16="http://schemas.microsoft.com/office/drawing/2014/main" id="{01E594EB-7C9A-4CCD-9556-428836EB4FB4}"/>
              </a:ext>
            </a:extLst>
          </p:cNvPr>
          <p:cNvCxnSpPr>
            <a:cxnSpLocks/>
            <a:stCxn id="158" idx="6"/>
            <a:endCxn id="9234" idx="1"/>
          </p:cNvCxnSpPr>
          <p:nvPr/>
        </p:nvCxnSpPr>
        <p:spPr>
          <a:xfrm>
            <a:off x="2477183" y="4995308"/>
            <a:ext cx="308252" cy="312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EAD382E-2ECD-42FE-B651-3378CD53DA58}"/>
              </a:ext>
            </a:extLst>
          </p:cNvPr>
          <p:cNvSpPr txBox="1"/>
          <p:nvPr/>
        </p:nvSpPr>
        <p:spPr>
          <a:xfrm>
            <a:off x="1438936" y="5205294"/>
            <a:ext cx="42671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ecured MCU</a:t>
            </a:r>
          </a:p>
        </p:txBody>
      </p:sp>
      <p:sp>
        <p:nvSpPr>
          <p:cNvPr id="172" name="TextBox 171">
            <a:extLst>
              <a:ext uri="{FF2B5EF4-FFF2-40B4-BE49-F238E27FC236}">
                <a16:creationId xmlns:a16="http://schemas.microsoft.com/office/drawing/2014/main" id="{A74ED67D-0EAF-41C5-9BA4-072225AAC444}"/>
              </a:ext>
            </a:extLst>
          </p:cNvPr>
          <p:cNvSpPr txBox="1"/>
          <p:nvPr/>
        </p:nvSpPr>
        <p:spPr>
          <a:xfrm>
            <a:off x="2051153" y="5205294"/>
            <a:ext cx="479188"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ecured OS</a:t>
            </a:r>
          </a:p>
        </p:txBody>
      </p:sp>
      <p:sp>
        <p:nvSpPr>
          <p:cNvPr id="173" name="TextBox 172">
            <a:extLst>
              <a:ext uri="{FF2B5EF4-FFF2-40B4-BE49-F238E27FC236}">
                <a16:creationId xmlns:a16="http://schemas.microsoft.com/office/drawing/2014/main" id="{B66E424D-44E5-44D2-9DB0-FC7B9AD11E85}"/>
              </a:ext>
            </a:extLst>
          </p:cNvPr>
          <p:cNvSpPr txBox="1"/>
          <p:nvPr/>
        </p:nvSpPr>
        <p:spPr>
          <a:xfrm>
            <a:off x="2632717" y="5205294"/>
            <a:ext cx="609607"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loud Security</a:t>
            </a:r>
          </a:p>
        </p:txBody>
      </p:sp>
      <p:pic>
        <p:nvPicPr>
          <p:cNvPr id="9234" name="Picture 6" descr="https://azurecomcdn.azureedge.net/mediahandler/acomblog/media/Default/blog/bd5000d5-6cba-45c7-9d88-d081731c0989.png">
            <a:extLst>
              <a:ext uri="{FF2B5EF4-FFF2-40B4-BE49-F238E27FC236}">
                <a16:creationId xmlns:a16="http://schemas.microsoft.com/office/drawing/2014/main" id="{77840F2A-3195-4028-A2DD-BD8C2EEDED3B}"/>
              </a:ext>
            </a:extLst>
          </p:cNvPr>
          <p:cNvPicPr>
            <a:picLocks noChangeAspect="1" noChangeArrowheads="1"/>
          </p:cNvPicPr>
          <p:nvPr/>
        </p:nvPicPr>
        <p:blipFill rotWithShape="1">
          <a:blip r:embed="rId5" cstate="print">
            <a:grayscl/>
            <a:extLst>
              <a:ext uri="{28A0092B-C50C-407E-A947-70E740481C1C}">
                <a14:useLocalDpi xmlns:a14="http://schemas.microsoft.com/office/drawing/2010/main" val="0"/>
              </a:ext>
            </a:extLst>
          </a:blip>
          <a:srcRect l="42184" t="7472" r="40288" b="61275"/>
          <a:stretch/>
        </p:blipFill>
        <p:spPr bwMode="auto">
          <a:xfrm>
            <a:off x="2785435" y="4820532"/>
            <a:ext cx="303033" cy="355791"/>
          </a:xfrm>
          <a:prstGeom prst="rect">
            <a:avLst/>
          </a:prstGeom>
          <a:noFill/>
          <a:extLst>
            <a:ext uri="{909E8E84-426E-40DD-AFC4-6F175D3DCCD1}">
              <a14:hiddenFill xmlns:a14="http://schemas.microsoft.com/office/drawing/2010/main">
                <a:solidFill>
                  <a:srgbClr val="FFFFFF"/>
                </a:solidFill>
              </a14:hiddenFill>
            </a:ext>
          </a:extLst>
        </p:spPr>
      </p:pic>
      <p:cxnSp>
        <p:nvCxnSpPr>
          <p:cNvPr id="184" name="2 Arrow">
            <a:extLst>
              <a:ext uri="{FF2B5EF4-FFF2-40B4-BE49-F238E27FC236}">
                <a16:creationId xmlns:a16="http://schemas.microsoft.com/office/drawing/2014/main" id="{E04EDC29-6CCE-418C-941B-FC461FE91F74}"/>
              </a:ext>
            </a:extLst>
          </p:cNvPr>
          <p:cNvCxnSpPr>
            <a:cxnSpLocks/>
          </p:cNvCxnSpPr>
          <p:nvPr/>
        </p:nvCxnSpPr>
        <p:spPr>
          <a:xfrm>
            <a:off x="3408062" y="4928087"/>
            <a:ext cx="310065" cy="1"/>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8" name="2 Arrow">
            <a:extLst>
              <a:ext uri="{FF2B5EF4-FFF2-40B4-BE49-F238E27FC236}">
                <a16:creationId xmlns:a16="http://schemas.microsoft.com/office/drawing/2014/main" id="{B9A264F2-14BA-4FAF-83F8-40E41B110E63}"/>
              </a:ext>
            </a:extLst>
          </p:cNvPr>
          <p:cNvCxnSpPr>
            <a:cxnSpLocks/>
          </p:cNvCxnSpPr>
          <p:nvPr/>
        </p:nvCxnSpPr>
        <p:spPr>
          <a:xfrm flipV="1">
            <a:off x="2306876" y="4455121"/>
            <a:ext cx="0" cy="231868"/>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5C8A0E22-3183-469B-908D-F66ED9C2CCE2}"/>
              </a:ext>
            </a:extLst>
          </p:cNvPr>
          <p:cNvSpPr/>
          <p:nvPr/>
        </p:nvSpPr>
        <p:spPr>
          <a:xfrm>
            <a:off x="4913277" y="1682671"/>
            <a:ext cx="1345779" cy="2784865"/>
          </a:xfrm>
          <a:prstGeom prst="rect">
            <a:avLst/>
          </a:prstGeom>
        </p:spPr>
        <p:txBody>
          <a:bodyPr wrap="square">
            <a:spAutoFit/>
          </a:bodyPr>
          <a:lstStyle/>
          <a:p>
            <a:pPr marL="0" marR="0" lvl="0" indent="0" algn="l" defTabSz="609468" rtl="0" eaLnBrk="1" fontAlgn="auto" latinLnBrk="0" hangingPunct="1">
              <a:lnSpc>
                <a:spcPct val="90000"/>
              </a:lnSpc>
              <a:spcBef>
                <a:spcPts val="600"/>
              </a:spcBef>
              <a:spcAft>
                <a:spcPts val="0"/>
              </a:spcAft>
              <a:buClrTx/>
              <a:buSzTx/>
              <a:buFontTx/>
              <a:buNone/>
              <a:tabLst/>
              <a:defRPr/>
            </a:pPr>
            <a:endParaRPr kumimoji="0" lang="en-US" sz="1050" b="1"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Black" panose="020B0A02040204020203" pitchFamily="34" charset="0"/>
              <a:cs typeface="Segoe UI" panose="020B0502040204020203" pitchFamily="34" charset="0"/>
            </a:endParaRPr>
          </a:p>
          <a:p>
            <a:pPr marL="115866" marR="0" lvl="0" indent="-115866" algn="l" defTabSz="609468"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Spatial Intelligence</a:t>
            </a:r>
            <a:endParaRPr kumimoji="0" lang="en-US" sz="1000" b="0" i="0" u="none" strike="noStrike" kern="0" cap="none" spc="0" normalizeH="0" baseline="0" noProof="0" dirty="0">
              <a:ln>
                <a:noFill/>
              </a:ln>
              <a:solidFill>
                <a:srgbClr val="000000">
                  <a:lumMod val="65000"/>
                  <a:lumOff val="35000"/>
                </a:srgbClr>
              </a:solidFill>
              <a:effectLst/>
              <a:uLnTx/>
              <a:uFillTx/>
              <a:latin typeface="Segoe UI"/>
              <a:ea typeface="+mn-ea"/>
              <a:cs typeface="+mn-cs"/>
            </a:endParaRPr>
          </a:p>
          <a:p>
            <a:pPr marL="169863" marR="0" lvl="1" indent="-53975" algn="l" defTabSz="913397" rtl="0" eaLnBrk="1" fontAlgn="base" latinLnBrk="0" hangingPunct="1">
              <a:lnSpc>
                <a:spcPct val="90000"/>
              </a:lnSpc>
              <a:spcBef>
                <a:spcPct val="0"/>
              </a:spcBef>
              <a:spcAft>
                <a:spcPts val="20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People, Space, device Twins</a:t>
            </a:r>
          </a:p>
          <a:p>
            <a:pPr marL="169863" marR="0" lvl="1" indent="-53975" algn="l" defTabSz="913397" rtl="0" eaLnBrk="1" fontAlgn="base" latinLnBrk="0" hangingPunct="1">
              <a:lnSpc>
                <a:spcPct val="90000"/>
              </a:lnSpc>
              <a:spcBef>
                <a:spcPct val="0"/>
              </a:spcBef>
              <a:spcAft>
                <a:spcPts val="200"/>
              </a:spcAft>
              <a:buClrTx/>
              <a:buSzTx/>
              <a:buFont typeface="Arial" panose="020B0604020202020204" pitchFamily="34" charset="0"/>
              <a:buChar char="•"/>
              <a:tabLst/>
              <a:defRPr/>
            </a:pP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Sensor Processing</a:t>
            </a:r>
            <a:b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9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Functions)</a:t>
            </a:r>
          </a:p>
          <a:p>
            <a:pPr marL="115866" marR="0" lvl="0" indent="-115866" algn="l" defTabSz="609468"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Nested Tenancy</a:t>
            </a:r>
          </a:p>
          <a:p>
            <a:pPr marL="115866" marR="0" lvl="0" indent="-115866" algn="l" defTabSz="609468"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Loadable Twin Object Models </a:t>
            </a:r>
          </a:p>
          <a:p>
            <a:pPr marL="115866" marR="0" lvl="0" indent="-115866" algn="l" defTabSz="609468"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Role-based Access &amp; Control</a:t>
            </a:r>
          </a:p>
          <a:p>
            <a:pPr marL="115866" marR="0" lvl="0" indent="-115866" algn="l" defTabSz="609468"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AuthN/AuthZ </a:t>
            </a:r>
            <a:b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b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via AAD</a:t>
            </a:r>
          </a:p>
          <a:p>
            <a:pPr marL="115866" marR="0" lvl="0" indent="-115866" algn="l" defTabSz="609468"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Notifications &amp; egress routing</a:t>
            </a:r>
          </a:p>
        </p:txBody>
      </p:sp>
      <p:cxnSp>
        <p:nvCxnSpPr>
          <p:cNvPr id="175" name="Straight Arrow Connector 174"/>
          <p:cNvCxnSpPr>
            <a:cxnSpLocks/>
          </p:cNvCxnSpPr>
          <p:nvPr/>
        </p:nvCxnSpPr>
        <p:spPr>
          <a:xfrm>
            <a:off x="9276024" y="3303758"/>
            <a:ext cx="201140" cy="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6" name="Straight Arrow Connector 175"/>
          <p:cNvCxnSpPr>
            <a:cxnSpLocks/>
          </p:cNvCxnSpPr>
          <p:nvPr/>
        </p:nvCxnSpPr>
        <p:spPr>
          <a:xfrm flipV="1">
            <a:off x="9276022" y="4308727"/>
            <a:ext cx="201140" cy="142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4" name="Straight Arrow Connector 193">
            <a:extLst>
              <a:ext uri="{FF2B5EF4-FFF2-40B4-BE49-F238E27FC236}">
                <a16:creationId xmlns:a16="http://schemas.microsoft.com/office/drawing/2014/main" id="{55552BDA-BCBD-4C65-8613-E3EB8AC15ED5}"/>
              </a:ext>
            </a:extLst>
          </p:cNvPr>
          <p:cNvCxnSpPr>
            <a:cxnSpLocks/>
          </p:cNvCxnSpPr>
          <p:nvPr/>
        </p:nvCxnSpPr>
        <p:spPr>
          <a:xfrm>
            <a:off x="9268405" y="2265610"/>
            <a:ext cx="201140" cy="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FF699D84-8469-4DF5-8891-6D6E43DABB4D}"/>
              </a:ext>
            </a:extLst>
          </p:cNvPr>
          <p:cNvCxnSpPr>
            <a:cxnSpLocks/>
          </p:cNvCxnSpPr>
          <p:nvPr/>
        </p:nvCxnSpPr>
        <p:spPr>
          <a:xfrm flipV="1">
            <a:off x="6190438" y="2265610"/>
            <a:ext cx="201140" cy="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C07E7D4E-1EE7-464F-ADAC-3F212A0B5122}"/>
              </a:ext>
            </a:extLst>
          </p:cNvPr>
          <p:cNvCxnSpPr>
            <a:cxnSpLocks/>
          </p:cNvCxnSpPr>
          <p:nvPr/>
        </p:nvCxnSpPr>
        <p:spPr>
          <a:xfrm>
            <a:off x="6190438" y="3303758"/>
            <a:ext cx="201140" cy="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15198316-8059-4759-9EB7-D86E373D90DD}"/>
              </a:ext>
            </a:extLst>
          </p:cNvPr>
          <p:cNvCxnSpPr>
            <a:cxnSpLocks/>
          </p:cNvCxnSpPr>
          <p:nvPr/>
        </p:nvCxnSpPr>
        <p:spPr>
          <a:xfrm>
            <a:off x="6190438" y="4308728"/>
            <a:ext cx="201140" cy="1421"/>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053" name="Group 2052">
            <a:extLst>
              <a:ext uri="{FF2B5EF4-FFF2-40B4-BE49-F238E27FC236}">
                <a16:creationId xmlns:a16="http://schemas.microsoft.com/office/drawing/2014/main" id="{3C3F1D9E-2E6C-4868-9550-4B10BD5873FE}"/>
              </a:ext>
            </a:extLst>
          </p:cNvPr>
          <p:cNvGrpSpPr/>
          <p:nvPr/>
        </p:nvGrpSpPr>
        <p:grpSpPr>
          <a:xfrm>
            <a:off x="1309044" y="2225527"/>
            <a:ext cx="2099018" cy="978573"/>
            <a:chOff x="6386470" y="4592572"/>
            <a:chExt cx="2099316" cy="978711"/>
          </a:xfrm>
        </p:grpSpPr>
        <p:sp>
          <p:nvSpPr>
            <p:cNvPr id="201" name="Rectangle 200">
              <a:extLst>
                <a:ext uri="{FF2B5EF4-FFF2-40B4-BE49-F238E27FC236}">
                  <a16:creationId xmlns:a16="http://schemas.microsoft.com/office/drawing/2014/main" id="{393FFC5E-6E26-4333-9DA0-F5D4AB7B7D11}"/>
                </a:ext>
              </a:extLst>
            </p:cNvPr>
            <p:cNvSpPr/>
            <p:nvPr/>
          </p:nvSpPr>
          <p:spPr bwMode="auto">
            <a:xfrm>
              <a:off x="6386470" y="4592572"/>
              <a:ext cx="2099316" cy="978711"/>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0" bIns="91388" numCol="1" spcCol="0" rtlCol="0" fromWordArt="0" anchor="b" anchorCtr="0" forceAA="0" compatLnSpc="1">
              <a:prstTxWarp prst="textNoShape">
                <a:avLst/>
              </a:prstTxWarp>
              <a:no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2" name="Rectangle 201">
              <a:extLst>
                <a:ext uri="{FF2B5EF4-FFF2-40B4-BE49-F238E27FC236}">
                  <a16:creationId xmlns:a16="http://schemas.microsoft.com/office/drawing/2014/main" id="{BEEB6DFE-7D99-4239-9BFC-D686900C1738}"/>
                </a:ext>
              </a:extLst>
            </p:cNvPr>
            <p:cNvSpPr/>
            <p:nvPr/>
          </p:nvSpPr>
          <p:spPr>
            <a:xfrm>
              <a:off x="6517372" y="5266104"/>
              <a:ext cx="1710842" cy="247760"/>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1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Black" panose="020B0A02040204020203" pitchFamily="34" charset="0"/>
                  <a:cs typeface="Segoe UI" panose="020B0502040204020203" pitchFamily="34" charset="0"/>
                </a:rPr>
                <a:t>AI - </a:t>
              </a:r>
              <a:r>
                <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Cognitive Services</a:t>
              </a:r>
            </a:p>
          </p:txBody>
        </p:sp>
      </p:grpSp>
      <p:sp>
        <p:nvSpPr>
          <p:cNvPr id="195" name="Eye" title="Icon of an eye">
            <a:extLst>
              <a:ext uri="{FF2B5EF4-FFF2-40B4-BE49-F238E27FC236}">
                <a16:creationId xmlns:a16="http://schemas.microsoft.com/office/drawing/2014/main" id="{891E13C9-CCF5-4676-9CCA-5CD2AABAE646}"/>
              </a:ext>
            </a:extLst>
          </p:cNvPr>
          <p:cNvSpPr>
            <a:spLocks noChangeAspect="1" noEditPoints="1"/>
          </p:cNvSpPr>
          <p:nvPr/>
        </p:nvSpPr>
        <p:spPr bwMode="auto">
          <a:xfrm>
            <a:off x="1503202" y="2644367"/>
            <a:ext cx="258041" cy="142469"/>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Microsoft_E720" title="Icon of a microphone">
            <a:extLst>
              <a:ext uri="{FF2B5EF4-FFF2-40B4-BE49-F238E27FC236}">
                <a16:creationId xmlns:a16="http://schemas.microsoft.com/office/drawing/2014/main" id="{568AC55E-7D8E-43E4-9401-27E8AEC74497}"/>
              </a:ext>
            </a:extLst>
          </p:cNvPr>
          <p:cNvSpPr>
            <a:spLocks noChangeAspect="1" noEditPoints="1"/>
          </p:cNvSpPr>
          <p:nvPr/>
        </p:nvSpPr>
        <p:spPr bwMode="auto">
          <a:xfrm>
            <a:off x="2740192" y="2617407"/>
            <a:ext cx="125050" cy="187666"/>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97" name="Dictionary_E82D" title="Icon of a book">
            <a:extLst>
              <a:ext uri="{FF2B5EF4-FFF2-40B4-BE49-F238E27FC236}">
                <a16:creationId xmlns:a16="http://schemas.microsoft.com/office/drawing/2014/main" id="{43F651EB-A8CC-499E-801F-E99A20973A97}"/>
              </a:ext>
            </a:extLst>
          </p:cNvPr>
          <p:cNvSpPr>
            <a:spLocks noChangeAspect="1" noEditPoints="1"/>
          </p:cNvSpPr>
          <p:nvPr/>
        </p:nvSpPr>
        <p:spPr bwMode="auto">
          <a:xfrm>
            <a:off x="1880011" y="2617409"/>
            <a:ext cx="150133" cy="187666"/>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98" name="magnify" title="Icon of a magnifying glass">
            <a:extLst>
              <a:ext uri="{FF2B5EF4-FFF2-40B4-BE49-F238E27FC236}">
                <a16:creationId xmlns:a16="http://schemas.microsoft.com/office/drawing/2014/main" id="{C35C4505-14D1-4D64-92C9-2DB77D9559A5}"/>
              </a:ext>
            </a:extLst>
          </p:cNvPr>
          <p:cNvSpPr>
            <a:spLocks noChangeAspect="1" noEditPoints="1"/>
          </p:cNvSpPr>
          <p:nvPr/>
        </p:nvSpPr>
        <p:spPr bwMode="auto">
          <a:xfrm flipH="1">
            <a:off x="2430100" y="2615318"/>
            <a:ext cx="191323" cy="18766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9" name="Characters_E8C1" title="Icon of the letter A and a letter in another language">
            <a:extLst>
              <a:ext uri="{FF2B5EF4-FFF2-40B4-BE49-F238E27FC236}">
                <a16:creationId xmlns:a16="http://schemas.microsoft.com/office/drawing/2014/main" id="{1289AD19-A49F-421C-9662-BE6F1E1B2130}"/>
              </a:ext>
            </a:extLst>
          </p:cNvPr>
          <p:cNvSpPr>
            <a:spLocks noChangeAspect="1" noEditPoints="1"/>
          </p:cNvSpPr>
          <p:nvPr/>
        </p:nvSpPr>
        <p:spPr bwMode="auto">
          <a:xfrm>
            <a:off x="2984014" y="2617406"/>
            <a:ext cx="181932" cy="187666"/>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737373"/>
          </a:solidFill>
          <a:ln w="3175" cap="sq">
            <a:no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0" name="Beaker_F196" title="Icon of a scientific flask with liquid in it">
            <a:extLst>
              <a:ext uri="{FF2B5EF4-FFF2-40B4-BE49-F238E27FC236}">
                <a16:creationId xmlns:a16="http://schemas.microsoft.com/office/drawing/2014/main" id="{7598CFB8-116C-4791-9C1C-2BD161AFAE66}"/>
              </a:ext>
            </a:extLst>
          </p:cNvPr>
          <p:cNvSpPr>
            <a:spLocks noChangeAspect="1" noEditPoints="1"/>
          </p:cNvSpPr>
          <p:nvPr/>
        </p:nvSpPr>
        <p:spPr bwMode="auto">
          <a:xfrm>
            <a:off x="2148911" y="2617408"/>
            <a:ext cx="162419" cy="187666"/>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cxnSp>
        <p:nvCxnSpPr>
          <p:cNvPr id="203" name="Straight Arrow Connector 202">
            <a:extLst>
              <a:ext uri="{FF2B5EF4-FFF2-40B4-BE49-F238E27FC236}">
                <a16:creationId xmlns:a16="http://schemas.microsoft.com/office/drawing/2014/main" id="{C0CB31EC-E015-4E7A-81DF-2026A83722B9}"/>
              </a:ext>
            </a:extLst>
          </p:cNvPr>
          <p:cNvCxnSpPr>
            <a:cxnSpLocks/>
          </p:cNvCxnSpPr>
          <p:nvPr/>
        </p:nvCxnSpPr>
        <p:spPr>
          <a:xfrm>
            <a:off x="6190438" y="5352519"/>
            <a:ext cx="3288019" cy="0"/>
          </a:xfrm>
          <a:prstGeom prst="straightConnector1">
            <a:avLst/>
          </a:prstGeom>
          <a:ln w="317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5" name="2 Arrow">
            <a:extLst>
              <a:ext uri="{FF2B5EF4-FFF2-40B4-BE49-F238E27FC236}">
                <a16:creationId xmlns:a16="http://schemas.microsoft.com/office/drawing/2014/main" id="{41564F25-0CB2-47B6-93D8-5196AF66C56E}"/>
              </a:ext>
            </a:extLst>
          </p:cNvPr>
          <p:cNvCxnSpPr>
            <a:cxnSpLocks/>
          </p:cNvCxnSpPr>
          <p:nvPr/>
        </p:nvCxnSpPr>
        <p:spPr>
          <a:xfrm flipV="1">
            <a:off x="2296735" y="3178781"/>
            <a:ext cx="0" cy="231868"/>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7" name="2   Arrow fg">
            <a:extLst>
              <a:ext uri="{FF2B5EF4-FFF2-40B4-BE49-F238E27FC236}">
                <a16:creationId xmlns:a16="http://schemas.microsoft.com/office/drawing/2014/main" id="{0EDEA809-9C2D-408C-AD70-B40DCF7F5269}"/>
              </a:ext>
            </a:extLst>
          </p:cNvPr>
          <p:cNvCxnSpPr>
            <a:cxnSpLocks/>
          </p:cNvCxnSpPr>
          <p:nvPr/>
        </p:nvCxnSpPr>
        <p:spPr>
          <a:xfrm>
            <a:off x="3408062" y="2714813"/>
            <a:ext cx="310064"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0" name="2 Arrow">
            <a:extLst>
              <a:ext uri="{FF2B5EF4-FFF2-40B4-BE49-F238E27FC236}">
                <a16:creationId xmlns:a16="http://schemas.microsoft.com/office/drawing/2014/main" id="{585DAE21-3910-4840-865B-DDA57C8951D4}"/>
              </a:ext>
            </a:extLst>
          </p:cNvPr>
          <p:cNvCxnSpPr>
            <a:cxnSpLocks/>
          </p:cNvCxnSpPr>
          <p:nvPr/>
        </p:nvCxnSpPr>
        <p:spPr>
          <a:xfrm flipV="1">
            <a:off x="912137" y="5299179"/>
            <a:ext cx="382784"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1" name="2 Arrow">
            <a:extLst>
              <a:ext uri="{FF2B5EF4-FFF2-40B4-BE49-F238E27FC236}">
                <a16:creationId xmlns:a16="http://schemas.microsoft.com/office/drawing/2014/main" id="{E5C63C99-7766-4836-BCF8-FFE9774AC9B0}"/>
              </a:ext>
            </a:extLst>
          </p:cNvPr>
          <p:cNvCxnSpPr>
            <a:cxnSpLocks/>
          </p:cNvCxnSpPr>
          <p:nvPr/>
        </p:nvCxnSpPr>
        <p:spPr>
          <a:xfrm flipV="1">
            <a:off x="903440" y="5655790"/>
            <a:ext cx="382784" cy="0"/>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336DD69E-06C7-468B-B210-E8A7646FC52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16017" y="4918562"/>
            <a:ext cx="428650" cy="428650"/>
          </a:xfrm>
          <a:prstGeom prst="rect">
            <a:avLst/>
          </a:prstGeom>
        </p:spPr>
      </p:pic>
      <p:sp>
        <p:nvSpPr>
          <p:cNvPr id="6" name="Rectangle 5">
            <a:extLst>
              <a:ext uri="{FF2B5EF4-FFF2-40B4-BE49-F238E27FC236}">
                <a16:creationId xmlns:a16="http://schemas.microsoft.com/office/drawing/2014/main" id="{A7ED801B-12DC-40BC-A8F8-71B2F33D895C}"/>
              </a:ext>
            </a:extLst>
          </p:cNvPr>
          <p:cNvSpPr/>
          <p:nvPr/>
        </p:nvSpPr>
        <p:spPr bwMode="auto">
          <a:xfrm>
            <a:off x="239578" y="1408801"/>
            <a:ext cx="11872761" cy="4564864"/>
          </a:xfrm>
          <a:prstGeom prst="rect">
            <a:avLst/>
          </a:prstGeom>
          <a:solidFill>
            <a:srgbClr val="0000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 name="2 Arrow"/>
          <p:cNvCxnSpPr/>
          <p:nvPr/>
        </p:nvCxnSpPr>
        <p:spPr>
          <a:xfrm>
            <a:off x="943530" y="2037698"/>
            <a:ext cx="2780096" cy="0"/>
          </a:xfrm>
          <a:prstGeom prst="straightConnector1">
            <a:avLst/>
          </a:prstGeom>
          <a:ln w="3175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bwMode="auto">
          <a:xfrm>
            <a:off x="586933" y="1873940"/>
            <a:ext cx="333553" cy="321811"/>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marL="0" marR="0" lvl="0" indent="0" algn="ctr" defTabSz="91339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 name="Frame 5"/>
          <p:cNvSpPr>
            <a:spLocks noChangeAspect="1"/>
          </p:cNvSpPr>
          <p:nvPr/>
        </p:nvSpPr>
        <p:spPr bwMode="auto">
          <a:xfrm>
            <a:off x="629441" y="1910158"/>
            <a:ext cx="249435" cy="24937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10" tIns="53755" rIns="53755" bIns="107510" numCol="1" spcCol="0" rtlCol="0" fromWordArt="0" anchor="b" anchorCtr="0" forceAA="0" compatLnSpc="1">
            <a:prstTxWarp prst="textNoShape">
              <a:avLst/>
            </a:prstTxWarp>
            <a:noAutofit/>
          </a:bodyPr>
          <a:lstStyle/>
          <a:p>
            <a:pPr marL="0" marR="0" lvl="0" indent="0" algn="ctr" defTabSz="107448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122" name="2 fg"/>
          <p:cNvCxnSpPr/>
          <p:nvPr/>
        </p:nvCxnSpPr>
        <p:spPr>
          <a:xfrm flipV="1">
            <a:off x="936753" y="4367496"/>
            <a:ext cx="333637" cy="200081"/>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29" name="Picture 8" descr="Image result for Azure IoT Edge logo png">
            <a:extLst>
              <a:ext uri="{FF2B5EF4-FFF2-40B4-BE49-F238E27FC236}">
                <a16:creationId xmlns:a16="http://schemas.microsoft.com/office/drawing/2014/main" id="{F747B297-48AB-4EFF-B7CC-780901916D4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543611" y="3614872"/>
            <a:ext cx="348746" cy="348746"/>
          </a:xfrm>
          <a:prstGeom prst="rect">
            <a:avLst/>
          </a:prstGeom>
          <a:noFill/>
          <a:extLst>
            <a:ext uri="{909E8E84-426E-40DD-AFC4-6F175D3DCCD1}">
              <a14:hiddenFill xmlns:a14="http://schemas.microsoft.com/office/drawing/2010/main">
                <a:solidFill>
                  <a:srgbClr val="FFFFFF"/>
                </a:solidFill>
              </a14:hiddenFill>
            </a:ext>
          </a:extLst>
        </p:spPr>
      </p:pic>
      <p:grpSp>
        <p:nvGrpSpPr>
          <p:cNvPr id="133" name="Group 132">
            <a:extLst>
              <a:ext uri="{FF2B5EF4-FFF2-40B4-BE49-F238E27FC236}">
                <a16:creationId xmlns:a16="http://schemas.microsoft.com/office/drawing/2014/main" id="{525C1621-4FF3-4AA4-B5BA-F1C810883E9D}"/>
              </a:ext>
            </a:extLst>
          </p:cNvPr>
          <p:cNvGrpSpPr/>
          <p:nvPr/>
        </p:nvGrpSpPr>
        <p:grpSpPr>
          <a:xfrm>
            <a:off x="3827876" y="1856128"/>
            <a:ext cx="1076596" cy="3544508"/>
            <a:chOff x="3755789" y="1585297"/>
            <a:chExt cx="935598" cy="3332094"/>
          </a:xfrm>
        </p:grpSpPr>
        <p:sp>
          <p:nvSpPr>
            <p:cNvPr id="134" name="Rectangle 133">
              <a:extLst>
                <a:ext uri="{FF2B5EF4-FFF2-40B4-BE49-F238E27FC236}">
                  <a16:creationId xmlns:a16="http://schemas.microsoft.com/office/drawing/2014/main" id="{8108C714-E67F-4330-9DFF-1F48B68F1674}"/>
                </a:ext>
              </a:extLst>
            </p:cNvPr>
            <p:cNvSpPr/>
            <p:nvPr/>
          </p:nvSpPr>
          <p:spPr bwMode="auto">
            <a:xfrm>
              <a:off x="3755789" y="1585297"/>
              <a:ext cx="935598" cy="3332094"/>
            </a:xfrm>
            <a:prstGeom prst="rect">
              <a:avLst/>
            </a:prstGeom>
            <a:solidFill>
              <a:schemeClr val="bg1">
                <a:alpha val="90000"/>
              </a:scheme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3" rtl="0" eaLnBrk="1" fontAlgn="base" latinLnBrk="0" hangingPunct="1">
                <a:lnSpc>
                  <a:spcPct val="90000"/>
                </a:lnSpc>
                <a:spcBef>
                  <a:spcPct val="0"/>
                </a:spcBef>
                <a:spcAft>
                  <a:spcPts val="0"/>
                </a:spcAft>
                <a:buClrTx/>
                <a:buSzTx/>
                <a:buFontTx/>
                <a:buNone/>
                <a:tabLst/>
                <a:defRPr/>
              </a:pPr>
              <a:endParaRPr kumimoji="0" lang="en-US" sz="8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573" rtl="0" eaLnBrk="1" fontAlgn="base" latinLnBrk="0" hangingPunct="1">
                <a:lnSpc>
                  <a:spcPct val="9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rPr>
                <a:t>Azure IoT Hub</a:t>
              </a:r>
            </a:p>
          </p:txBody>
        </p:sp>
        <p:pic>
          <p:nvPicPr>
            <p:cNvPr id="135" name="Picture 134">
              <a:extLst>
                <a:ext uri="{FF2B5EF4-FFF2-40B4-BE49-F238E27FC236}">
                  <a16:creationId xmlns:a16="http://schemas.microsoft.com/office/drawing/2014/main" id="{4F06C854-2D58-4D53-89EC-10087A03212D}"/>
                </a:ext>
              </a:extLst>
            </p:cNvPr>
            <p:cNvPicPr>
              <a:picLocks noChangeAspect="1"/>
            </p:cNvPicPr>
            <p:nvPr/>
          </p:nvPicPr>
          <p:blipFill rotWithShape="1">
            <a:blip r:embed="rId9"/>
            <a:srcRect l="21003" r="21522"/>
            <a:stretch/>
          </p:blipFill>
          <p:spPr>
            <a:xfrm>
              <a:off x="3931523" y="4186375"/>
              <a:ext cx="298708" cy="300390"/>
            </a:xfrm>
            <a:prstGeom prst="rect">
              <a:avLst/>
            </a:prstGeom>
            <a:ln>
              <a:solidFill>
                <a:schemeClr val="accent1"/>
              </a:solidFill>
            </a:ln>
          </p:spPr>
        </p:pic>
      </p:grpSp>
      <p:sp>
        <p:nvSpPr>
          <p:cNvPr id="136" name="Rectangle 135">
            <a:extLst>
              <a:ext uri="{FF2B5EF4-FFF2-40B4-BE49-F238E27FC236}">
                <a16:creationId xmlns:a16="http://schemas.microsoft.com/office/drawing/2014/main" id="{17E4397B-2375-474E-AFD2-871DEDB6A693}"/>
              </a:ext>
            </a:extLst>
          </p:cNvPr>
          <p:cNvSpPr/>
          <p:nvPr/>
        </p:nvSpPr>
        <p:spPr>
          <a:xfrm>
            <a:off x="3773351" y="1904845"/>
            <a:ext cx="1178586" cy="2589940"/>
          </a:xfrm>
          <a:prstGeom prst="rect">
            <a:avLst/>
          </a:prstGeom>
        </p:spPr>
        <p:txBody>
          <a:bodyPr wrap="square">
            <a:spAutoFit/>
          </a:bodyPr>
          <a:lstStyle/>
          <a:p>
            <a:pPr marL="115888" marR="0" lvl="0" indent="-115888" algn="l" defTabSz="609585"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chemeClr val="tx2"/>
                </a:solidFill>
                <a:effectLst/>
                <a:uLnTx/>
                <a:uFillTx/>
                <a:latin typeface="Segoe UI"/>
                <a:ea typeface="+mn-ea"/>
                <a:cs typeface="+mn-cs"/>
              </a:rPr>
              <a:t>Bi-directional device-cloud </a:t>
            </a:r>
          </a:p>
          <a:p>
            <a:pPr marL="115888" marR="0" lvl="0" indent="-115888" algn="l" defTabSz="609585"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78D4"/>
                </a:solidFill>
                <a:effectLst/>
                <a:uLnTx/>
                <a:uFillTx/>
                <a:latin typeface="Segoe UI"/>
                <a:ea typeface="+mn-ea"/>
                <a:cs typeface="+mn-cs"/>
              </a:rPr>
              <a:t>Telemetry ingestion</a:t>
            </a:r>
          </a:p>
          <a:p>
            <a:pPr marL="115888" marR="0" lvl="0" indent="-115888" algn="l" defTabSz="609585"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Command &amp; Control</a:t>
            </a:r>
          </a:p>
          <a:p>
            <a:pPr marL="115888" marR="0" lvl="0" indent="-115888" algn="l" defTabSz="609585"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78D4"/>
                </a:solidFill>
                <a:effectLst/>
                <a:uLnTx/>
                <a:uFillTx/>
                <a:latin typeface="Segoe UI"/>
                <a:ea typeface="+mn-ea"/>
                <a:cs typeface="+mn-cs"/>
              </a:rPr>
              <a:t>Device Registry &amp; Identity</a:t>
            </a:r>
          </a:p>
          <a:p>
            <a:pPr marL="115888" marR="0" lvl="0" indent="-115888" algn="l" defTabSz="609585"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78D4"/>
                </a:solidFill>
                <a:effectLst/>
                <a:uLnTx/>
                <a:uFillTx/>
                <a:latin typeface="Segoe UI"/>
                <a:ea typeface="+mn-ea"/>
                <a:cs typeface="+mn-cs"/>
              </a:rPr>
              <a:t>Manual Device Provisioning</a:t>
            </a:r>
          </a:p>
          <a:p>
            <a:pPr marL="115888" marR="0" lvl="0" indent="-115888" algn="l" defTabSz="609585"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chemeClr val="accent6">
                    <a:lumMod val="50000"/>
                  </a:schemeClr>
                </a:solidFill>
                <a:effectLst/>
                <a:uLnTx/>
                <a:uFillTx/>
                <a:latin typeface="Segoe UI"/>
                <a:ea typeface="+mn-ea"/>
                <a:cs typeface="+mn-cs"/>
              </a:rPr>
              <a:t>Device Mgmt</a:t>
            </a:r>
          </a:p>
          <a:p>
            <a:pPr marL="115888" marR="0" lvl="0" indent="-115888" algn="l" defTabSz="609585"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78D4"/>
                </a:solidFill>
                <a:effectLst/>
                <a:uLnTx/>
                <a:uFillTx/>
                <a:latin typeface="Segoe UI"/>
                <a:ea typeface="+mn-ea"/>
                <a:cs typeface="+mn-cs"/>
              </a:rPr>
              <a:t>HTTP, AMQP, MQTT</a:t>
            </a:r>
          </a:p>
        </p:txBody>
      </p:sp>
      <p:grpSp>
        <p:nvGrpSpPr>
          <p:cNvPr id="2071" name="Group 2070">
            <a:extLst>
              <a:ext uri="{FF2B5EF4-FFF2-40B4-BE49-F238E27FC236}">
                <a16:creationId xmlns:a16="http://schemas.microsoft.com/office/drawing/2014/main" id="{23744432-3074-4369-BB2C-7EBBB33A4B5B}"/>
              </a:ext>
            </a:extLst>
          </p:cNvPr>
          <p:cNvGrpSpPr/>
          <p:nvPr/>
        </p:nvGrpSpPr>
        <p:grpSpPr>
          <a:xfrm>
            <a:off x="6386431" y="1788662"/>
            <a:ext cx="2898471" cy="942121"/>
            <a:chOff x="6432652" y="1516537"/>
            <a:chExt cx="2898882" cy="942254"/>
          </a:xfrm>
        </p:grpSpPr>
        <p:sp>
          <p:nvSpPr>
            <p:cNvPr id="187" name="Rectangle 186">
              <a:extLst>
                <a:ext uri="{FF2B5EF4-FFF2-40B4-BE49-F238E27FC236}">
                  <a16:creationId xmlns:a16="http://schemas.microsoft.com/office/drawing/2014/main" id="{87A1FF71-1C78-4716-B4B1-7C81AD4BF774}"/>
                </a:ext>
              </a:extLst>
            </p:cNvPr>
            <p:cNvSpPr/>
            <p:nvPr/>
          </p:nvSpPr>
          <p:spPr bwMode="auto">
            <a:xfrm>
              <a:off x="6432652" y="1516537"/>
              <a:ext cx="2898882" cy="942254"/>
            </a:xfrm>
            <a:prstGeom prst="rect">
              <a:avLst/>
            </a:prstGeom>
            <a:solidFill>
              <a:schemeClr val="bg1">
                <a:alpha val="90000"/>
              </a:schemeClr>
            </a:solidFill>
            <a:ln w="1905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0" bIns="91388" numCol="1" spcCol="0" rtlCol="0" fromWordArt="0" anchor="b" anchorCtr="0" forceAA="0" compatLnSpc="1">
              <a:prstTxWarp prst="textNoShape">
                <a:avLst/>
              </a:prstTxWarp>
              <a:no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70" name="Rectangle 2069">
              <a:extLst>
                <a:ext uri="{FF2B5EF4-FFF2-40B4-BE49-F238E27FC236}">
                  <a16:creationId xmlns:a16="http://schemas.microsoft.com/office/drawing/2014/main" id="{2BA8AB9A-E7B4-4681-8DFE-CADB72E1A18C}"/>
                </a:ext>
              </a:extLst>
            </p:cNvPr>
            <p:cNvSpPr/>
            <p:nvPr/>
          </p:nvSpPr>
          <p:spPr>
            <a:xfrm>
              <a:off x="6460814" y="1601087"/>
              <a:ext cx="1352062" cy="621324"/>
            </a:xfrm>
            <a:prstGeom prst="rect">
              <a:avLst/>
            </a:prstGeom>
            <a:ln>
              <a:noFill/>
            </a:ln>
          </p:spPr>
          <p:txBody>
            <a:bodyPr wrap="square">
              <a:sp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r>
                <a:rPr kumimoji="0" lang="en-US" sz="1100" b="1" i="0" u="none" strike="noStrike" kern="0" cap="none" spc="0" normalizeH="0" baseline="0" noProof="0" dirty="0">
                  <a:ln>
                    <a:noFill/>
                  </a:ln>
                  <a:solidFill>
                    <a:srgbClr val="0078D4"/>
                  </a:solidFill>
                  <a:effectLst/>
                  <a:uLnTx/>
                  <a:uFillTx/>
                  <a:latin typeface="Segoe UI" panose="020B0502040204020203" pitchFamily="34" charset="0"/>
                  <a:ea typeface="Segoe UI Black" panose="020B0A02040204020203" pitchFamily="34" charset="0"/>
                  <a:cs typeface="Segoe UI" panose="020B0502040204020203" pitchFamily="34" charset="0"/>
                </a:rPr>
                <a:t>Cold Analytics</a:t>
              </a:r>
            </a:p>
            <a:p>
              <a:pPr marL="0" marR="0" lvl="0" indent="0" algn="l" defTabSz="895575" rtl="0" eaLnBrk="1" fontAlgn="base" latinLnBrk="0" hangingPunct="1">
                <a:lnSpc>
                  <a:spcPct val="90000"/>
                </a:lnSpc>
                <a:spcBef>
                  <a:spcPct val="0"/>
                </a:spcBef>
                <a:spcAft>
                  <a:spcPts val="588"/>
                </a:spcAft>
                <a:buClrTx/>
                <a:buSzTx/>
                <a:buFontTx/>
                <a:buNone/>
                <a:tabLst/>
                <a:defRPr/>
              </a:pPr>
              <a:r>
                <a:rPr kumimoji="0" lang="en-US" sz="1050" b="0" i="0" u="none" strike="noStrike" kern="0" cap="none" spc="0" normalizeH="0" baseline="0" noProof="0" dirty="0">
                  <a:ln>
                    <a:noFill/>
                  </a:ln>
                  <a:solidFill>
                    <a:srgbClr val="0078D4"/>
                  </a:solidFill>
                  <a:effectLst/>
                  <a:uLnTx/>
                  <a:uFillTx/>
                  <a:latin typeface="Segoe UI"/>
                  <a:ea typeface="+mn-ea"/>
                  <a:cs typeface="+mn-cs"/>
                </a:rPr>
                <a:t>Find insights </a:t>
              </a:r>
              <a:br>
                <a:rPr kumimoji="0" lang="en-US" sz="1050" b="0" i="0" u="none" strike="noStrike" kern="0" cap="none" spc="0" normalizeH="0" baseline="0" noProof="0" dirty="0">
                  <a:ln>
                    <a:noFill/>
                  </a:ln>
                  <a:solidFill>
                    <a:srgbClr val="0078D4"/>
                  </a:solidFill>
                  <a:effectLst/>
                  <a:uLnTx/>
                  <a:uFillTx/>
                  <a:latin typeface="Segoe UI"/>
                  <a:ea typeface="+mn-ea"/>
                  <a:cs typeface="+mn-cs"/>
                </a:rPr>
              </a:br>
              <a:r>
                <a:rPr kumimoji="0" lang="en-US" sz="1050" b="0" i="0" u="none" strike="noStrike" kern="0" cap="none" spc="0" normalizeH="0" baseline="0" noProof="0" dirty="0">
                  <a:ln>
                    <a:noFill/>
                  </a:ln>
                  <a:solidFill>
                    <a:srgbClr val="0078D4"/>
                  </a:solidFill>
                  <a:effectLst/>
                  <a:uLnTx/>
                  <a:uFillTx/>
                  <a:latin typeface="Segoe UI"/>
                  <a:ea typeface="+mn-ea"/>
                  <a:cs typeface="+mn-cs"/>
                </a:rPr>
                <a:t>over historical data</a:t>
              </a:r>
            </a:p>
          </p:txBody>
        </p:sp>
      </p:grpSp>
      <p:sp>
        <p:nvSpPr>
          <p:cNvPr id="126" name="Rectangle 125"/>
          <p:cNvSpPr/>
          <p:nvPr/>
        </p:nvSpPr>
        <p:spPr>
          <a:xfrm>
            <a:off x="8113773" y="1935036"/>
            <a:ext cx="1154632" cy="383182"/>
          </a:xfrm>
          <a:prstGeom prst="rect">
            <a:avLst/>
          </a:prstGeom>
        </p:spPr>
        <p:txBody>
          <a:bodyPr wrap="square">
            <a:spAutoFit/>
          </a:bodyPr>
          <a:lstStyle/>
          <a:p>
            <a:pPr marL="0" marR="0" lvl="0" indent="0" algn="l" defTabSz="895575" rtl="0" eaLnBrk="1" fontAlgn="base" latinLnBrk="0" hangingPunct="1">
              <a:lnSpc>
                <a:spcPct val="9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Azure Machine Learning</a:t>
            </a:r>
          </a:p>
        </p:txBody>
      </p:sp>
      <p:pic>
        <p:nvPicPr>
          <p:cNvPr id="59" name="Picture 5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794415" y="1923133"/>
            <a:ext cx="300282" cy="300282"/>
          </a:xfrm>
          <a:prstGeom prst="rect">
            <a:avLst/>
          </a:prstGeom>
        </p:spPr>
      </p:pic>
      <p:grpSp>
        <p:nvGrpSpPr>
          <p:cNvPr id="188" name="Group 187">
            <a:extLst>
              <a:ext uri="{FF2B5EF4-FFF2-40B4-BE49-F238E27FC236}">
                <a16:creationId xmlns:a16="http://schemas.microsoft.com/office/drawing/2014/main" id="{61684841-DE4E-4B95-9DA8-A64BC7C45952}"/>
              </a:ext>
            </a:extLst>
          </p:cNvPr>
          <p:cNvGrpSpPr/>
          <p:nvPr/>
        </p:nvGrpSpPr>
        <p:grpSpPr>
          <a:xfrm>
            <a:off x="6381032" y="2818393"/>
            <a:ext cx="2903869" cy="942121"/>
            <a:chOff x="6432652" y="1516537"/>
            <a:chExt cx="2904281" cy="942254"/>
          </a:xfrm>
        </p:grpSpPr>
        <p:sp>
          <p:nvSpPr>
            <p:cNvPr id="189" name="Rectangle 188">
              <a:extLst>
                <a:ext uri="{FF2B5EF4-FFF2-40B4-BE49-F238E27FC236}">
                  <a16:creationId xmlns:a16="http://schemas.microsoft.com/office/drawing/2014/main" id="{F140F6BC-F41D-4BFF-AD62-7B77081C971A}"/>
                </a:ext>
              </a:extLst>
            </p:cNvPr>
            <p:cNvSpPr/>
            <p:nvPr/>
          </p:nvSpPr>
          <p:spPr bwMode="auto">
            <a:xfrm>
              <a:off x="6432652" y="1516537"/>
              <a:ext cx="2904281" cy="942254"/>
            </a:xfrm>
            <a:prstGeom prst="rect">
              <a:avLst/>
            </a:prstGeom>
            <a:solidFill>
              <a:schemeClr val="bg1">
                <a:alpha val="90000"/>
              </a:scheme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0" bIns="91388" numCol="1" spcCol="0" rtlCol="0" fromWordArt="0" anchor="b" anchorCtr="0" forceAA="0" compatLnSpc="1">
              <a:prstTxWarp prst="textNoShape">
                <a:avLst/>
              </a:prstTxWarp>
              <a:no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0" name="Rectangle 189">
              <a:extLst>
                <a:ext uri="{FF2B5EF4-FFF2-40B4-BE49-F238E27FC236}">
                  <a16:creationId xmlns:a16="http://schemas.microsoft.com/office/drawing/2014/main" id="{1DAAA227-3A4F-4AFE-BBA0-9B49856F605D}"/>
                </a:ext>
              </a:extLst>
            </p:cNvPr>
            <p:cNvSpPr/>
            <p:nvPr/>
          </p:nvSpPr>
          <p:spPr>
            <a:xfrm>
              <a:off x="6460814" y="1582298"/>
              <a:ext cx="1352062" cy="612561"/>
            </a:xfrm>
            <a:prstGeom prst="rect">
              <a:avLst/>
            </a:prstGeom>
            <a:ln>
              <a:noFill/>
            </a:ln>
          </p:spPr>
          <p:txBody>
            <a:bodyPr wrap="square">
              <a:sp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r>
                <a:rPr kumimoji="0" lang="en-US" sz="1100" b="1" i="0" u="none" strike="noStrike" kern="0" cap="none" spc="0" normalizeH="0" baseline="0" noProof="0" dirty="0">
                  <a:ln>
                    <a:noFill/>
                  </a:ln>
                  <a:solidFill>
                    <a:srgbClr val="0078D4"/>
                  </a:solidFill>
                  <a:effectLst/>
                  <a:uLnTx/>
                  <a:uFillTx/>
                  <a:latin typeface="Segoe UI" panose="020B0502040204020203" pitchFamily="34" charset="0"/>
                  <a:ea typeface="Segoe UI Black" panose="020B0A02040204020203" pitchFamily="34" charset="0"/>
                  <a:cs typeface="Segoe UI" panose="020B0502040204020203" pitchFamily="34" charset="0"/>
                </a:rPr>
                <a:t>Hot Analytics</a:t>
              </a:r>
            </a:p>
            <a:p>
              <a:pPr marL="0" marR="0" lvl="0" indent="0" algn="l"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Real-time </a:t>
              </a:r>
              <a:br>
                <a:rPr kumimoji="0" lang="en-US" sz="1050" b="0" i="0" u="none" strike="noStrike" kern="0" cap="none" spc="0" normalizeH="0" baseline="0" noProof="0" dirty="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050" b="0" i="0" u="none" strike="noStrike" kern="0" cap="none" spc="0" normalizeH="0" baseline="0" noProof="0" dirty="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monitoring</a:t>
              </a:r>
            </a:p>
          </p:txBody>
        </p:sp>
      </p:grpSp>
      <p:sp>
        <p:nvSpPr>
          <p:cNvPr id="64" name="Freeform 63"/>
          <p:cNvSpPr/>
          <p:nvPr/>
        </p:nvSpPr>
        <p:spPr bwMode="auto">
          <a:xfrm>
            <a:off x="7967878" y="2989662"/>
            <a:ext cx="562410" cy="759311"/>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146" name="Rectangle 145"/>
          <p:cNvSpPr/>
          <p:nvPr/>
        </p:nvSpPr>
        <p:spPr>
          <a:xfrm>
            <a:off x="8126131" y="2903462"/>
            <a:ext cx="1248907" cy="388898"/>
          </a:xfrm>
          <a:prstGeom prst="rect">
            <a:avLst/>
          </a:prstGeom>
        </p:spPr>
        <p:txBody>
          <a:bodyPr wrap="square">
            <a:spAutoFit/>
          </a:bodyPr>
          <a:lstStyle/>
          <a:p>
            <a:pPr marL="0" marR="0" lvl="0" indent="0" algn="l" defTabSz="895575" rtl="0" eaLnBrk="1" fontAlgn="base" latinLnBrk="0" hangingPunct="1">
              <a:lnSpc>
                <a:spcPct val="9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0078D4"/>
                </a:solidFill>
                <a:effectLst/>
                <a:uLnTx/>
                <a:uFillTx/>
                <a:latin typeface="Segoe UI"/>
                <a:ea typeface="+mn-ea"/>
                <a:cs typeface="+mn-cs"/>
              </a:rPr>
              <a:t>Azure Stream Analytics</a:t>
            </a:r>
          </a:p>
        </p:txBody>
      </p:sp>
      <p:sp>
        <p:nvSpPr>
          <p:cNvPr id="153" name="Rectangle 152"/>
          <p:cNvSpPr/>
          <p:nvPr/>
        </p:nvSpPr>
        <p:spPr>
          <a:xfrm>
            <a:off x="8126527" y="3332799"/>
            <a:ext cx="1248907" cy="388898"/>
          </a:xfrm>
          <a:prstGeom prst="rect">
            <a:avLst/>
          </a:prstGeom>
        </p:spPr>
        <p:txBody>
          <a:bodyPr wrap="square">
            <a:spAutoFit/>
          </a:bodyPr>
          <a:lstStyle/>
          <a:p>
            <a:pPr marL="0" marR="0" lvl="0" indent="0" algn="l" defTabSz="895575" rtl="0" eaLnBrk="1" fontAlgn="base" latinLnBrk="0" hangingPunct="1">
              <a:lnSpc>
                <a:spcPct val="9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HDInsight Spark </a:t>
            </a:r>
          </a:p>
          <a:p>
            <a:pPr marL="0" marR="0" lvl="0" indent="0" algn="l" defTabSz="895575" rtl="0" eaLnBrk="1" fontAlgn="base" latinLnBrk="0" hangingPunct="1">
              <a:lnSpc>
                <a:spcPct val="9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amp; Storm</a:t>
            </a:r>
          </a:p>
        </p:txBody>
      </p:sp>
      <p:pic>
        <p:nvPicPr>
          <p:cNvPr id="68" name="Picture 6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790725" y="3332251"/>
            <a:ext cx="363961" cy="363961"/>
          </a:xfrm>
          <a:prstGeom prst="rect">
            <a:avLst/>
          </a:prstGeom>
        </p:spPr>
      </p:pic>
      <p:grpSp>
        <p:nvGrpSpPr>
          <p:cNvPr id="2054" name="Group 2053">
            <a:extLst>
              <a:ext uri="{FF2B5EF4-FFF2-40B4-BE49-F238E27FC236}">
                <a16:creationId xmlns:a16="http://schemas.microsoft.com/office/drawing/2014/main" id="{DFE42BD2-28FD-4EE8-9F1A-D4D18E4D180F}"/>
              </a:ext>
            </a:extLst>
          </p:cNvPr>
          <p:cNvGrpSpPr/>
          <p:nvPr/>
        </p:nvGrpSpPr>
        <p:grpSpPr>
          <a:xfrm>
            <a:off x="6386429" y="3848124"/>
            <a:ext cx="2903869" cy="942121"/>
            <a:chOff x="6386470" y="3623918"/>
            <a:chExt cx="2904281" cy="942254"/>
          </a:xfrm>
        </p:grpSpPr>
        <p:sp>
          <p:nvSpPr>
            <p:cNvPr id="192" name="Rectangle 191">
              <a:extLst>
                <a:ext uri="{FF2B5EF4-FFF2-40B4-BE49-F238E27FC236}">
                  <a16:creationId xmlns:a16="http://schemas.microsoft.com/office/drawing/2014/main" id="{4DCCD8FD-DEE1-4B13-B13E-A4A1D8CCC317}"/>
                </a:ext>
              </a:extLst>
            </p:cNvPr>
            <p:cNvSpPr/>
            <p:nvPr/>
          </p:nvSpPr>
          <p:spPr bwMode="auto">
            <a:xfrm>
              <a:off x="6386470" y="3623918"/>
              <a:ext cx="2904281" cy="942254"/>
            </a:xfrm>
            <a:prstGeom prst="rect">
              <a:avLst/>
            </a:prstGeom>
            <a:solidFill>
              <a:schemeClr val="bg1">
                <a:alpha val="90000"/>
              </a:scheme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0" bIns="91388" numCol="1" spcCol="0" rtlCol="0" fromWordArt="0" anchor="b" anchorCtr="0" forceAA="0" compatLnSpc="1">
              <a:prstTxWarp prst="textNoShape">
                <a:avLst/>
              </a:prstTxWarp>
              <a:no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3" name="Rectangle 192">
              <a:extLst>
                <a:ext uri="{FF2B5EF4-FFF2-40B4-BE49-F238E27FC236}">
                  <a16:creationId xmlns:a16="http://schemas.microsoft.com/office/drawing/2014/main" id="{5A017C9B-EACB-43BC-A218-F6C778681349}"/>
                </a:ext>
              </a:extLst>
            </p:cNvPr>
            <p:cNvSpPr/>
            <p:nvPr/>
          </p:nvSpPr>
          <p:spPr>
            <a:xfrm>
              <a:off x="6414632" y="3714731"/>
              <a:ext cx="1371144" cy="612561"/>
            </a:xfrm>
            <a:prstGeom prst="rect">
              <a:avLst/>
            </a:prstGeom>
            <a:ln>
              <a:noFill/>
            </a:ln>
          </p:spPr>
          <p:txBody>
            <a:bodyPr wrap="square">
              <a:sp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r>
                <a:rPr kumimoji="0" lang="en-US" sz="1100" b="1" i="0" u="none" strike="noStrike" kern="0" cap="none" spc="0" normalizeH="0" baseline="0" noProof="0" dirty="0">
                  <a:ln>
                    <a:noFill/>
                  </a:ln>
                  <a:solidFill>
                    <a:srgbClr val="0078D4"/>
                  </a:solidFill>
                  <a:effectLst/>
                  <a:uLnTx/>
                  <a:uFillTx/>
                  <a:latin typeface="Segoe UI" panose="020B0502040204020203" pitchFamily="34" charset="0"/>
                  <a:ea typeface="Segoe UI Black" panose="020B0A02040204020203" pitchFamily="34" charset="0"/>
                  <a:cs typeface="Segoe UI" panose="020B0502040204020203" pitchFamily="34" charset="0"/>
                </a:rPr>
                <a:t>Warm Analytics</a:t>
              </a:r>
            </a:p>
            <a:p>
              <a:pPr marL="0" marR="0" lvl="0" indent="0" algn="l"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Time series data </a:t>
              </a:r>
              <a:br>
                <a:rPr kumimoji="0" lang="en-US" sz="1050" b="0" i="0" u="none" strike="noStrike" kern="0" cap="none" spc="0" normalizeH="0" baseline="0" noProof="0" dirty="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050" b="0" i="0" u="none" strike="noStrike" kern="0" cap="none" spc="0" normalizeH="0" baseline="0" noProof="0" dirty="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storage &amp; analytics</a:t>
              </a:r>
            </a:p>
          </p:txBody>
        </p:sp>
      </p:grpSp>
      <p:sp>
        <p:nvSpPr>
          <p:cNvPr id="157" name="Rectangle 156"/>
          <p:cNvSpPr/>
          <p:nvPr/>
        </p:nvSpPr>
        <p:spPr>
          <a:xfrm>
            <a:off x="8134676" y="4117873"/>
            <a:ext cx="1248907" cy="388898"/>
          </a:xfrm>
          <a:prstGeom prst="rect">
            <a:avLst/>
          </a:prstGeom>
        </p:spPr>
        <p:txBody>
          <a:bodyPr wrap="square">
            <a:spAutoFit/>
          </a:bodyPr>
          <a:lstStyle/>
          <a:p>
            <a:pPr marL="0" marR="0" lvl="0" indent="0" algn="l" defTabSz="895575" rtl="0" eaLnBrk="1" fontAlgn="base" latinLnBrk="0" hangingPunct="1">
              <a:lnSpc>
                <a:spcPct val="9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Azure Time </a:t>
            </a:r>
            <a:b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b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Series Insights</a:t>
            </a:r>
          </a:p>
        </p:txBody>
      </p:sp>
      <p:pic>
        <p:nvPicPr>
          <p:cNvPr id="144" name="Picture 2" descr="Image result for Azure time series insights logo"/>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20657" r="20939"/>
          <a:stretch/>
        </p:blipFill>
        <p:spPr bwMode="auto">
          <a:xfrm>
            <a:off x="7804571" y="4144867"/>
            <a:ext cx="366156" cy="329142"/>
          </a:xfrm>
          <a:prstGeom prst="rect">
            <a:avLst/>
          </a:prstGeom>
          <a:noFill/>
          <a:extLst>
            <a:ext uri="{909E8E84-426E-40DD-AFC4-6F175D3DCCD1}">
              <a14:hiddenFill xmlns:a14="http://schemas.microsoft.com/office/drawing/2010/main">
                <a:solidFill>
                  <a:srgbClr val="FFFFFF"/>
                </a:solidFill>
              </a14:hiddenFill>
            </a:ext>
          </a:extLst>
        </p:spPr>
      </p:pic>
      <p:sp>
        <p:nvSpPr>
          <p:cNvPr id="149" name="Rectangle 148"/>
          <p:cNvSpPr/>
          <p:nvPr/>
        </p:nvSpPr>
        <p:spPr>
          <a:xfrm>
            <a:off x="8108202" y="2260748"/>
            <a:ext cx="1248907" cy="388898"/>
          </a:xfrm>
          <a:prstGeom prst="rect">
            <a:avLst/>
          </a:prstGeom>
        </p:spPr>
        <p:txBody>
          <a:bodyPr wrap="square">
            <a:spAutoFit/>
          </a:bodyPr>
          <a:lstStyle/>
          <a:p>
            <a:pPr marL="0" marR="0" lvl="0" indent="0" algn="l" defTabSz="895575" rtl="0" eaLnBrk="1" fontAlgn="base" latinLnBrk="0" hangingPunct="1">
              <a:lnSpc>
                <a:spcPct val="9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0078D4"/>
                </a:solidFill>
                <a:effectLst/>
                <a:uLnTx/>
                <a:uFillTx/>
                <a:latin typeface="Segoe UI"/>
                <a:ea typeface="+mn-ea"/>
                <a:cs typeface="+mn-cs"/>
              </a:rPr>
              <a:t>Azure Data Lake Analytics</a:t>
            </a:r>
          </a:p>
        </p:txBody>
      </p:sp>
      <p:pic>
        <p:nvPicPr>
          <p:cNvPr id="65" name="Picture 6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785536" y="2304299"/>
            <a:ext cx="313128" cy="313128"/>
          </a:xfrm>
          <a:prstGeom prst="rect">
            <a:avLst/>
          </a:prstGeom>
        </p:spPr>
      </p:pic>
      <p:pic>
        <p:nvPicPr>
          <p:cNvPr id="66" name="Picture 65"/>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752221" y="2916991"/>
            <a:ext cx="400356" cy="400356"/>
          </a:xfrm>
          <a:prstGeom prst="rect">
            <a:avLst/>
          </a:prstGeom>
        </p:spPr>
      </p:pic>
      <p:sp>
        <p:nvSpPr>
          <p:cNvPr id="74" name="Rectangle 73"/>
          <p:cNvSpPr/>
          <p:nvPr/>
        </p:nvSpPr>
        <p:spPr bwMode="auto">
          <a:xfrm>
            <a:off x="9483892" y="1791070"/>
            <a:ext cx="2468530" cy="4039046"/>
          </a:xfrm>
          <a:prstGeom prst="rect">
            <a:avLst/>
          </a:prstGeom>
          <a:solidFill>
            <a:schemeClr val="bg1">
              <a:alpha val="90000"/>
            </a:schemeClr>
          </a:solidFill>
          <a:ln w="1905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0" bIns="91388" numCol="1" spcCol="0" rtlCol="0" fromWordArt="0" anchor="b" anchorCtr="0" forceAA="0" compatLnSpc="1">
            <a:prstTxWarp prst="textNoShape">
              <a:avLst/>
            </a:prstTxWarp>
            <a:noAutofit/>
          </a:bodyPr>
          <a:lstStyle/>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3397" rtl="0" eaLnBrk="1" fontAlgn="base" latinLnBrk="0" hangingPunct="1">
              <a:lnSpc>
                <a:spcPct val="90000"/>
              </a:lnSpc>
              <a:spcBef>
                <a:spcPct val="0"/>
              </a:spcBef>
              <a:spcAft>
                <a:spcPts val="600"/>
              </a:spcAft>
              <a:buClrTx/>
              <a:buSzTx/>
              <a:buFontTx/>
              <a:buNone/>
              <a:tabLst/>
              <a:defRPr/>
            </a:pPr>
            <a:endParaRPr kumimoji="0" lang="en-US" sz="1050"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8" name="Group 57"/>
          <p:cNvGrpSpPr>
            <a:grpSpLocks noChangeAspect="1"/>
          </p:cNvGrpSpPr>
          <p:nvPr/>
        </p:nvGrpSpPr>
        <p:grpSpPr bwMode="auto">
          <a:xfrm>
            <a:off x="9704221" y="3130325"/>
            <a:ext cx="774480" cy="796699"/>
            <a:chOff x="6253" y="2122"/>
            <a:chExt cx="488" cy="502"/>
          </a:xfrm>
        </p:grpSpPr>
        <p:sp>
          <p:nvSpPr>
            <p:cNvPr id="94"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97"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101"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grpSp>
      <p:sp>
        <p:nvSpPr>
          <p:cNvPr id="81" name="AutoShape 77"/>
          <p:cNvSpPr>
            <a:spLocks noChangeAspect="1" noChangeArrowheads="1" noTextEdit="1"/>
          </p:cNvSpPr>
          <p:nvPr/>
        </p:nvSpPr>
        <p:spPr bwMode="auto">
          <a:xfrm>
            <a:off x="10427364" y="2412693"/>
            <a:ext cx="1031403" cy="443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151" name="Rectangle 150"/>
          <p:cNvSpPr/>
          <p:nvPr/>
        </p:nvSpPr>
        <p:spPr>
          <a:xfrm>
            <a:off x="9645751" y="3506206"/>
            <a:ext cx="631723" cy="381307"/>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App Service</a:t>
            </a:r>
          </a:p>
        </p:txBody>
      </p:sp>
      <p:sp>
        <p:nvSpPr>
          <p:cNvPr id="152" name="Rectangle 151"/>
          <p:cNvSpPr/>
          <p:nvPr/>
        </p:nvSpPr>
        <p:spPr>
          <a:xfrm>
            <a:off x="9913148" y="5296427"/>
            <a:ext cx="874472" cy="240609"/>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Logic Apps</a:t>
            </a:r>
          </a:p>
        </p:txBody>
      </p:sp>
      <p:sp>
        <p:nvSpPr>
          <p:cNvPr id="167" name="Rectangle 166"/>
          <p:cNvSpPr/>
          <p:nvPr/>
        </p:nvSpPr>
        <p:spPr>
          <a:xfrm>
            <a:off x="11087377" y="3506206"/>
            <a:ext cx="740051" cy="381307"/>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Mobile Apps</a:t>
            </a:r>
          </a:p>
        </p:txBody>
      </p:sp>
      <p:sp>
        <p:nvSpPr>
          <p:cNvPr id="162" name="Rectangle 161"/>
          <p:cNvSpPr/>
          <p:nvPr/>
        </p:nvSpPr>
        <p:spPr>
          <a:xfrm>
            <a:off x="11141541" y="2687071"/>
            <a:ext cx="631723" cy="237757"/>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Search</a:t>
            </a:r>
          </a:p>
        </p:txBody>
      </p:sp>
      <p:sp>
        <p:nvSpPr>
          <p:cNvPr id="163" name="Rectangle 162"/>
          <p:cNvSpPr/>
          <p:nvPr/>
        </p:nvSpPr>
        <p:spPr>
          <a:xfrm>
            <a:off x="10424610" y="2687071"/>
            <a:ext cx="679306" cy="388898"/>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Azure Maps</a:t>
            </a:r>
          </a:p>
        </p:txBody>
      </p:sp>
      <p:pic>
        <p:nvPicPr>
          <p:cNvPr id="73" name="Picture 7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1303933" y="2385958"/>
            <a:ext cx="306941" cy="306941"/>
          </a:xfrm>
          <a:prstGeom prst="rect">
            <a:avLst/>
          </a:prstGeom>
        </p:spPr>
      </p:pic>
      <p:sp>
        <p:nvSpPr>
          <p:cNvPr id="164" name="Rectangle 163"/>
          <p:cNvSpPr/>
          <p:nvPr/>
        </p:nvSpPr>
        <p:spPr>
          <a:xfrm>
            <a:off x="9628708" y="1866419"/>
            <a:ext cx="1971994" cy="472948"/>
          </a:xfrm>
          <a:prstGeom prst="rect">
            <a:avLst/>
          </a:prstGeom>
        </p:spPr>
        <p:txBody>
          <a:bodyPr wrap="square">
            <a:spAutoFit/>
          </a:bodyPr>
          <a:lstStyle/>
          <a:p>
            <a:pPr marL="0" marR="0" lvl="0" indent="0" algn="l" defTabSz="895575" rtl="0" eaLnBrk="1" fontAlgn="base" latinLnBrk="0" hangingPunct="1">
              <a:lnSpc>
                <a:spcPct val="90000"/>
              </a:lnSpc>
              <a:spcBef>
                <a:spcPct val="0"/>
              </a:spcBef>
              <a:spcAft>
                <a:spcPts val="588"/>
              </a:spcAft>
              <a:buClrTx/>
              <a:buSzTx/>
              <a:buFontTx/>
              <a:buNone/>
              <a:tabLst/>
              <a:defRPr/>
            </a:pPr>
            <a:r>
              <a:rPr kumimoji="0" lang="en-US" sz="1100" b="1"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Black" panose="020B0A02040204020203" pitchFamily="34" charset="0"/>
                <a:cs typeface="Segoe UI" panose="020B0502040204020203" pitchFamily="34" charset="0"/>
              </a:rPr>
              <a:t>Manage</a:t>
            </a:r>
          </a:p>
          <a:p>
            <a:pPr marL="0" marR="0" lvl="0" indent="0" algn="l" defTabSz="895575" rtl="0" eaLnBrk="1" fontAlgn="base" latinLnBrk="0" hangingPunct="1">
              <a:lnSpc>
                <a:spcPct val="90000"/>
              </a:lnSpc>
              <a:spcBef>
                <a:spcPct val="0"/>
              </a:spcBef>
              <a:spcAft>
                <a:spcPts val="588"/>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View and manage solutions</a:t>
            </a:r>
          </a:p>
        </p:txBody>
      </p:sp>
      <p:pic>
        <p:nvPicPr>
          <p:cNvPr id="2050" name="Picture 2" descr="Image result for azure maps logo">
            <a:extLst>
              <a:ext uri="{FF2B5EF4-FFF2-40B4-BE49-F238E27FC236}">
                <a16:creationId xmlns:a16="http://schemas.microsoft.com/office/drawing/2014/main" id="{CB5A7519-C33D-47D3-9830-9AFA4427F44A}"/>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458098" y="2383187"/>
            <a:ext cx="612332" cy="321476"/>
          </a:xfrm>
          <a:prstGeom prst="rect">
            <a:avLst/>
          </a:prstGeom>
          <a:noFill/>
          <a:extLst>
            <a:ext uri="{909E8E84-426E-40DD-AFC4-6F175D3DCCD1}">
              <a14:hiddenFill xmlns:a14="http://schemas.microsoft.com/office/drawing/2010/main">
                <a:solidFill>
                  <a:srgbClr val="FFFFFF"/>
                </a:solidFill>
              </a14:hiddenFill>
            </a:ext>
          </a:extLst>
        </p:spPr>
      </p:pic>
      <p:pic>
        <p:nvPicPr>
          <p:cNvPr id="10246" name="Picture 6" descr="Image result for App Service Logo 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667432" y="3167749"/>
            <a:ext cx="606755" cy="318545"/>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7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1290811" y="3156124"/>
            <a:ext cx="333186" cy="333186"/>
          </a:xfrm>
          <a:prstGeom prst="rect">
            <a:avLst/>
          </a:prstGeom>
        </p:spPr>
      </p:pic>
      <p:sp>
        <p:nvSpPr>
          <p:cNvPr id="87" name="Rectangle 86"/>
          <p:cNvSpPr/>
          <p:nvPr/>
        </p:nvSpPr>
        <p:spPr>
          <a:xfrm>
            <a:off x="9615043" y="3986545"/>
            <a:ext cx="2033934" cy="472948"/>
          </a:xfrm>
          <a:prstGeom prst="rect">
            <a:avLst/>
          </a:prstGeom>
        </p:spPr>
        <p:txBody>
          <a:bodyPr wrap="square">
            <a:spAutoFit/>
          </a:bodyPr>
          <a:lstStyle/>
          <a:p>
            <a:pPr marL="0" marR="0" lvl="0" indent="0" algn="l" defTabSz="895575" rtl="0" eaLnBrk="1" fontAlgn="base" latinLnBrk="0" hangingPunct="1">
              <a:lnSpc>
                <a:spcPct val="90000"/>
              </a:lnSpc>
              <a:spcBef>
                <a:spcPct val="0"/>
              </a:spcBef>
              <a:spcAft>
                <a:spcPts val="588"/>
              </a:spcAft>
              <a:buClrTx/>
              <a:buSzTx/>
              <a:buFontTx/>
              <a:buNone/>
              <a:tabLst/>
              <a:defRPr/>
            </a:pPr>
            <a:r>
              <a:rPr kumimoji="0" lang="en-US" sz="1100" b="1" i="0" u="none" strike="noStrike" kern="0" cap="none" spc="0" normalizeH="0" baseline="0" noProof="0" dirty="0">
                <a:ln>
                  <a:noFill/>
                </a:ln>
                <a:solidFill>
                  <a:srgbClr val="000000">
                    <a:lumMod val="65000"/>
                    <a:lumOff val="35000"/>
                  </a:srgbClr>
                </a:solidFill>
                <a:effectLst/>
                <a:uLnTx/>
                <a:uFillTx/>
                <a:latin typeface="Segoe UI" panose="020B0502040204020203" pitchFamily="34" charset="0"/>
                <a:ea typeface="Segoe UI Black" panose="020B0A02040204020203" pitchFamily="34" charset="0"/>
                <a:cs typeface="Segoe UI" panose="020B0502040204020203" pitchFamily="34" charset="0"/>
              </a:rPr>
              <a:t>Business Integration</a:t>
            </a:r>
          </a:p>
          <a:p>
            <a:pPr marL="0" marR="0" lvl="0" indent="0" algn="l" defTabSz="895575" rtl="0" eaLnBrk="1" fontAlgn="base" latinLnBrk="0" hangingPunct="1">
              <a:lnSpc>
                <a:spcPct val="90000"/>
              </a:lnSpc>
              <a:spcBef>
                <a:spcPct val="0"/>
              </a:spcBef>
              <a:spcAft>
                <a:spcPts val="588"/>
              </a:spcAft>
              <a:buClrTx/>
              <a:buSzTx/>
              <a:buFontTx/>
              <a:buNone/>
              <a:tabLst/>
              <a:defRPr/>
            </a:pPr>
            <a:r>
              <a:rPr kumimoji="0" lang="en-US" sz="1050" b="0" i="0" u="none" strike="noStrike" kern="0" cap="none" spc="0" normalizeH="0" baseline="0" noProof="0" dirty="0">
                <a:ln>
                  <a:noFill/>
                </a:ln>
                <a:solidFill>
                  <a:srgbClr val="000000">
                    <a:lumMod val="65000"/>
                    <a:lumOff val="35000"/>
                  </a:srgbClr>
                </a:solidFill>
                <a:effectLst/>
                <a:uLnTx/>
                <a:uFillTx/>
                <a:latin typeface="Segoe UI"/>
                <a:ea typeface="+mn-ea"/>
                <a:cs typeface="+mn-cs"/>
              </a:rPr>
              <a:t>Connect to Business Processes</a:t>
            </a:r>
          </a:p>
        </p:txBody>
      </p:sp>
      <p:sp>
        <p:nvSpPr>
          <p:cNvPr id="155" name="Rectangle 154">
            <a:extLst>
              <a:ext uri="{FF2B5EF4-FFF2-40B4-BE49-F238E27FC236}">
                <a16:creationId xmlns:a16="http://schemas.microsoft.com/office/drawing/2014/main" id="{B60EADB8-674E-4037-87A4-EB2AE19BA511}"/>
              </a:ext>
            </a:extLst>
          </p:cNvPr>
          <p:cNvSpPr/>
          <p:nvPr/>
        </p:nvSpPr>
        <p:spPr>
          <a:xfrm>
            <a:off x="10746393" y="4520064"/>
            <a:ext cx="1150029" cy="290038"/>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400" b="0" i="0" u="none" strike="noStrike" kern="0" cap="none" spc="0" normalizeH="0" baseline="0" noProof="0" dirty="0">
                <a:ln>
                  <a:noFill/>
                </a:ln>
                <a:solidFill>
                  <a:schemeClr val="accent5"/>
                </a:solidFill>
                <a:effectLst/>
                <a:uLnTx/>
                <a:uFillTx/>
                <a:latin typeface="Segoe UI" panose="020B0502040204020203" pitchFamily="34" charset="0"/>
                <a:ea typeface="Segoe UI" panose="020B0502040204020203" pitchFamily="34" charset="0"/>
                <a:cs typeface="Segoe UI" panose="020B0502040204020203" pitchFamily="34" charset="0"/>
              </a:rPr>
              <a:t>Office 365</a:t>
            </a:r>
          </a:p>
        </p:txBody>
      </p:sp>
      <p:sp>
        <p:nvSpPr>
          <p:cNvPr id="170" name="Rectangle 169">
            <a:extLst>
              <a:ext uri="{FF2B5EF4-FFF2-40B4-BE49-F238E27FC236}">
                <a16:creationId xmlns:a16="http://schemas.microsoft.com/office/drawing/2014/main" id="{FF3D14F0-C999-4F42-95AF-CF85E93582FC}"/>
              </a:ext>
            </a:extLst>
          </p:cNvPr>
          <p:cNvSpPr/>
          <p:nvPr/>
        </p:nvSpPr>
        <p:spPr>
          <a:xfrm>
            <a:off x="9610845" y="4520064"/>
            <a:ext cx="1282992" cy="284377"/>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400" b="0" i="0" u="none" strike="noStrike" kern="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Dynamics 365</a:t>
            </a:r>
          </a:p>
        </p:txBody>
      </p:sp>
      <p:pic>
        <p:nvPicPr>
          <p:cNvPr id="2051" name="Picture 2050" descr="A close up of a logo&#10;&#10;Description generated with very high confidence">
            <a:extLst>
              <a:ext uri="{FF2B5EF4-FFF2-40B4-BE49-F238E27FC236}">
                <a16:creationId xmlns:a16="http://schemas.microsoft.com/office/drawing/2014/main" id="{3F76FEFA-0C5B-49DC-9BCA-F7FEADC0669E}"/>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915927" y="4885646"/>
            <a:ext cx="516990" cy="516990"/>
          </a:xfrm>
          <a:prstGeom prst="rect">
            <a:avLst/>
          </a:prstGeom>
        </p:spPr>
      </p:pic>
      <p:sp>
        <p:nvSpPr>
          <p:cNvPr id="174" name="Rectangle 173">
            <a:extLst>
              <a:ext uri="{FF2B5EF4-FFF2-40B4-BE49-F238E27FC236}">
                <a16:creationId xmlns:a16="http://schemas.microsoft.com/office/drawing/2014/main" id="{DC7CD314-A2E4-424A-A655-109608FCFA2A}"/>
              </a:ext>
            </a:extLst>
          </p:cNvPr>
          <p:cNvSpPr/>
          <p:nvPr/>
        </p:nvSpPr>
        <p:spPr>
          <a:xfrm>
            <a:off x="10742889" y="5296427"/>
            <a:ext cx="874472" cy="240609"/>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prstClr val="black">
                    <a:lumMod val="65000"/>
                    <a:lumOff val="35000"/>
                  </a:prstClr>
                </a:solidFill>
                <a:effectLst/>
                <a:uLnTx/>
                <a:uFillTx/>
                <a:latin typeface="Segoe UI" panose="020B0502040204020203" pitchFamily="34" charset="0"/>
                <a:ea typeface="Segoe UI" panose="020B0502040204020203" pitchFamily="34" charset="0"/>
                <a:cs typeface="Segoe UI" panose="020B0502040204020203" pitchFamily="34" charset="0"/>
              </a:rPr>
              <a:t>Flow</a:t>
            </a:r>
          </a:p>
        </p:txBody>
      </p:sp>
      <p:pic>
        <p:nvPicPr>
          <p:cNvPr id="2052" name="Picture 4" descr="Image result for logic apps logo">
            <a:extLst>
              <a:ext uri="{FF2B5EF4-FFF2-40B4-BE49-F238E27FC236}">
                <a16:creationId xmlns:a16="http://schemas.microsoft.com/office/drawing/2014/main" id="{85B61AA1-B377-4C85-9E1D-90ED1C6BCA21}"/>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0091204" y="5007429"/>
            <a:ext cx="479452" cy="25171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EDF1F2CC-6A1F-4E4B-9AF3-4DCA7380D7AF}"/>
              </a:ext>
            </a:extLst>
          </p:cNvPr>
          <p:cNvSpPr/>
          <p:nvPr/>
        </p:nvSpPr>
        <p:spPr bwMode="auto">
          <a:xfrm>
            <a:off x="7812674" y="1918210"/>
            <a:ext cx="1414282" cy="381515"/>
          </a:xfrm>
          <a:prstGeom prst="rect">
            <a:avLst/>
          </a:prstGeom>
          <a:solidFill>
            <a:srgbClr val="FFFFFF">
              <a:alpha val="58039"/>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7" name="Rectangle 206">
            <a:extLst>
              <a:ext uri="{FF2B5EF4-FFF2-40B4-BE49-F238E27FC236}">
                <a16:creationId xmlns:a16="http://schemas.microsoft.com/office/drawing/2014/main" id="{3C283B1F-28E8-4CEE-80A0-BA6958DA5D6C}"/>
              </a:ext>
            </a:extLst>
          </p:cNvPr>
          <p:cNvSpPr/>
          <p:nvPr/>
        </p:nvSpPr>
        <p:spPr bwMode="auto">
          <a:xfrm>
            <a:off x="7793009" y="3318237"/>
            <a:ext cx="1414282" cy="381515"/>
          </a:xfrm>
          <a:prstGeom prst="rect">
            <a:avLst/>
          </a:prstGeom>
          <a:solidFill>
            <a:srgbClr val="FFFFFF">
              <a:alpha val="58039"/>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8" name="Rectangle 207">
            <a:extLst>
              <a:ext uri="{FF2B5EF4-FFF2-40B4-BE49-F238E27FC236}">
                <a16:creationId xmlns:a16="http://schemas.microsoft.com/office/drawing/2014/main" id="{3D6E2B22-5C7D-45AE-9104-44FEFDEFB461}"/>
              </a:ext>
            </a:extLst>
          </p:cNvPr>
          <p:cNvSpPr/>
          <p:nvPr/>
        </p:nvSpPr>
        <p:spPr bwMode="auto">
          <a:xfrm>
            <a:off x="7861742" y="4101403"/>
            <a:ext cx="1414282" cy="381515"/>
          </a:xfrm>
          <a:prstGeom prst="rect">
            <a:avLst/>
          </a:prstGeom>
          <a:solidFill>
            <a:srgbClr val="FFFFFF">
              <a:alpha val="58039"/>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9" name="Rectangle 208">
            <a:extLst>
              <a:ext uri="{FF2B5EF4-FFF2-40B4-BE49-F238E27FC236}">
                <a16:creationId xmlns:a16="http://schemas.microsoft.com/office/drawing/2014/main" id="{FCE75513-E8CB-40EC-8CB6-22ACE1FFEC53}"/>
              </a:ext>
            </a:extLst>
          </p:cNvPr>
          <p:cNvSpPr/>
          <p:nvPr/>
        </p:nvSpPr>
        <p:spPr bwMode="auto">
          <a:xfrm>
            <a:off x="9512582" y="3955626"/>
            <a:ext cx="2288223" cy="1571793"/>
          </a:xfrm>
          <a:prstGeom prst="rect">
            <a:avLst/>
          </a:prstGeom>
          <a:solidFill>
            <a:srgbClr val="FFFFFF">
              <a:alpha val="58039"/>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0" name="Rectangle 209">
            <a:extLst>
              <a:ext uri="{FF2B5EF4-FFF2-40B4-BE49-F238E27FC236}">
                <a16:creationId xmlns:a16="http://schemas.microsoft.com/office/drawing/2014/main" id="{297B5B8F-764D-4397-9745-5C46E41050D2}"/>
              </a:ext>
            </a:extLst>
          </p:cNvPr>
          <p:cNvSpPr/>
          <p:nvPr/>
        </p:nvSpPr>
        <p:spPr bwMode="auto">
          <a:xfrm>
            <a:off x="9573996" y="2304331"/>
            <a:ext cx="2288223" cy="1571793"/>
          </a:xfrm>
          <a:prstGeom prst="rect">
            <a:avLst/>
          </a:prstGeom>
          <a:solidFill>
            <a:srgbClr val="FFFFFF">
              <a:alpha val="58039"/>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2048" name="Picture 2047" descr="A picture containing paper clip&#10;&#10;Description generated with high confidence">
            <a:extLst>
              <a:ext uri="{FF2B5EF4-FFF2-40B4-BE49-F238E27FC236}">
                <a16:creationId xmlns:a16="http://schemas.microsoft.com/office/drawing/2014/main" id="{BD746B46-42AF-4F39-A6E3-B905037AA7CA}"/>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9711606" y="2267943"/>
            <a:ext cx="516990" cy="516990"/>
          </a:xfrm>
          <a:prstGeom prst="rect">
            <a:avLst/>
          </a:prstGeom>
        </p:spPr>
      </p:pic>
      <p:sp>
        <p:nvSpPr>
          <p:cNvPr id="3" name="Rectangle 2"/>
          <p:cNvSpPr/>
          <p:nvPr/>
        </p:nvSpPr>
        <p:spPr>
          <a:xfrm>
            <a:off x="9606319" y="2687070"/>
            <a:ext cx="699628" cy="252068"/>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Power BI</a:t>
            </a:r>
            <a:endParaRPr kumimoji="0" lang="en-US" sz="1050" b="0" i="0" u="none" strike="noStrike" kern="0" cap="none" spc="0" normalizeH="0" baseline="0" noProof="0" dirty="0">
              <a:ln>
                <a:noFill/>
              </a:ln>
              <a:solidFill>
                <a:srgbClr val="0078D4"/>
              </a:solidFill>
              <a:effectLst/>
              <a:uLnTx/>
              <a:uFillTx/>
              <a:latin typeface="Segoe UI" panose="020B0502040204020203" pitchFamily="34" charset="0"/>
              <a:cs typeface="Segoe UI" panose="020B0502040204020203" pitchFamily="34" charset="0"/>
            </a:endParaRPr>
          </a:p>
        </p:txBody>
      </p:sp>
      <p:sp>
        <p:nvSpPr>
          <p:cNvPr id="166" name="Rectangle 165"/>
          <p:cNvSpPr/>
          <p:nvPr/>
        </p:nvSpPr>
        <p:spPr>
          <a:xfrm>
            <a:off x="10424610" y="3506206"/>
            <a:ext cx="679306" cy="388898"/>
          </a:xfrm>
          <a:prstGeom prst="rect">
            <a:avLst/>
          </a:prstGeom>
        </p:spPr>
        <p:txBody>
          <a:bodyPr wrap="square">
            <a:spAutoFit/>
          </a:bodyPr>
          <a:lstStyle/>
          <a:p>
            <a:pPr marL="0" marR="0" lvl="0" indent="0" algn="ctr" defTabSz="913397"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0078D4"/>
                </a:solidFill>
                <a:effectLst/>
                <a:uLnTx/>
                <a:uFillTx/>
                <a:latin typeface="Segoe UI" panose="020B0502040204020203" pitchFamily="34" charset="0"/>
                <a:ea typeface="Segoe UI" panose="020B0502040204020203" pitchFamily="34" charset="0"/>
                <a:cs typeface="Segoe UI" panose="020B0502040204020203" pitchFamily="34" charset="0"/>
              </a:rPr>
              <a:t>Web Apps </a:t>
            </a:r>
          </a:p>
        </p:txBody>
      </p:sp>
      <p:pic>
        <p:nvPicPr>
          <p:cNvPr id="10248" name="Picture 8" descr="Image result for Web Apps Logo 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0468741" y="3159607"/>
            <a:ext cx="591042" cy="310297"/>
          </a:xfrm>
          <a:prstGeom prst="rect">
            <a:avLst/>
          </a:prstGeom>
          <a:noFill/>
          <a:extLst>
            <a:ext uri="{909E8E84-426E-40DD-AFC4-6F175D3DCCD1}">
              <a14:hiddenFill xmlns:a14="http://schemas.microsoft.com/office/drawing/2010/main">
                <a:solidFill>
                  <a:srgbClr val="FFFFFF"/>
                </a:solidFill>
              </a14:hiddenFill>
            </a:ext>
          </a:extLst>
        </p:spPr>
      </p:pic>
      <p:sp>
        <p:nvSpPr>
          <p:cNvPr id="154" name="Title 1">
            <a:extLst>
              <a:ext uri="{FF2B5EF4-FFF2-40B4-BE49-F238E27FC236}">
                <a16:creationId xmlns:a16="http://schemas.microsoft.com/office/drawing/2014/main" id="{9B6140BF-9474-4999-9D28-598BC06D3C84}"/>
              </a:ext>
            </a:extLst>
          </p:cNvPr>
          <p:cNvSpPr txBox="1">
            <a:spLocks/>
          </p:cNvSpPr>
          <p:nvPr/>
        </p:nvSpPr>
        <p:spPr>
          <a:xfrm>
            <a:off x="506669" y="312783"/>
            <a:ext cx="11018520" cy="984885"/>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l"/>
            <a:r>
              <a:rPr lang="en-US" dirty="0"/>
              <a:t>Insight IoT Offer </a:t>
            </a:r>
            <a:br>
              <a:rPr lang="en-US" sz="2800" dirty="0"/>
            </a:br>
            <a:r>
              <a:rPr lang="en-US" sz="2800" spc="-40" dirty="0">
                <a:gradFill>
                  <a:gsLst>
                    <a:gs pos="36713">
                      <a:schemeClr val="accent1"/>
                    </a:gs>
                    <a:gs pos="54000">
                      <a:schemeClr val="accent1"/>
                    </a:gs>
                  </a:gsLst>
                  <a:lin ang="5400000" scaled="0"/>
                </a:gradFill>
              </a:rPr>
              <a:t>What is included as part of the engagement?</a:t>
            </a:r>
          </a:p>
        </p:txBody>
      </p:sp>
    </p:spTree>
    <p:extLst>
      <p:ext uri="{BB962C8B-B14F-4D97-AF65-F5344CB8AC3E}">
        <p14:creationId xmlns:p14="http://schemas.microsoft.com/office/powerpoint/2010/main" val="38872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AE9B25-1091-4D8F-A62C-617D495C45E4}"/>
              </a:ext>
            </a:extLst>
          </p:cNvPr>
          <p:cNvPicPr>
            <a:picLocks noChangeAspect="1"/>
          </p:cNvPicPr>
          <p:nvPr/>
        </p:nvPicPr>
        <p:blipFill>
          <a:blip r:embed="rId2"/>
          <a:stretch>
            <a:fillRect/>
          </a:stretch>
        </p:blipFill>
        <p:spPr>
          <a:xfrm>
            <a:off x="598659" y="487"/>
            <a:ext cx="10994683" cy="6815513"/>
          </a:xfrm>
          <a:prstGeom prst="rect">
            <a:avLst/>
          </a:prstGeom>
        </p:spPr>
      </p:pic>
    </p:spTree>
    <p:extLst>
      <p:ext uri="{BB962C8B-B14F-4D97-AF65-F5344CB8AC3E}">
        <p14:creationId xmlns:p14="http://schemas.microsoft.com/office/powerpoint/2010/main" val="11376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map with text&#10;&#10;Description automatically generated">
            <a:extLst>
              <a:ext uri="{FF2B5EF4-FFF2-40B4-BE49-F238E27FC236}">
                <a16:creationId xmlns:a16="http://schemas.microsoft.com/office/drawing/2014/main" id="{A44FB034-49FA-4992-8B0D-6AC41CB3C0AD}"/>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65" y="487"/>
            <a:ext cx="12190271" cy="6857027"/>
          </a:xfrm>
          <a:prstGeom prst="rect">
            <a:avLst/>
          </a:prstGeom>
        </p:spPr>
      </p:pic>
      <p:sp>
        <p:nvSpPr>
          <p:cNvPr id="2" name="Rectangle 1">
            <a:extLst>
              <a:ext uri="{FF2B5EF4-FFF2-40B4-BE49-F238E27FC236}">
                <a16:creationId xmlns:a16="http://schemas.microsoft.com/office/drawing/2014/main" id="{9CBEFCEB-2003-4393-A594-14C0DF7F16D3}"/>
              </a:ext>
            </a:extLst>
          </p:cNvPr>
          <p:cNvSpPr/>
          <p:nvPr/>
        </p:nvSpPr>
        <p:spPr>
          <a:xfrm>
            <a:off x="866" y="6043341"/>
            <a:ext cx="5116059" cy="374793"/>
          </a:xfrm>
          <a:prstGeom prst="rect">
            <a:avLst/>
          </a:prstGeom>
        </p:spPr>
        <p:txBody>
          <a:bodyPr wrap="none">
            <a:spAutoFit/>
          </a:bodyPr>
          <a:lstStyle/>
          <a:p>
            <a:r>
              <a:rPr lang="en-US" dirty="0">
                <a:hlinkClick r:id="rId3"/>
              </a:rPr>
              <a:t>https://github.com/loriot/AzureSolutionTemplate</a:t>
            </a:r>
            <a:endParaRPr lang="en-US" dirty="0"/>
          </a:p>
        </p:txBody>
      </p:sp>
      <p:sp>
        <p:nvSpPr>
          <p:cNvPr id="6" name="Rectangle 5">
            <a:extLst>
              <a:ext uri="{FF2B5EF4-FFF2-40B4-BE49-F238E27FC236}">
                <a16:creationId xmlns:a16="http://schemas.microsoft.com/office/drawing/2014/main" id="{73A0B9E7-AE71-4F46-B4E1-B0AC131A2E25}"/>
              </a:ext>
            </a:extLst>
          </p:cNvPr>
          <p:cNvSpPr/>
          <p:nvPr/>
        </p:nvSpPr>
        <p:spPr>
          <a:xfrm>
            <a:off x="866" y="6412621"/>
            <a:ext cx="4082015" cy="369332"/>
          </a:xfrm>
          <a:prstGeom prst="rect">
            <a:avLst/>
          </a:prstGeom>
        </p:spPr>
        <p:txBody>
          <a:bodyPr wrap="none">
            <a:spAutoFit/>
          </a:bodyPr>
          <a:lstStyle/>
          <a:p>
            <a:r>
              <a:rPr lang="en-US" dirty="0">
                <a:hlinkClick r:id="rId4"/>
              </a:rPr>
              <a:t>https://youtu.be/eUo3oiY1-98?t=1981</a:t>
            </a:r>
            <a:endParaRPr lang="en-US" dirty="0"/>
          </a:p>
        </p:txBody>
      </p:sp>
    </p:spTree>
    <p:extLst>
      <p:ext uri="{BB962C8B-B14F-4D97-AF65-F5344CB8AC3E}">
        <p14:creationId xmlns:p14="http://schemas.microsoft.com/office/powerpoint/2010/main" val="1238756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31F32825-AB48-4E09-A71B-8573D9D8C989}"/>
              </a:ext>
            </a:extLst>
          </p:cNvPr>
          <p:cNvSpPr/>
          <p:nvPr/>
        </p:nvSpPr>
        <p:spPr>
          <a:xfrm>
            <a:off x="2205770" y="3518910"/>
            <a:ext cx="9636821" cy="2850804"/>
          </a:xfrm>
          <a:prstGeom prst="rect">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endParaRPr lang="en-US" sz="980" dirty="0">
              <a:solidFill>
                <a:srgbClr val="FFFFFF"/>
              </a:solidFill>
              <a:latin typeface="Segoe UI Semilight"/>
            </a:endParaRPr>
          </a:p>
        </p:txBody>
      </p:sp>
      <p:sp>
        <p:nvSpPr>
          <p:cNvPr id="30" name="Rectangle 29">
            <a:extLst>
              <a:ext uri="{FF2B5EF4-FFF2-40B4-BE49-F238E27FC236}">
                <a16:creationId xmlns:a16="http://schemas.microsoft.com/office/drawing/2014/main" id="{6F0FF852-3FF9-4236-BAD5-2661DC7D5489}"/>
              </a:ext>
            </a:extLst>
          </p:cNvPr>
          <p:cNvSpPr/>
          <p:nvPr/>
        </p:nvSpPr>
        <p:spPr>
          <a:xfrm>
            <a:off x="6744981" y="4269447"/>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Time Series Insights</a:t>
            </a:r>
          </a:p>
        </p:txBody>
      </p:sp>
      <p:sp>
        <p:nvSpPr>
          <p:cNvPr id="31" name="Rectangle 30">
            <a:extLst>
              <a:ext uri="{FF2B5EF4-FFF2-40B4-BE49-F238E27FC236}">
                <a16:creationId xmlns:a16="http://schemas.microsoft.com/office/drawing/2014/main" id="{C78F8E92-A4DE-4B3B-8ED5-E379C4F704EA}"/>
              </a:ext>
            </a:extLst>
          </p:cNvPr>
          <p:cNvSpPr/>
          <p:nvPr/>
        </p:nvSpPr>
        <p:spPr>
          <a:xfrm>
            <a:off x="6744981" y="483985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Machine Learning</a:t>
            </a:r>
          </a:p>
        </p:txBody>
      </p:sp>
      <p:sp>
        <p:nvSpPr>
          <p:cNvPr id="32" name="Rectangle 31">
            <a:extLst>
              <a:ext uri="{FF2B5EF4-FFF2-40B4-BE49-F238E27FC236}">
                <a16:creationId xmlns:a16="http://schemas.microsoft.com/office/drawing/2014/main" id="{DC4742F1-0870-4CF4-A923-7FC3B6D915CF}"/>
              </a:ext>
            </a:extLst>
          </p:cNvPr>
          <p:cNvSpPr/>
          <p:nvPr/>
        </p:nvSpPr>
        <p:spPr>
          <a:xfrm>
            <a:off x="6744981" y="369904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Stream Analytics</a:t>
            </a:r>
          </a:p>
        </p:txBody>
      </p:sp>
      <p:sp>
        <p:nvSpPr>
          <p:cNvPr id="33" name="Rectangle 32">
            <a:extLst>
              <a:ext uri="{FF2B5EF4-FFF2-40B4-BE49-F238E27FC236}">
                <a16:creationId xmlns:a16="http://schemas.microsoft.com/office/drawing/2014/main" id="{580230E9-20B7-430C-ABB3-E0D8499CF510}"/>
              </a:ext>
            </a:extLst>
          </p:cNvPr>
          <p:cNvSpPr/>
          <p:nvPr/>
        </p:nvSpPr>
        <p:spPr>
          <a:xfrm>
            <a:off x="6744981" y="5416263"/>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Cosmos DB</a:t>
            </a:r>
          </a:p>
        </p:txBody>
      </p:sp>
      <p:sp>
        <p:nvSpPr>
          <p:cNvPr id="34" name="Rectangle 33">
            <a:extLst>
              <a:ext uri="{FF2B5EF4-FFF2-40B4-BE49-F238E27FC236}">
                <a16:creationId xmlns:a16="http://schemas.microsoft.com/office/drawing/2014/main" id="{31020A35-9D90-4854-AB78-96E30F918587}"/>
              </a:ext>
            </a:extLst>
          </p:cNvPr>
          <p:cNvSpPr/>
          <p:nvPr/>
        </p:nvSpPr>
        <p:spPr>
          <a:xfrm>
            <a:off x="7891792" y="5416263"/>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Data Lake</a:t>
            </a:r>
          </a:p>
        </p:txBody>
      </p:sp>
      <p:sp>
        <p:nvSpPr>
          <p:cNvPr id="35" name="Rectangle 34">
            <a:extLst>
              <a:ext uri="{FF2B5EF4-FFF2-40B4-BE49-F238E27FC236}">
                <a16:creationId xmlns:a16="http://schemas.microsoft.com/office/drawing/2014/main" id="{48C656F1-202C-46C0-B364-5607D77470E4}"/>
              </a:ext>
            </a:extLst>
          </p:cNvPr>
          <p:cNvSpPr/>
          <p:nvPr/>
        </p:nvSpPr>
        <p:spPr>
          <a:xfrm>
            <a:off x="7891792" y="483985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Data Lake Analytics</a:t>
            </a:r>
          </a:p>
        </p:txBody>
      </p:sp>
      <p:sp>
        <p:nvSpPr>
          <p:cNvPr id="36" name="Rectangle 35">
            <a:extLst>
              <a:ext uri="{FF2B5EF4-FFF2-40B4-BE49-F238E27FC236}">
                <a16:creationId xmlns:a16="http://schemas.microsoft.com/office/drawing/2014/main" id="{727B0F7A-4EA4-4769-90E0-73C7648CB82A}"/>
              </a:ext>
            </a:extLst>
          </p:cNvPr>
          <p:cNvSpPr/>
          <p:nvPr/>
        </p:nvSpPr>
        <p:spPr>
          <a:xfrm>
            <a:off x="7891792" y="369904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HD Insight</a:t>
            </a:r>
          </a:p>
        </p:txBody>
      </p:sp>
      <p:sp>
        <p:nvSpPr>
          <p:cNvPr id="37" name="Rectangle 36">
            <a:extLst>
              <a:ext uri="{FF2B5EF4-FFF2-40B4-BE49-F238E27FC236}">
                <a16:creationId xmlns:a16="http://schemas.microsoft.com/office/drawing/2014/main" id="{CF2C0FAF-ADC9-4EB1-B819-594791B123AD}"/>
              </a:ext>
            </a:extLst>
          </p:cNvPr>
          <p:cNvSpPr/>
          <p:nvPr/>
        </p:nvSpPr>
        <p:spPr>
          <a:xfrm>
            <a:off x="7891792" y="4269447"/>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Event Hubs</a:t>
            </a:r>
          </a:p>
        </p:txBody>
      </p:sp>
      <p:sp>
        <p:nvSpPr>
          <p:cNvPr id="38" name="Rectangle 37">
            <a:extLst>
              <a:ext uri="{FF2B5EF4-FFF2-40B4-BE49-F238E27FC236}">
                <a16:creationId xmlns:a16="http://schemas.microsoft.com/office/drawing/2014/main" id="{91F8F560-D61E-4386-9F89-DDBE5F2C8D24}"/>
              </a:ext>
            </a:extLst>
          </p:cNvPr>
          <p:cNvSpPr/>
          <p:nvPr/>
        </p:nvSpPr>
        <p:spPr>
          <a:xfrm>
            <a:off x="9242748" y="369904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Microsoft Flow</a:t>
            </a:r>
          </a:p>
        </p:txBody>
      </p:sp>
      <p:sp>
        <p:nvSpPr>
          <p:cNvPr id="39" name="Rectangle 38">
            <a:extLst>
              <a:ext uri="{FF2B5EF4-FFF2-40B4-BE49-F238E27FC236}">
                <a16:creationId xmlns:a16="http://schemas.microsoft.com/office/drawing/2014/main" id="{9EE5F2EC-29F2-4C63-990D-8DD969465D17}"/>
              </a:ext>
            </a:extLst>
          </p:cNvPr>
          <p:cNvSpPr/>
          <p:nvPr/>
        </p:nvSpPr>
        <p:spPr>
          <a:xfrm>
            <a:off x="9242748" y="4269447"/>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Logic Apps</a:t>
            </a:r>
          </a:p>
        </p:txBody>
      </p:sp>
      <p:sp>
        <p:nvSpPr>
          <p:cNvPr id="40" name="Rectangle 39">
            <a:extLst>
              <a:ext uri="{FF2B5EF4-FFF2-40B4-BE49-F238E27FC236}">
                <a16:creationId xmlns:a16="http://schemas.microsoft.com/office/drawing/2014/main" id="{203687BD-8626-4E9F-8486-9BC5B0B9A227}"/>
              </a:ext>
            </a:extLst>
          </p:cNvPr>
          <p:cNvSpPr/>
          <p:nvPr/>
        </p:nvSpPr>
        <p:spPr>
          <a:xfrm>
            <a:off x="9242748" y="483985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Notification Hubs</a:t>
            </a:r>
          </a:p>
        </p:txBody>
      </p:sp>
      <p:sp>
        <p:nvSpPr>
          <p:cNvPr id="41" name="Rectangle 40">
            <a:extLst>
              <a:ext uri="{FF2B5EF4-FFF2-40B4-BE49-F238E27FC236}">
                <a16:creationId xmlns:a16="http://schemas.microsoft.com/office/drawing/2014/main" id="{E575E93B-3C43-4951-8AE9-5B96CDE76C9D}"/>
              </a:ext>
            </a:extLst>
          </p:cNvPr>
          <p:cNvSpPr/>
          <p:nvPr/>
        </p:nvSpPr>
        <p:spPr>
          <a:xfrm>
            <a:off x="9242748" y="5416263"/>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Websites</a:t>
            </a:r>
          </a:p>
        </p:txBody>
      </p:sp>
      <p:sp>
        <p:nvSpPr>
          <p:cNvPr id="42" name="Rectangle 41">
            <a:extLst>
              <a:ext uri="{FF2B5EF4-FFF2-40B4-BE49-F238E27FC236}">
                <a16:creationId xmlns:a16="http://schemas.microsoft.com/office/drawing/2014/main" id="{2ECEC971-6147-40FA-AF31-761EF3F89AFF}"/>
              </a:ext>
            </a:extLst>
          </p:cNvPr>
          <p:cNvSpPr/>
          <p:nvPr/>
        </p:nvSpPr>
        <p:spPr>
          <a:xfrm>
            <a:off x="10389559" y="369904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Microsoft Power BI</a:t>
            </a:r>
          </a:p>
        </p:txBody>
      </p:sp>
      <p:sp>
        <p:nvSpPr>
          <p:cNvPr id="43" name="Rectangle 42">
            <a:extLst>
              <a:ext uri="{FF2B5EF4-FFF2-40B4-BE49-F238E27FC236}">
                <a16:creationId xmlns:a16="http://schemas.microsoft.com/office/drawing/2014/main" id="{D36ADB0B-9C98-4573-9CAE-16DF715D7E25}"/>
              </a:ext>
            </a:extLst>
          </p:cNvPr>
          <p:cNvSpPr/>
          <p:nvPr/>
        </p:nvSpPr>
        <p:spPr>
          <a:xfrm>
            <a:off x="10389559" y="4269447"/>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Active Directory</a:t>
            </a:r>
          </a:p>
        </p:txBody>
      </p:sp>
      <p:sp>
        <p:nvSpPr>
          <p:cNvPr id="44" name="Rectangle 43">
            <a:extLst>
              <a:ext uri="{FF2B5EF4-FFF2-40B4-BE49-F238E27FC236}">
                <a16:creationId xmlns:a16="http://schemas.microsoft.com/office/drawing/2014/main" id="{E3384885-1B9F-448F-A5ED-CFC0E915CDDC}"/>
              </a:ext>
            </a:extLst>
          </p:cNvPr>
          <p:cNvSpPr/>
          <p:nvPr/>
        </p:nvSpPr>
        <p:spPr>
          <a:xfrm>
            <a:off x="5394026" y="369904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IoT Hub</a:t>
            </a:r>
          </a:p>
        </p:txBody>
      </p:sp>
      <p:sp>
        <p:nvSpPr>
          <p:cNvPr id="45" name="Rectangle 44">
            <a:extLst>
              <a:ext uri="{FF2B5EF4-FFF2-40B4-BE49-F238E27FC236}">
                <a16:creationId xmlns:a16="http://schemas.microsoft.com/office/drawing/2014/main" id="{12DE621A-DAAC-4179-ACF2-6B8592763C31}"/>
              </a:ext>
            </a:extLst>
          </p:cNvPr>
          <p:cNvSpPr/>
          <p:nvPr/>
        </p:nvSpPr>
        <p:spPr>
          <a:xfrm>
            <a:off x="5394026" y="4269447"/>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3874">
              <a:lnSpc>
                <a:spcPct val="90000"/>
              </a:lnSpc>
            </a:pPr>
            <a:r>
              <a:rPr lang="en-US" sz="980" dirty="0">
                <a:solidFill>
                  <a:srgbClr val="FFFFFF"/>
                </a:solidFill>
                <a:latin typeface="Segoe UI Semilight"/>
              </a:rPr>
              <a:t>Azure IoT Hub Device Provisioning Service</a:t>
            </a:r>
          </a:p>
        </p:txBody>
      </p:sp>
      <p:sp>
        <p:nvSpPr>
          <p:cNvPr id="46" name="Rectangle 45">
            <a:extLst>
              <a:ext uri="{FF2B5EF4-FFF2-40B4-BE49-F238E27FC236}">
                <a16:creationId xmlns:a16="http://schemas.microsoft.com/office/drawing/2014/main" id="{A6A52D6C-67C3-4AC9-BE2A-0D391AB0F6AF}"/>
              </a:ext>
            </a:extLst>
          </p:cNvPr>
          <p:cNvSpPr/>
          <p:nvPr/>
        </p:nvSpPr>
        <p:spPr>
          <a:xfrm>
            <a:off x="4041121" y="369904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IoT Edge</a:t>
            </a:r>
          </a:p>
        </p:txBody>
      </p:sp>
      <p:sp>
        <p:nvSpPr>
          <p:cNvPr id="47" name="Rectangle 46">
            <a:extLst>
              <a:ext uri="{FF2B5EF4-FFF2-40B4-BE49-F238E27FC236}">
                <a16:creationId xmlns:a16="http://schemas.microsoft.com/office/drawing/2014/main" id="{1CD397C3-9CA4-493C-8834-A3BFC95D4F93}"/>
              </a:ext>
            </a:extLst>
          </p:cNvPr>
          <p:cNvSpPr/>
          <p:nvPr/>
        </p:nvSpPr>
        <p:spPr>
          <a:xfrm>
            <a:off x="10389559" y="483985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Monitor</a:t>
            </a:r>
          </a:p>
        </p:txBody>
      </p:sp>
      <p:sp>
        <p:nvSpPr>
          <p:cNvPr id="48" name="Rectangle 47">
            <a:extLst>
              <a:ext uri="{FF2B5EF4-FFF2-40B4-BE49-F238E27FC236}">
                <a16:creationId xmlns:a16="http://schemas.microsoft.com/office/drawing/2014/main" id="{1D32EF39-EF46-4387-8DDD-5E4F879FE4FC}"/>
              </a:ext>
            </a:extLst>
          </p:cNvPr>
          <p:cNvSpPr/>
          <p:nvPr/>
        </p:nvSpPr>
        <p:spPr>
          <a:xfrm>
            <a:off x="2205770" y="2357092"/>
            <a:ext cx="9636821" cy="1074754"/>
          </a:xfrm>
          <a:prstGeom prst="rect">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endParaRPr lang="en-US" sz="980" dirty="0">
              <a:solidFill>
                <a:srgbClr val="FFFFFF"/>
              </a:solidFill>
              <a:latin typeface="Segoe UI Semilight"/>
            </a:endParaRPr>
          </a:p>
        </p:txBody>
      </p:sp>
      <p:sp>
        <p:nvSpPr>
          <p:cNvPr id="50" name="TextBox 49">
            <a:extLst>
              <a:ext uri="{FF2B5EF4-FFF2-40B4-BE49-F238E27FC236}">
                <a16:creationId xmlns:a16="http://schemas.microsoft.com/office/drawing/2014/main" id="{86AA0BC3-895F-4006-B0D2-2A9A2BDE3EC0}"/>
              </a:ext>
            </a:extLst>
          </p:cNvPr>
          <p:cNvSpPr txBox="1"/>
          <p:nvPr/>
        </p:nvSpPr>
        <p:spPr>
          <a:xfrm rot="16200000">
            <a:off x="1026888" y="4731983"/>
            <a:ext cx="1592039" cy="638765"/>
          </a:xfrm>
          <a:prstGeom prst="rect">
            <a:avLst/>
          </a:prstGeom>
        </p:spPr>
        <p:txBody>
          <a:bodyPr wrap="none">
            <a:spAutoFit/>
          </a:bodyPr>
          <a:lstStyle>
            <a:defPPr>
              <a:defRPr lang="en-US"/>
            </a:defPPr>
            <a:lvl1pPr lvl="0">
              <a:lnSpc>
                <a:spcPct val="110000"/>
              </a:lnSpc>
              <a:spcBef>
                <a:spcPts val="2941"/>
              </a:spcBef>
              <a:spcAft>
                <a:spcPts val="600"/>
              </a:spcAft>
              <a:buClr>
                <a:srgbClr val="505050"/>
              </a:buClr>
              <a:defRPr sz="2353">
                <a:solidFill>
                  <a:srgbClr val="0072C6"/>
                </a:solidFill>
              </a:defRPr>
            </a:lvl1pPr>
          </a:lstStyle>
          <a:p>
            <a:pPr defTabSz="913874">
              <a:lnSpc>
                <a:spcPct val="100000"/>
              </a:lnSpc>
              <a:spcBef>
                <a:spcPts val="2883"/>
              </a:spcBef>
              <a:spcAft>
                <a:spcPts val="0"/>
              </a:spcAft>
            </a:pPr>
            <a:r>
              <a:rPr lang="en-US" sz="1567" dirty="0">
                <a:latin typeface="Segoe UI Semilight"/>
              </a:rPr>
              <a:t>PaaS Services &amp; </a:t>
            </a:r>
          </a:p>
          <a:p>
            <a:pPr defTabSz="913874">
              <a:lnSpc>
                <a:spcPct val="100000"/>
              </a:lnSpc>
              <a:spcBef>
                <a:spcPts val="500"/>
              </a:spcBef>
              <a:spcAft>
                <a:spcPts val="0"/>
              </a:spcAft>
            </a:pPr>
            <a:r>
              <a:rPr lang="en-US" sz="1567" dirty="0">
                <a:latin typeface="Segoe UI Semilight"/>
              </a:rPr>
              <a:t>Device Support</a:t>
            </a:r>
          </a:p>
        </p:txBody>
      </p:sp>
      <p:sp>
        <p:nvSpPr>
          <p:cNvPr id="51" name="TextBox 50">
            <a:extLst>
              <a:ext uri="{FF2B5EF4-FFF2-40B4-BE49-F238E27FC236}">
                <a16:creationId xmlns:a16="http://schemas.microsoft.com/office/drawing/2014/main" id="{1DBA0720-2DCA-45EB-8AA8-E29F107D4006}"/>
              </a:ext>
            </a:extLst>
          </p:cNvPr>
          <p:cNvSpPr txBox="1"/>
          <p:nvPr/>
        </p:nvSpPr>
        <p:spPr>
          <a:xfrm>
            <a:off x="4036748" y="6084110"/>
            <a:ext cx="1107525" cy="276753"/>
          </a:xfrm>
          <a:prstGeom prst="rect">
            <a:avLst/>
          </a:prstGeom>
          <a:noFill/>
        </p:spPr>
        <p:txBody>
          <a:bodyPr wrap="none" rtlCol="0">
            <a:spAutoFit/>
          </a:bodyPr>
          <a:lstStyle/>
          <a:p>
            <a:pPr algn="ctr" defTabSz="913874"/>
            <a:r>
              <a:rPr lang="en-US" sz="1173" dirty="0">
                <a:solidFill>
                  <a:srgbClr val="505050"/>
                </a:solidFill>
                <a:latin typeface="Segoe UI"/>
              </a:rPr>
              <a:t>Edge Support</a:t>
            </a:r>
          </a:p>
        </p:txBody>
      </p:sp>
      <p:sp>
        <p:nvSpPr>
          <p:cNvPr id="52" name="TextBox 51">
            <a:extLst>
              <a:ext uri="{FF2B5EF4-FFF2-40B4-BE49-F238E27FC236}">
                <a16:creationId xmlns:a16="http://schemas.microsoft.com/office/drawing/2014/main" id="{E12E67D0-5718-4D6C-BBD6-F2542742B6D6}"/>
              </a:ext>
            </a:extLst>
          </p:cNvPr>
          <p:cNvSpPr txBox="1"/>
          <p:nvPr/>
        </p:nvSpPr>
        <p:spPr>
          <a:xfrm>
            <a:off x="2576096" y="6086121"/>
            <a:ext cx="1218084" cy="276753"/>
          </a:xfrm>
          <a:prstGeom prst="rect">
            <a:avLst/>
          </a:prstGeom>
          <a:noFill/>
        </p:spPr>
        <p:txBody>
          <a:bodyPr wrap="none" rtlCol="0">
            <a:spAutoFit/>
          </a:bodyPr>
          <a:lstStyle/>
          <a:p>
            <a:pPr algn="ctr" defTabSz="913874"/>
            <a:r>
              <a:rPr lang="en-US" sz="1173" dirty="0">
                <a:solidFill>
                  <a:srgbClr val="505050"/>
                </a:solidFill>
                <a:latin typeface="Segoe UI"/>
              </a:rPr>
              <a:t>Device Support</a:t>
            </a:r>
          </a:p>
        </p:txBody>
      </p:sp>
      <p:sp>
        <p:nvSpPr>
          <p:cNvPr id="53" name="Rectangle 52">
            <a:extLst>
              <a:ext uri="{FF2B5EF4-FFF2-40B4-BE49-F238E27FC236}">
                <a16:creationId xmlns:a16="http://schemas.microsoft.com/office/drawing/2014/main" id="{3E5ECE96-A219-4629-9DAD-F99D781AB1A9}"/>
              </a:ext>
            </a:extLst>
          </p:cNvPr>
          <p:cNvSpPr/>
          <p:nvPr/>
        </p:nvSpPr>
        <p:spPr>
          <a:xfrm>
            <a:off x="2635749" y="369904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Azure IoT Device SDK</a:t>
            </a:r>
          </a:p>
        </p:txBody>
      </p:sp>
      <p:sp>
        <p:nvSpPr>
          <p:cNvPr id="54" name="Rectangle 53">
            <a:extLst>
              <a:ext uri="{FF2B5EF4-FFF2-40B4-BE49-F238E27FC236}">
                <a16:creationId xmlns:a16="http://schemas.microsoft.com/office/drawing/2014/main" id="{C58A2F98-4C3C-492A-B736-4F36C2AC1333}"/>
              </a:ext>
            </a:extLst>
          </p:cNvPr>
          <p:cNvSpPr/>
          <p:nvPr/>
        </p:nvSpPr>
        <p:spPr>
          <a:xfrm>
            <a:off x="2635749" y="4269447"/>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Certified Devices</a:t>
            </a:r>
          </a:p>
          <a:p>
            <a:pPr algn="ctr" defTabSz="913874">
              <a:lnSpc>
                <a:spcPct val="90000"/>
              </a:lnSpc>
            </a:pPr>
            <a:r>
              <a:rPr lang="en-US" sz="980" dirty="0">
                <a:solidFill>
                  <a:srgbClr val="FFFFFF"/>
                </a:solidFill>
                <a:latin typeface="Segoe UI Semilight"/>
              </a:rPr>
              <a:t>Azure Certified for IoT</a:t>
            </a:r>
          </a:p>
        </p:txBody>
      </p:sp>
      <p:sp>
        <p:nvSpPr>
          <p:cNvPr id="55" name="Rectangle 54">
            <a:extLst>
              <a:ext uri="{FF2B5EF4-FFF2-40B4-BE49-F238E27FC236}">
                <a16:creationId xmlns:a16="http://schemas.microsoft.com/office/drawing/2014/main" id="{AB7634E4-07C0-4DA8-B571-A99FE006AEA3}"/>
              </a:ext>
            </a:extLst>
          </p:cNvPr>
          <p:cNvSpPr/>
          <p:nvPr/>
        </p:nvSpPr>
        <p:spPr>
          <a:xfrm>
            <a:off x="2635749" y="4839852"/>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Security Program for Azure IoT</a:t>
            </a:r>
          </a:p>
        </p:txBody>
      </p:sp>
      <p:sp>
        <p:nvSpPr>
          <p:cNvPr id="56" name="TextBox 55">
            <a:extLst>
              <a:ext uri="{FF2B5EF4-FFF2-40B4-BE49-F238E27FC236}">
                <a16:creationId xmlns:a16="http://schemas.microsoft.com/office/drawing/2014/main" id="{102F8B62-3F10-4C23-B677-6949A289164C}"/>
              </a:ext>
            </a:extLst>
          </p:cNvPr>
          <p:cNvSpPr txBox="1"/>
          <p:nvPr/>
        </p:nvSpPr>
        <p:spPr>
          <a:xfrm>
            <a:off x="5453745" y="6086121"/>
            <a:ext cx="979338" cy="276753"/>
          </a:xfrm>
          <a:prstGeom prst="rect">
            <a:avLst/>
          </a:prstGeom>
          <a:noFill/>
        </p:spPr>
        <p:txBody>
          <a:bodyPr wrap="none" rtlCol="0">
            <a:spAutoFit/>
          </a:bodyPr>
          <a:lstStyle/>
          <a:p>
            <a:pPr algn="ctr" defTabSz="913874"/>
            <a:r>
              <a:rPr lang="en-US" sz="1173" dirty="0">
                <a:solidFill>
                  <a:srgbClr val="505050"/>
                </a:solidFill>
                <a:latin typeface="Segoe UI"/>
              </a:rPr>
              <a:t>IoT Services</a:t>
            </a:r>
          </a:p>
        </p:txBody>
      </p:sp>
      <p:sp>
        <p:nvSpPr>
          <p:cNvPr id="57" name="TextBox 56">
            <a:extLst>
              <a:ext uri="{FF2B5EF4-FFF2-40B4-BE49-F238E27FC236}">
                <a16:creationId xmlns:a16="http://schemas.microsoft.com/office/drawing/2014/main" id="{236C7872-DB96-4D62-B8DD-85DC4CA52622}"/>
              </a:ext>
            </a:extLst>
          </p:cNvPr>
          <p:cNvSpPr txBox="1"/>
          <p:nvPr/>
        </p:nvSpPr>
        <p:spPr>
          <a:xfrm>
            <a:off x="6924691" y="6086121"/>
            <a:ext cx="1892662" cy="276753"/>
          </a:xfrm>
          <a:prstGeom prst="rect">
            <a:avLst/>
          </a:prstGeom>
          <a:noFill/>
        </p:spPr>
        <p:txBody>
          <a:bodyPr wrap="none" rtlCol="0">
            <a:spAutoFit/>
          </a:bodyPr>
          <a:lstStyle/>
          <a:p>
            <a:pPr algn="ctr" defTabSz="913874"/>
            <a:r>
              <a:rPr lang="en-US" sz="1173" dirty="0">
                <a:solidFill>
                  <a:srgbClr val="505050"/>
                </a:solidFill>
                <a:latin typeface="Segoe UI"/>
              </a:rPr>
              <a:t>Data &amp; Analytics Services</a:t>
            </a:r>
          </a:p>
        </p:txBody>
      </p:sp>
      <p:sp>
        <p:nvSpPr>
          <p:cNvPr id="58" name="TextBox 57">
            <a:extLst>
              <a:ext uri="{FF2B5EF4-FFF2-40B4-BE49-F238E27FC236}">
                <a16:creationId xmlns:a16="http://schemas.microsoft.com/office/drawing/2014/main" id="{97D4637A-1964-40FD-9834-E3F9BD4798D2}"/>
              </a:ext>
            </a:extLst>
          </p:cNvPr>
          <p:cNvSpPr txBox="1"/>
          <p:nvPr/>
        </p:nvSpPr>
        <p:spPr>
          <a:xfrm>
            <a:off x="9160828" y="6086121"/>
            <a:ext cx="2573649" cy="276753"/>
          </a:xfrm>
          <a:prstGeom prst="rect">
            <a:avLst/>
          </a:prstGeom>
          <a:noFill/>
        </p:spPr>
        <p:txBody>
          <a:bodyPr wrap="none" rtlCol="0">
            <a:spAutoFit/>
          </a:bodyPr>
          <a:lstStyle/>
          <a:p>
            <a:pPr algn="ctr" defTabSz="913874"/>
            <a:r>
              <a:rPr lang="en-US" sz="1173" dirty="0">
                <a:solidFill>
                  <a:srgbClr val="505050"/>
                </a:solidFill>
                <a:latin typeface="Segoe UI"/>
              </a:rPr>
              <a:t>Visualization &amp; Integration Services</a:t>
            </a:r>
          </a:p>
        </p:txBody>
      </p:sp>
      <p:sp>
        <p:nvSpPr>
          <p:cNvPr id="59" name="TextBox 58">
            <a:extLst>
              <a:ext uri="{FF2B5EF4-FFF2-40B4-BE49-F238E27FC236}">
                <a16:creationId xmlns:a16="http://schemas.microsoft.com/office/drawing/2014/main" id="{96AD3A91-A0BE-4E74-B879-837B23234E7B}"/>
              </a:ext>
            </a:extLst>
          </p:cNvPr>
          <p:cNvSpPr txBox="1"/>
          <p:nvPr/>
        </p:nvSpPr>
        <p:spPr>
          <a:xfrm rot="16200000">
            <a:off x="1467167" y="2839996"/>
            <a:ext cx="593368" cy="336823"/>
          </a:xfrm>
          <a:prstGeom prst="rect">
            <a:avLst/>
          </a:prstGeom>
        </p:spPr>
        <p:txBody>
          <a:bodyPr wrap="none">
            <a:spAutoFit/>
          </a:bodyPr>
          <a:lstStyle>
            <a:defPPr>
              <a:defRPr lang="en-US"/>
            </a:defPPr>
            <a:lvl1pPr lvl="0">
              <a:lnSpc>
                <a:spcPct val="110000"/>
              </a:lnSpc>
              <a:spcBef>
                <a:spcPts val="2941"/>
              </a:spcBef>
              <a:spcAft>
                <a:spcPts val="600"/>
              </a:spcAft>
              <a:buClr>
                <a:srgbClr val="505050"/>
              </a:buClr>
              <a:defRPr sz="2353">
                <a:solidFill>
                  <a:srgbClr val="0072C6"/>
                </a:solidFill>
              </a:defRPr>
            </a:lvl1pPr>
          </a:lstStyle>
          <a:p>
            <a:pPr defTabSz="913874">
              <a:spcBef>
                <a:spcPts val="2883"/>
              </a:spcBef>
              <a:spcAft>
                <a:spcPts val="588"/>
              </a:spcAft>
            </a:pPr>
            <a:r>
              <a:rPr lang="en-US" sz="1567" dirty="0">
                <a:latin typeface="Segoe UI Semilight"/>
              </a:rPr>
              <a:t>PaaS</a:t>
            </a:r>
            <a:endParaRPr lang="en-US" sz="1600" dirty="0">
              <a:latin typeface="Segoe UI Semilight"/>
            </a:endParaRPr>
          </a:p>
        </p:txBody>
      </p:sp>
      <p:grpSp>
        <p:nvGrpSpPr>
          <p:cNvPr id="3" name="Group 2">
            <a:extLst>
              <a:ext uri="{FF2B5EF4-FFF2-40B4-BE49-F238E27FC236}">
                <a16:creationId xmlns:a16="http://schemas.microsoft.com/office/drawing/2014/main" id="{C6919132-6EB8-4115-8FB0-2AC491964474}"/>
              </a:ext>
            </a:extLst>
          </p:cNvPr>
          <p:cNvGrpSpPr/>
          <p:nvPr/>
        </p:nvGrpSpPr>
        <p:grpSpPr>
          <a:xfrm>
            <a:off x="1595437" y="1355602"/>
            <a:ext cx="10247153" cy="821360"/>
            <a:chOff x="1685478" y="1355012"/>
            <a:chExt cx="10250059" cy="821593"/>
          </a:xfrm>
        </p:grpSpPr>
        <p:sp>
          <p:nvSpPr>
            <p:cNvPr id="49" name="Rectangle 48">
              <a:extLst>
                <a:ext uri="{FF2B5EF4-FFF2-40B4-BE49-F238E27FC236}">
                  <a16:creationId xmlns:a16="http://schemas.microsoft.com/office/drawing/2014/main" id="{C578A5DF-6EE3-484E-AE2B-6A49AF0016B2}"/>
                </a:ext>
              </a:extLst>
            </p:cNvPr>
            <p:cNvSpPr/>
            <p:nvPr/>
          </p:nvSpPr>
          <p:spPr>
            <a:xfrm>
              <a:off x="2295982" y="1355012"/>
              <a:ext cx="9639555" cy="821593"/>
            </a:xfrm>
            <a:prstGeom prst="rect">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endParaRPr lang="en-US" sz="980" dirty="0">
                <a:solidFill>
                  <a:srgbClr val="FFFFFF"/>
                </a:solidFill>
                <a:latin typeface="Segoe UI Semilight"/>
              </a:endParaRPr>
            </a:p>
          </p:txBody>
        </p:sp>
        <p:sp>
          <p:nvSpPr>
            <p:cNvPr id="60" name="TextBox 59">
              <a:extLst>
                <a:ext uri="{FF2B5EF4-FFF2-40B4-BE49-F238E27FC236}">
                  <a16:creationId xmlns:a16="http://schemas.microsoft.com/office/drawing/2014/main" id="{FA29C989-0BA0-4644-9232-47D2ED763C11}"/>
                </a:ext>
              </a:extLst>
            </p:cNvPr>
            <p:cNvSpPr txBox="1"/>
            <p:nvPr/>
          </p:nvSpPr>
          <p:spPr>
            <a:xfrm rot="16200000">
              <a:off x="1557939" y="1700616"/>
              <a:ext cx="591997" cy="336919"/>
            </a:xfrm>
            <a:prstGeom prst="rect">
              <a:avLst/>
            </a:prstGeom>
          </p:spPr>
          <p:txBody>
            <a:bodyPr wrap="none">
              <a:spAutoFit/>
            </a:bodyPr>
            <a:lstStyle>
              <a:defPPr>
                <a:defRPr lang="en-US"/>
              </a:defPPr>
              <a:lvl1pPr lvl="0">
                <a:lnSpc>
                  <a:spcPct val="110000"/>
                </a:lnSpc>
                <a:spcBef>
                  <a:spcPts val="2941"/>
                </a:spcBef>
                <a:spcAft>
                  <a:spcPts val="600"/>
                </a:spcAft>
                <a:buClr>
                  <a:srgbClr val="505050"/>
                </a:buClr>
                <a:defRPr sz="2353">
                  <a:solidFill>
                    <a:srgbClr val="0072C6"/>
                  </a:solidFill>
                </a:defRPr>
              </a:lvl1pPr>
            </a:lstStyle>
            <a:p>
              <a:pPr defTabSz="913874">
                <a:spcBef>
                  <a:spcPts val="2883"/>
                </a:spcBef>
                <a:spcAft>
                  <a:spcPts val="588"/>
                </a:spcAft>
              </a:pPr>
              <a:r>
                <a:rPr lang="en-US" sz="1567" dirty="0">
                  <a:latin typeface="Segoe UI Semilight"/>
                </a:rPr>
                <a:t>SaaS</a:t>
              </a:r>
              <a:endParaRPr lang="en-US" sz="1600" dirty="0">
                <a:latin typeface="Segoe UI Semilight"/>
              </a:endParaRPr>
            </a:p>
          </p:txBody>
        </p:sp>
        <p:sp>
          <p:nvSpPr>
            <p:cNvPr id="61" name="Rectangle 60">
              <a:extLst>
                <a:ext uri="{FF2B5EF4-FFF2-40B4-BE49-F238E27FC236}">
                  <a16:creationId xmlns:a16="http://schemas.microsoft.com/office/drawing/2014/main" id="{DCF8573B-0B06-4CCB-8F64-5E349F14242F}"/>
                </a:ext>
              </a:extLst>
            </p:cNvPr>
            <p:cNvSpPr/>
            <p:nvPr/>
          </p:nvSpPr>
          <p:spPr>
            <a:xfrm>
              <a:off x="2726083" y="1525268"/>
              <a:ext cx="8853157" cy="52852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r>
                <a:rPr lang="en-US" sz="980" dirty="0">
                  <a:solidFill>
                    <a:srgbClr val="FFFFFF"/>
                  </a:solidFill>
                  <a:latin typeface="Segoe UI Semilight"/>
                </a:rPr>
                <a:t>Microsoft IoT Central</a:t>
              </a:r>
            </a:p>
            <a:p>
              <a:pPr algn="ctr" defTabSz="913874"/>
              <a:r>
                <a:rPr lang="en-US" sz="980" dirty="0">
                  <a:solidFill>
                    <a:srgbClr val="FFFFFF"/>
                  </a:solidFill>
                  <a:latin typeface="Segoe UI Semilight"/>
                </a:rPr>
                <a:t>IoT SaaS</a:t>
              </a:r>
            </a:p>
          </p:txBody>
        </p:sp>
      </p:grpSp>
      <p:sp>
        <p:nvSpPr>
          <p:cNvPr id="63" name="Rectangle 62">
            <a:extLst>
              <a:ext uri="{FF2B5EF4-FFF2-40B4-BE49-F238E27FC236}">
                <a16:creationId xmlns:a16="http://schemas.microsoft.com/office/drawing/2014/main" id="{383DAB3A-64D4-4BE3-A8D5-560EC6A7BAB2}"/>
              </a:ext>
            </a:extLst>
          </p:cNvPr>
          <p:cNvSpPr/>
          <p:nvPr/>
        </p:nvSpPr>
        <p:spPr>
          <a:xfrm>
            <a:off x="3580742" y="2823024"/>
            <a:ext cx="2104604" cy="370770"/>
          </a:xfrm>
          <a:prstGeom prst="rect">
            <a:avLst/>
          </a:prstGeom>
          <a:solidFill>
            <a:schemeClr val="bg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r>
              <a:rPr lang="en-US" sz="980" dirty="0">
                <a:solidFill>
                  <a:srgbClr val="505050"/>
                </a:solidFill>
                <a:latin typeface="Segoe UI Semilight"/>
              </a:rPr>
              <a:t>Remote Monitoring</a:t>
            </a:r>
          </a:p>
        </p:txBody>
      </p:sp>
      <p:sp>
        <p:nvSpPr>
          <p:cNvPr id="64" name="Rectangle 63">
            <a:extLst>
              <a:ext uri="{FF2B5EF4-FFF2-40B4-BE49-F238E27FC236}">
                <a16:creationId xmlns:a16="http://schemas.microsoft.com/office/drawing/2014/main" id="{4BA29256-AFF4-44B5-A0B1-ACFE36528A24}"/>
              </a:ext>
            </a:extLst>
          </p:cNvPr>
          <p:cNvSpPr/>
          <p:nvPr/>
        </p:nvSpPr>
        <p:spPr>
          <a:xfrm>
            <a:off x="5868363" y="2823023"/>
            <a:ext cx="2521783" cy="370771"/>
          </a:xfrm>
          <a:prstGeom prst="rect">
            <a:avLst/>
          </a:prstGeom>
          <a:solidFill>
            <a:schemeClr val="bg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r>
              <a:rPr lang="en-US" sz="980" dirty="0">
                <a:solidFill>
                  <a:srgbClr val="505050"/>
                </a:solidFill>
                <a:latin typeface="Segoe UI Semilight"/>
              </a:rPr>
              <a:t>Predictive Maintenance</a:t>
            </a:r>
          </a:p>
        </p:txBody>
      </p:sp>
      <p:sp>
        <p:nvSpPr>
          <p:cNvPr id="65" name="Rectangle 64">
            <a:extLst>
              <a:ext uri="{FF2B5EF4-FFF2-40B4-BE49-F238E27FC236}">
                <a16:creationId xmlns:a16="http://schemas.microsoft.com/office/drawing/2014/main" id="{25D77DC0-4B45-4EB5-B751-30443D660840}"/>
              </a:ext>
            </a:extLst>
          </p:cNvPr>
          <p:cNvSpPr/>
          <p:nvPr/>
        </p:nvSpPr>
        <p:spPr>
          <a:xfrm>
            <a:off x="8561070" y="2823025"/>
            <a:ext cx="2047129" cy="370770"/>
          </a:xfrm>
          <a:prstGeom prst="rect">
            <a:avLst/>
          </a:prstGeom>
          <a:solidFill>
            <a:schemeClr val="bg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r>
              <a:rPr lang="en-US" sz="980" dirty="0">
                <a:solidFill>
                  <a:srgbClr val="505050"/>
                </a:solidFill>
                <a:latin typeface="Segoe UI Semilight"/>
              </a:rPr>
              <a:t>Connected factory</a:t>
            </a:r>
          </a:p>
        </p:txBody>
      </p:sp>
      <p:sp>
        <p:nvSpPr>
          <p:cNvPr id="66" name="Rectangle 65">
            <a:extLst>
              <a:ext uri="{FF2B5EF4-FFF2-40B4-BE49-F238E27FC236}">
                <a16:creationId xmlns:a16="http://schemas.microsoft.com/office/drawing/2014/main" id="{A2E53B18-1342-410B-BE67-2C8164EA6EE9}"/>
              </a:ext>
            </a:extLst>
          </p:cNvPr>
          <p:cNvSpPr/>
          <p:nvPr/>
        </p:nvSpPr>
        <p:spPr>
          <a:xfrm>
            <a:off x="2635749" y="5416263"/>
            <a:ext cx="1098777" cy="5283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lnSpc>
                <a:spcPct val="90000"/>
              </a:lnSpc>
            </a:pPr>
            <a:r>
              <a:rPr lang="en-US" sz="980" dirty="0">
                <a:solidFill>
                  <a:srgbClr val="FFFFFF"/>
                </a:solidFill>
                <a:latin typeface="Segoe UI Semilight"/>
              </a:rPr>
              <a:t>Windows 10 IoT Core</a:t>
            </a:r>
          </a:p>
        </p:txBody>
      </p:sp>
      <p:sp>
        <p:nvSpPr>
          <p:cNvPr id="67" name="Freeform: Shape 66">
            <a:extLst>
              <a:ext uri="{FF2B5EF4-FFF2-40B4-BE49-F238E27FC236}">
                <a16:creationId xmlns:a16="http://schemas.microsoft.com/office/drawing/2014/main" id="{DD16B9DC-EB68-484E-8349-616E330F079C}"/>
              </a:ext>
            </a:extLst>
          </p:cNvPr>
          <p:cNvSpPr/>
          <p:nvPr/>
        </p:nvSpPr>
        <p:spPr>
          <a:xfrm>
            <a:off x="2635749" y="2479591"/>
            <a:ext cx="8852587" cy="851387"/>
          </a:xfrm>
          <a:custGeom>
            <a:avLst/>
            <a:gdLst>
              <a:gd name="connsiteX0" fmla="*/ 6605719 w 9886945"/>
              <a:gd name="connsiteY0" fmla="*/ 390952 h 958267"/>
              <a:gd name="connsiteX1" fmla="*/ 6605719 w 9886945"/>
              <a:gd name="connsiteY1" fmla="*/ 808268 h 958267"/>
              <a:gd name="connsiteX2" fmla="*/ 8909834 w 9886945"/>
              <a:gd name="connsiteY2" fmla="*/ 808268 h 958267"/>
              <a:gd name="connsiteX3" fmla="*/ 8909834 w 9886945"/>
              <a:gd name="connsiteY3" fmla="*/ 390952 h 958267"/>
              <a:gd name="connsiteX4" fmla="*/ 1000185 w 9886945"/>
              <a:gd name="connsiteY4" fmla="*/ 390951 h 958267"/>
              <a:gd name="connsiteX5" fmla="*/ 1000185 w 9886945"/>
              <a:gd name="connsiteY5" fmla="*/ 808267 h 958267"/>
              <a:gd name="connsiteX6" fmla="*/ 3368991 w 9886945"/>
              <a:gd name="connsiteY6" fmla="*/ 808267 h 958267"/>
              <a:gd name="connsiteX7" fmla="*/ 3368991 w 9886945"/>
              <a:gd name="connsiteY7" fmla="*/ 390951 h 958267"/>
              <a:gd name="connsiteX8" fmla="*/ 3574980 w 9886945"/>
              <a:gd name="connsiteY8" fmla="*/ 390950 h 958267"/>
              <a:gd name="connsiteX9" fmla="*/ 3574980 w 9886945"/>
              <a:gd name="connsiteY9" fmla="*/ 808267 h 958267"/>
              <a:gd name="connsiteX10" fmla="*/ 6413336 w 9886945"/>
              <a:gd name="connsiteY10" fmla="*/ 808267 h 958267"/>
              <a:gd name="connsiteX11" fmla="*/ 6413336 w 9886945"/>
              <a:gd name="connsiteY11" fmla="*/ 390950 h 958267"/>
              <a:gd name="connsiteX12" fmla="*/ 0 w 9886945"/>
              <a:gd name="connsiteY12" fmla="*/ 0 h 958267"/>
              <a:gd name="connsiteX13" fmla="*/ 9886945 w 9886945"/>
              <a:gd name="connsiteY13" fmla="*/ 0 h 958267"/>
              <a:gd name="connsiteX14" fmla="*/ 9886945 w 9886945"/>
              <a:gd name="connsiteY14" fmla="*/ 958267 h 958267"/>
              <a:gd name="connsiteX15" fmla="*/ 0 w 9886945"/>
              <a:gd name="connsiteY15" fmla="*/ 958267 h 95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886945" h="958267">
                <a:moveTo>
                  <a:pt x="6605719" y="390952"/>
                </a:moveTo>
                <a:lnTo>
                  <a:pt x="6605719" y="808268"/>
                </a:lnTo>
                <a:lnTo>
                  <a:pt x="8909834" y="808268"/>
                </a:lnTo>
                <a:lnTo>
                  <a:pt x="8909834" y="390952"/>
                </a:lnTo>
                <a:close/>
                <a:moveTo>
                  <a:pt x="1000185" y="390951"/>
                </a:moveTo>
                <a:lnTo>
                  <a:pt x="1000185" y="808267"/>
                </a:lnTo>
                <a:lnTo>
                  <a:pt x="3368991" y="808267"/>
                </a:lnTo>
                <a:lnTo>
                  <a:pt x="3368991" y="390951"/>
                </a:lnTo>
                <a:close/>
                <a:moveTo>
                  <a:pt x="3574980" y="390950"/>
                </a:moveTo>
                <a:lnTo>
                  <a:pt x="3574980" y="808267"/>
                </a:lnTo>
                <a:lnTo>
                  <a:pt x="6413336" y="808267"/>
                </a:lnTo>
                <a:lnTo>
                  <a:pt x="6413336" y="390950"/>
                </a:lnTo>
                <a:close/>
                <a:moveTo>
                  <a:pt x="0" y="0"/>
                </a:moveTo>
                <a:lnTo>
                  <a:pt x="9886945" y="0"/>
                </a:lnTo>
                <a:lnTo>
                  <a:pt x="9886945" y="958267"/>
                </a:lnTo>
                <a:lnTo>
                  <a:pt x="0" y="958267"/>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3874"/>
            <a:r>
              <a:rPr lang="en-US" sz="980" dirty="0">
                <a:solidFill>
                  <a:srgbClr val="FFFFFF"/>
                </a:solidFill>
                <a:latin typeface="Segoe UI Semilight"/>
              </a:rPr>
              <a:t>Azure IoT Suite</a:t>
            </a:r>
          </a:p>
          <a:p>
            <a:pPr algn="ctr" defTabSz="913874"/>
            <a:endParaRPr lang="en-US" sz="980" dirty="0">
              <a:solidFill>
                <a:srgbClr val="FFFFFF"/>
              </a:solidFill>
              <a:latin typeface="Segoe UI Semilight"/>
            </a:endParaRPr>
          </a:p>
          <a:p>
            <a:pPr algn="ctr" defTabSz="913874"/>
            <a:endParaRPr lang="en-US" sz="980" dirty="0">
              <a:solidFill>
                <a:srgbClr val="FFFFFF"/>
              </a:solidFill>
              <a:latin typeface="Segoe UI Semilight"/>
            </a:endParaRPr>
          </a:p>
          <a:p>
            <a:pPr algn="ctr" defTabSz="913874"/>
            <a:endParaRPr lang="en-US" sz="980" dirty="0">
              <a:solidFill>
                <a:srgbClr val="FFFFFF"/>
              </a:solidFill>
              <a:latin typeface="Segoe UI Semilight"/>
            </a:endParaRPr>
          </a:p>
          <a:p>
            <a:pPr algn="ctr" defTabSz="913874"/>
            <a:endParaRPr lang="en-US" sz="980" dirty="0">
              <a:solidFill>
                <a:srgbClr val="FFFFFF"/>
              </a:solidFill>
              <a:latin typeface="Segoe UI Semilight"/>
            </a:endParaRPr>
          </a:p>
        </p:txBody>
      </p:sp>
      <p:sp>
        <p:nvSpPr>
          <p:cNvPr id="68" name="Title 1">
            <a:extLst>
              <a:ext uri="{FF2B5EF4-FFF2-40B4-BE49-F238E27FC236}">
                <a16:creationId xmlns:a16="http://schemas.microsoft.com/office/drawing/2014/main" id="{FDED601E-0494-4DB3-8B15-9D967CEEC571}"/>
              </a:ext>
            </a:extLst>
          </p:cNvPr>
          <p:cNvSpPr>
            <a:spLocks noGrp="1"/>
          </p:cNvSpPr>
          <p:nvPr>
            <p:ph type="title"/>
          </p:nvPr>
        </p:nvSpPr>
        <p:spPr>
          <a:xfrm>
            <a:off x="1" y="-5962"/>
            <a:ext cx="12191999" cy="1074754"/>
          </a:xfrm>
        </p:spPr>
        <p:txBody>
          <a:bodyPr>
            <a:normAutofit/>
          </a:bodyPr>
          <a:lstStyle/>
          <a:p>
            <a:r>
              <a:rPr lang="en-US" sz="4000" dirty="0"/>
              <a:t>Comprehensive Set of Capabilities for IoT Solutions</a:t>
            </a:r>
          </a:p>
        </p:txBody>
      </p:sp>
      <p:sp>
        <p:nvSpPr>
          <p:cNvPr id="5" name="Rectangle 4">
            <a:extLst>
              <a:ext uri="{FF2B5EF4-FFF2-40B4-BE49-F238E27FC236}">
                <a16:creationId xmlns:a16="http://schemas.microsoft.com/office/drawing/2014/main" id="{D238D188-4BC5-46CB-B41B-914E0BCA98A9}"/>
              </a:ext>
            </a:extLst>
          </p:cNvPr>
          <p:cNvSpPr/>
          <p:nvPr/>
        </p:nvSpPr>
        <p:spPr>
          <a:xfrm rot="16200000">
            <a:off x="-71378" y="2124406"/>
            <a:ext cx="1372492" cy="459421"/>
          </a:xfrm>
          <a:prstGeom prst="rect">
            <a:avLst/>
          </a:prstGeom>
        </p:spPr>
        <p:txBody>
          <a:bodyPr wrap="none">
            <a:spAutoFit/>
          </a:bodyPr>
          <a:lstStyle/>
          <a:p>
            <a:pPr defTabSz="913874">
              <a:lnSpc>
                <a:spcPct val="110000"/>
              </a:lnSpc>
              <a:spcBef>
                <a:spcPts val="2941"/>
              </a:spcBef>
              <a:spcAft>
                <a:spcPts val="600"/>
              </a:spcAft>
              <a:buClr>
                <a:srgbClr val="505050"/>
              </a:buClr>
            </a:pPr>
            <a:r>
              <a:rPr lang="en-US" sz="2353" dirty="0">
                <a:solidFill>
                  <a:srgbClr val="0072C6"/>
                </a:solidFill>
                <a:latin typeface="Segoe UI Semilight"/>
              </a:rPr>
              <a:t>Solutions</a:t>
            </a:r>
          </a:p>
        </p:txBody>
      </p:sp>
      <p:sp>
        <p:nvSpPr>
          <p:cNvPr id="69" name="Rectangle 68">
            <a:extLst>
              <a:ext uri="{FF2B5EF4-FFF2-40B4-BE49-F238E27FC236}">
                <a16:creationId xmlns:a16="http://schemas.microsoft.com/office/drawing/2014/main" id="{1FDC05B1-C2E9-4F77-9C70-E5113EBFE891}"/>
              </a:ext>
            </a:extLst>
          </p:cNvPr>
          <p:cNvSpPr/>
          <p:nvPr/>
        </p:nvSpPr>
        <p:spPr>
          <a:xfrm rot="16200000">
            <a:off x="-1263" y="4694035"/>
            <a:ext cx="1232260" cy="459421"/>
          </a:xfrm>
          <a:prstGeom prst="rect">
            <a:avLst/>
          </a:prstGeom>
        </p:spPr>
        <p:txBody>
          <a:bodyPr wrap="none">
            <a:spAutoFit/>
          </a:bodyPr>
          <a:lstStyle/>
          <a:p>
            <a:pPr defTabSz="913874">
              <a:lnSpc>
                <a:spcPct val="110000"/>
              </a:lnSpc>
              <a:spcBef>
                <a:spcPts val="2941"/>
              </a:spcBef>
              <a:spcAft>
                <a:spcPts val="600"/>
              </a:spcAft>
              <a:buClr>
                <a:srgbClr val="505050"/>
              </a:buClr>
            </a:pPr>
            <a:r>
              <a:rPr lang="en-US" sz="2353" dirty="0">
                <a:solidFill>
                  <a:srgbClr val="0072C6"/>
                </a:solidFill>
                <a:latin typeface="Segoe UI Semilight"/>
              </a:rPr>
              <a:t>Services</a:t>
            </a:r>
          </a:p>
        </p:txBody>
      </p:sp>
      <p:sp>
        <p:nvSpPr>
          <p:cNvPr id="6" name="Left Brace 5">
            <a:extLst>
              <a:ext uri="{FF2B5EF4-FFF2-40B4-BE49-F238E27FC236}">
                <a16:creationId xmlns:a16="http://schemas.microsoft.com/office/drawing/2014/main" id="{C60A7CE3-D411-49C0-A90E-F2F77FE16159}"/>
              </a:ext>
            </a:extLst>
          </p:cNvPr>
          <p:cNvSpPr/>
          <p:nvPr/>
        </p:nvSpPr>
        <p:spPr>
          <a:xfrm>
            <a:off x="1096665" y="1355600"/>
            <a:ext cx="349893" cy="2076245"/>
          </a:xfrm>
          <a:prstGeom prst="leftBrace">
            <a:avLst>
              <a:gd name="adj1" fmla="val 0"/>
              <a:gd name="adj2" fmla="val 47937"/>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defTabSz="913874"/>
            <a:endParaRPr lang="en-US" sz="1836">
              <a:solidFill>
                <a:srgbClr val="505050"/>
              </a:solidFill>
              <a:latin typeface="Segoe UI Semilight"/>
            </a:endParaRPr>
          </a:p>
        </p:txBody>
      </p:sp>
      <p:sp>
        <p:nvSpPr>
          <p:cNvPr id="70" name="Left Brace 69">
            <a:extLst>
              <a:ext uri="{FF2B5EF4-FFF2-40B4-BE49-F238E27FC236}">
                <a16:creationId xmlns:a16="http://schemas.microsoft.com/office/drawing/2014/main" id="{7A489A4C-D9BE-43BD-9A72-7EFC88A8A504}"/>
              </a:ext>
            </a:extLst>
          </p:cNvPr>
          <p:cNvSpPr/>
          <p:nvPr/>
        </p:nvSpPr>
        <p:spPr>
          <a:xfrm>
            <a:off x="1084756" y="3593236"/>
            <a:ext cx="412512" cy="2764324"/>
          </a:xfrm>
          <a:prstGeom prst="leftBrace">
            <a:avLst>
              <a:gd name="adj1" fmla="val 0"/>
              <a:gd name="adj2" fmla="val 47937"/>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defTabSz="913874"/>
            <a:endParaRPr lang="en-US" sz="1836">
              <a:solidFill>
                <a:srgbClr val="505050"/>
              </a:solidFill>
              <a:latin typeface="Segoe UI Semilight"/>
            </a:endParaRPr>
          </a:p>
        </p:txBody>
      </p:sp>
    </p:spTree>
    <p:extLst>
      <p:ext uri="{BB962C8B-B14F-4D97-AF65-F5344CB8AC3E}">
        <p14:creationId xmlns:p14="http://schemas.microsoft.com/office/powerpoint/2010/main" val="1237689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Azure Stream Analytics on edge devices</a:t>
            </a:r>
          </a:p>
        </p:txBody>
      </p:sp>
      <p:sp>
        <p:nvSpPr>
          <p:cNvPr id="2" name="Text Placeholder 1"/>
          <p:cNvSpPr>
            <a:spLocks noGrp="1"/>
          </p:cNvSpPr>
          <p:nvPr>
            <p:ph type="body" sz="quarter" idx="10"/>
          </p:nvPr>
        </p:nvSpPr>
        <p:spPr/>
        <p:txBody>
          <a:bodyPr/>
          <a:lstStyle/>
          <a:p>
            <a:r>
              <a:rPr lang="en-US"/>
              <a:t>Lighting up edge analytics in IoT</a:t>
            </a:r>
          </a:p>
        </p:txBody>
      </p:sp>
      <p:grpSp>
        <p:nvGrpSpPr>
          <p:cNvPr id="4" name="Azure Stream Analytics"/>
          <p:cNvGrpSpPr>
            <a:grpSpLocks noChangeAspect="1"/>
          </p:cNvGrpSpPr>
          <p:nvPr/>
        </p:nvGrpSpPr>
        <p:grpSpPr>
          <a:xfrm>
            <a:off x="475230" y="2024211"/>
            <a:ext cx="1251827" cy="972911"/>
            <a:chOff x="-16372125" y="-986193"/>
            <a:chExt cx="11032763" cy="8574577"/>
          </a:xfrm>
        </p:grpSpPr>
        <p:sp>
          <p:nvSpPr>
            <p:cNvPr id="6" name="Freeform: Shape 5"/>
            <p:cNvSpPr/>
            <p:nvPr/>
          </p:nvSpPr>
          <p:spPr>
            <a:xfrm>
              <a:off x="-13161948" y="-986193"/>
              <a:ext cx="7822586" cy="8546326"/>
            </a:xfrm>
            <a:custGeom>
              <a:avLst/>
              <a:gdLst>
                <a:gd name="connsiteX0" fmla="*/ 362857 w 7866743"/>
                <a:gd name="connsiteY0" fmla="*/ 2394857 h 8577943"/>
                <a:gd name="connsiteX1" fmla="*/ 29029 w 7866743"/>
                <a:gd name="connsiteY1" fmla="*/ 1611085 h 8577943"/>
                <a:gd name="connsiteX2" fmla="*/ 740229 w 7866743"/>
                <a:gd name="connsiteY2" fmla="*/ 1016000 h 8577943"/>
                <a:gd name="connsiteX3" fmla="*/ 1857829 w 7866743"/>
                <a:gd name="connsiteY3" fmla="*/ 1494971 h 8577943"/>
                <a:gd name="connsiteX4" fmla="*/ 2554514 w 7866743"/>
                <a:gd name="connsiteY4" fmla="*/ 1262743 h 8577943"/>
                <a:gd name="connsiteX5" fmla="*/ 2960914 w 7866743"/>
                <a:gd name="connsiteY5" fmla="*/ 0 h 8577943"/>
                <a:gd name="connsiteX6" fmla="*/ 3962400 w 7866743"/>
                <a:gd name="connsiteY6" fmla="*/ 72571 h 8577943"/>
                <a:gd name="connsiteX7" fmla="*/ 4397829 w 7866743"/>
                <a:gd name="connsiteY7" fmla="*/ 1291771 h 8577943"/>
                <a:gd name="connsiteX8" fmla="*/ 5065486 w 7866743"/>
                <a:gd name="connsiteY8" fmla="*/ 1553028 h 8577943"/>
                <a:gd name="connsiteX9" fmla="*/ 6183086 w 7866743"/>
                <a:gd name="connsiteY9" fmla="*/ 957943 h 8577943"/>
                <a:gd name="connsiteX10" fmla="*/ 6850743 w 7866743"/>
                <a:gd name="connsiteY10" fmla="*/ 1654628 h 8577943"/>
                <a:gd name="connsiteX11" fmla="*/ 6328229 w 7866743"/>
                <a:gd name="connsiteY11" fmla="*/ 2743200 h 8577943"/>
                <a:gd name="connsiteX12" fmla="*/ 6633029 w 7866743"/>
                <a:gd name="connsiteY12" fmla="*/ 3556000 h 8577943"/>
                <a:gd name="connsiteX13" fmla="*/ 7823200 w 7866743"/>
                <a:gd name="connsiteY13" fmla="*/ 3817257 h 8577943"/>
                <a:gd name="connsiteX14" fmla="*/ 7866743 w 7866743"/>
                <a:gd name="connsiteY14" fmla="*/ 4760685 h 8577943"/>
                <a:gd name="connsiteX15" fmla="*/ 6604000 w 7866743"/>
                <a:gd name="connsiteY15" fmla="*/ 5094514 h 8577943"/>
                <a:gd name="connsiteX16" fmla="*/ 6328229 w 7866743"/>
                <a:gd name="connsiteY16" fmla="*/ 5791200 h 8577943"/>
                <a:gd name="connsiteX17" fmla="*/ 6952343 w 7866743"/>
                <a:gd name="connsiteY17" fmla="*/ 6952343 h 8577943"/>
                <a:gd name="connsiteX18" fmla="*/ 6284686 w 7866743"/>
                <a:gd name="connsiteY18" fmla="*/ 7678057 h 8577943"/>
                <a:gd name="connsiteX19" fmla="*/ 5167086 w 7866743"/>
                <a:gd name="connsiteY19" fmla="*/ 7155543 h 8577943"/>
                <a:gd name="connsiteX20" fmla="*/ 4397829 w 7866743"/>
                <a:gd name="connsiteY20" fmla="*/ 7402285 h 8577943"/>
                <a:gd name="connsiteX21" fmla="*/ 4064000 w 7866743"/>
                <a:gd name="connsiteY21" fmla="*/ 8563428 h 8577943"/>
                <a:gd name="connsiteX22" fmla="*/ 3077029 w 7866743"/>
                <a:gd name="connsiteY22" fmla="*/ 8577943 h 8577943"/>
                <a:gd name="connsiteX23" fmla="*/ 2627086 w 7866743"/>
                <a:gd name="connsiteY23" fmla="*/ 7402285 h 8577943"/>
                <a:gd name="connsiteX24" fmla="*/ 2061029 w 7866743"/>
                <a:gd name="connsiteY24" fmla="*/ 7170057 h 8577943"/>
                <a:gd name="connsiteX25" fmla="*/ 899886 w 7866743"/>
                <a:gd name="connsiteY25" fmla="*/ 7692571 h 8577943"/>
                <a:gd name="connsiteX26" fmla="*/ 203200 w 7866743"/>
                <a:gd name="connsiteY26" fmla="*/ 7053943 h 8577943"/>
                <a:gd name="connsiteX27" fmla="*/ 391886 w 7866743"/>
                <a:gd name="connsiteY27" fmla="*/ 6574971 h 8577943"/>
                <a:gd name="connsiteX28" fmla="*/ 1611086 w 7866743"/>
                <a:gd name="connsiteY28" fmla="*/ 3933371 h 8577943"/>
                <a:gd name="connsiteX29" fmla="*/ 391886 w 7866743"/>
                <a:gd name="connsiteY29" fmla="*/ 2249714 h 8577943"/>
                <a:gd name="connsiteX30" fmla="*/ 0 w 7866743"/>
                <a:gd name="connsiteY30" fmla="*/ 1538514 h 8577943"/>
                <a:gd name="connsiteX0" fmla="*/ 333828 w 7837714"/>
                <a:gd name="connsiteY0" fmla="*/ 2394857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62857 w 7837714"/>
                <a:gd name="connsiteY29" fmla="*/ 2249714 h 8577943"/>
                <a:gd name="connsiteX0" fmla="*/ 333828 w 7837714"/>
                <a:gd name="connsiteY0" fmla="*/ 2394857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37644 w 7837714"/>
                <a:gd name="connsiteY29" fmla="*/ 2387546 h 8577943"/>
                <a:gd name="connsiteX0" fmla="*/ 333828 w 7837714"/>
                <a:gd name="connsiteY0" fmla="*/ 2394857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37644 w 7837714"/>
                <a:gd name="connsiteY29" fmla="*/ 2387546 h 8577943"/>
                <a:gd name="connsiteX30" fmla="*/ 333828 w 7837714"/>
                <a:gd name="connsiteY30" fmla="*/ 2394857 h 8577943"/>
                <a:gd name="connsiteX0" fmla="*/ 337644 w 7837714"/>
                <a:gd name="connsiteY0" fmla="*/ 2387546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37644 w 7837714"/>
                <a:gd name="connsiteY29" fmla="*/ 2387546 h 8577943"/>
                <a:gd name="connsiteX0" fmla="*/ 374623 w 7837714"/>
                <a:gd name="connsiteY0" fmla="*/ 2367376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74623 w 7837714"/>
                <a:gd name="connsiteY29" fmla="*/ 2367376 h 8577943"/>
                <a:gd name="connsiteX0" fmla="*/ 393113 w 7856204"/>
                <a:gd name="connsiteY0" fmla="*/ 2367376 h 8577943"/>
                <a:gd name="connsiteX1" fmla="*/ 0 w 7856204"/>
                <a:gd name="connsiteY1" fmla="*/ 1656469 h 8577943"/>
                <a:gd name="connsiteX2" fmla="*/ 729690 w 7856204"/>
                <a:gd name="connsiteY2" fmla="*/ 1016000 h 8577943"/>
                <a:gd name="connsiteX3" fmla="*/ 1847290 w 7856204"/>
                <a:gd name="connsiteY3" fmla="*/ 1494971 h 8577943"/>
                <a:gd name="connsiteX4" fmla="*/ 2543975 w 7856204"/>
                <a:gd name="connsiteY4" fmla="*/ 1262743 h 8577943"/>
                <a:gd name="connsiteX5" fmla="*/ 2950375 w 7856204"/>
                <a:gd name="connsiteY5" fmla="*/ 0 h 8577943"/>
                <a:gd name="connsiteX6" fmla="*/ 3951861 w 7856204"/>
                <a:gd name="connsiteY6" fmla="*/ 72571 h 8577943"/>
                <a:gd name="connsiteX7" fmla="*/ 4387290 w 7856204"/>
                <a:gd name="connsiteY7" fmla="*/ 1291771 h 8577943"/>
                <a:gd name="connsiteX8" fmla="*/ 5054947 w 7856204"/>
                <a:gd name="connsiteY8" fmla="*/ 1553028 h 8577943"/>
                <a:gd name="connsiteX9" fmla="*/ 6172547 w 7856204"/>
                <a:gd name="connsiteY9" fmla="*/ 957943 h 8577943"/>
                <a:gd name="connsiteX10" fmla="*/ 6840204 w 7856204"/>
                <a:gd name="connsiteY10" fmla="*/ 1654628 h 8577943"/>
                <a:gd name="connsiteX11" fmla="*/ 6317690 w 7856204"/>
                <a:gd name="connsiteY11" fmla="*/ 2743200 h 8577943"/>
                <a:gd name="connsiteX12" fmla="*/ 6622490 w 7856204"/>
                <a:gd name="connsiteY12" fmla="*/ 3556000 h 8577943"/>
                <a:gd name="connsiteX13" fmla="*/ 7812661 w 7856204"/>
                <a:gd name="connsiteY13" fmla="*/ 3817257 h 8577943"/>
                <a:gd name="connsiteX14" fmla="*/ 7856204 w 7856204"/>
                <a:gd name="connsiteY14" fmla="*/ 4760685 h 8577943"/>
                <a:gd name="connsiteX15" fmla="*/ 6593461 w 7856204"/>
                <a:gd name="connsiteY15" fmla="*/ 5094514 h 8577943"/>
                <a:gd name="connsiteX16" fmla="*/ 6317690 w 7856204"/>
                <a:gd name="connsiteY16" fmla="*/ 5791200 h 8577943"/>
                <a:gd name="connsiteX17" fmla="*/ 6941804 w 7856204"/>
                <a:gd name="connsiteY17" fmla="*/ 6952343 h 8577943"/>
                <a:gd name="connsiteX18" fmla="*/ 6274147 w 7856204"/>
                <a:gd name="connsiteY18" fmla="*/ 7678057 h 8577943"/>
                <a:gd name="connsiteX19" fmla="*/ 5156547 w 7856204"/>
                <a:gd name="connsiteY19" fmla="*/ 7155543 h 8577943"/>
                <a:gd name="connsiteX20" fmla="*/ 4387290 w 7856204"/>
                <a:gd name="connsiteY20" fmla="*/ 7402285 h 8577943"/>
                <a:gd name="connsiteX21" fmla="*/ 4053461 w 7856204"/>
                <a:gd name="connsiteY21" fmla="*/ 8563428 h 8577943"/>
                <a:gd name="connsiteX22" fmla="*/ 3066490 w 7856204"/>
                <a:gd name="connsiteY22" fmla="*/ 8577943 h 8577943"/>
                <a:gd name="connsiteX23" fmla="*/ 2616547 w 7856204"/>
                <a:gd name="connsiteY23" fmla="*/ 7402285 h 8577943"/>
                <a:gd name="connsiteX24" fmla="*/ 2050490 w 7856204"/>
                <a:gd name="connsiteY24" fmla="*/ 7170057 h 8577943"/>
                <a:gd name="connsiteX25" fmla="*/ 889347 w 7856204"/>
                <a:gd name="connsiteY25" fmla="*/ 7692571 h 8577943"/>
                <a:gd name="connsiteX26" fmla="*/ 192661 w 7856204"/>
                <a:gd name="connsiteY26" fmla="*/ 7053943 h 8577943"/>
                <a:gd name="connsiteX27" fmla="*/ 381347 w 7856204"/>
                <a:gd name="connsiteY27" fmla="*/ 6574971 h 8577943"/>
                <a:gd name="connsiteX28" fmla="*/ 1600547 w 7856204"/>
                <a:gd name="connsiteY28" fmla="*/ 3933371 h 8577943"/>
                <a:gd name="connsiteX29" fmla="*/ 393113 w 7856204"/>
                <a:gd name="connsiteY29" fmla="*/ 2367376 h 8577943"/>
                <a:gd name="connsiteX0" fmla="*/ 393113 w 7856204"/>
                <a:gd name="connsiteY0" fmla="*/ 2367376 h 8577943"/>
                <a:gd name="connsiteX1" fmla="*/ 0 w 7856204"/>
                <a:gd name="connsiteY1" fmla="*/ 1656469 h 8577943"/>
                <a:gd name="connsiteX2" fmla="*/ 709519 w 7856204"/>
                <a:gd name="connsiteY2" fmla="*/ 977340 h 8577943"/>
                <a:gd name="connsiteX3" fmla="*/ 1847290 w 7856204"/>
                <a:gd name="connsiteY3" fmla="*/ 1494971 h 8577943"/>
                <a:gd name="connsiteX4" fmla="*/ 2543975 w 7856204"/>
                <a:gd name="connsiteY4" fmla="*/ 1262743 h 8577943"/>
                <a:gd name="connsiteX5" fmla="*/ 2950375 w 7856204"/>
                <a:gd name="connsiteY5" fmla="*/ 0 h 8577943"/>
                <a:gd name="connsiteX6" fmla="*/ 3951861 w 7856204"/>
                <a:gd name="connsiteY6" fmla="*/ 72571 h 8577943"/>
                <a:gd name="connsiteX7" fmla="*/ 4387290 w 7856204"/>
                <a:gd name="connsiteY7" fmla="*/ 1291771 h 8577943"/>
                <a:gd name="connsiteX8" fmla="*/ 5054947 w 7856204"/>
                <a:gd name="connsiteY8" fmla="*/ 1553028 h 8577943"/>
                <a:gd name="connsiteX9" fmla="*/ 6172547 w 7856204"/>
                <a:gd name="connsiteY9" fmla="*/ 957943 h 8577943"/>
                <a:gd name="connsiteX10" fmla="*/ 6840204 w 7856204"/>
                <a:gd name="connsiteY10" fmla="*/ 1654628 h 8577943"/>
                <a:gd name="connsiteX11" fmla="*/ 6317690 w 7856204"/>
                <a:gd name="connsiteY11" fmla="*/ 2743200 h 8577943"/>
                <a:gd name="connsiteX12" fmla="*/ 6622490 w 7856204"/>
                <a:gd name="connsiteY12" fmla="*/ 3556000 h 8577943"/>
                <a:gd name="connsiteX13" fmla="*/ 7812661 w 7856204"/>
                <a:gd name="connsiteY13" fmla="*/ 3817257 h 8577943"/>
                <a:gd name="connsiteX14" fmla="*/ 7856204 w 7856204"/>
                <a:gd name="connsiteY14" fmla="*/ 4760685 h 8577943"/>
                <a:gd name="connsiteX15" fmla="*/ 6593461 w 7856204"/>
                <a:gd name="connsiteY15" fmla="*/ 5094514 h 8577943"/>
                <a:gd name="connsiteX16" fmla="*/ 6317690 w 7856204"/>
                <a:gd name="connsiteY16" fmla="*/ 5791200 h 8577943"/>
                <a:gd name="connsiteX17" fmla="*/ 6941804 w 7856204"/>
                <a:gd name="connsiteY17" fmla="*/ 6952343 h 8577943"/>
                <a:gd name="connsiteX18" fmla="*/ 6274147 w 7856204"/>
                <a:gd name="connsiteY18" fmla="*/ 7678057 h 8577943"/>
                <a:gd name="connsiteX19" fmla="*/ 5156547 w 7856204"/>
                <a:gd name="connsiteY19" fmla="*/ 7155543 h 8577943"/>
                <a:gd name="connsiteX20" fmla="*/ 4387290 w 7856204"/>
                <a:gd name="connsiteY20" fmla="*/ 7402285 h 8577943"/>
                <a:gd name="connsiteX21" fmla="*/ 4053461 w 7856204"/>
                <a:gd name="connsiteY21" fmla="*/ 8563428 h 8577943"/>
                <a:gd name="connsiteX22" fmla="*/ 3066490 w 7856204"/>
                <a:gd name="connsiteY22" fmla="*/ 8577943 h 8577943"/>
                <a:gd name="connsiteX23" fmla="*/ 2616547 w 7856204"/>
                <a:gd name="connsiteY23" fmla="*/ 7402285 h 8577943"/>
                <a:gd name="connsiteX24" fmla="*/ 2050490 w 7856204"/>
                <a:gd name="connsiteY24" fmla="*/ 7170057 h 8577943"/>
                <a:gd name="connsiteX25" fmla="*/ 889347 w 7856204"/>
                <a:gd name="connsiteY25" fmla="*/ 7692571 h 8577943"/>
                <a:gd name="connsiteX26" fmla="*/ 192661 w 7856204"/>
                <a:gd name="connsiteY26" fmla="*/ 7053943 h 8577943"/>
                <a:gd name="connsiteX27" fmla="*/ 381347 w 7856204"/>
                <a:gd name="connsiteY27" fmla="*/ 6574971 h 8577943"/>
                <a:gd name="connsiteX28" fmla="*/ 1600547 w 7856204"/>
                <a:gd name="connsiteY28" fmla="*/ 3933371 h 8577943"/>
                <a:gd name="connsiteX29" fmla="*/ 393113 w 7856204"/>
                <a:gd name="connsiteY29" fmla="*/ 2367376 h 8577943"/>
                <a:gd name="connsiteX0" fmla="*/ 393113 w 7856204"/>
                <a:gd name="connsiteY0" fmla="*/ 2367376 h 8577943"/>
                <a:gd name="connsiteX1" fmla="*/ 0 w 7856204"/>
                <a:gd name="connsiteY1" fmla="*/ 1656469 h 8577943"/>
                <a:gd name="connsiteX2" fmla="*/ 709519 w 7856204"/>
                <a:gd name="connsiteY2" fmla="*/ 977340 h 8577943"/>
                <a:gd name="connsiteX3" fmla="*/ 1872504 w 7856204"/>
                <a:gd name="connsiteY3" fmla="*/ 1511780 h 8577943"/>
                <a:gd name="connsiteX4" fmla="*/ 2543975 w 7856204"/>
                <a:gd name="connsiteY4" fmla="*/ 1262743 h 8577943"/>
                <a:gd name="connsiteX5" fmla="*/ 2950375 w 7856204"/>
                <a:gd name="connsiteY5" fmla="*/ 0 h 8577943"/>
                <a:gd name="connsiteX6" fmla="*/ 3951861 w 7856204"/>
                <a:gd name="connsiteY6" fmla="*/ 72571 h 8577943"/>
                <a:gd name="connsiteX7" fmla="*/ 4387290 w 7856204"/>
                <a:gd name="connsiteY7" fmla="*/ 1291771 h 8577943"/>
                <a:gd name="connsiteX8" fmla="*/ 5054947 w 7856204"/>
                <a:gd name="connsiteY8" fmla="*/ 1553028 h 8577943"/>
                <a:gd name="connsiteX9" fmla="*/ 6172547 w 7856204"/>
                <a:gd name="connsiteY9" fmla="*/ 957943 h 8577943"/>
                <a:gd name="connsiteX10" fmla="*/ 6840204 w 7856204"/>
                <a:gd name="connsiteY10" fmla="*/ 1654628 h 8577943"/>
                <a:gd name="connsiteX11" fmla="*/ 6317690 w 7856204"/>
                <a:gd name="connsiteY11" fmla="*/ 2743200 h 8577943"/>
                <a:gd name="connsiteX12" fmla="*/ 6622490 w 7856204"/>
                <a:gd name="connsiteY12" fmla="*/ 3556000 h 8577943"/>
                <a:gd name="connsiteX13" fmla="*/ 7812661 w 7856204"/>
                <a:gd name="connsiteY13" fmla="*/ 3817257 h 8577943"/>
                <a:gd name="connsiteX14" fmla="*/ 7856204 w 7856204"/>
                <a:gd name="connsiteY14" fmla="*/ 4760685 h 8577943"/>
                <a:gd name="connsiteX15" fmla="*/ 6593461 w 7856204"/>
                <a:gd name="connsiteY15" fmla="*/ 5094514 h 8577943"/>
                <a:gd name="connsiteX16" fmla="*/ 6317690 w 7856204"/>
                <a:gd name="connsiteY16" fmla="*/ 5791200 h 8577943"/>
                <a:gd name="connsiteX17" fmla="*/ 6941804 w 7856204"/>
                <a:gd name="connsiteY17" fmla="*/ 6952343 h 8577943"/>
                <a:gd name="connsiteX18" fmla="*/ 6274147 w 7856204"/>
                <a:gd name="connsiteY18" fmla="*/ 7678057 h 8577943"/>
                <a:gd name="connsiteX19" fmla="*/ 5156547 w 7856204"/>
                <a:gd name="connsiteY19" fmla="*/ 7155543 h 8577943"/>
                <a:gd name="connsiteX20" fmla="*/ 4387290 w 7856204"/>
                <a:gd name="connsiteY20" fmla="*/ 7402285 h 8577943"/>
                <a:gd name="connsiteX21" fmla="*/ 4053461 w 7856204"/>
                <a:gd name="connsiteY21" fmla="*/ 8563428 h 8577943"/>
                <a:gd name="connsiteX22" fmla="*/ 3066490 w 7856204"/>
                <a:gd name="connsiteY22" fmla="*/ 8577943 h 8577943"/>
                <a:gd name="connsiteX23" fmla="*/ 2616547 w 7856204"/>
                <a:gd name="connsiteY23" fmla="*/ 7402285 h 8577943"/>
                <a:gd name="connsiteX24" fmla="*/ 2050490 w 7856204"/>
                <a:gd name="connsiteY24" fmla="*/ 7170057 h 8577943"/>
                <a:gd name="connsiteX25" fmla="*/ 889347 w 7856204"/>
                <a:gd name="connsiteY25" fmla="*/ 7692571 h 8577943"/>
                <a:gd name="connsiteX26" fmla="*/ 192661 w 7856204"/>
                <a:gd name="connsiteY26" fmla="*/ 7053943 h 8577943"/>
                <a:gd name="connsiteX27" fmla="*/ 381347 w 7856204"/>
                <a:gd name="connsiteY27" fmla="*/ 6574971 h 8577943"/>
                <a:gd name="connsiteX28" fmla="*/ 1600547 w 7856204"/>
                <a:gd name="connsiteY28" fmla="*/ 3933371 h 8577943"/>
                <a:gd name="connsiteX29" fmla="*/ 393113 w 7856204"/>
                <a:gd name="connsiteY29" fmla="*/ 2367376 h 8577943"/>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87290 w 7856204"/>
                <a:gd name="connsiteY7" fmla="*/ 1219200 h 8505372"/>
                <a:gd name="connsiteX8" fmla="*/ 5054947 w 7856204"/>
                <a:gd name="connsiteY8" fmla="*/ 1480457 h 8505372"/>
                <a:gd name="connsiteX9" fmla="*/ 6172547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54947 w 7856204"/>
                <a:gd name="connsiteY8" fmla="*/ 1480457 h 8505372"/>
                <a:gd name="connsiteX9" fmla="*/ 6172547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112097 w 7856204"/>
                <a:gd name="connsiteY8" fmla="*/ 1468690 h 8505372"/>
                <a:gd name="connsiteX9" fmla="*/ 6172547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78480 w 7856204"/>
                <a:gd name="connsiteY8" fmla="*/ 1480456 h 8505372"/>
                <a:gd name="connsiteX9" fmla="*/ 6172547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78480 w 7856204"/>
                <a:gd name="connsiteY8" fmla="*/ 1480456 h 8505372"/>
                <a:gd name="connsiteX9" fmla="*/ 6212888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78480 w 7856204"/>
                <a:gd name="connsiteY8" fmla="*/ 1480456 h 8505372"/>
                <a:gd name="connsiteX9" fmla="*/ 6212888 w 7856204"/>
                <a:gd name="connsiteY9" fmla="*/ 885372 h 8505372"/>
                <a:gd name="connsiteX10" fmla="*/ 6877184 w 7856204"/>
                <a:gd name="connsiteY10" fmla="*/ 156188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78480 w 7856204"/>
                <a:gd name="connsiteY8" fmla="*/ 1480456 h 8505372"/>
                <a:gd name="connsiteX9" fmla="*/ 6212888 w 7856204"/>
                <a:gd name="connsiteY9" fmla="*/ 885372 h 8505372"/>
                <a:gd name="connsiteX10" fmla="*/ 6877184 w 7856204"/>
                <a:gd name="connsiteY10" fmla="*/ 1561887 h 8505372"/>
                <a:gd name="connsiteX11" fmla="*/ 6317690 w 7856204"/>
                <a:gd name="connsiteY11" fmla="*/ 2670629 h 8505372"/>
                <a:gd name="connsiteX12" fmla="*/ 6595596 w 7856204"/>
                <a:gd name="connsiteY12" fmla="*/ 3396023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93461 w 7822586"/>
                <a:gd name="connsiteY15" fmla="*/ 5021943 h 8505372"/>
                <a:gd name="connsiteX16" fmla="*/ 6317690 w 7822586"/>
                <a:gd name="connsiteY16" fmla="*/ 5718629 h 8505372"/>
                <a:gd name="connsiteX17" fmla="*/ 6941804 w 7822586"/>
                <a:gd name="connsiteY17" fmla="*/ 6879772 h 8505372"/>
                <a:gd name="connsiteX18" fmla="*/ 6274147 w 7822586"/>
                <a:gd name="connsiteY18" fmla="*/ 7605486 h 8505372"/>
                <a:gd name="connsiteX19" fmla="*/ 5156547 w 7822586"/>
                <a:gd name="connsiteY19" fmla="*/ 7082972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317690 w 7822586"/>
                <a:gd name="connsiteY16" fmla="*/ 5718629 h 8505372"/>
                <a:gd name="connsiteX17" fmla="*/ 6941804 w 7822586"/>
                <a:gd name="connsiteY17" fmla="*/ 6879772 h 8505372"/>
                <a:gd name="connsiteX18" fmla="*/ 6274147 w 7822586"/>
                <a:gd name="connsiteY18" fmla="*/ 7605486 h 8505372"/>
                <a:gd name="connsiteX19" fmla="*/ 5156547 w 7822586"/>
                <a:gd name="connsiteY19" fmla="*/ 7082972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297519 w 7822586"/>
                <a:gd name="connsiteY16" fmla="*/ 5750565 h 8505372"/>
                <a:gd name="connsiteX17" fmla="*/ 6941804 w 7822586"/>
                <a:gd name="connsiteY17" fmla="*/ 6879772 h 8505372"/>
                <a:gd name="connsiteX18" fmla="*/ 6274147 w 7822586"/>
                <a:gd name="connsiteY18" fmla="*/ 7605486 h 8505372"/>
                <a:gd name="connsiteX19" fmla="*/ 5156547 w 7822586"/>
                <a:gd name="connsiteY19" fmla="*/ 7082972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297519 w 7822586"/>
                <a:gd name="connsiteY16" fmla="*/ 5750565 h 8505372"/>
                <a:gd name="connsiteX17" fmla="*/ 6923314 w 7822586"/>
                <a:gd name="connsiteY17" fmla="*/ 6896580 h 8505372"/>
                <a:gd name="connsiteX18" fmla="*/ 6274147 w 7822586"/>
                <a:gd name="connsiteY18" fmla="*/ 7605486 h 8505372"/>
                <a:gd name="connsiteX19" fmla="*/ 5156547 w 7822586"/>
                <a:gd name="connsiteY19" fmla="*/ 7082972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297519 w 7822586"/>
                <a:gd name="connsiteY16" fmla="*/ 5750565 h 8505372"/>
                <a:gd name="connsiteX17" fmla="*/ 6923314 w 7822586"/>
                <a:gd name="connsiteY17" fmla="*/ 6896580 h 8505372"/>
                <a:gd name="connsiteX18" fmla="*/ 6274147 w 7822586"/>
                <a:gd name="connsiteY18" fmla="*/ 7605486 h 8505372"/>
                <a:gd name="connsiteX19" fmla="*/ 5117887 w 7822586"/>
                <a:gd name="connsiteY19" fmla="*/ 7077930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297519 w 7822586"/>
                <a:gd name="connsiteY16" fmla="*/ 5750565 h 8505372"/>
                <a:gd name="connsiteX17" fmla="*/ 6923314 w 7822586"/>
                <a:gd name="connsiteY17" fmla="*/ 6896580 h 8505372"/>
                <a:gd name="connsiteX18" fmla="*/ 6274147 w 7822586"/>
                <a:gd name="connsiteY18" fmla="*/ 7605486 h 8505372"/>
                <a:gd name="connsiteX19" fmla="*/ 5117887 w 7822586"/>
                <a:gd name="connsiteY19" fmla="*/ 7077930 h 8505372"/>
                <a:gd name="connsiteX20" fmla="*/ 4402418 w 7822586"/>
                <a:gd name="connsiteY20" fmla="*/ 7351565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66490 w 7822586"/>
                <a:gd name="connsiteY22" fmla="*/ 8505372 h 8546326"/>
                <a:gd name="connsiteX23" fmla="*/ 2616547 w 7822586"/>
                <a:gd name="connsiteY23" fmla="*/ 7329714 h 8546326"/>
                <a:gd name="connsiteX24" fmla="*/ 2050490 w 7822586"/>
                <a:gd name="connsiteY24" fmla="*/ 7097486 h 8546326"/>
                <a:gd name="connsiteX25" fmla="*/ 889347 w 7822586"/>
                <a:gd name="connsiteY25" fmla="*/ 7620000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16547 w 7822586"/>
                <a:gd name="connsiteY23" fmla="*/ 7329714 h 8546326"/>
                <a:gd name="connsiteX24" fmla="*/ 2050490 w 7822586"/>
                <a:gd name="connsiteY24" fmla="*/ 7097486 h 8546326"/>
                <a:gd name="connsiteX25" fmla="*/ 889347 w 7822586"/>
                <a:gd name="connsiteY25" fmla="*/ 7620000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2050490 w 7822586"/>
                <a:gd name="connsiteY24" fmla="*/ 7097486 h 8546326"/>
                <a:gd name="connsiteX25" fmla="*/ 889347 w 7822586"/>
                <a:gd name="connsiteY25" fmla="*/ 7620000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89347 w 7822586"/>
                <a:gd name="connsiteY25" fmla="*/ 7620000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79664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185431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185431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185431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1753180 w 7822586"/>
                <a:gd name="connsiteY29" fmla="*/ 4973717 h 8546326"/>
                <a:gd name="connsiteX30" fmla="*/ 1600547 w 7822586"/>
                <a:gd name="connsiteY30" fmla="*/ 3860800 h 8546326"/>
                <a:gd name="connsiteX31" fmla="*/ 393113 w 7822586"/>
                <a:gd name="connsiteY31"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1600547 w 7822586"/>
                <a:gd name="connsiteY30" fmla="*/ 3860800 h 8546326"/>
                <a:gd name="connsiteX31" fmla="*/ 393113 w 7822586"/>
                <a:gd name="connsiteY31"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1896450 w 7822586"/>
                <a:gd name="connsiteY30" fmla="*/ 4733529 h 8546326"/>
                <a:gd name="connsiteX31" fmla="*/ 1600547 w 7822586"/>
                <a:gd name="connsiteY31" fmla="*/ 3860800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1600547 w 7822586"/>
                <a:gd name="connsiteY31" fmla="*/ 3860800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372611 w 7822586"/>
                <a:gd name="connsiteY29" fmla="*/ 5525728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372611 w 7822586"/>
                <a:gd name="connsiteY29" fmla="*/ 5525728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372611 w 7822586"/>
                <a:gd name="connsiteY29" fmla="*/ 5525728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469529 w 7822586"/>
                <a:gd name="connsiteY29" fmla="*/ 5626860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469529 w 7822586"/>
                <a:gd name="connsiteY29" fmla="*/ 5626860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469529 w 7822586"/>
                <a:gd name="connsiteY29" fmla="*/ 5626860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469529 w 7822586"/>
                <a:gd name="connsiteY29" fmla="*/ 5626860 h 8546326"/>
                <a:gd name="connsiteX30" fmla="*/ 5212730 w 7822586"/>
                <a:gd name="connsiteY30" fmla="*/ 4156235 h 8546326"/>
                <a:gd name="connsiteX31" fmla="*/ 2911047 w 7822586"/>
                <a:gd name="connsiteY31" fmla="*/ 1960365 h 8546326"/>
                <a:gd name="connsiteX32" fmla="*/ 393113 w 7822586"/>
                <a:gd name="connsiteY32" fmla="*/ 2294805 h 854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822586" h="8546326">
                  <a:moveTo>
                    <a:pt x="393113" y="2294805"/>
                  </a:moveTo>
                  <a:lnTo>
                    <a:pt x="0" y="1583898"/>
                  </a:lnTo>
                  <a:lnTo>
                    <a:pt x="709519" y="904769"/>
                  </a:lnTo>
                  <a:lnTo>
                    <a:pt x="1872504" y="1439209"/>
                  </a:lnTo>
                  <a:lnTo>
                    <a:pt x="2543975" y="1190172"/>
                  </a:lnTo>
                  <a:lnTo>
                    <a:pt x="2926843" y="4750"/>
                  </a:lnTo>
                  <a:lnTo>
                    <a:pt x="3951861" y="0"/>
                  </a:lnTo>
                  <a:lnTo>
                    <a:pt x="4368801" y="1153645"/>
                  </a:lnTo>
                  <a:lnTo>
                    <a:pt x="5078480" y="1480456"/>
                  </a:lnTo>
                  <a:lnTo>
                    <a:pt x="6212888" y="885372"/>
                  </a:lnTo>
                  <a:lnTo>
                    <a:pt x="6877184" y="1561887"/>
                  </a:lnTo>
                  <a:lnTo>
                    <a:pt x="6317690" y="2670629"/>
                  </a:lnTo>
                  <a:lnTo>
                    <a:pt x="6595596" y="3396023"/>
                  </a:lnTo>
                  <a:lnTo>
                    <a:pt x="7812661" y="3744686"/>
                  </a:lnTo>
                  <a:lnTo>
                    <a:pt x="7822586" y="4684752"/>
                  </a:lnTo>
                  <a:lnTo>
                    <a:pt x="6588418" y="5079093"/>
                  </a:lnTo>
                  <a:lnTo>
                    <a:pt x="6297519" y="5750565"/>
                  </a:lnTo>
                  <a:lnTo>
                    <a:pt x="6923314" y="6896580"/>
                  </a:lnTo>
                  <a:lnTo>
                    <a:pt x="6274147" y="7605486"/>
                  </a:lnTo>
                  <a:lnTo>
                    <a:pt x="5117887" y="7077930"/>
                  </a:lnTo>
                  <a:lnTo>
                    <a:pt x="4402418" y="7351565"/>
                  </a:lnTo>
                  <a:lnTo>
                    <a:pt x="4013120" y="8546326"/>
                  </a:lnTo>
                  <a:lnTo>
                    <a:pt x="3058085" y="8527223"/>
                  </a:lnTo>
                  <a:lnTo>
                    <a:pt x="2698910" y="7354927"/>
                  </a:lnTo>
                  <a:lnTo>
                    <a:pt x="1968127" y="7050422"/>
                  </a:lnTo>
                  <a:lnTo>
                    <a:pt x="860772" y="7651937"/>
                  </a:lnTo>
                  <a:lnTo>
                    <a:pt x="167448" y="6964563"/>
                  </a:lnTo>
                  <a:lnTo>
                    <a:pt x="351850" y="6540324"/>
                  </a:lnTo>
                  <a:cubicBezTo>
                    <a:pt x="986108" y="6351013"/>
                    <a:pt x="1392821" y="6014221"/>
                    <a:pt x="1854312" y="5605791"/>
                  </a:cubicBezTo>
                  <a:cubicBezTo>
                    <a:pt x="1947015" y="5486399"/>
                    <a:pt x="2102927" y="5367008"/>
                    <a:pt x="2469529" y="5626860"/>
                  </a:cubicBezTo>
                  <a:cubicBezTo>
                    <a:pt x="3033479" y="6114258"/>
                    <a:pt x="5245894" y="6366464"/>
                    <a:pt x="5212730" y="4156235"/>
                  </a:cubicBezTo>
                  <a:cubicBezTo>
                    <a:pt x="5150069" y="2839337"/>
                    <a:pt x="3714316" y="2270603"/>
                    <a:pt x="2911047" y="1960365"/>
                  </a:cubicBezTo>
                  <a:cubicBezTo>
                    <a:pt x="1897086" y="1603775"/>
                    <a:pt x="785583" y="2037298"/>
                    <a:pt x="393113" y="2294805"/>
                  </a:cubicBezTo>
                  <a:close/>
                </a:path>
              </a:pathLst>
            </a:custGeom>
            <a:solidFill>
              <a:srgbClr val="90909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82"/>
            </a:p>
          </p:txBody>
        </p:sp>
        <p:sp>
          <p:nvSpPr>
            <p:cNvPr id="7" name="Freeform: Shape 6"/>
            <p:cNvSpPr/>
            <p:nvPr/>
          </p:nvSpPr>
          <p:spPr>
            <a:xfrm>
              <a:off x="-12693011" y="456154"/>
              <a:ext cx="7353649" cy="7132230"/>
            </a:xfrm>
            <a:custGeom>
              <a:avLst/>
              <a:gdLst>
                <a:gd name="connsiteX0" fmla="*/ 6263125 w 7353649"/>
                <a:gd name="connsiteY0" fmla="*/ 0 h 7132230"/>
                <a:gd name="connsiteX1" fmla="*/ 6408247 w 7353649"/>
                <a:gd name="connsiteY1" fmla="*/ 147791 h 7132230"/>
                <a:gd name="connsiteX2" fmla="*/ 5848753 w 7353649"/>
                <a:gd name="connsiteY2" fmla="*/ 1256533 h 7132230"/>
                <a:gd name="connsiteX3" fmla="*/ 6126659 w 7353649"/>
                <a:gd name="connsiteY3" fmla="*/ 1981927 h 7132230"/>
                <a:gd name="connsiteX4" fmla="*/ 7343724 w 7353649"/>
                <a:gd name="connsiteY4" fmla="*/ 2330590 h 7132230"/>
                <a:gd name="connsiteX5" fmla="*/ 7353649 w 7353649"/>
                <a:gd name="connsiteY5" fmla="*/ 3270656 h 7132230"/>
                <a:gd name="connsiteX6" fmla="*/ 6119481 w 7353649"/>
                <a:gd name="connsiteY6" fmla="*/ 3664997 h 7132230"/>
                <a:gd name="connsiteX7" fmla="*/ 5828582 w 7353649"/>
                <a:gd name="connsiteY7" fmla="*/ 4336469 h 7132230"/>
                <a:gd name="connsiteX8" fmla="*/ 6454377 w 7353649"/>
                <a:gd name="connsiteY8" fmla="*/ 5482484 h 7132230"/>
                <a:gd name="connsiteX9" fmla="*/ 5805210 w 7353649"/>
                <a:gd name="connsiteY9" fmla="*/ 6191390 h 7132230"/>
                <a:gd name="connsiteX10" fmla="*/ 4648950 w 7353649"/>
                <a:gd name="connsiteY10" fmla="*/ 5663834 h 7132230"/>
                <a:gd name="connsiteX11" fmla="*/ 3933481 w 7353649"/>
                <a:gd name="connsiteY11" fmla="*/ 5937469 h 7132230"/>
                <a:gd name="connsiteX12" fmla="*/ 3544183 w 7353649"/>
                <a:gd name="connsiteY12" fmla="*/ 7132230 h 7132230"/>
                <a:gd name="connsiteX13" fmla="*/ 2589148 w 7353649"/>
                <a:gd name="connsiteY13" fmla="*/ 7113127 h 7132230"/>
                <a:gd name="connsiteX14" fmla="*/ 2229973 w 7353649"/>
                <a:gd name="connsiteY14" fmla="*/ 5940831 h 7132230"/>
                <a:gd name="connsiteX15" fmla="*/ 1499190 w 7353649"/>
                <a:gd name="connsiteY15" fmla="*/ 5636326 h 7132230"/>
                <a:gd name="connsiteX16" fmla="*/ 391835 w 7353649"/>
                <a:gd name="connsiteY16" fmla="*/ 6237841 h 7132230"/>
                <a:gd name="connsiteX17" fmla="*/ 0 w 7353649"/>
                <a:gd name="connsiteY17" fmla="*/ 5849369 h 7132230"/>
                <a:gd name="connsiteX18" fmla="*/ 1850329 w 7353649"/>
                <a:gd name="connsiteY18" fmla="*/ 4121277 h 7132230"/>
                <a:gd name="connsiteX19" fmla="*/ 1872705 w 7353649"/>
                <a:gd name="connsiteY19" fmla="*/ 4132356 h 7132230"/>
                <a:gd name="connsiteX20" fmla="*/ 2000592 w 7353649"/>
                <a:gd name="connsiteY20" fmla="*/ 4212764 h 7132230"/>
                <a:gd name="connsiteX21" fmla="*/ 4743793 w 7353649"/>
                <a:gd name="connsiteY21" fmla="*/ 2742139 h 7132230"/>
                <a:gd name="connsiteX22" fmla="*/ 4470680 w 7353649"/>
                <a:gd name="connsiteY22" fmla="*/ 1887095 h 7132230"/>
                <a:gd name="connsiteX23" fmla="*/ 4378746 w 7353649"/>
                <a:gd name="connsiteY23" fmla="*/ 1759894 h 7132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353649" h="7132230">
                  <a:moveTo>
                    <a:pt x="6263125" y="0"/>
                  </a:moveTo>
                  <a:lnTo>
                    <a:pt x="6408247" y="147791"/>
                  </a:lnTo>
                  <a:lnTo>
                    <a:pt x="5848753" y="1256533"/>
                  </a:lnTo>
                  <a:lnTo>
                    <a:pt x="6126659" y="1981927"/>
                  </a:lnTo>
                  <a:lnTo>
                    <a:pt x="7343724" y="2330590"/>
                  </a:lnTo>
                  <a:lnTo>
                    <a:pt x="7353649" y="3270656"/>
                  </a:lnTo>
                  <a:lnTo>
                    <a:pt x="6119481" y="3664997"/>
                  </a:lnTo>
                  <a:lnTo>
                    <a:pt x="5828582" y="4336469"/>
                  </a:lnTo>
                  <a:lnTo>
                    <a:pt x="6454377" y="5482484"/>
                  </a:lnTo>
                  <a:lnTo>
                    <a:pt x="5805210" y="6191390"/>
                  </a:lnTo>
                  <a:lnTo>
                    <a:pt x="4648950" y="5663834"/>
                  </a:lnTo>
                  <a:lnTo>
                    <a:pt x="3933481" y="5937469"/>
                  </a:lnTo>
                  <a:lnTo>
                    <a:pt x="3544183" y="7132230"/>
                  </a:lnTo>
                  <a:lnTo>
                    <a:pt x="2589148" y="7113127"/>
                  </a:lnTo>
                  <a:lnTo>
                    <a:pt x="2229973" y="5940831"/>
                  </a:lnTo>
                  <a:lnTo>
                    <a:pt x="1499190" y="5636326"/>
                  </a:lnTo>
                  <a:lnTo>
                    <a:pt x="391835" y="6237841"/>
                  </a:lnTo>
                  <a:lnTo>
                    <a:pt x="0" y="5849369"/>
                  </a:lnTo>
                  <a:lnTo>
                    <a:pt x="1850329" y="4121277"/>
                  </a:lnTo>
                  <a:lnTo>
                    <a:pt x="1872705" y="4132356"/>
                  </a:lnTo>
                  <a:cubicBezTo>
                    <a:pt x="1912234" y="4153727"/>
                    <a:pt x="1954767" y="4180283"/>
                    <a:pt x="2000592" y="4212764"/>
                  </a:cubicBezTo>
                  <a:cubicBezTo>
                    <a:pt x="2564542" y="4700162"/>
                    <a:pt x="4776957" y="4952368"/>
                    <a:pt x="4743793" y="2742139"/>
                  </a:cubicBezTo>
                  <a:cubicBezTo>
                    <a:pt x="4728128" y="2412915"/>
                    <a:pt x="4626644" y="2130450"/>
                    <a:pt x="4470680" y="1887095"/>
                  </a:cubicBezTo>
                  <a:lnTo>
                    <a:pt x="4378746" y="1759894"/>
                  </a:lnTo>
                  <a:close/>
                </a:path>
              </a:pathLst>
            </a:custGeom>
            <a:solidFill>
              <a:srgbClr val="7A7A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82"/>
            </a:p>
          </p:txBody>
        </p:sp>
        <p:sp>
          <p:nvSpPr>
            <p:cNvPr id="8" name="Freeform: Shape 7"/>
            <p:cNvSpPr/>
            <p:nvPr/>
          </p:nvSpPr>
          <p:spPr>
            <a:xfrm>
              <a:off x="-15207205" y="1321875"/>
              <a:ext cx="6434180" cy="1862570"/>
            </a:xfrm>
            <a:custGeom>
              <a:avLst/>
              <a:gdLst>
                <a:gd name="connsiteX0" fmla="*/ 6157732 w 6157732"/>
                <a:gd name="connsiteY0" fmla="*/ 914400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7732 w 6157732"/>
                <a:gd name="connsiteY11" fmla="*/ 914400 h 1551008"/>
                <a:gd name="connsiteX0" fmla="*/ 6154919 w 6157732"/>
                <a:gd name="connsiteY0" fmla="*/ 1018501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4919 w 6157732"/>
                <a:gd name="connsiteY11" fmla="*/ 1018501 h 1551008"/>
                <a:gd name="connsiteX0" fmla="*/ 5903089 w 6157732"/>
                <a:gd name="connsiteY0" fmla="*/ 1180618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39970 w 6264646"/>
                <a:gd name="connsiteY3" fmla="*/ 92598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903089 w 6264646"/>
                <a:gd name="connsiteY10" fmla="*/ 118061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88816"/>
                <a:gd name="connsiteY0" fmla="*/ 1220008 h 1551008"/>
                <a:gd name="connsiteX1" fmla="*/ 6264646 w 6288816"/>
                <a:gd name="connsiteY1" fmla="*/ 936018 h 1551008"/>
                <a:gd name="connsiteX2" fmla="*/ 4734046 w 6288816"/>
                <a:gd name="connsiteY2" fmla="*/ 0 h 1551008"/>
                <a:gd name="connsiteX3" fmla="*/ 2903394 w 6288816"/>
                <a:gd name="connsiteY3" fmla="*/ 134801 h 1551008"/>
                <a:gd name="connsiteX4" fmla="*/ 1562582 w 6288816"/>
                <a:gd name="connsiteY4" fmla="*/ 1134319 h 1551008"/>
                <a:gd name="connsiteX5" fmla="*/ 266218 w 6288816"/>
                <a:gd name="connsiteY5" fmla="*/ 983848 h 1551008"/>
                <a:gd name="connsiteX6" fmla="*/ 0 w 6288816"/>
                <a:gd name="connsiteY6" fmla="*/ 1296365 h 1551008"/>
                <a:gd name="connsiteX7" fmla="*/ 1747777 w 6288816"/>
                <a:gd name="connsiteY7" fmla="*/ 1551008 h 1551008"/>
                <a:gd name="connsiteX8" fmla="*/ 3078545 w 6288816"/>
                <a:gd name="connsiteY8" fmla="*/ 646260 h 1551008"/>
                <a:gd name="connsiteX9" fmla="*/ 4609216 w 6288816"/>
                <a:gd name="connsiteY9" fmla="*/ 505191 h 1551008"/>
                <a:gd name="connsiteX10" fmla="*/ 5877767 w 6288816"/>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64662 h 1595662"/>
                <a:gd name="connsiteX1" fmla="*/ 6264646 w 6299907"/>
                <a:gd name="connsiteY1" fmla="*/ 980672 h 1595662"/>
                <a:gd name="connsiteX2" fmla="*/ 4734046 w 6299907"/>
                <a:gd name="connsiteY2" fmla="*/ 44654 h 1595662"/>
                <a:gd name="connsiteX3" fmla="*/ 2903394 w 6299907"/>
                <a:gd name="connsiteY3" fmla="*/ 179455 h 1595662"/>
                <a:gd name="connsiteX4" fmla="*/ 1562582 w 6299907"/>
                <a:gd name="connsiteY4" fmla="*/ 1178973 h 1595662"/>
                <a:gd name="connsiteX5" fmla="*/ 266218 w 6299907"/>
                <a:gd name="connsiteY5" fmla="*/ 1028502 h 1595662"/>
                <a:gd name="connsiteX6" fmla="*/ 0 w 6299907"/>
                <a:gd name="connsiteY6" fmla="*/ 1341019 h 1595662"/>
                <a:gd name="connsiteX7" fmla="*/ 1747777 w 6299907"/>
                <a:gd name="connsiteY7" fmla="*/ 1595662 h 1595662"/>
                <a:gd name="connsiteX8" fmla="*/ 3078545 w 6299907"/>
                <a:gd name="connsiteY8" fmla="*/ 690914 h 1595662"/>
                <a:gd name="connsiteX9" fmla="*/ 4609216 w 6299907"/>
                <a:gd name="connsiteY9" fmla="*/ 549845 h 1595662"/>
                <a:gd name="connsiteX10" fmla="*/ 5877767 w 6299907"/>
                <a:gd name="connsiteY10" fmla="*/ 1264662 h 1595662"/>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350331"/>
                <a:gd name="connsiteY0" fmla="*/ 1303484 h 1634484"/>
                <a:gd name="connsiteX1" fmla="*/ 6264646 w 6350331"/>
                <a:gd name="connsiteY1" fmla="*/ 1019494 h 1634484"/>
                <a:gd name="connsiteX2" fmla="*/ 4734046 w 6350331"/>
                <a:gd name="connsiteY2" fmla="*/ 83476 h 1634484"/>
                <a:gd name="connsiteX3" fmla="*/ 2903394 w 6350331"/>
                <a:gd name="connsiteY3" fmla="*/ 218277 h 1634484"/>
                <a:gd name="connsiteX4" fmla="*/ 1562582 w 6350331"/>
                <a:gd name="connsiteY4" fmla="*/ 1217795 h 1634484"/>
                <a:gd name="connsiteX5" fmla="*/ 266218 w 6350331"/>
                <a:gd name="connsiteY5" fmla="*/ 1067324 h 1634484"/>
                <a:gd name="connsiteX6" fmla="*/ 0 w 6350331"/>
                <a:gd name="connsiteY6" fmla="*/ 1379841 h 1634484"/>
                <a:gd name="connsiteX7" fmla="*/ 1747777 w 6350331"/>
                <a:gd name="connsiteY7" fmla="*/ 1634484 h 1634484"/>
                <a:gd name="connsiteX8" fmla="*/ 3078545 w 6350331"/>
                <a:gd name="connsiteY8" fmla="*/ 729736 h 1634484"/>
                <a:gd name="connsiteX9" fmla="*/ 4609216 w 6350331"/>
                <a:gd name="connsiteY9" fmla="*/ 588667 h 1634484"/>
                <a:gd name="connsiteX10" fmla="*/ 5877767 w 6350331"/>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840557"/>
                <a:gd name="connsiteX1" fmla="*/ 6264646 w 6351908"/>
                <a:gd name="connsiteY1" fmla="*/ 1019494 h 1840557"/>
                <a:gd name="connsiteX2" fmla="*/ 4734046 w 6351908"/>
                <a:gd name="connsiteY2" fmla="*/ 83476 h 1840557"/>
                <a:gd name="connsiteX3" fmla="*/ 2903394 w 6351908"/>
                <a:gd name="connsiteY3" fmla="*/ 218277 h 1840557"/>
                <a:gd name="connsiteX4" fmla="*/ 1556955 w 6351908"/>
                <a:gd name="connsiteY4" fmla="*/ 1237490 h 1840557"/>
                <a:gd name="connsiteX5" fmla="*/ 274659 w 6351908"/>
                <a:gd name="connsiteY5" fmla="*/ 1016680 h 1840557"/>
                <a:gd name="connsiteX6" fmla="*/ 0 w 6351908"/>
                <a:gd name="connsiteY6" fmla="*/ 1379841 h 1840557"/>
                <a:gd name="connsiteX7" fmla="*/ 1719641 w 6351908"/>
                <a:gd name="connsiteY7" fmla="*/ 1710450 h 1840557"/>
                <a:gd name="connsiteX8" fmla="*/ 3078545 w 6351908"/>
                <a:gd name="connsiteY8" fmla="*/ 729736 h 1840557"/>
                <a:gd name="connsiteX9" fmla="*/ 4609216 w 6351908"/>
                <a:gd name="connsiteY9" fmla="*/ 588667 h 1840557"/>
                <a:gd name="connsiteX10" fmla="*/ 5877767 w 6351908"/>
                <a:gd name="connsiteY10" fmla="*/ 1303484 h 1840557"/>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980675 w 6454816"/>
                <a:gd name="connsiteY0" fmla="*/ 1303484 h 1893535"/>
                <a:gd name="connsiteX1" fmla="*/ 6367554 w 6454816"/>
                <a:gd name="connsiteY1" fmla="*/ 1019494 h 1893535"/>
                <a:gd name="connsiteX2" fmla="*/ 4836954 w 6454816"/>
                <a:gd name="connsiteY2" fmla="*/ 83476 h 1893535"/>
                <a:gd name="connsiteX3" fmla="*/ 3006302 w 6454816"/>
                <a:gd name="connsiteY3" fmla="*/ 218277 h 1893535"/>
                <a:gd name="connsiteX4" fmla="*/ 1659863 w 6454816"/>
                <a:gd name="connsiteY4" fmla="*/ 1237490 h 1893535"/>
                <a:gd name="connsiteX5" fmla="*/ 377567 w 6454816"/>
                <a:gd name="connsiteY5" fmla="*/ 1016680 h 1893535"/>
                <a:gd name="connsiteX6" fmla="*/ 102908 w 6454816"/>
                <a:gd name="connsiteY6" fmla="*/ 1379841 h 1893535"/>
                <a:gd name="connsiteX7" fmla="*/ 1822549 w 6454816"/>
                <a:gd name="connsiteY7" fmla="*/ 1710450 h 1893535"/>
                <a:gd name="connsiteX8" fmla="*/ 3181453 w 6454816"/>
                <a:gd name="connsiteY8" fmla="*/ 729736 h 1893535"/>
                <a:gd name="connsiteX9" fmla="*/ 4712124 w 6454816"/>
                <a:gd name="connsiteY9" fmla="*/ 588667 h 1893535"/>
                <a:gd name="connsiteX10" fmla="*/ 5980675 w 6454816"/>
                <a:gd name="connsiteY10" fmla="*/ 1303484 h 1893535"/>
                <a:gd name="connsiteX0" fmla="*/ 5961776 w 6435917"/>
                <a:gd name="connsiteY0" fmla="*/ 1303484 h 1893535"/>
                <a:gd name="connsiteX1" fmla="*/ 6348655 w 6435917"/>
                <a:gd name="connsiteY1" fmla="*/ 1019494 h 1893535"/>
                <a:gd name="connsiteX2" fmla="*/ 4818055 w 6435917"/>
                <a:gd name="connsiteY2" fmla="*/ 83476 h 1893535"/>
                <a:gd name="connsiteX3" fmla="*/ 2987403 w 6435917"/>
                <a:gd name="connsiteY3" fmla="*/ 218277 h 1893535"/>
                <a:gd name="connsiteX4" fmla="*/ 1640964 w 6435917"/>
                <a:gd name="connsiteY4" fmla="*/ 1237490 h 1893535"/>
                <a:gd name="connsiteX5" fmla="*/ 358668 w 6435917"/>
                <a:gd name="connsiteY5" fmla="*/ 1016680 h 1893535"/>
                <a:gd name="connsiteX6" fmla="*/ 84009 w 6435917"/>
                <a:gd name="connsiteY6" fmla="*/ 1379841 h 1893535"/>
                <a:gd name="connsiteX7" fmla="*/ 1803650 w 6435917"/>
                <a:gd name="connsiteY7" fmla="*/ 1710450 h 1893535"/>
                <a:gd name="connsiteX8" fmla="*/ 3162554 w 6435917"/>
                <a:gd name="connsiteY8" fmla="*/ 729736 h 1893535"/>
                <a:gd name="connsiteX9" fmla="*/ 4693225 w 6435917"/>
                <a:gd name="connsiteY9" fmla="*/ 588667 h 1893535"/>
                <a:gd name="connsiteX10" fmla="*/ 5961776 w 6435917"/>
                <a:gd name="connsiteY10" fmla="*/ 1303484 h 1893535"/>
                <a:gd name="connsiteX0" fmla="*/ 5961776 w 6435917"/>
                <a:gd name="connsiteY0" fmla="*/ 1303484 h 1892323"/>
                <a:gd name="connsiteX1" fmla="*/ 6348655 w 6435917"/>
                <a:gd name="connsiteY1" fmla="*/ 1019494 h 1892323"/>
                <a:gd name="connsiteX2" fmla="*/ 4818055 w 6435917"/>
                <a:gd name="connsiteY2" fmla="*/ 83476 h 1892323"/>
                <a:gd name="connsiteX3" fmla="*/ 2987403 w 6435917"/>
                <a:gd name="connsiteY3" fmla="*/ 218277 h 1892323"/>
                <a:gd name="connsiteX4" fmla="*/ 1640964 w 6435917"/>
                <a:gd name="connsiteY4" fmla="*/ 1237490 h 1892323"/>
                <a:gd name="connsiteX5" fmla="*/ 358668 w 6435917"/>
                <a:gd name="connsiteY5" fmla="*/ 1016680 h 1892323"/>
                <a:gd name="connsiteX6" fmla="*/ 84009 w 6435917"/>
                <a:gd name="connsiteY6" fmla="*/ 1379841 h 1892323"/>
                <a:gd name="connsiteX7" fmla="*/ 1803650 w 6435917"/>
                <a:gd name="connsiteY7" fmla="*/ 1710450 h 1892323"/>
                <a:gd name="connsiteX8" fmla="*/ 3162554 w 6435917"/>
                <a:gd name="connsiteY8" fmla="*/ 729736 h 1892323"/>
                <a:gd name="connsiteX9" fmla="*/ 4693225 w 6435917"/>
                <a:gd name="connsiteY9" fmla="*/ 588667 h 1892323"/>
                <a:gd name="connsiteX10" fmla="*/ 5961776 w 6435917"/>
                <a:gd name="connsiteY10" fmla="*/ 1303484 h 1892323"/>
                <a:gd name="connsiteX0" fmla="*/ 5941465 w 6415606"/>
                <a:gd name="connsiteY0" fmla="*/ 1303484 h 1902580"/>
                <a:gd name="connsiteX1" fmla="*/ 6328344 w 6415606"/>
                <a:gd name="connsiteY1" fmla="*/ 1019494 h 1902580"/>
                <a:gd name="connsiteX2" fmla="*/ 4797744 w 6415606"/>
                <a:gd name="connsiteY2" fmla="*/ 83476 h 1902580"/>
                <a:gd name="connsiteX3" fmla="*/ 2967092 w 6415606"/>
                <a:gd name="connsiteY3" fmla="*/ 218277 h 1902580"/>
                <a:gd name="connsiteX4" fmla="*/ 1620653 w 6415606"/>
                <a:gd name="connsiteY4" fmla="*/ 1237490 h 1902580"/>
                <a:gd name="connsiteX5" fmla="*/ 338357 w 6415606"/>
                <a:gd name="connsiteY5" fmla="*/ 1016680 h 1902580"/>
                <a:gd name="connsiteX6" fmla="*/ 89019 w 6415606"/>
                <a:gd name="connsiteY6" fmla="*/ 1419231 h 1902580"/>
                <a:gd name="connsiteX7" fmla="*/ 1783339 w 6415606"/>
                <a:gd name="connsiteY7" fmla="*/ 1710450 h 1902580"/>
                <a:gd name="connsiteX8" fmla="*/ 3142243 w 6415606"/>
                <a:gd name="connsiteY8" fmla="*/ 729736 h 1902580"/>
                <a:gd name="connsiteX9" fmla="*/ 4672914 w 6415606"/>
                <a:gd name="connsiteY9" fmla="*/ 588667 h 1902580"/>
                <a:gd name="connsiteX10" fmla="*/ 5941465 w 6415606"/>
                <a:gd name="connsiteY10" fmla="*/ 1303484 h 1902580"/>
                <a:gd name="connsiteX0" fmla="*/ 5960039 w 6434180"/>
                <a:gd name="connsiteY0" fmla="*/ 1303484 h 1902580"/>
                <a:gd name="connsiteX1" fmla="*/ 6346918 w 6434180"/>
                <a:gd name="connsiteY1" fmla="*/ 1019494 h 1902580"/>
                <a:gd name="connsiteX2" fmla="*/ 4816318 w 6434180"/>
                <a:gd name="connsiteY2" fmla="*/ 83476 h 1902580"/>
                <a:gd name="connsiteX3" fmla="*/ 2985666 w 6434180"/>
                <a:gd name="connsiteY3" fmla="*/ 218277 h 1902580"/>
                <a:gd name="connsiteX4" fmla="*/ 1639227 w 6434180"/>
                <a:gd name="connsiteY4" fmla="*/ 1237490 h 1902580"/>
                <a:gd name="connsiteX5" fmla="*/ 356931 w 6434180"/>
                <a:gd name="connsiteY5" fmla="*/ 1016680 h 1902580"/>
                <a:gd name="connsiteX6" fmla="*/ 107593 w 6434180"/>
                <a:gd name="connsiteY6" fmla="*/ 1419231 h 1902580"/>
                <a:gd name="connsiteX7" fmla="*/ 1801913 w 6434180"/>
                <a:gd name="connsiteY7" fmla="*/ 1710450 h 1902580"/>
                <a:gd name="connsiteX8" fmla="*/ 3160817 w 6434180"/>
                <a:gd name="connsiteY8" fmla="*/ 729736 h 1902580"/>
                <a:gd name="connsiteX9" fmla="*/ 4691488 w 6434180"/>
                <a:gd name="connsiteY9" fmla="*/ 588667 h 1902580"/>
                <a:gd name="connsiteX10" fmla="*/ 5960039 w 6434180"/>
                <a:gd name="connsiteY10" fmla="*/ 1303484 h 1902580"/>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946772"/>
                <a:gd name="connsiteX1" fmla="*/ 6346918 w 6434180"/>
                <a:gd name="connsiteY1" fmla="*/ 1019494 h 1946772"/>
                <a:gd name="connsiteX2" fmla="*/ 4816318 w 6434180"/>
                <a:gd name="connsiteY2" fmla="*/ 83476 h 1946772"/>
                <a:gd name="connsiteX3" fmla="*/ 2985666 w 6434180"/>
                <a:gd name="connsiteY3" fmla="*/ 218277 h 1946772"/>
                <a:gd name="connsiteX4" fmla="*/ 1639227 w 6434180"/>
                <a:gd name="connsiteY4" fmla="*/ 1237490 h 1946772"/>
                <a:gd name="connsiteX5" fmla="*/ 356931 w 6434180"/>
                <a:gd name="connsiteY5" fmla="*/ 1016680 h 1946772"/>
                <a:gd name="connsiteX6" fmla="*/ 107593 w 6434180"/>
                <a:gd name="connsiteY6" fmla="*/ 1419231 h 1946772"/>
                <a:gd name="connsiteX7" fmla="*/ 1801913 w 6434180"/>
                <a:gd name="connsiteY7" fmla="*/ 1710450 h 1946772"/>
                <a:gd name="connsiteX8" fmla="*/ 3160817 w 6434180"/>
                <a:gd name="connsiteY8" fmla="*/ 729736 h 1946772"/>
                <a:gd name="connsiteX9" fmla="*/ 4691488 w 6434180"/>
                <a:gd name="connsiteY9" fmla="*/ 588667 h 1946772"/>
                <a:gd name="connsiteX10" fmla="*/ 5960039 w 6434180"/>
                <a:gd name="connsiteY10" fmla="*/ 1303484 h 1946772"/>
                <a:gd name="connsiteX0" fmla="*/ 5960039 w 6434180"/>
                <a:gd name="connsiteY0" fmla="*/ 1303484 h 1848056"/>
                <a:gd name="connsiteX1" fmla="*/ 6346918 w 6434180"/>
                <a:gd name="connsiteY1" fmla="*/ 1019494 h 1848056"/>
                <a:gd name="connsiteX2" fmla="*/ 4816318 w 6434180"/>
                <a:gd name="connsiteY2" fmla="*/ 83476 h 1848056"/>
                <a:gd name="connsiteX3" fmla="*/ 2985666 w 6434180"/>
                <a:gd name="connsiteY3" fmla="*/ 218277 h 1848056"/>
                <a:gd name="connsiteX4" fmla="*/ 1639227 w 6434180"/>
                <a:gd name="connsiteY4" fmla="*/ 1237490 h 1848056"/>
                <a:gd name="connsiteX5" fmla="*/ 356931 w 6434180"/>
                <a:gd name="connsiteY5" fmla="*/ 1016680 h 1848056"/>
                <a:gd name="connsiteX6" fmla="*/ 107593 w 6434180"/>
                <a:gd name="connsiteY6" fmla="*/ 1419231 h 1848056"/>
                <a:gd name="connsiteX7" fmla="*/ 1801913 w 6434180"/>
                <a:gd name="connsiteY7" fmla="*/ 1710450 h 1848056"/>
                <a:gd name="connsiteX8" fmla="*/ 3160817 w 6434180"/>
                <a:gd name="connsiteY8" fmla="*/ 729736 h 1848056"/>
                <a:gd name="connsiteX9" fmla="*/ 4691488 w 6434180"/>
                <a:gd name="connsiteY9" fmla="*/ 588667 h 1848056"/>
                <a:gd name="connsiteX10" fmla="*/ 5960039 w 6434180"/>
                <a:gd name="connsiteY10" fmla="*/ 1303484 h 1848056"/>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5521 h 1862570"/>
                <a:gd name="connsiteX1" fmla="*/ 6346918 w 6434180"/>
                <a:gd name="connsiteY1" fmla="*/ 991531 h 1862570"/>
                <a:gd name="connsiteX2" fmla="*/ 4816318 w 6434180"/>
                <a:gd name="connsiteY2" fmla="*/ 55513 h 1862570"/>
                <a:gd name="connsiteX3" fmla="*/ 2985666 w 6434180"/>
                <a:gd name="connsiteY3" fmla="*/ 190314 h 1862570"/>
                <a:gd name="connsiteX4" fmla="*/ 1639227 w 6434180"/>
                <a:gd name="connsiteY4" fmla="*/ 1209527 h 1862570"/>
                <a:gd name="connsiteX5" fmla="*/ 356931 w 6434180"/>
                <a:gd name="connsiteY5" fmla="*/ 988717 h 1862570"/>
                <a:gd name="connsiteX6" fmla="*/ 107593 w 6434180"/>
                <a:gd name="connsiteY6" fmla="*/ 1391268 h 1862570"/>
                <a:gd name="connsiteX7" fmla="*/ 1801913 w 6434180"/>
                <a:gd name="connsiteY7" fmla="*/ 1682487 h 1862570"/>
                <a:gd name="connsiteX8" fmla="*/ 3160817 w 6434180"/>
                <a:gd name="connsiteY8" fmla="*/ 701773 h 1862570"/>
                <a:gd name="connsiteX9" fmla="*/ 4691488 w 6434180"/>
                <a:gd name="connsiteY9" fmla="*/ 560704 h 1862570"/>
                <a:gd name="connsiteX10" fmla="*/ 5960039 w 6434180"/>
                <a:gd name="connsiteY10" fmla="*/ 1275521 h 1862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34180" h="1862570">
                  <a:moveTo>
                    <a:pt x="5960039" y="1275521"/>
                  </a:moveTo>
                  <a:cubicBezTo>
                    <a:pt x="6283134" y="1670414"/>
                    <a:pt x="6589346" y="1260633"/>
                    <a:pt x="6346918" y="991531"/>
                  </a:cubicBezTo>
                  <a:cubicBezTo>
                    <a:pt x="5949259" y="586678"/>
                    <a:pt x="5223959" y="131561"/>
                    <a:pt x="4816318" y="55513"/>
                  </a:cubicBezTo>
                  <a:cubicBezTo>
                    <a:pt x="4408677" y="-20535"/>
                    <a:pt x="3494501" y="-52826"/>
                    <a:pt x="2985666" y="190314"/>
                  </a:cubicBezTo>
                  <a:cubicBezTo>
                    <a:pt x="2476831" y="433454"/>
                    <a:pt x="1908164" y="1000838"/>
                    <a:pt x="1639227" y="1209527"/>
                  </a:cubicBezTo>
                  <a:cubicBezTo>
                    <a:pt x="1370290" y="1418216"/>
                    <a:pt x="729968" y="1345550"/>
                    <a:pt x="356931" y="988717"/>
                  </a:cubicBezTo>
                  <a:cubicBezTo>
                    <a:pt x="96566" y="758079"/>
                    <a:pt x="-146919" y="1182994"/>
                    <a:pt x="107593" y="1391268"/>
                  </a:cubicBezTo>
                  <a:cubicBezTo>
                    <a:pt x="576706" y="1808146"/>
                    <a:pt x="1317996" y="2048782"/>
                    <a:pt x="1801913" y="1682487"/>
                  </a:cubicBezTo>
                  <a:cubicBezTo>
                    <a:pt x="2285830" y="1316192"/>
                    <a:pt x="2704050" y="940116"/>
                    <a:pt x="3160817" y="701773"/>
                  </a:cubicBezTo>
                  <a:cubicBezTo>
                    <a:pt x="3617584" y="463430"/>
                    <a:pt x="4299587" y="485617"/>
                    <a:pt x="4691488" y="560704"/>
                  </a:cubicBezTo>
                  <a:cubicBezTo>
                    <a:pt x="5083389" y="635791"/>
                    <a:pt x="5573765" y="907826"/>
                    <a:pt x="5960039" y="1275521"/>
                  </a:cubicBezTo>
                  <a:close/>
                </a:path>
              </a:pathLst>
            </a:custGeom>
            <a:solidFill>
              <a:srgbClr val="59B4D9"/>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882"/>
            </a:p>
          </p:txBody>
        </p:sp>
        <p:sp>
          <p:nvSpPr>
            <p:cNvPr id="9" name="Freeform: Shape 8"/>
            <p:cNvSpPr/>
            <p:nvPr/>
          </p:nvSpPr>
          <p:spPr>
            <a:xfrm>
              <a:off x="-15771436" y="2395995"/>
              <a:ext cx="6401905" cy="1781951"/>
            </a:xfrm>
            <a:custGeom>
              <a:avLst/>
              <a:gdLst>
                <a:gd name="connsiteX0" fmla="*/ 6157732 w 6157732"/>
                <a:gd name="connsiteY0" fmla="*/ 914400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7732 w 6157732"/>
                <a:gd name="connsiteY11" fmla="*/ 914400 h 1551008"/>
                <a:gd name="connsiteX0" fmla="*/ 6154919 w 6157732"/>
                <a:gd name="connsiteY0" fmla="*/ 1018501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4919 w 6157732"/>
                <a:gd name="connsiteY11" fmla="*/ 1018501 h 1551008"/>
                <a:gd name="connsiteX0" fmla="*/ 5903089 w 6157732"/>
                <a:gd name="connsiteY0" fmla="*/ 1180618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39970 w 6264646"/>
                <a:gd name="connsiteY3" fmla="*/ 92598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903089 w 6264646"/>
                <a:gd name="connsiteY10" fmla="*/ 118061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88816"/>
                <a:gd name="connsiteY0" fmla="*/ 1220008 h 1551008"/>
                <a:gd name="connsiteX1" fmla="*/ 6264646 w 6288816"/>
                <a:gd name="connsiteY1" fmla="*/ 936018 h 1551008"/>
                <a:gd name="connsiteX2" fmla="*/ 4734046 w 6288816"/>
                <a:gd name="connsiteY2" fmla="*/ 0 h 1551008"/>
                <a:gd name="connsiteX3" fmla="*/ 2903394 w 6288816"/>
                <a:gd name="connsiteY3" fmla="*/ 134801 h 1551008"/>
                <a:gd name="connsiteX4" fmla="*/ 1562582 w 6288816"/>
                <a:gd name="connsiteY4" fmla="*/ 1134319 h 1551008"/>
                <a:gd name="connsiteX5" fmla="*/ 266218 w 6288816"/>
                <a:gd name="connsiteY5" fmla="*/ 983848 h 1551008"/>
                <a:gd name="connsiteX6" fmla="*/ 0 w 6288816"/>
                <a:gd name="connsiteY6" fmla="*/ 1296365 h 1551008"/>
                <a:gd name="connsiteX7" fmla="*/ 1747777 w 6288816"/>
                <a:gd name="connsiteY7" fmla="*/ 1551008 h 1551008"/>
                <a:gd name="connsiteX8" fmla="*/ 3078545 w 6288816"/>
                <a:gd name="connsiteY8" fmla="*/ 646260 h 1551008"/>
                <a:gd name="connsiteX9" fmla="*/ 4609216 w 6288816"/>
                <a:gd name="connsiteY9" fmla="*/ 505191 h 1551008"/>
                <a:gd name="connsiteX10" fmla="*/ 5877767 w 6288816"/>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64662 h 1595662"/>
                <a:gd name="connsiteX1" fmla="*/ 6264646 w 6299907"/>
                <a:gd name="connsiteY1" fmla="*/ 980672 h 1595662"/>
                <a:gd name="connsiteX2" fmla="*/ 4734046 w 6299907"/>
                <a:gd name="connsiteY2" fmla="*/ 44654 h 1595662"/>
                <a:gd name="connsiteX3" fmla="*/ 2903394 w 6299907"/>
                <a:gd name="connsiteY3" fmla="*/ 179455 h 1595662"/>
                <a:gd name="connsiteX4" fmla="*/ 1562582 w 6299907"/>
                <a:gd name="connsiteY4" fmla="*/ 1178973 h 1595662"/>
                <a:gd name="connsiteX5" fmla="*/ 266218 w 6299907"/>
                <a:gd name="connsiteY5" fmla="*/ 1028502 h 1595662"/>
                <a:gd name="connsiteX6" fmla="*/ 0 w 6299907"/>
                <a:gd name="connsiteY6" fmla="*/ 1341019 h 1595662"/>
                <a:gd name="connsiteX7" fmla="*/ 1747777 w 6299907"/>
                <a:gd name="connsiteY7" fmla="*/ 1595662 h 1595662"/>
                <a:gd name="connsiteX8" fmla="*/ 3078545 w 6299907"/>
                <a:gd name="connsiteY8" fmla="*/ 690914 h 1595662"/>
                <a:gd name="connsiteX9" fmla="*/ 4609216 w 6299907"/>
                <a:gd name="connsiteY9" fmla="*/ 549845 h 1595662"/>
                <a:gd name="connsiteX10" fmla="*/ 5877767 w 6299907"/>
                <a:gd name="connsiteY10" fmla="*/ 1264662 h 1595662"/>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350331"/>
                <a:gd name="connsiteY0" fmla="*/ 1303484 h 1634484"/>
                <a:gd name="connsiteX1" fmla="*/ 6264646 w 6350331"/>
                <a:gd name="connsiteY1" fmla="*/ 1019494 h 1634484"/>
                <a:gd name="connsiteX2" fmla="*/ 4734046 w 6350331"/>
                <a:gd name="connsiteY2" fmla="*/ 83476 h 1634484"/>
                <a:gd name="connsiteX3" fmla="*/ 2903394 w 6350331"/>
                <a:gd name="connsiteY3" fmla="*/ 218277 h 1634484"/>
                <a:gd name="connsiteX4" fmla="*/ 1562582 w 6350331"/>
                <a:gd name="connsiteY4" fmla="*/ 1217795 h 1634484"/>
                <a:gd name="connsiteX5" fmla="*/ 266218 w 6350331"/>
                <a:gd name="connsiteY5" fmla="*/ 1067324 h 1634484"/>
                <a:gd name="connsiteX6" fmla="*/ 0 w 6350331"/>
                <a:gd name="connsiteY6" fmla="*/ 1379841 h 1634484"/>
                <a:gd name="connsiteX7" fmla="*/ 1747777 w 6350331"/>
                <a:gd name="connsiteY7" fmla="*/ 1634484 h 1634484"/>
                <a:gd name="connsiteX8" fmla="*/ 3078545 w 6350331"/>
                <a:gd name="connsiteY8" fmla="*/ 729736 h 1634484"/>
                <a:gd name="connsiteX9" fmla="*/ 4609216 w 6350331"/>
                <a:gd name="connsiteY9" fmla="*/ 588667 h 1634484"/>
                <a:gd name="connsiteX10" fmla="*/ 5877767 w 6350331"/>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840557"/>
                <a:gd name="connsiteX1" fmla="*/ 6264646 w 6351908"/>
                <a:gd name="connsiteY1" fmla="*/ 1019494 h 1840557"/>
                <a:gd name="connsiteX2" fmla="*/ 4734046 w 6351908"/>
                <a:gd name="connsiteY2" fmla="*/ 83476 h 1840557"/>
                <a:gd name="connsiteX3" fmla="*/ 2903394 w 6351908"/>
                <a:gd name="connsiteY3" fmla="*/ 218277 h 1840557"/>
                <a:gd name="connsiteX4" fmla="*/ 1556955 w 6351908"/>
                <a:gd name="connsiteY4" fmla="*/ 1237490 h 1840557"/>
                <a:gd name="connsiteX5" fmla="*/ 274659 w 6351908"/>
                <a:gd name="connsiteY5" fmla="*/ 1016680 h 1840557"/>
                <a:gd name="connsiteX6" fmla="*/ 0 w 6351908"/>
                <a:gd name="connsiteY6" fmla="*/ 1379841 h 1840557"/>
                <a:gd name="connsiteX7" fmla="*/ 1719641 w 6351908"/>
                <a:gd name="connsiteY7" fmla="*/ 1710450 h 1840557"/>
                <a:gd name="connsiteX8" fmla="*/ 3078545 w 6351908"/>
                <a:gd name="connsiteY8" fmla="*/ 729736 h 1840557"/>
                <a:gd name="connsiteX9" fmla="*/ 4609216 w 6351908"/>
                <a:gd name="connsiteY9" fmla="*/ 588667 h 1840557"/>
                <a:gd name="connsiteX10" fmla="*/ 5877767 w 6351908"/>
                <a:gd name="connsiteY10" fmla="*/ 1303484 h 1840557"/>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980675 w 6454816"/>
                <a:gd name="connsiteY0" fmla="*/ 1303484 h 1893535"/>
                <a:gd name="connsiteX1" fmla="*/ 6367554 w 6454816"/>
                <a:gd name="connsiteY1" fmla="*/ 1019494 h 1893535"/>
                <a:gd name="connsiteX2" fmla="*/ 4836954 w 6454816"/>
                <a:gd name="connsiteY2" fmla="*/ 83476 h 1893535"/>
                <a:gd name="connsiteX3" fmla="*/ 3006302 w 6454816"/>
                <a:gd name="connsiteY3" fmla="*/ 218277 h 1893535"/>
                <a:gd name="connsiteX4" fmla="*/ 1659863 w 6454816"/>
                <a:gd name="connsiteY4" fmla="*/ 1237490 h 1893535"/>
                <a:gd name="connsiteX5" fmla="*/ 377567 w 6454816"/>
                <a:gd name="connsiteY5" fmla="*/ 1016680 h 1893535"/>
                <a:gd name="connsiteX6" fmla="*/ 102908 w 6454816"/>
                <a:gd name="connsiteY6" fmla="*/ 1379841 h 1893535"/>
                <a:gd name="connsiteX7" fmla="*/ 1822549 w 6454816"/>
                <a:gd name="connsiteY7" fmla="*/ 1710450 h 1893535"/>
                <a:gd name="connsiteX8" fmla="*/ 3181453 w 6454816"/>
                <a:gd name="connsiteY8" fmla="*/ 729736 h 1893535"/>
                <a:gd name="connsiteX9" fmla="*/ 4712124 w 6454816"/>
                <a:gd name="connsiteY9" fmla="*/ 588667 h 1893535"/>
                <a:gd name="connsiteX10" fmla="*/ 5980675 w 6454816"/>
                <a:gd name="connsiteY10" fmla="*/ 1303484 h 1893535"/>
                <a:gd name="connsiteX0" fmla="*/ 5961776 w 6435917"/>
                <a:gd name="connsiteY0" fmla="*/ 1303484 h 1893535"/>
                <a:gd name="connsiteX1" fmla="*/ 6348655 w 6435917"/>
                <a:gd name="connsiteY1" fmla="*/ 1019494 h 1893535"/>
                <a:gd name="connsiteX2" fmla="*/ 4818055 w 6435917"/>
                <a:gd name="connsiteY2" fmla="*/ 83476 h 1893535"/>
                <a:gd name="connsiteX3" fmla="*/ 2987403 w 6435917"/>
                <a:gd name="connsiteY3" fmla="*/ 218277 h 1893535"/>
                <a:gd name="connsiteX4" fmla="*/ 1640964 w 6435917"/>
                <a:gd name="connsiteY4" fmla="*/ 1237490 h 1893535"/>
                <a:gd name="connsiteX5" fmla="*/ 358668 w 6435917"/>
                <a:gd name="connsiteY5" fmla="*/ 1016680 h 1893535"/>
                <a:gd name="connsiteX6" fmla="*/ 84009 w 6435917"/>
                <a:gd name="connsiteY6" fmla="*/ 1379841 h 1893535"/>
                <a:gd name="connsiteX7" fmla="*/ 1803650 w 6435917"/>
                <a:gd name="connsiteY7" fmla="*/ 1710450 h 1893535"/>
                <a:gd name="connsiteX8" fmla="*/ 3162554 w 6435917"/>
                <a:gd name="connsiteY8" fmla="*/ 729736 h 1893535"/>
                <a:gd name="connsiteX9" fmla="*/ 4693225 w 6435917"/>
                <a:gd name="connsiteY9" fmla="*/ 588667 h 1893535"/>
                <a:gd name="connsiteX10" fmla="*/ 5961776 w 6435917"/>
                <a:gd name="connsiteY10" fmla="*/ 1303484 h 1893535"/>
                <a:gd name="connsiteX0" fmla="*/ 5961776 w 6435917"/>
                <a:gd name="connsiteY0" fmla="*/ 1303484 h 1892323"/>
                <a:gd name="connsiteX1" fmla="*/ 6348655 w 6435917"/>
                <a:gd name="connsiteY1" fmla="*/ 1019494 h 1892323"/>
                <a:gd name="connsiteX2" fmla="*/ 4818055 w 6435917"/>
                <a:gd name="connsiteY2" fmla="*/ 83476 h 1892323"/>
                <a:gd name="connsiteX3" fmla="*/ 2987403 w 6435917"/>
                <a:gd name="connsiteY3" fmla="*/ 218277 h 1892323"/>
                <a:gd name="connsiteX4" fmla="*/ 1640964 w 6435917"/>
                <a:gd name="connsiteY4" fmla="*/ 1237490 h 1892323"/>
                <a:gd name="connsiteX5" fmla="*/ 358668 w 6435917"/>
                <a:gd name="connsiteY5" fmla="*/ 1016680 h 1892323"/>
                <a:gd name="connsiteX6" fmla="*/ 84009 w 6435917"/>
                <a:gd name="connsiteY6" fmla="*/ 1379841 h 1892323"/>
                <a:gd name="connsiteX7" fmla="*/ 1803650 w 6435917"/>
                <a:gd name="connsiteY7" fmla="*/ 1710450 h 1892323"/>
                <a:gd name="connsiteX8" fmla="*/ 3162554 w 6435917"/>
                <a:gd name="connsiteY8" fmla="*/ 729736 h 1892323"/>
                <a:gd name="connsiteX9" fmla="*/ 4693225 w 6435917"/>
                <a:gd name="connsiteY9" fmla="*/ 588667 h 1892323"/>
                <a:gd name="connsiteX10" fmla="*/ 5961776 w 6435917"/>
                <a:gd name="connsiteY10" fmla="*/ 1303484 h 1892323"/>
                <a:gd name="connsiteX0" fmla="*/ 5941465 w 6415606"/>
                <a:gd name="connsiteY0" fmla="*/ 1303484 h 1902580"/>
                <a:gd name="connsiteX1" fmla="*/ 6328344 w 6415606"/>
                <a:gd name="connsiteY1" fmla="*/ 1019494 h 1902580"/>
                <a:gd name="connsiteX2" fmla="*/ 4797744 w 6415606"/>
                <a:gd name="connsiteY2" fmla="*/ 83476 h 1902580"/>
                <a:gd name="connsiteX3" fmla="*/ 2967092 w 6415606"/>
                <a:gd name="connsiteY3" fmla="*/ 218277 h 1902580"/>
                <a:gd name="connsiteX4" fmla="*/ 1620653 w 6415606"/>
                <a:gd name="connsiteY4" fmla="*/ 1237490 h 1902580"/>
                <a:gd name="connsiteX5" fmla="*/ 338357 w 6415606"/>
                <a:gd name="connsiteY5" fmla="*/ 1016680 h 1902580"/>
                <a:gd name="connsiteX6" fmla="*/ 89019 w 6415606"/>
                <a:gd name="connsiteY6" fmla="*/ 1419231 h 1902580"/>
                <a:gd name="connsiteX7" fmla="*/ 1783339 w 6415606"/>
                <a:gd name="connsiteY7" fmla="*/ 1710450 h 1902580"/>
                <a:gd name="connsiteX8" fmla="*/ 3142243 w 6415606"/>
                <a:gd name="connsiteY8" fmla="*/ 729736 h 1902580"/>
                <a:gd name="connsiteX9" fmla="*/ 4672914 w 6415606"/>
                <a:gd name="connsiteY9" fmla="*/ 588667 h 1902580"/>
                <a:gd name="connsiteX10" fmla="*/ 5941465 w 6415606"/>
                <a:gd name="connsiteY10" fmla="*/ 1303484 h 1902580"/>
                <a:gd name="connsiteX0" fmla="*/ 5960039 w 6434180"/>
                <a:gd name="connsiteY0" fmla="*/ 1303484 h 1902580"/>
                <a:gd name="connsiteX1" fmla="*/ 6346918 w 6434180"/>
                <a:gd name="connsiteY1" fmla="*/ 1019494 h 1902580"/>
                <a:gd name="connsiteX2" fmla="*/ 4816318 w 6434180"/>
                <a:gd name="connsiteY2" fmla="*/ 83476 h 1902580"/>
                <a:gd name="connsiteX3" fmla="*/ 2985666 w 6434180"/>
                <a:gd name="connsiteY3" fmla="*/ 218277 h 1902580"/>
                <a:gd name="connsiteX4" fmla="*/ 1639227 w 6434180"/>
                <a:gd name="connsiteY4" fmla="*/ 1237490 h 1902580"/>
                <a:gd name="connsiteX5" fmla="*/ 356931 w 6434180"/>
                <a:gd name="connsiteY5" fmla="*/ 1016680 h 1902580"/>
                <a:gd name="connsiteX6" fmla="*/ 107593 w 6434180"/>
                <a:gd name="connsiteY6" fmla="*/ 1419231 h 1902580"/>
                <a:gd name="connsiteX7" fmla="*/ 1801913 w 6434180"/>
                <a:gd name="connsiteY7" fmla="*/ 1710450 h 1902580"/>
                <a:gd name="connsiteX8" fmla="*/ 3160817 w 6434180"/>
                <a:gd name="connsiteY8" fmla="*/ 729736 h 1902580"/>
                <a:gd name="connsiteX9" fmla="*/ 4691488 w 6434180"/>
                <a:gd name="connsiteY9" fmla="*/ 588667 h 1902580"/>
                <a:gd name="connsiteX10" fmla="*/ 5960039 w 6434180"/>
                <a:gd name="connsiteY10" fmla="*/ 1303484 h 1902580"/>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946772"/>
                <a:gd name="connsiteX1" fmla="*/ 6346918 w 6434180"/>
                <a:gd name="connsiteY1" fmla="*/ 1019494 h 1946772"/>
                <a:gd name="connsiteX2" fmla="*/ 4816318 w 6434180"/>
                <a:gd name="connsiteY2" fmla="*/ 83476 h 1946772"/>
                <a:gd name="connsiteX3" fmla="*/ 2985666 w 6434180"/>
                <a:gd name="connsiteY3" fmla="*/ 218277 h 1946772"/>
                <a:gd name="connsiteX4" fmla="*/ 1639227 w 6434180"/>
                <a:gd name="connsiteY4" fmla="*/ 1237490 h 1946772"/>
                <a:gd name="connsiteX5" fmla="*/ 356931 w 6434180"/>
                <a:gd name="connsiteY5" fmla="*/ 1016680 h 1946772"/>
                <a:gd name="connsiteX6" fmla="*/ 107593 w 6434180"/>
                <a:gd name="connsiteY6" fmla="*/ 1419231 h 1946772"/>
                <a:gd name="connsiteX7" fmla="*/ 1801913 w 6434180"/>
                <a:gd name="connsiteY7" fmla="*/ 1710450 h 1946772"/>
                <a:gd name="connsiteX8" fmla="*/ 3160817 w 6434180"/>
                <a:gd name="connsiteY8" fmla="*/ 729736 h 1946772"/>
                <a:gd name="connsiteX9" fmla="*/ 4691488 w 6434180"/>
                <a:gd name="connsiteY9" fmla="*/ 588667 h 1946772"/>
                <a:gd name="connsiteX10" fmla="*/ 5960039 w 6434180"/>
                <a:gd name="connsiteY10" fmla="*/ 1303484 h 1946772"/>
                <a:gd name="connsiteX0" fmla="*/ 5960039 w 6434180"/>
                <a:gd name="connsiteY0" fmla="*/ 1303484 h 1848056"/>
                <a:gd name="connsiteX1" fmla="*/ 6346918 w 6434180"/>
                <a:gd name="connsiteY1" fmla="*/ 1019494 h 1848056"/>
                <a:gd name="connsiteX2" fmla="*/ 4816318 w 6434180"/>
                <a:gd name="connsiteY2" fmla="*/ 83476 h 1848056"/>
                <a:gd name="connsiteX3" fmla="*/ 2985666 w 6434180"/>
                <a:gd name="connsiteY3" fmla="*/ 218277 h 1848056"/>
                <a:gd name="connsiteX4" fmla="*/ 1639227 w 6434180"/>
                <a:gd name="connsiteY4" fmla="*/ 1237490 h 1848056"/>
                <a:gd name="connsiteX5" fmla="*/ 356931 w 6434180"/>
                <a:gd name="connsiteY5" fmla="*/ 1016680 h 1848056"/>
                <a:gd name="connsiteX6" fmla="*/ 107593 w 6434180"/>
                <a:gd name="connsiteY6" fmla="*/ 1419231 h 1848056"/>
                <a:gd name="connsiteX7" fmla="*/ 1801913 w 6434180"/>
                <a:gd name="connsiteY7" fmla="*/ 1710450 h 1848056"/>
                <a:gd name="connsiteX8" fmla="*/ 3160817 w 6434180"/>
                <a:gd name="connsiteY8" fmla="*/ 729736 h 1848056"/>
                <a:gd name="connsiteX9" fmla="*/ 4691488 w 6434180"/>
                <a:gd name="connsiteY9" fmla="*/ 588667 h 1848056"/>
                <a:gd name="connsiteX10" fmla="*/ 5960039 w 6434180"/>
                <a:gd name="connsiteY10" fmla="*/ 1303484 h 1848056"/>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5521 h 1862570"/>
                <a:gd name="connsiteX1" fmla="*/ 6346918 w 6434180"/>
                <a:gd name="connsiteY1" fmla="*/ 991531 h 1862570"/>
                <a:gd name="connsiteX2" fmla="*/ 4816318 w 6434180"/>
                <a:gd name="connsiteY2" fmla="*/ 55513 h 1862570"/>
                <a:gd name="connsiteX3" fmla="*/ 2985666 w 6434180"/>
                <a:gd name="connsiteY3" fmla="*/ 190314 h 1862570"/>
                <a:gd name="connsiteX4" fmla="*/ 1639227 w 6434180"/>
                <a:gd name="connsiteY4" fmla="*/ 1209527 h 1862570"/>
                <a:gd name="connsiteX5" fmla="*/ 356931 w 6434180"/>
                <a:gd name="connsiteY5" fmla="*/ 988717 h 1862570"/>
                <a:gd name="connsiteX6" fmla="*/ 107593 w 6434180"/>
                <a:gd name="connsiteY6" fmla="*/ 1391268 h 1862570"/>
                <a:gd name="connsiteX7" fmla="*/ 1801913 w 6434180"/>
                <a:gd name="connsiteY7" fmla="*/ 1682487 h 1862570"/>
                <a:gd name="connsiteX8" fmla="*/ 3160817 w 6434180"/>
                <a:gd name="connsiteY8" fmla="*/ 701773 h 1862570"/>
                <a:gd name="connsiteX9" fmla="*/ 4691488 w 6434180"/>
                <a:gd name="connsiteY9" fmla="*/ 560704 h 1862570"/>
                <a:gd name="connsiteX10" fmla="*/ 5960039 w 6434180"/>
                <a:gd name="connsiteY10" fmla="*/ 1275521 h 1862570"/>
                <a:gd name="connsiteX0" fmla="*/ 5960039 w 6434180"/>
                <a:gd name="connsiteY0" fmla="*/ 1275521 h 1716378"/>
                <a:gd name="connsiteX1" fmla="*/ 6346918 w 6434180"/>
                <a:gd name="connsiteY1" fmla="*/ 991531 h 1716378"/>
                <a:gd name="connsiteX2" fmla="*/ 4816318 w 6434180"/>
                <a:gd name="connsiteY2" fmla="*/ 55513 h 1716378"/>
                <a:gd name="connsiteX3" fmla="*/ 2985666 w 6434180"/>
                <a:gd name="connsiteY3" fmla="*/ 190314 h 1716378"/>
                <a:gd name="connsiteX4" fmla="*/ 1639227 w 6434180"/>
                <a:gd name="connsiteY4" fmla="*/ 1209527 h 1716378"/>
                <a:gd name="connsiteX5" fmla="*/ 356931 w 6434180"/>
                <a:gd name="connsiteY5" fmla="*/ 988717 h 1716378"/>
                <a:gd name="connsiteX6" fmla="*/ 107593 w 6434180"/>
                <a:gd name="connsiteY6" fmla="*/ 1391268 h 1716378"/>
                <a:gd name="connsiteX7" fmla="*/ 1801913 w 6434180"/>
                <a:gd name="connsiteY7" fmla="*/ 1682487 h 1716378"/>
                <a:gd name="connsiteX8" fmla="*/ 3389417 w 6434180"/>
                <a:gd name="connsiteY8" fmla="*/ 1171673 h 1716378"/>
                <a:gd name="connsiteX9" fmla="*/ 4691488 w 6434180"/>
                <a:gd name="connsiteY9" fmla="*/ 560704 h 1716378"/>
                <a:gd name="connsiteX10" fmla="*/ 5960039 w 6434180"/>
                <a:gd name="connsiteY10" fmla="*/ 1275521 h 1716378"/>
                <a:gd name="connsiteX0" fmla="*/ 5960039 w 6434180"/>
                <a:gd name="connsiteY0" fmla="*/ 1223507 h 1664364"/>
                <a:gd name="connsiteX1" fmla="*/ 6346918 w 6434180"/>
                <a:gd name="connsiteY1" fmla="*/ 939517 h 1664364"/>
                <a:gd name="connsiteX2" fmla="*/ 4816318 w 6434180"/>
                <a:gd name="connsiteY2" fmla="*/ 3499 h 1664364"/>
                <a:gd name="connsiteX3" fmla="*/ 3207916 w 6434180"/>
                <a:gd name="connsiteY3" fmla="*/ 652650 h 1664364"/>
                <a:gd name="connsiteX4" fmla="*/ 1639227 w 6434180"/>
                <a:gd name="connsiteY4" fmla="*/ 1157513 h 1664364"/>
                <a:gd name="connsiteX5" fmla="*/ 356931 w 6434180"/>
                <a:gd name="connsiteY5" fmla="*/ 936703 h 1664364"/>
                <a:gd name="connsiteX6" fmla="*/ 107593 w 6434180"/>
                <a:gd name="connsiteY6" fmla="*/ 1339254 h 1664364"/>
                <a:gd name="connsiteX7" fmla="*/ 1801913 w 6434180"/>
                <a:gd name="connsiteY7" fmla="*/ 1630473 h 1664364"/>
                <a:gd name="connsiteX8" fmla="*/ 3389417 w 6434180"/>
                <a:gd name="connsiteY8" fmla="*/ 1119659 h 1664364"/>
                <a:gd name="connsiteX9" fmla="*/ 4691488 w 6434180"/>
                <a:gd name="connsiteY9" fmla="*/ 508690 h 1664364"/>
                <a:gd name="connsiteX10" fmla="*/ 5960039 w 6434180"/>
                <a:gd name="connsiteY10" fmla="*/ 1223507 h 1664364"/>
                <a:gd name="connsiteX0" fmla="*/ 5948917 w 6423058"/>
                <a:gd name="connsiteY0" fmla="*/ 1223507 h 1664364"/>
                <a:gd name="connsiteX1" fmla="*/ 6335796 w 6423058"/>
                <a:gd name="connsiteY1" fmla="*/ 939517 h 1664364"/>
                <a:gd name="connsiteX2" fmla="*/ 4805196 w 6423058"/>
                <a:gd name="connsiteY2" fmla="*/ 3499 h 1664364"/>
                <a:gd name="connsiteX3" fmla="*/ 3196794 w 6423058"/>
                <a:gd name="connsiteY3" fmla="*/ 652650 h 1664364"/>
                <a:gd name="connsiteX4" fmla="*/ 1628105 w 6423058"/>
                <a:gd name="connsiteY4" fmla="*/ 1157513 h 1664364"/>
                <a:gd name="connsiteX5" fmla="*/ 402959 w 6423058"/>
                <a:gd name="connsiteY5" fmla="*/ 860503 h 1664364"/>
                <a:gd name="connsiteX6" fmla="*/ 96471 w 6423058"/>
                <a:gd name="connsiteY6" fmla="*/ 1339254 h 1664364"/>
                <a:gd name="connsiteX7" fmla="*/ 1790791 w 6423058"/>
                <a:gd name="connsiteY7" fmla="*/ 1630473 h 1664364"/>
                <a:gd name="connsiteX8" fmla="*/ 3378295 w 6423058"/>
                <a:gd name="connsiteY8" fmla="*/ 1119659 h 1664364"/>
                <a:gd name="connsiteX9" fmla="*/ 4680366 w 6423058"/>
                <a:gd name="connsiteY9" fmla="*/ 508690 h 1664364"/>
                <a:gd name="connsiteX10" fmla="*/ 5948917 w 6423058"/>
                <a:gd name="connsiteY10" fmla="*/ 1223507 h 1664364"/>
                <a:gd name="connsiteX0" fmla="*/ 5912928 w 6387069"/>
                <a:gd name="connsiteY0" fmla="*/ 1223507 h 1636325"/>
                <a:gd name="connsiteX1" fmla="*/ 6299807 w 6387069"/>
                <a:gd name="connsiteY1" fmla="*/ 939517 h 1636325"/>
                <a:gd name="connsiteX2" fmla="*/ 4769207 w 6387069"/>
                <a:gd name="connsiteY2" fmla="*/ 3499 h 1636325"/>
                <a:gd name="connsiteX3" fmla="*/ 3160805 w 6387069"/>
                <a:gd name="connsiteY3" fmla="*/ 652650 h 1636325"/>
                <a:gd name="connsiteX4" fmla="*/ 1592116 w 6387069"/>
                <a:gd name="connsiteY4" fmla="*/ 1157513 h 1636325"/>
                <a:gd name="connsiteX5" fmla="*/ 366970 w 6387069"/>
                <a:gd name="connsiteY5" fmla="*/ 860503 h 1636325"/>
                <a:gd name="connsiteX6" fmla="*/ 104932 w 6387069"/>
                <a:gd name="connsiteY6" fmla="*/ 1231304 h 1636325"/>
                <a:gd name="connsiteX7" fmla="*/ 1754802 w 6387069"/>
                <a:gd name="connsiteY7" fmla="*/ 1630473 h 1636325"/>
                <a:gd name="connsiteX8" fmla="*/ 3342306 w 6387069"/>
                <a:gd name="connsiteY8" fmla="*/ 1119659 h 1636325"/>
                <a:gd name="connsiteX9" fmla="*/ 4644377 w 6387069"/>
                <a:gd name="connsiteY9" fmla="*/ 508690 h 1636325"/>
                <a:gd name="connsiteX10" fmla="*/ 5912928 w 6387069"/>
                <a:gd name="connsiteY10" fmla="*/ 1223507 h 1636325"/>
                <a:gd name="connsiteX0" fmla="*/ 5912928 w 6387069"/>
                <a:gd name="connsiteY0" fmla="*/ 1223507 h 1872772"/>
                <a:gd name="connsiteX1" fmla="*/ 6299807 w 6387069"/>
                <a:gd name="connsiteY1" fmla="*/ 939517 h 1872772"/>
                <a:gd name="connsiteX2" fmla="*/ 4769207 w 6387069"/>
                <a:gd name="connsiteY2" fmla="*/ 3499 h 1872772"/>
                <a:gd name="connsiteX3" fmla="*/ 3160805 w 6387069"/>
                <a:gd name="connsiteY3" fmla="*/ 652650 h 1872772"/>
                <a:gd name="connsiteX4" fmla="*/ 1592116 w 6387069"/>
                <a:gd name="connsiteY4" fmla="*/ 1157513 h 1872772"/>
                <a:gd name="connsiteX5" fmla="*/ 366970 w 6387069"/>
                <a:gd name="connsiteY5" fmla="*/ 860503 h 1872772"/>
                <a:gd name="connsiteX6" fmla="*/ 104932 w 6387069"/>
                <a:gd name="connsiteY6" fmla="*/ 1231304 h 1872772"/>
                <a:gd name="connsiteX7" fmla="*/ 1748452 w 6387069"/>
                <a:gd name="connsiteY7" fmla="*/ 1871773 h 1872772"/>
                <a:gd name="connsiteX8" fmla="*/ 3342306 w 6387069"/>
                <a:gd name="connsiteY8" fmla="*/ 1119659 h 1872772"/>
                <a:gd name="connsiteX9" fmla="*/ 4644377 w 6387069"/>
                <a:gd name="connsiteY9" fmla="*/ 508690 h 1872772"/>
                <a:gd name="connsiteX10" fmla="*/ 5912928 w 6387069"/>
                <a:gd name="connsiteY10" fmla="*/ 1223507 h 1872772"/>
                <a:gd name="connsiteX0" fmla="*/ 5912928 w 6387069"/>
                <a:gd name="connsiteY0" fmla="*/ 1223435 h 1872700"/>
                <a:gd name="connsiteX1" fmla="*/ 6299807 w 6387069"/>
                <a:gd name="connsiteY1" fmla="*/ 939445 h 1872700"/>
                <a:gd name="connsiteX2" fmla="*/ 4769207 w 6387069"/>
                <a:gd name="connsiteY2" fmla="*/ 3427 h 1872700"/>
                <a:gd name="connsiteX3" fmla="*/ 3160805 w 6387069"/>
                <a:gd name="connsiteY3" fmla="*/ 652578 h 1872700"/>
                <a:gd name="connsiteX4" fmla="*/ 1668316 w 6387069"/>
                <a:gd name="connsiteY4" fmla="*/ 1398741 h 1872700"/>
                <a:gd name="connsiteX5" fmla="*/ 366970 w 6387069"/>
                <a:gd name="connsiteY5" fmla="*/ 860431 h 1872700"/>
                <a:gd name="connsiteX6" fmla="*/ 104932 w 6387069"/>
                <a:gd name="connsiteY6" fmla="*/ 1231232 h 1872700"/>
                <a:gd name="connsiteX7" fmla="*/ 1748452 w 6387069"/>
                <a:gd name="connsiteY7" fmla="*/ 1871701 h 1872700"/>
                <a:gd name="connsiteX8" fmla="*/ 3342306 w 6387069"/>
                <a:gd name="connsiteY8" fmla="*/ 1119587 h 1872700"/>
                <a:gd name="connsiteX9" fmla="*/ 4644377 w 6387069"/>
                <a:gd name="connsiteY9" fmla="*/ 508618 h 1872700"/>
                <a:gd name="connsiteX10" fmla="*/ 5912928 w 6387069"/>
                <a:gd name="connsiteY10" fmla="*/ 1223435 h 1872700"/>
                <a:gd name="connsiteX0" fmla="*/ 5912928 w 6387069"/>
                <a:gd name="connsiteY0" fmla="*/ 1223435 h 1872700"/>
                <a:gd name="connsiteX1" fmla="*/ 6299807 w 6387069"/>
                <a:gd name="connsiteY1" fmla="*/ 939445 h 1872700"/>
                <a:gd name="connsiteX2" fmla="*/ 4769207 w 6387069"/>
                <a:gd name="connsiteY2" fmla="*/ 3427 h 1872700"/>
                <a:gd name="connsiteX3" fmla="*/ 3160805 w 6387069"/>
                <a:gd name="connsiteY3" fmla="*/ 652578 h 1872700"/>
                <a:gd name="connsiteX4" fmla="*/ 1668316 w 6387069"/>
                <a:gd name="connsiteY4" fmla="*/ 1398741 h 1872700"/>
                <a:gd name="connsiteX5" fmla="*/ 366970 w 6387069"/>
                <a:gd name="connsiteY5" fmla="*/ 860431 h 1872700"/>
                <a:gd name="connsiteX6" fmla="*/ 104932 w 6387069"/>
                <a:gd name="connsiteY6" fmla="*/ 1231232 h 1872700"/>
                <a:gd name="connsiteX7" fmla="*/ 1748452 w 6387069"/>
                <a:gd name="connsiteY7" fmla="*/ 1871701 h 1872700"/>
                <a:gd name="connsiteX8" fmla="*/ 3342306 w 6387069"/>
                <a:gd name="connsiteY8" fmla="*/ 1119587 h 1872700"/>
                <a:gd name="connsiteX9" fmla="*/ 4574527 w 6387069"/>
                <a:gd name="connsiteY9" fmla="*/ 565768 h 1872700"/>
                <a:gd name="connsiteX10" fmla="*/ 5912928 w 6387069"/>
                <a:gd name="connsiteY10" fmla="*/ 1223435 h 1872700"/>
                <a:gd name="connsiteX0" fmla="*/ 5912928 w 6370309"/>
                <a:gd name="connsiteY0" fmla="*/ 1223435 h 1872700"/>
                <a:gd name="connsiteX1" fmla="*/ 6299807 w 6370309"/>
                <a:gd name="connsiteY1" fmla="*/ 939445 h 1872700"/>
                <a:gd name="connsiteX2" fmla="*/ 4769207 w 6370309"/>
                <a:gd name="connsiteY2" fmla="*/ 3427 h 1872700"/>
                <a:gd name="connsiteX3" fmla="*/ 3160805 w 6370309"/>
                <a:gd name="connsiteY3" fmla="*/ 652578 h 1872700"/>
                <a:gd name="connsiteX4" fmla="*/ 1668316 w 6370309"/>
                <a:gd name="connsiteY4" fmla="*/ 1398741 h 1872700"/>
                <a:gd name="connsiteX5" fmla="*/ 366970 w 6370309"/>
                <a:gd name="connsiteY5" fmla="*/ 860431 h 1872700"/>
                <a:gd name="connsiteX6" fmla="*/ 104932 w 6370309"/>
                <a:gd name="connsiteY6" fmla="*/ 1231232 h 1872700"/>
                <a:gd name="connsiteX7" fmla="*/ 1748452 w 6370309"/>
                <a:gd name="connsiteY7" fmla="*/ 1871701 h 1872700"/>
                <a:gd name="connsiteX8" fmla="*/ 3342306 w 6370309"/>
                <a:gd name="connsiteY8" fmla="*/ 1119587 h 1872700"/>
                <a:gd name="connsiteX9" fmla="*/ 4574527 w 6370309"/>
                <a:gd name="connsiteY9" fmla="*/ 565768 h 1872700"/>
                <a:gd name="connsiteX10" fmla="*/ 5912928 w 6370309"/>
                <a:gd name="connsiteY10" fmla="*/ 1223435 h 1872700"/>
                <a:gd name="connsiteX0" fmla="*/ 5912928 w 6341709"/>
                <a:gd name="connsiteY0" fmla="*/ 1223435 h 1872700"/>
                <a:gd name="connsiteX1" fmla="*/ 6299807 w 6341709"/>
                <a:gd name="connsiteY1" fmla="*/ 939445 h 1872700"/>
                <a:gd name="connsiteX2" fmla="*/ 4769207 w 6341709"/>
                <a:gd name="connsiteY2" fmla="*/ 3427 h 1872700"/>
                <a:gd name="connsiteX3" fmla="*/ 3160805 w 6341709"/>
                <a:gd name="connsiteY3" fmla="*/ 652578 h 1872700"/>
                <a:gd name="connsiteX4" fmla="*/ 1668316 w 6341709"/>
                <a:gd name="connsiteY4" fmla="*/ 1398741 h 1872700"/>
                <a:gd name="connsiteX5" fmla="*/ 366970 w 6341709"/>
                <a:gd name="connsiteY5" fmla="*/ 860431 h 1872700"/>
                <a:gd name="connsiteX6" fmla="*/ 104932 w 6341709"/>
                <a:gd name="connsiteY6" fmla="*/ 1231232 h 1872700"/>
                <a:gd name="connsiteX7" fmla="*/ 1748452 w 6341709"/>
                <a:gd name="connsiteY7" fmla="*/ 1871701 h 1872700"/>
                <a:gd name="connsiteX8" fmla="*/ 3342306 w 6341709"/>
                <a:gd name="connsiteY8" fmla="*/ 1119587 h 1872700"/>
                <a:gd name="connsiteX9" fmla="*/ 4574527 w 6341709"/>
                <a:gd name="connsiteY9" fmla="*/ 565768 h 1872700"/>
                <a:gd name="connsiteX10" fmla="*/ 5912928 w 6341709"/>
                <a:gd name="connsiteY10" fmla="*/ 1223435 h 1872700"/>
                <a:gd name="connsiteX0" fmla="*/ 5912928 w 6341709"/>
                <a:gd name="connsiteY0" fmla="*/ 1160338 h 1809603"/>
                <a:gd name="connsiteX1" fmla="*/ 6299807 w 6341709"/>
                <a:gd name="connsiteY1" fmla="*/ 876348 h 1809603"/>
                <a:gd name="connsiteX2" fmla="*/ 4566007 w 6341709"/>
                <a:gd name="connsiteY2" fmla="*/ 3830 h 1809603"/>
                <a:gd name="connsiteX3" fmla="*/ 3160805 w 6341709"/>
                <a:gd name="connsiteY3" fmla="*/ 589481 h 1809603"/>
                <a:gd name="connsiteX4" fmla="*/ 1668316 w 6341709"/>
                <a:gd name="connsiteY4" fmla="*/ 1335644 h 1809603"/>
                <a:gd name="connsiteX5" fmla="*/ 366970 w 6341709"/>
                <a:gd name="connsiteY5" fmla="*/ 797334 h 1809603"/>
                <a:gd name="connsiteX6" fmla="*/ 104932 w 6341709"/>
                <a:gd name="connsiteY6" fmla="*/ 1168135 h 1809603"/>
                <a:gd name="connsiteX7" fmla="*/ 1748452 w 6341709"/>
                <a:gd name="connsiteY7" fmla="*/ 1808604 h 1809603"/>
                <a:gd name="connsiteX8" fmla="*/ 3342306 w 6341709"/>
                <a:gd name="connsiteY8" fmla="*/ 1056490 h 1809603"/>
                <a:gd name="connsiteX9" fmla="*/ 4574527 w 6341709"/>
                <a:gd name="connsiteY9" fmla="*/ 502671 h 1809603"/>
                <a:gd name="connsiteX10" fmla="*/ 5912928 w 6341709"/>
                <a:gd name="connsiteY10" fmla="*/ 1160338 h 1809603"/>
                <a:gd name="connsiteX0" fmla="*/ 5912928 w 6341709"/>
                <a:gd name="connsiteY0" fmla="*/ 1158006 h 1807271"/>
                <a:gd name="connsiteX1" fmla="*/ 6299807 w 6341709"/>
                <a:gd name="connsiteY1" fmla="*/ 874016 h 1807271"/>
                <a:gd name="connsiteX2" fmla="*/ 4566007 w 6341709"/>
                <a:gd name="connsiteY2" fmla="*/ 1498 h 1807271"/>
                <a:gd name="connsiteX3" fmla="*/ 3160805 w 6341709"/>
                <a:gd name="connsiteY3" fmla="*/ 587149 h 1807271"/>
                <a:gd name="connsiteX4" fmla="*/ 1668316 w 6341709"/>
                <a:gd name="connsiteY4" fmla="*/ 1333312 h 1807271"/>
                <a:gd name="connsiteX5" fmla="*/ 366970 w 6341709"/>
                <a:gd name="connsiteY5" fmla="*/ 795002 h 1807271"/>
                <a:gd name="connsiteX6" fmla="*/ 104932 w 6341709"/>
                <a:gd name="connsiteY6" fmla="*/ 1165803 h 1807271"/>
                <a:gd name="connsiteX7" fmla="*/ 1748452 w 6341709"/>
                <a:gd name="connsiteY7" fmla="*/ 1806272 h 1807271"/>
                <a:gd name="connsiteX8" fmla="*/ 3342306 w 6341709"/>
                <a:gd name="connsiteY8" fmla="*/ 1054158 h 1807271"/>
                <a:gd name="connsiteX9" fmla="*/ 4574527 w 6341709"/>
                <a:gd name="connsiteY9" fmla="*/ 500339 h 1807271"/>
                <a:gd name="connsiteX10" fmla="*/ 5912928 w 6341709"/>
                <a:gd name="connsiteY10" fmla="*/ 1158006 h 1807271"/>
                <a:gd name="connsiteX0" fmla="*/ 5912928 w 6341709"/>
                <a:gd name="connsiteY0" fmla="*/ 1158785 h 1808050"/>
                <a:gd name="connsiteX1" fmla="*/ 6299807 w 6341709"/>
                <a:gd name="connsiteY1" fmla="*/ 874795 h 1808050"/>
                <a:gd name="connsiteX2" fmla="*/ 4566007 w 6341709"/>
                <a:gd name="connsiteY2" fmla="*/ 2277 h 1808050"/>
                <a:gd name="connsiteX3" fmla="*/ 3160805 w 6341709"/>
                <a:gd name="connsiteY3" fmla="*/ 587928 h 1808050"/>
                <a:gd name="connsiteX4" fmla="*/ 1668316 w 6341709"/>
                <a:gd name="connsiteY4" fmla="*/ 1334091 h 1808050"/>
                <a:gd name="connsiteX5" fmla="*/ 366970 w 6341709"/>
                <a:gd name="connsiteY5" fmla="*/ 795781 h 1808050"/>
                <a:gd name="connsiteX6" fmla="*/ 104932 w 6341709"/>
                <a:gd name="connsiteY6" fmla="*/ 1166582 h 1808050"/>
                <a:gd name="connsiteX7" fmla="*/ 1748452 w 6341709"/>
                <a:gd name="connsiteY7" fmla="*/ 1807051 h 1808050"/>
                <a:gd name="connsiteX8" fmla="*/ 3342306 w 6341709"/>
                <a:gd name="connsiteY8" fmla="*/ 1054937 h 1808050"/>
                <a:gd name="connsiteX9" fmla="*/ 4574527 w 6341709"/>
                <a:gd name="connsiteY9" fmla="*/ 501118 h 1808050"/>
                <a:gd name="connsiteX10" fmla="*/ 5912928 w 6341709"/>
                <a:gd name="connsiteY10" fmla="*/ 1158785 h 1808050"/>
                <a:gd name="connsiteX0" fmla="*/ 5912928 w 6341709"/>
                <a:gd name="connsiteY0" fmla="*/ 1158785 h 1808050"/>
                <a:gd name="connsiteX1" fmla="*/ 6299807 w 6341709"/>
                <a:gd name="connsiteY1" fmla="*/ 874795 h 1808050"/>
                <a:gd name="connsiteX2" fmla="*/ 4566007 w 6341709"/>
                <a:gd name="connsiteY2" fmla="*/ 2277 h 1808050"/>
                <a:gd name="connsiteX3" fmla="*/ 3160805 w 6341709"/>
                <a:gd name="connsiteY3" fmla="*/ 587928 h 1808050"/>
                <a:gd name="connsiteX4" fmla="*/ 1668316 w 6341709"/>
                <a:gd name="connsiteY4" fmla="*/ 1334091 h 1808050"/>
                <a:gd name="connsiteX5" fmla="*/ 366970 w 6341709"/>
                <a:gd name="connsiteY5" fmla="*/ 795781 h 1808050"/>
                <a:gd name="connsiteX6" fmla="*/ 104932 w 6341709"/>
                <a:gd name="connsiteY6" fmla="*/ 1166582 h 1808050"/>
                <a:gd name="connsiteX7" fmla="*/ 1748452 w 6341709"/>
                <a:gd name="connsiteY7" fmla="*/ 1807051 h 1808050"/>
                <a:gd name="connsiteX8" fmla="*/ 3342306 w 6341709"/>
                <a:gd name="connsiteY8" fmla="*/ 1054937 h 1808050"/>
                <a:gd name="connsiteX9" fmla="*/ 4574527 w 6341709"/>
                <a:gd name="connsiteY9" fmla="*/ 501118 h 1808050"/>
                <a:gd name="connsiteX10" fmla="*/ 5912928 w 6341709"/>
                <a:gd name="connsiteY10" fmla="*/ 1158785 h 1808050"/>
                <a:gd name="connsiteX0" fmla="*/ 5912928 w 6341709"/>
                <a:gd name="connsiteY0" fmla="*/ 1158785 h 1808050"/>
                <a:gd name="connsiteX1" fmla="*/ 6299807 w 6341709"/>
                <a:gd name="connsiteY1" fmla="*/ 874795 h 1808050"/>
                <a:gd name="connsiteX2" fmla="*/ 4566007 w 6341709"/>
                <a:gd name="connsiteY2" fmla="*/ 2277 h 1808050"/>
                <a:gd name="connsiteX3" fmla="*/ 3160805 w 6341709"/>
                <a:gd name="connsiteY3" fmla="*/ 587928 h 1808050"/>
                <a:gd name="connsiteX4" fmla="*/ 1668316 w 6341709"/>
                <a:gd name="connsiteY4" fmla="*/ 1334091 h 1808050"/>
                <a:gd name="connsiteX5" fmla="*/ 366970 w 6341709"/>
                <a:gd name="connsiteY5" fmla="*/ 795781 h 1808050"/>
                <a:gd name="connsiteX6" fmla="*/ 104932 w 6341709"/>
                <a:gd name="connsiteY6" fmla="*/ 1166582 h 1808050"/>
                <a:gd name="connsiteX7" fmla="*/ 1748452 w 6341709"/>
                <a:gd name="connsiteY7" fmla="*/ 1807051 h 1808050"/>
                <a:gd name="connsiteX8" fmla="*/ 3342306 w 6341709"/>
                <a:gd name="connsiteY8" fmla="*/ 1054937 h 1808050"/>
                <a:gd name="connsiteX9" fmla="*/ 4574527 w 6341709"/>
                <a:gd name="connsiteY9" fmla="*/ 501118 h 1808050"/>
                <a:gd name="connsiteX10" fmla="*/ 5912928 w 6341709"/>
                <a:gd name="connsiteY10" fmla="*/ 1158785 h 1808050"/>
                <a:gd name="connsiteX0" fmla="*/ 5973987 w 6402768"/>
                <a:gd name="connsiteY0" fmla="*/ 1158785 h 1808050"/>
                <a:gd name="connsiteX1" fmla="*/ 6360866 w 6402768"/>
                <a:gd name="connsiteY1" fmla="*/ 874795 h 1808050"/>
                <a:gd name="connsiteX2" fmla="*/ 4627066 w 6402768"/>
                <a:gd name="connsiteY2" fmla="*/ 2277 h 1808050"/>
                <a:gd name="connsiteX3" fmla="*/ 3221864 w 6402768"/>
                <a:gd name="connsiteY3" fmla="*/ 587928 h 1808050"/>
                <a:gd name="connsiteX4" fmla="*/ 1729375 w 6402768"/>
                <a:gd name="connsiteY4" fmla="*/ 1334091 h 1808050"/>
                <a:gd name="connsiteX5" fmla="*/ 428029 w 6402768"/>
                <a:gd name="connsiteY5" fmla="*/ 795781 h 1808050"/>
                <a:gd name="connsiteX6" fmla="*/ 165991 w 6402768"/>
                <a:gd name="connsiteY6" fmla="*/ 1166582 h 1808050"/>
                <a:gd name="connsiteX7" fmla="*/ 1809511 w 6402768"/>
                <a:gd name="connsiteY7" fmla="*/ 1807051 h 1808050"/>
                <a:gd name="connsiteX8" fmla="*/ 3403365 w 6402768"/>
                <a:gd name="connsiteY8" fmla="*/ 1054937 h 1808050"/>
                <a:gd name="connsiteX9" fmla="*/ 4635586 w 6402768"/>
                <a:gd name="connsiteY9" fmla="*/ 501118 h 1808050"/>
                <a:gd name="connsiteX10" fmla="*/ 5973987 w 6402768"/>
                <a:gd name="connsiteY10" fmla="*/ 1158785 h 1808050"/>
                <a:gd name="connsiteX0" fmla="*/ 6015010 w 6443791"/>
                <a:gd name="connsiteY0" fmla="*/ 1158785 h 1808050"/>
                <a:gd name="connsiteX1" fmla="*/ 6401889 w 6443791"/>
                <a:gd name="connsiteY1" fmla="*/ 874795 h 1808050"/>
                <a:gd name="connsiteX2" fmla="*/ 4668089 w 6443791"/>
                <a:gd name="connsiteY2" fmla="*/ 2277 h 1808050"/>
                <a:gd name="connsiteX3" fmla="*/ 3262887 w 6443791"/>
                <a:gd name="connsiteY3" fmla="*/ 587928 h 1808050"/>
                <a:gd name="connsiteX4" fmla="*/ 1770398 w 6443791"/>
                <a:gd name="connsiteY4" fmla="*/ 1334091 h 1808050"/>
                <a:gd name="connsiteX5" fmla="*/ 469052 w 6443791"/>
                <a:gd name="connsiteY5" fmla="*/ 795781 h 1808050"/>
                <a:gd name="connsiteX6" fmla="*/ 207014 w 6443791"/>
                <a:gd name="connsiteY6" fmla="*/ 1166582 h 1808050"/>
                <a:gd name="connsiteX7" fmla="*/ 1850534 w 6443791"/>
                <a:gd name="connsiteY7" fmla="*/ 1807051 h 1808050"/>
                <a:gd name="connsiteX8" fmla="*/ 3444388 w 6443791"/>
                <a:gd name="connsiteY8" fmla="*/ 1054937 h 1808050"/>
                <a:gd name="connsiteX9" fmla="*/ 4676609 w 6443791"/>
                <a:gd name="connsiteY9" fmla="*/ 501118 h 1808050"/>
                <a:gd name="connsiteX10" fmla="*/ 6015010 w 6443791"/>
                <a:gd name="connsiteY10" fmla="*/ 1158785 h 1808050"/>
                <a:gd name="connsiteX0" fmla="*/ 5958523 w 6387304"/>
                <a:gd name="connsiteY0" fmla="*/ 1158785 h 1808050"/>
                <a:gd name="connsiteX1" fmla="*/ 6345402 w 6387304"/>
                <a:gd name="connsiteY1" fmla="*/ 874795 h 1808050"/>
                <a:gd name="connsiteX2" fmla="*/ 4611602 w 6387304"/>
                <a:gd name="connsiteY2" fmla="*/ 2277 h 1808050"/>
                <a:gd name="connsiteX3" fmla="*/ 3206400 w 6387304"/>
                <a:gd name="connsiteY3" fmla="*/ 587928 h 1808050"/>
                <a:gd name="connsiteX4" fmla="*/ 1713911 w 6387304"/>
                <a:gd name="connsiteY4" fmla="*/ 1334091 h 1808050"/>
                <a:gd name="connsiteX5" fmla="*/ 412565 w 6387304"/>
                <a:gd name="connsiteY5" fmla="*/ 795781 h 1808050"/>
                <a:gd name="connsiteX6" fmla="*/ 150527 w 6387304"/>
                <a:gd name="connsiteY6" fmla="*/ 1166582 h 1808050"/>
                <a:gd name="connsiteX7" fmla="*/ 1794047 w 6387304"/>
                <a:gd name="connsiteY7" fmla="*/ 1807051 h 1808050"/>
                <a:gd name="connsiteX8" fmla="*/ 3387901 w 6387304"/>
                <a:gd name="connsiteY8" fmla="*/ 1054937 h 1808050"/>
                <a:gd name="connsiteX9" fmla="*/ 4620122 w 6387304"/>
                <a:gd name="connsiteY9" fmla="*/ 501118 h 1808050"/>
                <a:gd name="connsiteX10" fmla="*/ 5958523 w 6387304"/>
                <a:gd name="connsiteY10" fmla="*/ 1158785 h 1808050"/>
                <a:gd name="connsiteX0" fmla="*/ 5973124 w 6401905"/>
                <a:gd name="connsiteY0" fmla="*/ 1158785 h 1808050"/>
                <a:gd name="connsiteX1" fmla="*/ 6360003 w 6401905"/>
                <a:gd name="connsiteY1" fmla="*/ 874795 h 1808050"/>
                <a:gd name="connsiteX2" fmla="*/ 4626203 w 6401905"/>
                <a:gd name="connsiteY2" fmla="*/ 2277 h 1808050"/>
                <a:gd name="connsiteX3" fmla="*/ 3221001 w 6401905"/>
                <a:gd name="connsiteY3" fmla="*/ 587928 h 1808050"/>
                <a:gd name="connsiteX4" fmla="*/ 1728512 w 6401905"/>
                <a:gd name="connsiteY4" fmla="*/ 1334091 h 1808050"/>
                <a:gd name="connsiteX5" fmla="*/ 427166 w 6401905"/>
                <a:gd name="connsiteY5" fmla="*/ 795781 h 1808050"/>
                <a:gd name="connsiteX6" fmla="*/ 165128 w 6401905"/>
                <a:gd name="connsiteY6" fmla="*/ 1166582 h 1808050"/>
                <a:gd name="connsiteX7" fmla="*/ 1808648 w 6401905"/>
                <a:gd name="connsiteY7" fmla="*/ 1807051 h 1808050"/>
                <a:gd name="connsiteX8" fmla="*/ 3402502 w 6401905"/>
                <a:gd name="connsiteY8" fmla="*/ 1054937 h 1808050"/>
                <a:gd name="connsiteX9" fmla="*/ 4634723 w 6401905"/>
                <a:gd name="connsiteY9" fmla="*/ 501118 h 1808050"/>
                <a:gd name="connsiteX10" fmla="*/ 5973124 w 6401905"/>
                <a:gd name="connsiteY10" fmla="*/ 1158785 h 1808050"/>
                <a:gd name="connsiteX0" fmla="*/ 5973124 w 6401905"/>
                <a:gd name="connsiteY0" fmla="*/ 1158785 h 1808050"/>
                <a:gd name="connsiteX1" fmla="*/ 6360003 w 6401905"/>
                <a:gd name="connsiteY1" fmla="*/ 874795 h 1808050"/>
                <a:gd name="connsiteX2" fmla="*/ 4626203 w 6401905"/>
                <a:gd name="connsiteY2" fmla="*/ 2277 h 1808050"/>
                <a:gd name="connsiteX3" fmla="*/ 3221001 w 6401905"/>
                <a:gd name="connsiteY3" fmla="*/ 587928 h 1808050"/>
                <a:gd name="connsiteX4" fmla="*/ 1728512 w 6401905"/>
                <a:gd name="connsiteY4" fmla="*/ 1334091 h 1808050"/>
                <a:gd name="connsiteX5" fmla="*/ 427166 w 6401905"/>
                <a:gd name="connsiteY5" fmla="*/ 795781 h 1808050"/>
                <a:gd name="connsiteX6" fmla="*/ 165128 w 6401905"/>
                <a:gd name="connsiteY6" fmla="*/ 1166582 h 1808050"/>
                <a:gd name="connsiteX7" fmla="*/ 1808648 w 6401905"/>
                <a:gd name="connsiteY7" fmla="*/ 1807051 h 1808050"/>
                <a:gd name="connsiteX8" fmla="*/ 3402502 w 6401905"/>
                <a:gd name="connsiteY8" fmla="*/ 1054937 h 1808050"/>
                <a:gd name="connsiteX9" fmla="*/ 4634723 w 6401905"/>
                <a:gd name="connsiteY9" fmla="*/ 501118 h 1808050"/>
                <a:gd name="connsiteX10" fmla="*/ 5973124 w 6401905"/>
                <a:gd name="connsiteY10" fmla="*/ 1158785 h 1808050"/>
                <a:gd name="connsiteX0" fmla="*/ 5973124 w 6401905"/>
                <a:gd name="connsiteY0" fmla="*/ 1158785 h 1808050"/>
                <a:gd name="connsiteX1" fmla="*/ 6360003 w 6401905"/>
                <a:gd name="connsiteY1" fmla="*/ 874795 h 1808050"/>
                <a:gd name="connsiteX2" fmla="*/ 4626203 w 6401905"/>
                <a:gd name="connsiteY2" fmla="*/ 2277 h 1808050"/>
                <a:gd name="connsiteX3" fmla="*/ 3221001 w 6401905"/>
                <a:gd name="connsiteY3" fmla="*/ 587928 h 1808050"/>
                <a:gd name="connsiteX4" fmla="*/ 1728512 w 6401905"/>
                <a:gd name="connsiteY4" fmla="*/ 1334091 h 1808050"/>
                <a:gd name="connsiteX5" fmla="*/ 427166 w 6401905"/>
                <a:gd name="connsiteY5" fmla="*/ 795781 h 1808050"/>
                <a:gd name="connsiteX6" fmla="*/ 165128 w 6401905"/>
                <a:gd name="connsiteY6" fmla="*/ 1166582 h 1808050"/>
                <a:gd name="connsiteX7" fmla="*/ 1808648 w 6401905"/>
                <a:gd name="connsiteY7" fmla="*/ 1807051 h 1808050"/>
                <a:gd name="connsiteX8" fmla="*/ 3402502 w 6401905"/>
                <a:gd name="connsiteY8" fmla="*/ 1054937 h 1808050"/>
                <a:gd name="connsiteX9" fmla="*/ 4634723 w 6401905"/>
                <a:gd name="connsiteY9" fmla="*/ 501118 h 1808050"/>
                <a:gd name="connsiteX10" fmla="*/ 5973124 w 6401905"/>
                <a:gd name="connsiteY10" fmla="*/ 1158785 h 1808050"/>
                <a:gd name="connsiteX0" fmla="*/ 5973124 w 6401905"/>
                <a:gd name="connsiteY0" fmla="*/ 1132686 h 1781951"/>
                <a:gd name="connsiteX1" fmla="*/ 6360003 w 6401905"/>
                <a:gd name="connsiteY1" fmla="*/ 848696 h 1781951"/>
                <a:gd name="connsiteX2" fmla="*/ 4645253 w 6401905"/>
                <a:gd name="connsiteY2" fmla="*/ 1578 h 1781951"/>
                <a:gd name="connsiteX3" fmla="*/ 3221001 w 6401905"/>
                <a:gd name="connsiteY3" fmla="*/ 561829 h 1781951"/>
                <a:gd name="connsiteX4" fmla="*/ 1728512 w 6401905"/>
                <a:gd name="connsiteY4" fmla="*/ 1307992 h 1781951"/>
                <a:gd name="connsiteX5" fmla="*/ 427166 w 6401905"/>
                <a:gd name="connsiteY5" fmla="*/ 769682 h 1781951"/>
                <a:gd name="connsiteX6" fmla="*/ 165128 w 6401905"/>
                <a:gd name="connsiteY6" fmla="*/ 1140483 h 1781951"/>
                <a:gd name="connsiteX7" fmla="*/ 1808648 w 6401905"/>
                <a:gd name="connsiteY7" fmla="*/ 1780952 h 1781951"/>
                <a:gd name="connsiteX8" fmla="*/ 3402502 w 6401905"/>
                <a:gd name="connsiteY8" fmla="*/ 1028838 h 1781951"/>
                <a:gd name="connsiteX9" fmla="*/ 4634723 w 6401905"/>
                <a:gd name="connsiteY9" fmla="*/ 475019 h 1781951"/>
                <a:gd name="connsiteX10" fmla="*/ 5973124 w 6401905"/>
                <a:gd name="connsiteY10" fmla="*/ 1132686 h 1781951"/>
                <a:gd name="connsiteX0" fmla="*/ 5973124 w 6401905"/>
                <a:gd name="connsiteY0" fmla="*/ 1132686 h 1781951"/>
                <a:gd name="connsiteX1" fmla="*/ 6360003 w 6401905"/>
                <a:gd name="connsiteY1" fmla="*/ 848696 h 1781951"/>
                <a:gd name="connsiteX2" fmla="*/ 4645253 w 6401905"/>
                <a:gd name="connsiteY2" fmla="*/ 1578 h 1781951"/>
                <a:gd name="connsiteX3" fmla="*/ 3221001 w 6401905"/>
                <a:gd name="connsiteY3" fmla="*/ 561829 h 1781951"/>
                <a:gd name="connsiteX4" fmla="*/ 1728512 w 6401905"/>
                <a:gd name="connsiteY4" fmla="*/ 1307992 h 1781951"/>
                <a:gd name="connsiteX5" fmla="*/ 427166 w 6401905"/>
                <a:gd name="connsiteY5" fmla="*/ 769682 h 1781951"/>
                <a:gd name="connsiteX6" fmla="*/ 165128 w 6401905"/>
                <a:gd name="connsiteY6" fmla="*/ 1140483 h 1781951"/>
                <a:gd name="connsiteX7" fmla="*/ 1808648 w 6401905"/>
                <a:gd name="connsiteY7" fmla="*/ 1780952 h 1781951"/>
                <a:gd name="connsiteX8" fmla="*/ 3402502 w 6401905"/>
                <a:gd name="connsiteY8" fmla="*/ 1028838 h 1781951"/>
                <a:gd name="connsiteX9" fmla="*/ 4634723 w 6401905"/>
                <a:gd name="connsiteY9" fmla="*/ 475019 h 1781951"/>
                <a:gd name="connsiteX10" fmla="*/ 5973124 w 6401905"/>
                <a:gd name="connsiteY10" fmla="*/ 1132686 h 178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01905" h="1781951">
                  <a:moveTo>
                    <a:pt x="5973124" y="1132686"/>
                  </a:moveTo>
                  <a:cubicBezTo>
                    <a:pt x="6156519" y="1324379"/>
                    <a:pt x="6526231" y="1016198"/>
                    <a:pt x="6360003" y="848696"/>
                  </a:cubicBezTo>
                  <a:cubicBezTo>
                    <a:pt x="5905194" y="367643"/>
                    <a:pt x="5365270" y="30339"/>
                    <a:pt x="4645253" y="1578"/>
                  </a:cubicBezTo>
                  <a:cubicBezTo>
                    <a:pt x="3925236" y="-27183"/>
                    <a:pt x="3707125" y="344093"/>
                    <a:pt x="3221001" y="561829"/>
                  </a:cubicBezTo>
                  <a:cubicBezTo>
                    <a:pt x="2734877" y="779565"/>
                    <a:pt x="2543401" y="1267000"/>
                    <a:pt x="1728512" y="1307992"/>
                  </a:cubicBezTo>
                  <a:cubicBezTo>
                    <a:pt x="913623" y="1348984"/>
                    <a:pt x="800203" y="1126515"/>
                    <a:pt x="427166" y="769682"/>
                  </a:cubicBezTo>
                  <a:cubicBezTo>
                    <a:pt x="77901" y="386644"/>
                    <a:pt x="-184634" y="875059"/>
                    <a:pt x="165128" y="1140483"/>
                  </a:cubicBezTo>
                  <a:cubicBezTo>
                    <a:pt x="634241" y="1557361"/>
                    <a:pt x="1269086" y="1799559"/>
                    <a:pt x="1808648" y="1780952"/>
                  </a:cubicBezTo>
                  <a:cubicBezTo>
                    <a:pt x="2348210" y="1762345"/>
                    <a:pt x="2969589" y="1405243"/>
                    <a:pt x="3402502" y="1028838"/>
                  </a:cubicBezTo>
                  <a:cubicBezTo>
                    <a:pt x="3835415" y="652433"/>
                    <a:pt x="4206286" y="457711"/>
                    <a:pt x="4634723" y="475019"/>
                  </a:cubicBezTo>
                  <a:cubicBezTo>
                    <a:pt x="5063160" y="492327"/>
                    <a:pt x="5586850" y="764991"/>
                    <a:pt x="5973124" y="1132686"/>
                  </a:cubicBezTo>
                  <a:close/>
                </a:path>
              </a:pathLst>
            </a:custGeom>
            <a:solidFill>
              <a:srgbClr val="59B4D9"/>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882"/>
            </a:p>
          </p:txBody>
        </p:sp>
        <p:sp>
          <p:nvSpPr>
            <p:cNvPr id="10" name="Freeform: Shape 9"/>
            <p:cNvSpPr/>
            <p:nvPr/>
          </p:nvSpPr>
          <p:spPr>
            <a:xfrm flipH="1" flipV="1">
              <a:off x="-16372125" y="3446034"/>
              <a:ext cx="6434180" cy="1862570"/>
            </a:xfrm>
            <a:custGeom>
              <a:avLst/>
              <a:gdLst>
                <a:gd name="connsiteX0" fmla="*/ 6157732 w 6157732"/>
                <a:gd name="connsiteY0" fmla="*/ 914400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7732 w 6157732"/>
                <a:gd name="connsiteY11" fmla="*/ 914400 h 1551008"/>
                <a:gd name="connsiteX0" fmla="*/ 6154919 w 6157732"/>
                <a:gd name="connsiteY0" fmla="*/ 1018501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4919 w 6157732"/>
                <a:gd name="connsiteY11" fmla="*/ 1018501 h 1551008"/>
                <a:gd name="connsiteX0" fmla="*/ 5903089 w 6157732"/>
                <a:gd name="connsiteY0" fmla="*/ 1180618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39970 w 6264646"/>
                <a:gd name="connsiteY3" fmla="*/ 92598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903089 w 6264646"/>
                <a:gd name="connsiteY10" fmla="*/ 118061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88816"/>
                <a:gd name="connsiteY0" fmla="*/ 1220008 h 1551008"/>
                <a:gd name="connsiteX1" fmla="*/ 6264646 w 6288816"/>
                <a:gd name="connsiteY1" fmla="*/ 936018 h 1551008"/>
                <a:gd name="connsiteX2" fmla="*/ 4734046 w 6288816"/>
                <a:gd name="connsiteY2" fmla="*/ 0 h 1551008"/>
                <a:gd name="connsiteX3" fmla="*/ 2903394 w 6288816"/>
                <a:gd name="connsiteY3" fmla="*/ 134801 h 1551008"/>
                <a:gd name="connsiteX4" fmla="*/ 1562582 w 6288816"/>
                <a:gd name="connsiteY4" fmla="*/ 1134319 h 1551008"/>
                <a:gd name="connsiteX5" fmla="*/ 266218 w 6288816"/>
                <a:gd name="connsiteY5" fmla="*/ 983848 h 1551008"/>
                <a:gd name="connsiteX6" fmla="*/ 0 w 6288816"/>
                <a:gd name="connsiteY6" fmla="*/ 1296365 h 1551008"/>
                <a:gd name="connsiteX7" fmla="*/ 1747777 w 6288816"/>
                <a:gd name="connsiteY7" fmla="*/ 1551008 h 1551008"/>
                <a:gd name="connsiteX8" fmla="*/ 3078545 w 6288816"/>
                <a:gd name="connsiteY8" fmla="*/ 646260 h 1551008"/>
                <a:gd name="connsiteX9" fmla="*/ 4609216 w 6288816"/>
                <a:gd name="connsiteY9" fmla="*/ 505191 h 1551008"/>
                <a:gd name="connsiteX10" fmla="*/ 5877767 w 6288816"/>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64662 h 1595662"/>
                <a:gd name="connsiteX1" fmla="*/ 6264646 w 6299907"/>
                <a:gd name="connsiteY1" fmla="*/ 980672 h 1595662"/>
                <a:gd name="connsiteX2" fmla="*/ 4734046 w 6299907"/>
                <a:gd name="connsiteY2" fmla="*/ 44654 h 1595662"/>
                <a:gd name="connsiteX3" fmla="*/ 2903394 w 6299907"/>
                <a:gd name="connsiteY3" fmla="*/ 179455 h 1595662"/>
                <a:gd name="connsiteX4" fmla="*/ 1562582 w 6299907"/>
                <a:gd name="connsiteY4" fmla="*/ 1178973 h 1595662"/>
                <a:gd name="connsiteX5" fmla="*/ 266218 w 6299907"/>
                <a:gd name="connsiteY5" fmla="*/ 1028502 h 1595662"/>
                <a:gd name="connsiteX6" fmla="*/ 0 w 6299907"/>
                <a:gd name="connsiteY6" fmla="*/ 1341019 h 1595662"/>
                <a:gd name="connsiteX7" fmla="*/ 1747777 w 6299907"/>
                <a:gd name="connsiteY7" fmla="*/ 1595662 h 1595662"/>
                <a:gd name="connsiteX8" fmla="*/ 3078545 w 6299907"/>
                <a:gd name="connsiteY8" fmla="*/ 690914 h 1595662"/>
                <a:gd name="connsiteX9" fmla="*/ 4609216 w 6299907"/>
                <a:gd name="connsiteY9" fmla="*/ 549845 h 1595662"/>
                <a:gd name="connsiteX10" fmla="*/ 5877767 w 6299907"/>
                <a:gd name="connsiteY10" fmla="*/ 1264662 h 1595662"/>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350331"/>
                <a:gd name="connsiteY0" fmla="*/ 1303484 h 1634484"/>
                <a:gd name="connsiteX1" fmla="*/ 6264646 w 6350331"/>
                <a:gd name="connsiteY1" fmla="*/ 1019494 h 1634484"/>
                <a:gd name="connsiteX2" fmla="*/ 4734046 w 6350331"/>
                <a:gd name="connsiteY2" fmla="*/ 83476 h 1634484"/>
                <a:gd name="connsiteX3" fmla="*/ 2903394 w 6350331"/>
                <a:gd name="connsiteY3" fmla="*/ 218277 h 1634484"/>
                <a:gd name="connsiteX4" fmla="*/ 1562582 w 6350331"/>
                <a:gd name="connsiteY4" fmla="*/ 1217795 h 1634484"/>
                <a:gd name="connsiteX5" fmla="*/ 266218 w 6350331"/>
                <a:gd name="connsiteY5" fmla="*/ 1067324 h 1634484"/>
                <a:gd name="connsiteX6" fmla="*/ 0 w 6350331"/>
                <a:gd name="connsiteY6" fmla="*/ 1379841 h 1634484"/>
                <a:gd name="connsiteX7" fmla="*/ 1747777 w 6350331"/>
                <a:gd name="connsiteY7" fmla="*/ 1634484 h 1634484"/>
                <a:gd name="connsiteX8" fmla="*/ 3078545 w 6350331"/>
                <a:gd name="connsiteY8" fmla="*/ 729736 h 1634484"/>
                <a:gd name="connsiteX9" fmla="*/ 4609216 w 6350331"/>
                <a:gd name="connsiteY9" fmla="*/ 588667 h 1634484"/>
                <a:gd name="connsiteX10" fmla="*/ 5877767 w 6350331"/>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840557"/>
                <a:gd name="connsiteX1" fmla="*/ 6264646 w 6351908"/>
                <a:gd name="connsiteY1" fmla="*/ 1019494 h 1840557"/>
                <a:gd name="connsiteX2" fmla="*/ 4734046 w 6351908"/>
                <a:gd name="connsiteY2" fmla="*/ 83476 h 1840557"/>
                <a:gd name="connsiteX3" fmla="*/ 2903394 w 6351908"/>
                <a:gd name="connsiteY3" fmla="*/ 218277 h 1840557"/>
                <a:gd name="connsiteX4" fmla="*/ 1556955 w 6351908"/>
                <a:gd name="connsiteY4" fmla="*/ 1237490 h 1840557"/>
                <a:gd name="connsiteX5" fmla="*/ 274659 w 6351908"/>
                <a:gd name="connsiteY5" fmla="*/ 1016680 h 1840557"/>
                <a:gd name="connsiteX6" fmla="*/ 0 w 6351908"/>
                <a:gd name="connsiteY6" fmla="*/ 1379841 h 1840557"/>
                <a:gd name="connsiteX7" fmla="*/ 1719641 w 6351908"/>
                <a:gd name="connsiteY7" fmla="*/ 1710450 h 1840557"/>
                <a:gd name="connsiteX8" fmla="*/ 3078545 w 6351908"/>
                <a:gd name="connsiteY8" fmla="*/ 729736 h 1840557"/>
                <a:gd name="connsiteX9" fmla="*/ 4609216 w 6351908"/>
                <a:gd name="connsiteY9" fmla="*/ 588667 h 1840557"/>
                <a:gd name="connsiteX10" fmla="*/ 5877767 w 6351908"/>
                <a:gd name="connsiteY10" fmla="*/ 1303484 h 1840557"/>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980675 w 6454816"/>
                <a:gd name="connsiteY0" fmla="*/ 1303484 h 1893535"/>
                <a:gd name="connsiteX1" fmla="*/ 6367554 w 6454816"/>
                <a:gd name="connsiteY1" fmla="*/ 1019494 h 1893535"/>
                <a:gd name="connsiteX2" fmla="*/ 4836954 w 6454816"/>
                <a:gd name="connsiteY2" fmla="*/ 83476 h 1893535"/>
                <a:gd name="connsiteX3" fmla="*/ 3006302 w 6454816"/>
                <a:gd name="connsiteY3" fmla="*/ 218277 h 1893535"/>
                <a:gd name="connsiteX4" fmla="*/ 1659863 w 6454816"/>
                <a:gd name="connsiteY4" fmla="*/ 1237490 h 1893535"/>
                <a:gd name="connsiteX5" fmla="*/ 377567 w 6454816"/>
                <a:gd name="connsiteY5" fmla="*/ 1016680 h 1893535"/>
                <a:gd name="connsiteX6" fmla="*/ 102908 w 6454816"/>
                <a:gd name="connsiteY6" fmla="*/ 1379841 h 1893535"/>
                <a:gd name="connsiteX7" fmla="*/ 1822549 w 6454816"/>
                <a:gd name="connsiteY7" fmla="*/ 1710450 h 1893535"/>
                <a:gd name="connsiteX8" fmla="*/ 3181453 w 6454816"/>
                <a:gd name="connsiteY8" fmla="*/ 729736 h 1893535"/>
                <a:gd name="connsiteX9" fmla="*/ 4712124 w 6454816"/>
                <a:gd name="connsiteY9" fmla="*/ 588667 h 1893535"/>
                <a:gd name="connsiteX10" fmla="*/ 5980675 w 6454816"/>
                <a:gd name="connsiteY10" fmla="*/ 1303484 h 1893535"/>
                <a:gd name="connsiteX0" fmla="*/ 5961776 w 6435917"/>
                <a:gd name="connsiteY0" fmla="*/ 1303484 h 1893535"/>
                <a:gd name="connsiteX1" fmla="*/ 6348655 w 6435917"/>
                <a:gd name="connsiteY1" fmla="*/ 1019494 h 1893535"/>
                <a:gd name="connsiteX2" fmla="*/ 4818055 w 6435917"/>
                <a:gd name="connsiteY2" fmla="*/ 83476 h 1893535"/>
                <a:gd name="connsiteX3" fmla="*/ 2987403 w 6435917"/>
                <a:gd name="connsiteY3" fmla="*/ 218277 h 1893535"/>
                <a:gd name="connsiteX4" fmla="*/ 1640964 w 6435917"/>
                <a:gd name="connsiteY4" fmla="*/ 1237490 h 1893535"/>
                <a:gd name="connsiteX5" fmla="*/ 358668 w 6435917"/>
                <a:gd name="connsiteY5" fmla="*/ 1016680 h 1893535"/>
                <a:gd name="connsiteX6" fmla="*/ 84009 w 6435917"/>
                <a:gd name="connsiteY6" fmla="*/ 1379841 h 1893535"/>
                <a:gd name="connsiteX7" fmla="*/ 1803650 w 6435917"/>
                <a:gd name="connsiteY7" fmla="*/ 1710450 h 1893535"/>
                <a:gd name="connsiteX8" fmla="*/ 3162554 w 6435917"/>
                <a:gd name="connsiteY8" fmla="*/ 729736 h 1893535"/>
                <a:gd name="connsiteX9" fmla="*/ 4693225 w 6435917"/>
                <a:gd name="connsiteY9" fmla="*/ 588667 h 1893535"/>
                <a:gd name="connsiteX10" fmla="*/ 5961776 w 6435917"/>
                <a:gd name="connsiteY10" fmla="*/ 1303484 h 1893535"/>
                <a:gd name="connsiteX0" fmla="*/ 5961776 w 6435917"/>
                <a:gd name="connsiteY0" fmla="*/ 1303484 h 1892323"/>
                <a:gd name="connsiteX1" fmla="*/ 6348655 w 6435917"/>
                <a:gd name="connsiteY1" fmla="*/ 1019494 h 1892323"/>
                <a:gd name="connsiteX2" fmla="*/ 4818055 w 6435917"/>
                <a:gd name="connsiteY2" fmla="*/ 83476 h 1892323"/>
                <a:gd name="connsiteX3" fmla="*/ 2987403 w 6435917"/>
                <a:gd name="connsiteY3" fmla="*/ 218277 h 1892323"/>
                <a:gd name="connsiteX4" fmla="*/ 1640964 w 6435917"/>
                <a:gd name="connsiteY4" fmla="*/ 1237490 h 1892323"/>
                <a:gd name="connsiteX5" fmla="*/ 358668 w 6435917"/>
                <a:gd name="connsiteY5" fmla="*/ 1016680 h 1892323"/>
                <a:gd name="connsiteX6" fmla="*/ 84009 w 6435917"/>
                <a:gd name="connsiteY6" fmla="*/ 1379841 h 1892323"/>
                <a:gd name="connsiteX7" fmla="*/ 1803650 w 6435917"/>
                <a:gd name="connsiteY7" fmla="*/ 1710450 h 1892323"/>
                <a:gd name="connsiteX8" fmla="*/ 3162554 w 6435917"/>
                <a:gd name="connsiteY8" fmla="*/ 729736 h 1892323"/>
                <a:gd name="connsiteX9" fmla="*/ 4693225 w 6435917"/>
                <a:gd name="connsiteY9" fmla="*/ 588667 h 1892323"/>
                <a:gd name="connsiteX10" fmla="*/ 5961776 w 6435917"/>
                <a:gd name="connsiteY10" fmla="*/ 1303484 h 1892323"/>
                <a:gd name="connsiteX0" fmla="*/ 5941465 w 6415606"/>
                <a:gd name="connsiteY0" fmla="*/ 1303484 h 1902580"/>
                <a:gd name="connsiteX1" fmla="*/ 6328344 w 6415606"/>
                <a:gd name="connsiteY1" fmla="*/ 1019494 h 1902580"/>
                <a:gd name="connsiteX2" fmla="*/ 4797744 w 6415606"/>
                <a:gd name="connsiteY2" fmla="*/ 83476 h 1902580"/>
                <a:gd name="connsiteX3" fmla="*/ 2967092 w 6415606"/>
                <a:gd name="connsiteY3" fmla="*/ 218277 h 1902580"/>
                <a:gd name="connsiteX4" fmla="*/ 1620653 w 6415606"/>
                <a:gd name="connsiteY4" fmla="*/ 1237490 h 1902580"/>
                <a:gd name="connsiteX5" fmla="*/ 338357 w 6415606"/>
                <a:gd name="connsiteY5" fmla="*/ 1016680 h 1902580"/>
                <a:gd name="connsiteX6" fmla="*/ 89019 w 6415606"/>
                <a:gd name="connsiteY6" fmla="*/ 1419231 h 1902580"/>
                <a:gd name="connsiteX7" fmla="*/ 1783339 w 6415606"/>
                <a:gd name="connsiteY7" fmla="*/ 1710450 h 1902580"/>
                <a:gd name="connsiteX8" fmla="*/ 3142243 w 6415606"/>
                <a:gd name="connsiteY8" fmla="*/ 729736 h 1902580"/>
                <a:gd name="connsiteX9" fmla="*/ 4672914 w 6415606"/>
                <a:gd name="connsiteY9" fmla="*/ 588667 h 1902580"/>
                <a:gd name="connsiteX10" fmla="*/ 5941465 w 6415606"/>
                <a:gd name="connsiteY10" fmla="*/ 1303484 h 1902580"/>
                <a:gd name="connsiteX0" fmla="*/ 5960039 w 6434180"/>
                <a:gd name="connsiteY0" fmla="*/ 1303484 h 1902580"/>
                <a:gd name="connsiteX1" fmla="*/ 6346918 w 6434180"/>
                <a:gd name="connsiteY1" fmla="*/ 1019494 h 1902580"/>
                <a:gd name="connsiteX2" fmla="*/ 4816318 w 6434180"/>
                <a:gd name="connsiteY2" fmla="*/ 83476 h 1902580"/>
                <a:gd name="connsiteX3" fmla="*/ 2985666 w 6434180"/>
                <a:gd name="connsiteY3" fmla="*/ 218277 h 1902580"/>
                <a:gd name="connsiteX4" fmla="*/ 1639227 w 6434180"/>
                <a:gd name="connsiteY4" fmla="*/ 1237490 h 1902580"/>
                <a:gd name="connsiteX5" fmla="*/ 356931 w 6434180"/>
                <a:gd name="connsiteY5" fmla="*/ 1016680 h 1902580"/>
                <a:gd name="connsiteX6" fmla="*/ 107593 w 6434180"/>
                <a:gd name="connsiteY6" fmla="*/ 1419231 h 1902580"/>
                <a:gd name="connsiteX7" fmla="*/ 1801913 w 6434180"/>
                <a:gd name="connsiteY7" fmla="*/ 1710450 h 1902580"/>
                <a:gd name="connsiteX8" fmla="*/ 3160817 w 6434180"/>
                <a:gd name="connsiteY8" fmla="*/ 729736 h 1902580"/>
                <a:gd name="connsiteX9" fmla="*/ 4691488 w 6434180"/>
                <a:gd name="connsiteY9" fmla="*/ 588667 h 1902580"/>
                <a:gd name="connsiteX10" fmla="*/ 5960039 w 6434180"/>
                <a:gd name="connsiteY10" fmla="*/ 1303484 h 1902580"/>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946772"/>
                <a:gd name="connsiteX1" fmla="*/ 6346918 w 6434180"/>
                <a:gd name="connsiteY1" fmla="*/ 1019494 h 1946772"/>
                <a:gd name="connsiteX2" fmla="*/ 4816318 w 6434180"/>
                <a:gd name="connsiteY2" fmla="*/ 83476 h 1946772"/>
                <a:gd name="connsiteX3" fmla="*/ 2985666 w 6434180"/>
                <a:gd name="connsiteY3" fmla="*/ 218277 h 1946772"/>
                <a:gd name="connsiteX4" fmla="*/ 1639227 w 6434180"/>
                <a:gd name="connsiteY4" fmla="*/ 1237490 h 1946772"/>
                <a:gd name="connsiteX5" fmla="*/ 356931 w 6434180"/>
                <a:gd name="connsiteY5" fmla="*/ 1016680 h 1946772"/>
                <a:gd name="connsiteX6" fmla="*/ 107593 w 6434180"/>
                <a:gd name="connsiteY6" fmla="*/ 1419231 h 1946772"/>
                <a:gd name="connsiteX7" fmla="*/ 1801913 w 6434180"/>
                <a:gd name="connsiteY7" fmla="*/ 1710450 h 1946772"/>
                <a:gd name="connsiteX8" fmla="*/ 3160817 w 6434180"/>
                <a:gd name="connsiteY8" fmla="*/ 729736 h 1946772"/>
                <a:gd name="connsiteX9" fmla="*/ 4691488 w 6434180"/>
                <a:gd name="connsiteY9" fmla="*/ 588667 h 1946772"/>
                <a:gd name="connsiteX10" fmla="*/ 5960039 w 6434180"/>
                <a:gd name="connsiteY10" fmla="*/ 1303484 h 1946772"/>
                <a:gd name="connsiteX0" fmla="*/ 5960039 w 6434180"/>
                <a:gd name="connsiteY0" fmla="*/ 1303484 h 1848056"/>
                <a:gd name="connsiteX1" fmla="*/ 6346918 w 6434180"/>
                <a:gd name="connsiteY1" fmla="*/ 1019494 h 1848056"/>
                <a:gd name="connsiteX2" fmla="*/ 4816318 w 6434180"/>
                <a:gd name="connsiteY2" fmla="*/ 83476 h 1848056"/>
                <a:gd name="connsiteX3" fmla="*/ 2985666 w 6434180"/>
                <a:gd name="connsiteY3" fmla="*/ 218277 h 1848056"/>
                <a:gd name="connsiteX4" fmla="*/ 1639227 w 6434180"/>
                <a:gd name="connsiteY4" fmla="*/ 1237490 h 1848056"/>
                <a:gd name="connsiteX5" fmla="*/ 356931 w 6434180"/>
                <a:gd name="connsiteY5" fmla="*/ 1016680 h 1848056"/>
                <a:gd name="connsiteX6" fmla="*/ 107593 w 6434180"/>
                <a:gd name="connsiteY6" fmla="*/ 1419231 h 1848056"/>
                <a:gd name="connsiteX7" fmla="*/ 1801913 w 6434180"/>
                <a:gd name="connsiteY7" fmla="*/ 1710450 h 1848056"/>
                <a:gd name="connsiteX8" fmla="*/ 3160817 w 6434180"/>
                <a:gd name="connsiteY8" fmla="*/ 729736 h 1848056"/>
                <a:gd name="connsiteX9" fmla="*/ 4691488 w 6434180"/>
                <a:gd name="connsiteY9" fmla="*/ 588667 h 1848056"/>
                <a:gd name="connsiteX10" fmla="*/ 5960039 w 6434180"/>
                <a:gd name="connsiteY10" fmla="*/ 1303484 h 1848056"/>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5521 h 1862570"/>
                <a:gd name="connsiteX1" fmla="*/ 6346918 w 6434180"/>
                <a:gd name="connsiteY1" fmla="*/ 991531 h 1862570"/>
                <a:gd name="connsiteX2" fmla="*/ 4816318 w 6434180"/>
                <a:gd name="connsiteY2" fmla="*/ 55513 h 1862570"/>
                <a:gd name="connsiteX3" fmla="*/ 2985666 w 6434180"/>
                <a:gd name="connsiteY3" fmla="*/ 190314 h 1862570"/>
                <a:gd name="connsiteX4" fmla="*/ 1639227 w 6434180"/>
                <a:gd name="connsiteY4" fmla="*/ 1209527 h 1862570"/>
                <a:gd name="connsiteX5" fmla="*/ 356931 w 6434180"/>
                <a:gd name="connsiteY5" fmla="*/ 988717 h 1862570"/>
                <a:gd name="connsiteX6" fmla="*/ 107593 w 6434180"/>
                <a:gd name="connsiteY6" fmla="*/ 1391268 h 1862570"/>
                <a:gd name="connsiteX7" fmla="*/ 1801913 w 6434180"/>
                <a:gd name="connsiteY7" fmla="*/ 1682487 h 1862570"/>
                <a:gd name="connsiteX8" fmla="*/ 3160817 w 6434180"/>
                <a:gd name="connsiteY8" fmla="*/ 701773 h 1862570"/>
                <a:gd name="connsiteX9" fmla="*/ 4691488 w 6434180"/>
                <a:gd name="connsiteY9" fmla="*/ 560704 h 1862570"/>
                <a:gd name="connsiteX10" fmla="*/ 5960039 w 6434180"/>
                <a:gd name="connsiteY10" fmla="*/ 1275521 h 1862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34180" h="1862570">
                  <a:moveTo>
                    <a:pt x="5960039" y="1275521"/>
                  </a:moveTo>
                  <a:cubicBezTo>
                    <a:pt x="6283134" y="1670414"/>
                    <a:pt x="6589346" y="1260633"/>
                    <a:pt x="6346918" y="991531"/>
                  </a:cubicBezTo>
                  <a:cubicBezTo>
                    <a:pt x="5949259" y="586678"/>
                    <a:pt x="5223959" y="131561"/>
                    <a:pt x="4816318" y="55513"/>
                  </a:cubicBezTo>
                  <a:cubicBezTo>
                    <a:pt x="4408677" y="-20535"/>
                    <a:pt x="3494501" y="-52826"/>
                    <a:pt x="2985666" y="190314"/>
                  </a:cubicBezTo>
                  <a:cubicBezTo>
                    <a:pt x="2476831" y="433454"/>
                    <a:pt x="1908164" y="1000838"/>
                    <a:pt x="1639227" y="1209527"/>
                  </a:cubicBezTo>
                  <a:cubicBezTo>
                    <a:pt x="1370290" y="1418216"/>
                    <a:pt x="729968" y="1345550"/>
                    <a:pt x="356931" y="988717"/>
                  </a:cubicBezTo>
                  <a:cubicBezTo>
                    <a:pt x="96566" y="758079"/>
                    <a:pt x="-146919" y="1182994"/>
                    <a:pt x="107593" y="1391268"/>
                  </a:cubicBezTo>
                  <a:cubicBezTo>
                    <a:pt x="576706" y="1808146"/>
                    <a:pt x="1317996" y="2048782"/>
                    <a:pt x="1801913" y="1682487"/>
                  </a:cubicBezTo>
                  <a:cubicBezTo>
                    <a:pt x="2285830" y="1316192"/>
                    <a:pt x="2704050" y="940116"/>
                    <a:pt x="3160817" y="701773"/>
                  </a:cubicBezTo>
                  <a:cubicBezTo>
                    <a:pt x="3617584" y="463430"/>
                    <a:pt x="4299587" y="485617"/>
                    <a:pt x="4691488" y="560704"/>
                  </a:cubicBezTo>
                  <a:cubicBezTo>
                    <a:pt x="5083389" y="635791"/>
                    <a:pt x="5573765" y="907826"/>
                    <a:pt x="5960039" y="1275521"/>
                  </a:cubicBezTo>
                  <a:close/>
                </a:path>
              </a:pathLst>
            </a:custGeom>
            <a:solidFill>
              <a:srgbClr val="59B4D9"/>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882"/>
            </a:p>
          </p:txBody>
        </p:sp>
      </p:grpSp>
    </p:spTree>
    <p:extLst>
      <p:ext uri="{BB962C8B-B14F-4D97-AF65-F5344CB8AC3E}">
        <p14:creationId xmlns:p14="http://schemas.microsoft.com/office/powerpoint/2010/main" val="2360163029"/>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Stream Analytics on edge devices</a:t>
            </a:r>
          </a:p>
        </p:txBody>
      </p:sp>
      <p:sp>
        <p:nvSpPr>
          <p:cNvPr id="15" name="Text Placeholder 14"/>
          <p:cNvSpPr>
            <a:spLocks noGrp="1"/>
          </p:cNvSpPr>
          <p:nvPr>
            <p:ph type="body" sz="quarter" idx="11"/>
          </p:nvPr>
        </p:nvSpPr>
        <p:spPr>
          <a:xfrm>
            <a:off x="370398" y="1326151"/>
            <a:ext cx="11552364" cy="1061701"/>
          </a:xfrm>
        </p:spPr>
        <p:txBody>
          <a:bodyPr/>
          <a:lstStyle/>
          <a:p>
            <a:r>
              <a:rPr lang="en-US"/>
              <a:t>A new feature of ASA that extend local execution of stream analytics on edge devices</a:t>
            </a:r>
          </a:p>
          <a:p>
            <a:r>
              <a:rPr lang="en-US"/>
              <a:t>Edge analytics enables IoT scenarios that were not possible previously, or that required lots of custom development and maintenance.</a:t>
            </a:r>
          </a:p>
          <a:p>
            <a:endParaRPr lang="en-US"/>
          </a:p>
        </p:txBody>
      </p:sp>
      <p:sp>
        <p:nvSpPr>
          <p:cNvPr id="19" name="Text Placeholder 18"/>
          <p:cNvSpPr>
            <a:spLocks noGrp="1"/>
          </p:cNvSpPr>
          <p:nvPr>
            <p:ph type="body" sz="quarter" idx="12"/>
          </p:nvPr>
        </p:nvSpPr>
        <p:spPr>
          <a:xfrm>
            <a:off x="7512228" y="2856669"/>
            <a:ext cx="4261130" cy="2479718"/>
          </a:xfrm>
        </p:spPr>
        <p:txBody>
          <a:bodyPr/>
          <a:lstStyle/>
          <a:p>
            <a:r>
              <a:rPr lang="en-US"/>
              <a:t>Data processing</a:t>
            </a:r>
          </a:p>
          <a:p>
            <a:pPr lvl="1"/>
            <a:r>
              <a:rPr lang="en-US"/>
              <a:t>Perform functions such as data filtering, batching, reduction to quickly react to data streams</a:t>
            </a:r>
          </a:p>
          <a:p>
            <a:r>
              <a:rPr lang="en-US"/>
              <a:t>Edge analytics </a:t>
            </a:r>
          </a:p>
          <a:p>
            <a:pPr lvl="1"/>
            <a:r>
              <a:rPr lang="en-US"/>
              <a:t>Run complex queries on edge devices to get real-time insights</a:t>
            </a:r>
          </a:p>
          <a:p>
            <a:r>
              <a:rPr lang="en-US"/>
              <a:t>Cloud management</a:t>
            </a:r>
          </a:p>
          <a:p>
            <a:pPr lvl="1"/>
            <a:r>
              <a:rPr lang="en-US"/>
              <a:t>deploy, update and monitor from Azure </a:t>
            </a:r>
            <a:r>
              <a:rPr lang="en-US" err="1"/>
              <a:t>IoT</a:t>
            </a:r>
            <a:r>
              <a:rPr lang="en-US"/>
              <a:t> Hub</a:t>
            </a:r>
          </a:p>
          <a:p>
            <a:r>
              <a:rPr lang="en-US"/>
              <a:t>Seamless development </a:t>
            </a:r>
          </a:p>
          <a:p>
            <a:pPr lvl="1"/>
            <a:r>
              <a:rPr lang="en-US"/>
              <a:t>same simple language (SQL) and interfaces to define Stream jobs in the cloud and on edge devices</a:t>
            </a:r>
          </a:p>
        </p:txBody>
      </p:sp>
      <p:sp>
        <p:nvSpPr>
          <p:cNvPr id="10" name="Rectangle 9"/>
          <p:cNvSpPr/>
          <p:nvPr/>
        </p:nvSpPr>
        <p:spPr bwMode="auto">
          <a:xfrm>
            <a:off x="1798270" y="3747871"/>
            <a:ext cx="1119753" cy="2053488"/>
          </a:xfrm>
          <a:prstGeom prst="rect">
            <a:avLst/>
          </a:prstGeom>
          <a:solidFill>
            <a:schemeClr val="bg1">
              <a:lumMod val="95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7" name="Frame 5"/>
          <p:cNvSpPr>
            <a:spLocks noChangeAspect="1"/>
          </p:cNvSpPr>
          <p:nvPr/>
        </p:nvSpPr>
        <p:spPr bwMode="auto">
          <a:xfrm>
            <a:off x="1364973" y="2221749"/>
            <a:ext cx="228967" cy="22135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5396" tIns="52698" rIns="52698" bIns="105396" numCol="1" spcCol="0" rtlCol="0" fromWordArt="0" anchor="b" anchorCtr="0" forceAA="0" compatLnSpc="1">
            <a:prstTxWarp prst="textNoShape">
              <a:avLst/>
            </a:prstTxWarp>
            <a:noAutofit/>
          </a:bodyPr>
          <a:lstStyle/>
          <a:p>
            <a:pPr algn="ctr" defTabSz="1053317" fontAlgn="base">
              <a:spcBef>
                <a:spcPct val="0"/>
              </a:spcBef>
              <a:spcAft>
                <a:spcPct val="0"/>
              </a:spcAft>
              <a:defRPr/>
            </a:pPr>
            <a:endParaRPr lang="en-US" sz="2800" kern="0" spc="-58">
              <a:gradFill>
                <a:gsLst>
                  <a:gs pos="0">
                    <a:srgbClr val="FFFFFF"/>
                  </a:gs>
                  <a:gs pos="100000">
                    <a:srgbClr val="FFFFFF"/>
                  </a:gs>
                </a:gsLst>
                <a:lin ang="5400000" scaled="0"/>
              </a:gradFill>
              <a:ea typeface="Segoe UI" pitchFamily="34" charset="0"/>
              <a:cs typeface="Segoe UI" pitchFamily="34" charset="0"/>
            </a:endParaRPr>
          </a:p>
        </p:txBody>
      </p:sp>
      <p:sp>
        <p:nvSpPr>
          <p:cNvPr id="18" name="Frame 5"/>
          <p:cNvSpPr>
            <a:spLocks noChangeAspect="1"/>
          </p:cNvSpPr>
          <p:nvPr/>
        </p:nvSpPr>
        <p:spPr bwMode="auto">
          <a:xfrm>
            <a:off x="1364973" y="2221749"/>
            <a:ext cx="228967" cy="22135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5396" tIns="52698" rIns="52698" bIns="105396" numCol="1" spcCol="0" rtlCol="0" fromWordArt="0" anchor="b" anchorCtr="0" forceAA="0" compatLnSpc="1">
            <a:prstTxWarp prst="textNoShape">
              <a:avLst/>
            </a:prstTxWarp>
            <a:noAutofit/>
          </a:bodyPr>
          <a:lstStyle/>
          <a:p>
            <a:pPr algn="ctr" defTabSz="1053317" fontAlgn="base">
              <a:spcBef>
                <a:spcPct val="0"/>
              </a:spcBef>
              <a:spcAft>
                <a:spcPct val="0"/>
              </a:spcAft>
              <a:defRPr/>
            </a:pPr>
            <a:endParaRPr lang="en-US" sz="2800" kern="0" spc="-58">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a:xfrm>
            <a:off x="5178869" y="5910535"/>
            <a:ext cx="488916" cy="135743"/>
          </a:xfrm>
          <a:prstGeom prst="rect">
            <a:avLst/>
          </a:prstGeom>
        </p:spPr>
        <p:txBody>
          <a:bodyPr wrap="none" lIns="0" tIns="0" rIns="0" bIns="0">
            <a:spAutoFit/>
          </a:bodyPr>
          <a:lstStyle/>
          <a:p>
            <a:pPr defTabSz="895403" fontAlgn="base">
              <a:lnSpc>
                <a:spcPct val="90000"/>
              </a:lnSpc>
              <a:spcBef>
                <a:spcPct val="0"/>
              </a:spcBef>
            </a:pPr>
            <a:r>
              <a:rPr lang="en-US" sz="980" kern="0" err="1">
                <a:solidFill>
                  <a:srgbClr val="404040">
                    <a:lumMod val="50000"/>
                  </a:srgbClr>
                </a:solidFill>
                <a:ea typeface="Segoe UI Black" panose="020B0A02040204020203" pitchFamily="34" charset="0"/>
                <a:cs typeface="Segoe UI Black" panose="020B0A02040204020203" pitchFamily="34" charset="0"/>
              </a:rPr>
              <a:t>AzureML</a:t>
            </a:r>
            <a:endParaRPr lang="en-US" sz="980" kern="0">
              <a:solidFill>
                <a:srgbClr val="404040">
                  <a:lumMod val="50000"/>
                </a:srgbClr>
              </a:solidFill>
              <a:ea typeface="Segoe UI Black" panose="020B0A02040204020203" pitchFamily="34" charset="0"/>
              <a:cs typeface="Segoe UI Black" panose="020B0A02040204020203" pitchFamily="34" charset="0"/>
            </a:endParaRPr>
          </a:p>
        </p:txBody>
      </p:sp>
      <p:grpSp>
        <p:nvGrpSpPr>
          <p:cNvPr id="21" name="AzureML"/>
          <p:cNvGrpSpPr>
            <a:grpSpLocks noChangeAspect="1"/>
          </p:cNvGrpSpPr>
          <p:nvPr/>
        </p:nvGrpSpPr>
        <p:grpSpPr>
          <a:xfrm>
            <a:off x="5292263" y="5496151"/>
            <a:ext cx="345261" cy="354001"/>
            <a:chOff x="2331469" y="3025039"/>
            <a:chExt cx="3292786" cy="3376133"/>
          </a:xfrm>
        </p:grpSpPr>
        <p:sp>
          <p:nvSpPr>
            <p:cNvPr id="22" name="Freeform 145"/>
            <p:cNvSpPr/>
            <p:nvPr/>
          </p:nvSpPr>
          <p:spPr bwMode="auto">
            <a:xfrm>
              <a:off x="2331469" y="3025039"/>
              <a:ext cx="3292786" cy="3369163"/>
            </a:xfrm>
            <a:custGeom>
              <a:avLst/>
              <a:gdLst>
                <a:gd name="connsiteX0" fmla="*/ 1015224 w 3292785"/>
                <a:gd name="connsiteY0" fmla="*/ 0 h 3369167"/>
                <a:gd name="connsiteX1" fmla="*/ 2225855 w 3292785"/>
                <a:gd name="connsiteY1" fmla="*/ 0 h 3369167"/>
                <a:gd name="connsiteX2" fmla="*/ 2469103 w 3292785"/>
                <a:gd name="connsiteY2" fmla="*/ 243248 h 3369167"/>
                <a:gd name="connsiteX3" fmla="*/ 2225855 w 3292785"/>
                <a:gd name="connsiteY3" fmla="*/ 486496 h 3369167"/>
                <a:gd name="connsiteX4" fmla="*/ 2153907 w 3292785"/>
                <a:gd name="connsiteY4" fmla="*/ 486496 h 3369167"/>
                <a:gd name="connsiteX5" fmla="*/ 2148025 w 3292785"/>
                <a:gd name="connsiteY5" fmla="*/ 1178509 h 3369167"/>
                <a:gd name="connsiteX6" fmla="*/ 3262208 w 3292785"/>
                <a:gd name="connsiteY6" fmla="*/ 3016168 h 3369167"/>
                <a:gd name="connsiteX7" fmla="*/ 2872790 w 3292785"/>
                <a:gd name="connsiteY7" fmla="*/ 3367486 h 3369167"/>
                <a:gd name="connsiteX8" fmla="*/ 389208 w 3292785"/>
                <a:gd name="connsiteY8" fmla="*/ 3367486 h 3369167"/>
                <a:gd name="connsiteX9" fmla="*/ 20957 w 3292785"/>
                <a:gd name="connsiteY9" fmla="*/ 2978068 h 3369167"/>
                <a:gd name="connsiteX10" fmla="*/ 1096512 w 3292785"/>
                <a:gd name="connsiteY10" fmla="*/ 1165087 h 3369167"/>
                <a:gd name="connsiteX11" fmla="*/ 1091449 w 3292785"/>
                <a:gd name="connsiteY11" fmla="*/ 486496 h 3369167"/>
                <a:gd name="connsiteX12" fmla="*/ 1015224 w 3292785"/>
                <a:gd name="connsiteY12" fmla="*/ 486496 h 3369167"/>
                <a:gd name="connsiteX13" fmla="*/ 771976 w 3292785"/>
                <a:gd name="connsiteY13" fmla="*/ 243248 h 3369167"/>
                <a:gd name="connsiteX14" fmla="*/ 1015224 w 3292785"/>
                <a:gd name="connsiteY14" fmla="*/ 0 h 3369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92785" h="3369167">
                  <a:moveTo>
                    <a:pt x="1015224" y="0"/>
                  </a:moveTo>
                  <a:lnTo>
                    <a:pt x="2225855" y="0"/>
                  </a:lnTo>
                  <a:cubicBezTo>
                    <a:pt x="2360197" y="0"/>
                    <a:pt x="2469103" y="108906"/>
                    <a:pt x="2469103" y="243248"/>
                  </a:cubicBezTo>
                  <a:cubicBezTo>
                    <a:pt x="2469103" y="377590"/>
                    <a:pt x="2360197" y="486496"/>
                    <a:pt x="2225855" y="486496"/>
                  </a:cubicBezTo>
                  <a:lnTo>
                    <a:pt x="2153907" y="486496"/>
                  </a:lnTo>
                  <a:lnTo>
                    <a:pt x="2148025" y="1178509"/>
                  </a:lnTo>
                  <a:lnTo>
                    <a:pt x="3262208" y="3016168"/>
                  </a:lnTo>
                  <a:cubicBezTo>
                    <a:pt x="3363808" y="3273889"/>
                    <a:pt x="3206711" y="3384420"/>
                    <a:pt x="2872790" y="3367486"/>
                  </a:cubicBezTo>
                  <a:lnTo>
                    <a:pt x="389208" y="3367486"/>
                  </a:lnTo>
                  <a:cubicBezTo>
                    <a:pt x="97620" y="3367486"/>
                    <a:pt x="-59477" y="3295055"/>
                    <a:pt x="20957" y="2978068"/>
                  </a:cubicBezTo>
                  <a:lnTo>
                    <a:pt x="1096512" y="1165087"/>
                  </a:lnTo>
                  <a:lnTo>
                    <a:pt x="1091449" y="486496"/>
                  </a:lnTo>
                  <a:lnTo>
                    <a:pt x="1015224" y="486496"/>
                  </a:lnTo>
                  <a:cubicBezTo>
                    <a:pt x="880882" y="486496"/>
                    <a:pt x="771976" y="377590"/>
                    <a:pt x="771976" y="243248"/>
                  </a:cubicBezTo>
                  <a:cubicBezTo>
                    <a:pt x="771976" y="108906"/>
                    <a:pt x="880882" y="0"/>
                    <a:pt x="1015224" y="0"/>
                  </a:cubicBezTo>
                  <a:close/>
                </a:path>
              </a:pathLst>
            </a:custGeom>
            <a:solidFill>
              <a:srgbClr val="83C7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882" err="1">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146"/>
            <p:cNvSpPr/>
            <p:nvPr/>
          </p:nvSpPr>
          <p:spPr bwMode="auto">
            <a:xfrm>
              <a:off x="3306103" y="3032009"/>
              <a:ext cx="2318152" cy="3369163"/>
            </a:xfrm>
            <a:custGeom>
              <a:avLst/>
              <a:gdLst>
                <a:gd name="connsiteX0" fmla="*/ 537702 w 2318148"/>
                <a:gd name="connsiteY0" fmla="*/ 0 h 3369167"/>
                <a:gd name="connsiteX1" fmla="*/ 1251218 w 2318148"/>
                <a:gd name="connsiteY1" fmla="*/ 0 h 3369167"/>
                <a:gd name="connsiteX2" fmla="*/ 1494466 w 2318148"/>
                <a:gd name="connsiteY2" fmla="*/ 243248 h 3369167"/>
                <a:gd name="connsiteX3" fmla="*/ 1251218 w 2318148"/>
                <a:gd name="connsiteY3" fmla="*/ 486496 h 3369167"/>
                <a:gd name="connsiteX4" fmla="*/ 1179270 w 2318148"/>
                <a:gd name="connsiteY4" fmla="*/ 486496 h 3369167"/>
                <a:gd name="connsiteX5" fmla="*/ 1173388 w 2318148"/>
                <a:gd name="connsiteY5" fmla="*/ 1178509 h 3369167"/>
                <a:gd name="connsiteX6" fmla="*/ 2287571 w 2318148"/>
                <a:gd name="connsiteY6" fmla="*/ 3016168 h 3369167"/>
                <a:gd name="connsiteX7" fmla="*/ 1898153 w 2318148"/>
                <a:gd name="connsiteY7" fmla="*/ 3367486 h 3369167"/>
                <a:gd name="connsiteX8" fmla="*/ 0 w 2318148"/>
                <a:gd name="connsiteY8" fmla="*/ 3367486 h 3369167"/>
                <a:gd name="connsiteX9" fmla="*/ 537702 w 2318148"/>
                <a:gd name="connsiteY9" fmla="*/ 1161323 h 3369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8148" h="3369167">
                  <a:moveTo>
                    <a:pt x="537702" y="0"/>
                  </a:moveTo>
                  <a:lnTo>
                    <a:pt x="1251218" y="0"/>
                  </a:lnTo>
                  <a:cubicBezTo>
                    <a:pt x="1385560" y="0"/>
                    <a:pt x="1494466" y="108906"/>
                    <a:pt x="1494466" y="243248"/>
                  </a:cubicBezTo>
                  <a:cubicBezTo>
                    <a:pt x="1494466" y="377590"/>
                    <a:pt x="1385560" y="486496"/>
                    <a:pt x="1251218" y="486496"/>
                  </a:cubicBezTo>
                  <a:lnTo>
                    <a:pt x="1179270" y="486496"/>
                  </a:lnTo>
                  <a:lnTo>
                    <a:pt x="1173388" y="1178509"/>
                  </a:lnTo>
                  <a:lnTo>
                    <a:pt x="2287571" y="3016168"/>
                  </a:lnTo>
                  <a:cubicBezTo>
                    <a:pt x="2389171" y="3273889"/>
                    <a:pt x="2232074" y="3384420"/>
                    <a:pt x="1898153" y="3367486"/>
                  </a:cubicBezTo>
                  <a:lnTo>
                    <a:pt x="0" y="3367486"/>
                  </a:lnTo>
                  <a:lnTo>
                    <a:pt x="537702" y="1161323"/>
                  </a:ln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882"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p:nvGrpSpPr>
          <p:grpSpPr>
            <a:xfrm>
              <a:off x="2830051" y="5288422"/>
              <a:ext cx="2265992" cy="718227"/>
              <a:chOff x="2830051" y="5288424"/>
              <a:chExt cx="2265996" cy="718224"/>
            </a:xfrm>
          </p:grpSpPr>
          <p:sp>
            <p:nvSpPr>
              <p:cNvPr id="25" name="Trapezoid 24"/>
              <p:cNvSpPr/>
              <p:nvPr/>
            </p:nvSpPr>
            <p:spPr bwMode="auto">
              <a:xfrm>
                <a:off x="2830051" y="5288424"/>
                <a:ext cx="2254313" cy="718224"/>
              </a:xfrm>
              <a:prstGeom prst="trapezoid">
                <a:avLst>
                  <a:gd name="adj" fmla="val 46190"/>
                </a:avLst>
              </a:prstGeom>
              <a:solidFill>
                <a:srgbClr val="CADF6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882" err="1">
                  <a:gradFill>
                    <a:gsLst>
                      <a:gs pos="0">
                        <a:srgbClr val="FFFFFF"/>
                      </a:gs>
                      <a:gs pos="100000">
                        <a:srgbClr val="FFFFFF"/>
                      </a:gs>
                    </a:gsLst>
                    <a:lin ang="5400000" scaled="0"/>
                  </a:gradFill>
                  <a:ea typeface="Segoe UI" pitchFamily="34" charset="0"/>
                  <a:cs typeface="Segoe UI" pitchFamily="34" charset="0"/>
                </a:endParaRPr>
              </a:p>
            </p:txBody>
          </p:sp>
          <p:sp>
            <p:nvSpPr>
              <p:cNvPr id="26" name="Freeform 149"/>
              <p:cNvSpPr/>
              <p:nvPr/>
            </p:nvSpPr>
            <p:spPr bwMode="auto">
              <a:xfrm>
                <a:off x="3404572" y="5288424"/>
                <a:ext cx="1691475" cy="718224"/>
              </a:xfrm>
              <a:custGeom>
                <a:avLst/>
                <a:gdLst>
                  <a:gd name="connsiteX0" fmla="*/ 183572 w 1691475"/>
                  <a:gd name="connsiteY0" fmla="*/ 0 h 718224"/>
                  <a:gd name="connsiteX1" fmla="*/ 1359727 w 1691475"/>
                  <a:gd name="connsiteY1" fmla="*/ 0 h 718224"/>
                  <a:gd name="connsiteX2" fmla="*/ 1691475 w 1691475"/>
                  <a:gd name="connsiteY2" fmla="*/ 718224 h 718224"/>
                  <a:gd name="connsiteX3" fmla="*/ 0 w 1691475"/>
                  <a:gd name="connsiteY3" fmla="*/ 718224 h 718224"/>
                </a:gdLst>
                <a:ahLst/>
                <a:cxnLst>
                  <a:cxn ang="0">
                    <a:pos x="connsiteX0" y="connsiteY0"/>
                  </a:cxn>
                  <a:cxn ang="0">
                    <a:pos x="connsiteX1" y="connsiteY1"/>
                  </a:cxn>
                  <a:cxn ang="0">
                    <a:pos x="connsiteX2" y="connsiteY2"/>
                  </a:cxn>
                  <a:cxn ang="0">
                    <a:pos x="connsiteX3" y="connsiteY3"/>
                  </a:cxn>
                </a:cxnLst>
                <a:rect l="l" t="t" r="r" b="b"/>
                <a:pathLst>
                  <a:path w="1691475" h="718224">
                    <a:moveTo>
                      <a:pt x="183572" y="0"/>
                    </a:moveTo>
                    <a:lnTo>
                      <a:pt x="1359727" y="0"/>
                    </a:lnTo>
                    <a:lnTo>
                      <a:pt x="1691475" y="718224"/>
                    </a:lnTo>
                    <a:lnTo>
                      <a:pt x="0" y="718224"/>
                    </a:lnTo>
                    <a:close/>
                  </a:path>
                </a:pathLst>
              </a:custGeom>
              <a:solidFill>
                <a:srgbClr val="B8D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882" err="1">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150"/>
              <p:cNvSpPr/>
              <p:nvPr/>
            </p:nvSpPr>
            <p:spPr bwMode="auto">
              <a:xfrm>
                <a:off x="3752010" y="5288424"/>
                <a:ext cx="453172" cy="278951"/>
              </a:xfrm>
              <a:custGeom>
                <a:avLst/>
                <a:gdLst>
                  <a:gd name="connsiteX0" fmla="*/ 6683 w 453172"/>
                  <a:gd name="connsiteY0" fmla="*/ 0 h 278951"/>
                  <a:gd name="connsiteX1" fmla="*/ 446489 w 453172"/>
                  <a:gd name="connsiteY1" fmla="*/ 0 h 278951"/>
                  <a:gd name="connsiteX2" fmla="*/ 448569 w 453172"/>
                  <a:gd name="connsiteY2" fmla="*/ 6700 h 278951"/>
                  <a:gd name="connsiteX3" fmla="*/ 453172 w 453172"/>
                  <a:gd name="connsiteY3" fmla="*/ 52365 h 278951"/>
                  <a:gd name="connsiteX4" fmla="*/ 226586 w 453172"/>
                  <a:gd name="connsiteY4" fmla="*/ 278951 h 278951"/>
                  <a:gd name="connsiteX5" fmla="*/ 0 w 453172"/>
                  <a:gd name="connsiteY5" fmla="*/ 52365 h 278951"/>
                  <a:gd name="connsiteX6" fmla="*/ 4604 w 453172"/>
                  <a:gd name="connsiteY6" fmla="*/ 6700 h 278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172" h="278951">
                    <a:moveTo>
                      <a:pt x="6683" y="0"/>
                    </a:moveTo>
                    <a:lnTo>
                      <a:pt x="446489" y="0"/>
                    </a:lnTo>
                    <a:lnTo>
                      <a:pt x="448569" y="6700"/>
                    </a:lnTo>
                    <a:cubicBezTo>
                      <a:pt x="451587" y="21450"/>
                      <a:pt x="453172" y="36723"/>
                      <a:pt x="453172" y="52365"/>
                    </a:cubicBezTo>
                    <a:cubicBezTo>
                      <a:pt x="453172" y="177505"/>
                      <a:pt x="351726" y="278951"/>
                      <a:pt x="226586" y="278951"/>
                    </a:cubicBezTo>
                    <a:cubicBezTo>
                      <a:pt x="101446" y="278951"/>
                      <a:pt x="0" y="177505"/>
                      <a:pt x="0" y="52365"/>
                    </a:cubicBezTo>
                    <a:cubicBezTo>
                      <a:pt x="0" y="36723"/>
                      <a:pt x="1585" y="21450"/>
                      <a:pt x="4604" y="6700"/>
                    </a:cubicBez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882" err="1">
                  <a:gradFill>
                    <a:gsLst>
                      <a:gs pos="0">
                        <a:srgbClr val="FFFFFF"/>
                      </a:gs>
                      <a:gs pos="100000">
                        <a:srgbClr val="FFFFFF"/>
                      </a:gs>
                    </a:gsLst>
                    <a:lin ang="5400000" scaled="0"/>
                  </a:gradFill>
                  <a:ea typeface="Segoe UI" pitchFamily="34" charset="0"/>
                  <a:cs typeface="Segoe UI" pitchFamily="34" charset="0"/>
                </a:endParaRPr>
              </a:p>
            </p:txBody>
          </p:sp>
          <p:sp>
            <p:nvSpPr>
              <p:cNvPr id="37" name="Oval 36"/>
              <p:cNvSpPr/>
              <p:nvPr/>
            </p:nvSpPr>
            <p:spPr bwMode="auto">
              <a:xfrm>
                <a:off x="4080908" y="5613400"/>
                <a:ext cx="265480" cy="265480"/>
              </a:xfrm>
              <a:prstGeom prst="ellipse">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882"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38" name="Rectangle 37"/>
          <p:cNvSpPr/>
          <p:nvPr/>
        </p:nvSpPr>
        <p:spPr>
          <a:xfrm>
            <a:off x="5929120" y="4821052"/>
            <a:ext cx="1190269" cy="135776"/>
          </a:xfrm>
          <a:prstGeom prst="rect">
            <a:avLst/>
          </a:prstGeom>
        </p:spPr>
        <p:txBody>
          <a:bodyPr wrap="square" lIns="0" tIns="0" rIns="0" bIns="0">
            <a:spAutoFit/>
          </a:bodyPr>
          <a:lstStyle/>
          <a:p>
            <a:pPr defTabSz="895403" fontAlgn="base">
              <a:lnSpc>
                <a:spcPct val="90000"/>
              </a:lnSpc>
              <a:spcBef>
                <a:spcPct val="0"/>
              </a:spcBef>
            </a:pPr>
            <a:r>
              <a:rPr lang="en-US" sz="980" kern="0">
                <a:solidFill>
                  <a:srgbClr val="404040">
                    <a:lumMod val="50000"/>
                  </a:srgbClr>
                </a:solidFill>
                <a:ea typeface="Segoe UI Black" panose="020B0A02040204020203" pitchFamily="34" charset="0"/>
                <a:cs typeface="Segoe UI Black" panose="020B0A02040204020203" pitchFamily="34" charset="0"/>
              </a:rPr>
              <a:t>Other Azure Services</a:t>
            </a:r>
          </a:p>
        </p:txBody>
      </p:sp>
      <p:grpSp>
        <p:nvGrpSpPr>
          <p:cNvPr id="39" name="Azure Stream Analytics"/>
          <p:cNvGrpSpPr>
            <a:grpSpLocks noChangeAspect="1"/>
          </p:cNvGrpSpPr>
          <p:nvPr/>
        </p:nvGrpSpPr>
        <p:grpSpPr>
          <a:xfrm>
            <a:off x="5210968" y="4451689"/>
            <a:ext cx="484101" cy="376240"/>
            <a:chOff x="-16372125" y="-986193"/>
            <a:chExt cx="11032763" cy="8574577"/>
          </a:xfrm>
        </p:grpSpPr>
        <p:sp>
          <p:nvSpPr>
            <p:cNvPr id="40" name="Freeform: Shape 39"/>
            <p:cNvSpPr/>
            <p:nvPr/>
          </p:nvSpPr>
          <p:spPr>
            <a:xfrm>
              <a:off x="-13161948" y="-986193"/>
              <a:ext cx="7822586" cy="8546326"/>
            </a:xfrm>
            <a:custGeom>
              <a:avLst/>
              <a:gdLst>
                <a:gd name="connsiteX0" fmla="*/ 362857 w 7866743"/>
                <a:gd name="connsiteY0" fmla="*/ 2394857 h 8577943"/>
                <a:gd name="connsiteX1" fmla="*/ 29029 w 7866743"/>
                <a:gd name="connsiteY1" fmla="*/ 1611085 h 8577943"/>
                <a:gd name="connsiteX2" fmla="*/ 740229 w 7866743"/>
                <a:gd name="connsiteY2" fmla="*/ 1016000 h 8577943"/>
                <a:gd name="connsiteX3" fmla="*/ 1857829 w 7866743"/>
                <a:gd name="connsiteY3" fmla="*/ 1494971 h 8577943"/>
                <a:gd name="connsiteX4" fmla="*/ 2554514 w 7866743"/>
                <a:gd name="connsiteY4" fmla="*/ 1262743 h 8577943"/>
                <a:gd name="connsiteX5" fmla="*/ 2960914 w 7866743"/>
                <a:gd name="connsiteY5" fmla="*/ 0 h 8577943"/>
                <a:gd name="connsiteX6" fmla="*/ 3962400 w 7866743"/>
                <a:gd name="connsiteY6" fmla="*/ 72571 h 8577943"/>
                <a:gd name="connsiteX7" fmla="*/ 4397829 w 7866743"/>
                <a:gd name="connsiteY7" fmla="*/ 1291771 h 8577943"/>
                <a:gd name="connsiteX8" fmla="*/ 5065486 w 7866743"/>
                <a:gd name="connsiteY8" fmla="*/ 1553028 h 8577943"/>
                <a:gd name="connsiteX9" fmla="*/ 6183086 w 7866743"/>
                <a:gd name="connsiteY9" fmla="*/ 957943 h 8577943"/>
                <a:gd name="connsiteX10" fmla="*/ 6850743 w 7866743"/>
                <a:gd name="connsiteY10" fmla="*/ 1654628 h 8577943"/>
                <a:gd name="connsiteX11" fmla="*/ 6328229 w 7866743"/>
                <a:gd name="connsiteY11" fmla="*/ 2743200 h 8577943"/>
                <a:gd name="connsiteX12" fmla="*/ 6633029 w 7866743"/>
                <a:gd name="connsiteY12" fmla="*/ 3556000 h 8577943"/>
                <a:gd name="connsiteX13" fmla="*/ 7823200 w 7866743"/>
                <a:gd name="connsiteY13" fmla="*/ 3817257 h 8577943"/>
                <a:gd name="connsiteX14" fmla="*/ 7866743 w 7866743"/>
                <a:gd name="connsiteY14" fmla="*/ 4760685 h 8577943"/>
                <a:gd name="connsiteX15" fmla="*/ 6604000 w 7866743"/>
                <a:gd name="connsiteY15" fmla="*/ 5094514 h 8577943"/>
                <a:gd name="connsiteX16" fmla="*/ 6328229 w 7866743"/>
                <a:gd name="connsiteY16" fmla="*/ 5791200 h 8577943"/>
                <a:gd name="connsiteX17" fmla="*/ 6952343 w 7866743"/>
                <a:gd name="connsiteY17" fmla="*/ 6952343 h 8577943"/>
                <a:gd name="connsiteX18" fmla="*/ 6284686 w 7866743"/>
                <a:gd name="connsiteY18" fmla="*/ 7678057 h 8577943"/>
                <a:gd name="connsiteX19" fmla="*/ 5167086 w 7866743"/>
                <a:gd name="connsiteY19" fmla="*/ 7155543 h 8577943"/>
                <a:gd name="connsiteX20" fmla="*/ 4397829 w 7866743"/>
                <a:gd name="connsiteY20" fmla="*/ 7402285 h 8577943"/>
                <a:gd name="connsiteX21" fmla="*/ 4064000 w 7866743"/>
                <a:gd name="connsiteY21" fmla="*/ 8563428 h 8577943"/>
                <a:gd name="connsiteX22" fmla="*/ 3077029 w 7866743"/>
                <a:gd name="connsiteY22" fmla="*/ 8577943 h 8577943"/>
                <a:gd name="connsiteX23" fmla="*/ 2627086 w 7866743"/>
                <a:gd name="connsiteY23" fmla="*/ 7402285 h 8577943"/>
                <a:gd name="connsiteX24" fmla="*/ 2061029 w 7866743"/>
                <a:gd name="connsiteY24" fmla="*/ 7170057 h 8577943"/>
                <a:gd name="connsiteX25" fmla="*/ 899886 w 7866743"/>
                <a:gd name="connsiteY25" fmla="*/ 7692571 h 8577943"/>
                <a:gd name="connsiteX26" fmla="*/ 203200 w 7866743"/>
                <a:gd name="connsiteY26" fmla="*/ 7053943 h 8577943"/>
                <a:gd name="connsiteX27" fmla="*/ 391886 w 7866743"/>
                <a:gd name="connsiteY27" fmla="*/ 6574971 h 8577943"/>
                <a:gd name="connsiteX28" fmla="*/ 1611086 w 7866743"/>
                <a:gd name="connsiteY28" fmla="*/ 3933371 h 8577943"/>
                <a:gd name="connsiteX29" fmla="*/ 391886 w 7866743"/>
                <a:gd name="connsiteY29" fmla="*/ 2249714 h 8577943"/>
                <a:gd name="connsiteX30" fmla="*/ 0 w 7866743"/>
                <a:gd name="connsiteY30" fmla="*/ 1538514 h 8577943"/>
                <a:gd name="connsiteX0" fmla="*/ 333828 w 7837714"/>
                <a:gd name="connsiteY0" fmla="*/ 2394857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62857 w 7837714"/>
                <a:gd name="connsiteY29" fmla="*/ 2249714 h 8577943"/>
                <a:gd name="connsiteX0" fmla="*/ 333828 w 7837714"/>
                <a:gd name="connsiteY0" fmla="*/ 2394857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37644 w 7837714"/>
                <a:gd name="connsiteY29" fmla="*/ 2387546 h 8577943"/>
                <a:gd name="connsiteX0" fmla="*/ 333828 w 7837714"/>
                <a:gd name="connsiteY0" fmla="*/ 2394857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37644 w 7837714"/>
                <a:gd name="connsiteY29" fmla="*/ 2387546 h 8577943"/>
                <a:gd name="connsiteX30" fmla="*/ 333828 w 7837714"/>
                <a:gd name="connsiteY30" fmla="*/ 2394857 h 8577943"/>
                <a:gd name="connsiteX0" fmla="*/ 337644 w 7837714"/>
                <a:gd name="connsiteY0" fmla="*/ 2387546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37644 w 7837714"/>
                <a:gd name="connsiteY29" fmla="*/ 2387546 h 8577943"/>
                <a:gd name="connsiteX0" fmla="*/ 374623 w 7837714"/>
                <a:gd name="connsiteY0" fmla="*/ 2367376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74623 w 7837714"/>
                <a:gd name="connsiteY29" fmla="*/ 2367376 h 8577943"/>
                <a:gd name="connsiteX0" fmla="*/ 393113 w 7856204"/>
                <a:gd name="connsiteY0" fmla="*/ 2367376 h 8577943"/>
                <a:gd name="connsiteX1" fmla="*/ 0 w 7856204"/>
                <a:gd name="connsiteY1" fmla="*/ 1656469 h 8577943"/>
                <a:gd name="connsiteX2" fmla="*/ 729690 w 7856204"/>
                <a:gd name="connsiteY2" fmla="*/ 1016000 h 8577943"/>
                <a:gd name="connsiteX3" fmla="*/ 1847290 w 7856204"/>
                <a:gd name="connsiteY3" fmla="*/ 1494971 h 8577943"/>
                <a:gd name="connsiteX4" fmla="*/ 2543975 w 7856204"/>
                <a:gd name="connsiteY4" fmla="*/ 1262743 h 8577943"/>
                <a:gd name="connsiteX5" fmla="*/ 2950375 w 7856204"/>
                <a:gd name="connsiteY5" fmla="*/ 0 h 8577943"/>
                <a:gd name="connsiteX6" fmla="*/ 3951861 w 7856204"/>
                <a:gd name="connsiteY6" fmla="*/ 72571 h 8577943"/>
                <a:gd name="connsiteX7" fmla="*/ 4387290 w 7856204"/>
                <a:gd name="connsiteY7" fmla="*/ 1291771 h 8577943"/>
                <a:gd name="connsiteX8" fmla="*/ 5054947 w 7856204"/>
                <a:gd name="connsiteY8" fmla="*/ 1553028 h 8577943"/>
                <a:gd name="connsiteX9" fmla="*/ 6172547 w 7856204"/>
                <a:gd name="connsiteY9" fmla="*/ 957943 h 8577943"/>
                <a:gd name="connsiteX10" fmla="*/ 6840204 w 7856204"/>
                <a:gd name="connsiteY10" fmla="*/ 1654628 h 8577943"/>
                <a:gd name="connsiteX11" fmla="*/ 6317690 w 7856204"/>
                <a:gd name="connsiteY11" fmla="*/ 2743200 h 8577943"/>
                <a:gd name="connsiteX12" fmla="*/ 6622490 w 7856204"/>
                <a:gd name="connsiteY12" fmla="*/ 3556000 h 8577943"/>
                <a:gd name="connsiteX13" fmla="*/ 7812661 w 7856204"/>
                <a:gd name="connsiteY13" fmla="*/ 3817257 h 8577943"/>
                <a:gd name="connsiteX14" fmla="*/ 7856204 w 7856204"/>
                <a:gd name="connsiteY14" fmla="*/ 4760685 h 8577943"/>
                <a:gd name="connsiteX15" fmla="*/ 6593461 w 7856204"/>
                <a:gd name="connsiteY15" fmla="*/ 5094514 h 8577943"/>
                <a:gd name="connsiteX16" fmla="*/ 6317690 w 7856204"/>
                <a:gd name="connsiteY16" fmla="*/ 5791200 h 8577943"/>
                <a:gd name="connsiteX17" fmla="*/ 6941804 w 7856204"/>
                <a:gd name="connsiteY17" fmla="*/ 6952343 h 8577943"/>
                <a:gd name="connsiteX18" fmla="*/ 6274147 w 7856204"/>
                <a:gd name="connsiteY18" fmla="*/ 7678057 h 8577943"/>
                <a:gd name="connsiteX19" fmla="*/ 5156547 w 7856204"/>
                <a:gd name="connsiteY19" fmla="*/ 7155543 h 8577943"/>
                <a:gd name="connsiteX20" fmla="*/ 4387290 w 7856204"/>
                <a:gd name="connsiteY20" fmla="*/ 7402285 h 8577943"/>
                <a:gd name="connsiteX21" fmla="*/ 4053461 w 7856204"/>
                <a:gd name="connsiteY21" fmla="*/ 8563428 h 8577943"/>
                <a:gd name="connsiteX22" fmla="*/ 3066490 w 7856204"/>
                <a:gd name="connsiteY22" fmla="*/ 8577943 h 8577943"/>
                <a:gd name="connsiteX23" fmla="*/ 2616547 w 7856204"/>
                <a:gd name="connsiteY23" fmla="*/ 7402285 h 8577943"/>
                <a:gd name="connsiteX24" fmla="*/ 2050490 w 7856204"/>
                <a:gd name="connsiteY24" fmla="*/ 7170057 h 8577943"/>
                <a:gd name="connsiteX25" fmla="*/ 889347 w 7856204"/>
                <a:gd name="connsiteY25" fmla="*/ 7692571 h 8577943"/>
                <a:gd name="connsiteX26" fmla="*/ 192661 w 7856204"/>
                <a:gd name="connsiteY26" fmla="*/ 7053943 h 8577943"/>
                <a:gd name="connsiteX27" fmla="*/ 381347 w 7856204"/>
                <a:gd name="connsiteY27" fmla="*/ 6574971 h 8577943"/>
                <a:gd name="connsiteX28" fmla="*/ 1600547 w 7856204"/>
                <a:gd name="connsiteY28" fmla="*/ 3933371 h 8577943"/>
                <a:gd name="connsiteX29" fmla="*/ 393113 w 7856204"/>
                <a:gd name="connsiteY29" fmla="*/ 2367376 h 8577943"/>
                <a:gd name="connsiteX0" fmla="*/ 393113 w 7856204"/>
                <a:gd name="connsiteY0" fmla="*/ 2367376 h 8577943"/>
                <a:gd name="connsiteX1" fmla="*/ 0 w 7856204"/>
                <a:gd name="connsiteY1" fmla="*/ 1656469 h 8577943"/>
                <a:gd name="connsiteX2" fmla="*/ 709519 w 7856204"/>
                <a:gd name="connsiteY2" fmla="*/ 977340 h 8577943"/>
                <a:gd name="connsiteX3" fmla="*/ 1847290 w 7856204"/>
                <a:gd name="connsiteY3" fmla="*/ 1494971 h 8577943"/>
                <a:gd name="connsiteX4" fmla="*/ 2543975 w 7856204"/>
                <a:gd name="connsiteY4" fmla="*/ 1262743 h 8577943"/>
                <a:gd name="connsiteX5" fmla="*/ 2950375 w 7856204"/>
                <a:gd name="connsiteY5" fmla="*/ 0 h 8577943"/>
                <a:gd name="connsiteX6" fmla="*/ 3951861 w 7856204"/>
                <a:gd name="connsiteY6" fmla="*/ 72571 h 8577943"/>
                <a:gd name="connsiteX7" fmla="*/ 4387290 w 7856204"/>
                <a:gd name="connsiteY7" fmla="*/ 1291771 h 8577943"/>
                <a:gd name="connsiteX8" fmla="*/ 5054947 w 7856204"/>
                <a:gd name="connsiteY8" fmla="*/ 1553028 h 8577943"/>
                <a:gd name="connsiteX9" fmla="*/ 6172547 w 7856204"/>
                <a:gd name="connsiteY9" fmla="*/ 957943 h 8577943"/>
                <a:gd name="connsiteX10" fmla="*/ 6840204 w 7856204"/>
                <a:gd name="connsiteY10" fmla="*/ 1654628 h 8577943"/>
                <a:gd name="connsiteX11" fmla="*/ 6317690 w 7856204"/>
                <a:gd name="connsiteY11" fmla="*/ 2743200 h 8577943"/>
                <a:gd name="connsiteX12" fmla="*/ 6622490 w 7856204"/>
                <a:gd name="connsiteY12" fmla="*/ 3556000 h 8577943"/>
                <a:gd name="connsiteX13" fmla="*/ 7812661 w 7856204"/>
                <a:gd name="connsiteY13" fmla="*/ 3817257 h 8577943"/>
                <a:gd name="connsiteX14" fmla="*/ 7856204 w 7856204"/>
                <a:gd name="connsiteY14" fmla="*/ 4760685 h 8577943"/>
                <a:gd name="connsiteX15" fmla="*/ 6593461 w 7856204"/>
                <a:gd name="connsiteY15" fmla="*/ 5094514 h 8577943"/>
                <a:gd name="connsiteX16" fmla="*/ 6317690 w 7856204"/>
                <a:gd name="connsiteY16" fmla="*/ 5791200 h 8577943"/>
                <a:gd name="connsiteX17" fmla="*/ 6941804 w 7856204"/>
                <a:gd name="connsiteY17" fmla="*/ 6952343 h 8577943"/>
                <a:gd name="connsiteX18" fmla="*/ 6274147 w 7856204"/>
                <a:gd name="connsiteY18" fmla="*/ 7678057 h 8577943"/>
                <a:gd name="connsiteX19" fmla="*/ 5156547 w 7856204"/>
                <a:gd name="connsiteY19" fmla="*/ 7155543 h 8577943"/>
                <a:gd name="connsiteX20" fmla="*/ 4387290 w 7856204"/>
                <a:gd name="connsiteY20" fmla="*/ 7402285 h 8577943"/>
                <a:gd name="connsiteX21" fmla="*/ 4053461 w 7856204"/>
                <a:gd name="connsiteY21" fmla="*/ 8563428 h 8577943"/>
                <a:gd name="connsiteX22" fmla="*/ 3066490 w 7856204"/>
                <a:gd name="connsiteY22" fmla="*/ 8577943 h 8577943"/>
                <a:gd name="connsiteX23" fmla="*/ 2616547 w 7856204"/>
                <a:gd name="connsiteY23" fmla="*/ 7402285 h 8577943"/>
                <a:gd name="connsiteX24" fmla="*/ 2050490 w 7856204"/>
                <a:gd name="connsiteY24" fmla="*/ 7170057 h 8577943"/>
                <a:gd name="connsiteX25" fmla="*/ 889347 w 7856204"/>
                <a:gd name="connsiteY25" fmla="*/ 7692571 h 8577943"/>
                <a:gd name="connsiteX26" fmla="*/ 192661 w 7856204"/>
                <a:gd name="connsiteY26" fmla="*/ 7053943 h 8577943"/>
                <a:gd name="connsiteX27" fmla="*/ 381347 w 7856204"/>
                <a:gd name="connsiteY27" fmla="*/ 6574971 h 8577943"/>
                <a:gd name="connsiteX28" fmla="*/ 1600547 w 7856204"/>
                <a:gd name="connsiteY28" fmla="*/ 3933371 h 8577943"/>
                <a:gd name="connsiteX29" fmla="*/ 393113 w 7856204"/>
                <a:gd name="connsiteY29" fmla="*/ 2367376 h 8577943"/>
                <a:gd name="connsiteX0" fmla="*/ 393113 w 7856204"/>
                <a:gd name="connsiteY0" fmla="*/ 2367376 h 8577943"/>
                <a:gd name="connsiteX1" fmla="*/ 0 w 7856204"/>
                <a:gd name="connsiteY1" fmla="*/ 1656469 h 8577943"/>
                <a:gd name="connsiteX2" fmla="*/ 709519 w 7856204"/>
                <a:gd name="connsiteY2" fmla="*/ 977340 h 8577943"/>
                <a:gd name="connsiteX3" fmla="*/ 1872504 w 7856204"/>
                <a:gd name="connsiteY3" fmla="*/ 1511780 h 8577943"/>
                <a:gd name="connsiteX4" fmla="*/ 2543975 w 7856204"/>
                <a:gd name="connsiteY4" fmla="*/ 1262743 h 8577943"/>
                <a:gd name="connsiteX5" fmla="*/ 2950375 w 7856204"/>
                <a:gd name="connsiteY5" fmla="*/ 0 h 8577943"/>
                <a:gd name="connsiteX6" fmla="*/ 3951861 w 7856204"/>
                <a:gd name="connsiteY6" fmla="*/ 72571 h 8577943"/>
                <a:gd name="connsiteX7" fmla="*/ 4387290 w 7856204"/>
                <a:gd name="connsiteY7" fmla="*/ 1291771 h 8577943"/>
                <a:gd name="connsiteX8" fmla="*/ 5054947 w 7856204"/>
                <a:gd name="connsiteY8" fmla="*/ 1553028 h 8577943"/>
                <a:gd name="connsiteX9" fmla="*/ 6172547 w 7856204"/>
                <a:gd name="connsiteY9" fmla="*/ 957943 h 8577943"/>
                <a:gd name="connsiteX10" fmla="*/ 6840204 w 7856204"/>
                <a:gd name="connsiteY10" fmla="*/ 1654628 h 8577943"/>
                <a:gd name="connsiteX11" fmla="*/ 6317690 w 7856204"/>
                <a:gd name="connsiteY11" fmla="*/ 2743200 h 8577943"/>
                <a:gd name="connsiteX12" fmla="*/ 6622490 w 7856204"/>
                <a:gd name="connsiteY12" fmla="*/ 3556000 h 8577943"/>
                <a:gd name="connsiteX13" fmla="*/ 7812661 w 7856204"/>
                <a:gd name="connsiteY13" fmla="*/ 3817257 h 8577943"/>
                <a:gd name="connsiteX14" fmla="*/ 7856204 w 7856204"/>
                <a:gd name="connsiteY14" fmla="*/ 4760685 h 8577943"/>
                <a:gd name="connsiteX15" fmla="*/ 6593461 w 7856204"/>
                <a:gd name="connsiteY15" fmla="*/ 5094514 h 8577943"/>
                <a:gd name="connsiteX16" fmla="*/ 6317690 w 7856204"/>
                <a:gd name="connsiteY16" fmla="*/ 5791200 h 8577943"/>
                <a:gd name="connsiteX17" fmla="*/ 6941804 w 7856204"/>
                <a:gd name="connsiteY17" fmla="*/ 6952343 h 8577943"/>
                <a:gd name="connsiteX18" fmla="*/ 6274147 w 7856204"/>
                <a:gd name="connsiteY18" fmla="*/ 7678057 h 8577943"/>
                <a:gd name="connsiteX19" fmla="*/ 5156547 w 7856204"/>
                <a:gd name="connsiteY19" fmla="*/ 7155543 h 8577943"/>
                <a:gd name="connsiteX20" fmla="*/ 4387290 w 7856204"/>
                <a:gd name="connsiteY20" fmla="*/ 7402285 h 8577943"/>
                <a:gd name="connsiteX21" fmla="*/ 4053461 w 7856204"/>
                <a:gd name="connsiteY21" fmla="*/ 8563428 h 8577943"/>
                <a:gd name="connsiteX22" fmla="*/ 3066490 w 7856204"/>
                <a:gd name="connsiteY22" fmla="*/ 8577943 h 8577943"/>
                <a:gd name="connsiteX23" fmla="*/ 2616547 w 7856204"/>
                <a:gd name="connsiteY23" fmla="*/ 7402285 h 8577943"/>
                <a:gd name="connsiteX24" fmla="*/ 2050490 w 7856204"/>
                <a:gd name="connsiteY24" fmla="*/ 7170057 h 8577943"/>
                <a:gd name="connsiteX25" fmla="*/ 889347 w 7856204"/>
                <a:gd name="connsiteY25" fmla="*/ 7692571 h 8577943"/>
                <a:gd name="connsiteX26" fmla="*/ 192661 w 7856204"/>
                <a:gd name="connsiteY26" fmla="*/ 7053943 h 8577943"/>
                <a:gd name="connsiteX27" fmla="*/ 381347 w 7856204"/>
                <a:gd name="connsiteY27" fmla="*/ 6574971 h 8577943"/>
                <a:gd name="connsiteX28" fmla="*/ 1600547 w 7856204"/>
                <a:gd name="connsiteY28" fmla="*/ 3933371 h 8577943"/>
                <a:gd name="connsiteX29" fmla="*/ 393113 w 7856204"/>
                <a:gd name="connsiteY29" fmla="*/ 2367376 h 8577943"/>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87290 w 7856204"/>
                <a:gd name="connsiteY7" fmla="*/ 1219200 h 8505372"/>
                <a:gd name="connsiteX8" fmla="*/ 5054947 w 7856204"/>
                <a:gd name="connsiteY8" fmla="*/ 1480457 h 8505372"/>
                <a:gd name="connsiteX9" fmla="*/ 6172547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54947 w 7856204"/>
                <a:gd name="connsiteY8" fmla="*/ 1480457 h 8505372"/>
                <a:gd name="connsiteX9" fmla="*/ 6172547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112097 w 7856204"/>
                <a:gd name="connsiteY8" fmla="*/ 1468690 h 8505372"/>
                <a:gd name="connsiteX9" fmla="*/ 6172547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78480 w 7856204"/>
                <a:gd name="connsiteY8" fmla="*/ 1480456 h 8505372"/>
                <a:gd name="connsiteX9" fmla="*/ 6172547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78480 w 7856204"/>
                <a:gd name="connsiteY8" fmla="*/ 1480456 h 8505372"/>
                <a:gd name="connsiteX9" fmla="*/ 6212888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78480 w 7856204"/>
                <a:gd name="connsiteY8" fmla="*/ 1480456 h 8505372"/>
                <a:gd name="connsiteX9" fmla="*/ 6212888 w 7856204"/>
                <a:gd name="connsiteY9" fmla="*/ 885372 h 8505372"/>
                <a:gd name="connsiteX10" fmla="*/ 6877184 w 7856204"/>
                <a:gd name="connsiteY10" fmla="*/ 156188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78480 w 7856204"/>
                <a:gd name="connsiteY8" fmla="*/ 1480456 h 8505372"/>
                <a:gd name="connsiteX9" fmla="*/ 6212888 w 7856204"/>
                <a:gd name="connsiteY9" fmla="*/ 885372 h 8505372"/>
                <a:gd name="connsiteX10" fmla="*/ 6877184 w 7856204"/>
                <a:gd name="connsiteY10" fmla="*/ 1561887 h 8505372"/>
                <a:gd name="connsiteX11" fmla="*/ 6317690 w 7856204"/>
                <a:gd name="connsiteY11" fmla="*/ 2670629 h 8505372"/>
                <a:gd name="connsiteX12" fmla="*/ 6595596 w 7856204"/>
                <a:gd name="connsiteY12" fmla="*/ 3396023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93461 w 7822586"/>
                <a:gd name="connsiteY15" fmla="*/ 5021943 h 8505372"/>
                <a:gd name="connsiteX16" fmla="*/ 6317690 w 7822586"/>
                <a:gd name="connsiteY16" fmla="*/ 5718629 h 8505372"/>
                <a:gd name="connsiteX17" fmla="*/ 6941804 w 7822586"/>
                <a:gd name="connsiteY17" fmla="*/ 6879772 h 8505372"/>
                <a:gd name="connsiteX18" fmla="*/ 6274147 w 7822586"/>
                <a:gd name="connsiteY18" fmla="*/ 7605486 h 8505372"/>
                <a:gd name="connsiteX19" fmla="*/ 5156547 w 7822586"/>
                <a:gd name="connsiteY19" fmla="*/ 7082972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317690 w 7822586"/>
                <a:gd name="connsiteY16" fmla="*/ 5718629 h 8505372"/>
                <a:gd name="connsiteX17" fmla="*/ 6941804 w 7822586"/>
                <a:gd name="connsiteY17" fmla="*/ 6879772 h 8505372"/>
                <a:gd name="connsiteX18" fmla="*/ 6274147 w 7822586"/>
                <a:gd name="connsiteY18" fmla="*/ 7605486 h 8505372"/>
                <a:gd name="connsiteX19" fmla="*/ 5156547 w 7822586"/>
                <a:gd name="connsiteY19" fmla="*/ 7082972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297519 w 7822586"/>
                <a:gd name="connsiteY16" fmla="*/ 5750565 h 8505372"/>
                <a:gd name="connsiteX17" fmla="*/ 6941804 w 7822586"/>
                <a:gd name="connsiteY17" fmla="*/ 6879772 h 8505372"/>
                <a:gd name="connsiteX18" fmla="*/ 6274147 w 7822586"/>
                <a:gd name="connsiteY18" fmla="*/ 7605486 h 8505372"/>
                <a:gd name="connsiteX19" fmla="*/ 5156547 w 7822586"/>
                <a:gd name="connsiteY19" fmla="*/ 7082972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297519 w 7822586"/>
                <a:gd name="connsiteY16" fmla="*/ 5750565 h 8505372"/>
                <a:gd name="connsiteX17" fmla="*/ 6923314 w 7822586"/>
                <a:gd name="connsiteY17" fmla="*/ 6896580 h 8505372"/>
                <a:gd name="connsiteX18" fmla="*/ 6274147 w 7822586"/>
                <a:gd name="connsiteY18" fmla="*/ 7605486 h 8505372"/>
                <a:gd name="connsiteX19" fmla="*/ 5156547 w 7822586"/>
                <a:gd name="connsiteY19" fmla="*/ 7082972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297519 w 7822586"/>
                <a:gd name="connsiteY16" fmla="*/ 5750565 h 8505372"/>
                <a:gd name="connsiteX17" fmla="*/ 6923314 w 7822586"/>
                <a:gd name="connsiteY17" fmla="*/ 6896580 h 8505372"/>
                <a:gd name="connsiteX18" fmla="*/ 6274147 w 7822586"/>
                <a:gd name="connsiteY18" fmla="*/ 7605486 h 8505372"/>
                <a:gd name="connsiteX19" fmla="*/ 5117887 w 7822586"/>
                <a:gd name="connsiteY19" fmla="*/ 7077930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297519 w 7822586"/>
                <a:gd name="connsiteY16" fmla="*/ 5750565 h 8505372"/>
                <a:gd name="connsiteX17" fmla="*/ 6923314 w 7822586"/>
                <a:gd name="connsiteY17" fmla="*/ 6896580 h 8505372"/>
                <a:gd name="connsiteX18" fmla="*/ 6274147 w 7822586"/>
                <a:gd name="connsiteY18" fmla="*/ 7605486 h 8505372"/>
                <a:gd name="connsiteX19" fmla="*/ 5117887 w 7822586"/>
                <a:gd name="connsiteY19" fmla="*/ 7077930 h 8505372"/>
                <a:gd name="connsiteX20" fmla="*/ 4402418 w 7822586"/>
                <a:gd name="connsiteY20" fmla="*/ 7351565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66490 w 7822586"/>
                <a:gd name="connsiteY22" fmla="*/ 8505372 h 8546326"/>
                <a:gd name="connsiteX23" fmla="*/ 2616547 w 7822586"/>
                <a:gd name="connsiteY23" fmla="*/ 7329714 h 8546326"/>
                <a:gd name="connsiteX24" fmla="*/ 2050490 w 7822586"/>
                <a:gd name="connsiteY24" fmla="*/ 7097486 h 8546326"/>
                <a:gd name="connsiteX25" fmla="*/ 889347 w 7822586"/>
                <a:gd name="connsiteY25" fmla="*/ 7620000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16547 w 7822586"/>
                <a:gd name="connsiteY23" fmla="*/ 7329714 h 8546326"/>
                <a:gd name="connsiteX24" fmla="*/ 2050490 w 7822586"/>
                <a:gd name="connsiteY24" fmla="*/ 7097486 h 8546326"/>
                <a:gd name="connsiteX25" fmla="*/ 889347 w 7822586"/>
                <a:gd name="connsiteY25" fmla="*/ 7620000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2050490 w 7822586"/>
                <a:gd name="connsiteY24" fmla="*/ 7097486 h 8546326"/>
                <a:gd name="connsiteX25" fmla="*/ 889347 w 7822586"/>
                <a:gd name="connsiteY25" fmla="*/ 7620000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89347 w 7822586"/>
                <a:gd name="connsiteY25" fmla="*/ 7620000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79664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185431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185431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185431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1753180 w 7822586"/>
                <a:gd name="connsiteY29" fmla="*/ 4973717 h 8546326"/>
                <a:gd name="connsiteX30" fmla="*/ 1600547 w 7822586"/>
                <a:gd name="connsiteY30" fmla="*/ 3860800 h 8546326"/>
                <a:gd name="connsiteX31" fmla="*/ 393113 w 7822586"/>
                <a:gd name="connsiteY31"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1600547 w 7822586"/>
                <a:gd name="connsiteY30" fmla="*/ 3860800 h 8546326"/>
                <a:gd name="connsiteX31" fmla="*/ 393113 w 7822586"/>
                <a:gd name="connsiteY31"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1896450 w 7822586"/>
                <a:gd name="connsiteY30" fmla="*/ 4733529 h 8546326"/>
                <a:gd name="connsiteX31" fmla="*/ 1600547 w 7822586"/>
                <a:gd name="connsiteY31" fmla="*/ 3860800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1600547 w 7822586"/>
                <a:gd name="connsiteY31" fmla="*/ 3860800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372611 w 7822586"/>
                <a:gd name="connsiteY29" fmla="*/ 5525728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372611 w 7822586"/>
                <a:gd name="connsiteY29" fmla="*/ 5525728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372611 w 7822586"/>
                <a:gd name="connsiteY29" fmla="*/ 5525728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469529 w 7822586"/>
                <a:gd name="connsiteY29" fmla="*/ 5626860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469529 w 7822586"/>
                <a:gd name="connsiteY29" fmla="*/ 5626860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469529 w 7822586"/>
                <a:gd name="connsiteY29" fmla="*/ 5626860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469529 w 7822586"/>
                <a:gd name="connsiteY29" fmla="*/ 5626860 h 8546326"/>
                <a:gd name="connsiteX30" fmla="*/ 5212730 w 7822586"/>
                <a:gd name="connsiteY30" fmla="*/ 4156235 h 8546326"/>
                <a:gd name="connsiteX31" fmla="*/ 2911047 w 7822586"/>
                <a:gd name="connsiteY31" fmla="*/ 1960365 h 8546326"/>
                <a:gd name="connsiteX32" fmla="*/ 393113 w 7822586"/>
                <a:gd name="connsiteY32" fmla="*/ 2294805 h 854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822586" h="8546326">
                  <a:moveTo>
                    <a:pt x="393113" y="2294805"/>
                  </a:moveTo>
                  <a:lnTo>
                    <a:pt x="0" y="1583898"/>
                  </a:lnTo>
                  <a:lnTo>
                    <a:pt x="709519" y="904769"/>
                  </a:lnTo>
                  <a:lnTo>
                    <a:pt x="1872504" y="1439209"/>
                  </a:lnTo>
                  <a:lnTo>
                    <a:pt x="2543975" y="1190172"/>
                  </a:lnTo>
                  <a:lnTo>
                    <a:pt x="2926843" y="4750"/>
                  </a:lnTo>
                  <a:lnTo>
                    <a:pt x="3951861" y="0"/>
                  </a:lnTo>
                  <a:lnTo>
                    <a:pt x="4368801" y="1153645"/>
                  </a:lnTo>
                  <a:lnTo>
                    <a:pt x="5078480" y="1480456"/>
                  </a:lnTo>
                  <a:lnTo>
                    <a:pt x="6212888" y="885372"/>
                  </a:lnTo>
                  <a:lnTo>
                    <a:pt x="6877184" y="1561887"/>
                  </a:lnTo>
                  <a:lnTo>
                    <a:pt x="6317690" y="2670629"/>
                  </a:lnTo>
                  <a:lnTo>
                    <a:pt x="6595596" y="3396023"/>
                  </a:lnTo>
                  <a:lnTo>
                    <a:pt x="7812661" y="3744686"/>
                  </a:lnTo>
                  <a:lnTo>
                    <a:pt x="7822586" y="4684752"/>
                  </a:lnTo>
                  <a:lnTo>
                    <a:pt x="6588418" y="5079093"/>
                  </a:lnTo>
                  <a:lnTo>
                    <a:pt x="6297519" y="5750565"/>
                  </a:lnTo>
                  <a:lnTo>
                    <a:pt x="6923314" y="6896580"/>
                  </a:lnTo>
                  <a:lnTo>
                    <a:pt x="6274147" y="7605486"/>
                  </a:lnTo>
                  <a:lnTo>
                    <a:pt x="5117887" y="7077930"/>
                  </a:lnTo>
                  <a:lnTo>
                    <a:pt x="4402418" y="7351565"/>
                  </a:lnTo>
                  <a:lnTo>
                    <a:pt x="4013120" y="8546326"/>
                  </a:lnTo>
                  <a:lnTo>
                    <a:pt x="3058085" y="8527223"/>
                  </a:lnTo>
                  <a:lnTo>
                    <a:pt x="2698910" y="7354927"/>
                  </a:lnTo>
                  <a:lnTo>
                    <a:pt x="1968127" y="7050422"/>
                  </a:lnTo>
                  <a:lnTo>
                    <a:pt x="860772" y="7651937"/>
                  </a:lnTo>
                  <a:lnTo>
                    <a:pt x="167448" y="6964563"/>
                  </a:lnTo>
                  <a:lnTo>
                    <a:pt x="351850" y="6540324"/>
                  </a:lnTo>
                  <a:cubicBezTo>
                    <a:pt x="986108" y="6351013"/>
                    <a:pt x="1392821" y="6014221"/>
                    <a:pt x="1854312" y="5605791"/>
                  </a:cubicBezTo>
                  <a:cubicBezTo>
                    <a:pt x="1947015" y="5486399"/>
                    <a:pt x="2102927" y="5367008"/>
                    <a:pt x="2469529" y="5626860"/>
                  </a:cubicBezTo>
                  <a:cubicBezTo>
                    <a:pt x="3033479" y="6114258"/>
                    <a:pt x="5245894" y="6366464"/>
                    <a:pt x="5212730" y="4156235"/>
                  </a:cubicBezTo>
                  <a:cubicBezTo>
                    <a:pt x="5150069" y="2839337"/>
                    <a:pt x="3714316" y="2270603"/>
                    <a:pt x="2911047" y="1960365"/>
                  </a:cubicBezTo>
                  <a:cubicBezTo>
                    <a:pt x="1897086" y="1603775"/>
                    <a:pt x="785583" y="2037298"/>
                    <a:pt x="393113" y="2294805"/>
                  </a:cubicBezTo>
                  <a:close/>
                </a:path>
              </a:pathLst>
            </a:custGeom>
            <a:solidFill>
              <a:srgbClr val="90909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82"/>
            </a:p>
          </p:txBody>
        </p:sp>
        <p:sp>
          <p:nvSpPr>
            <p:cNvPr id="41" name="Freeform: Shape 40"/>
            <p:cNvSpPr/>
            <p:nvPr/>
          </p:nvSpPr>
          <p:spPr>
            <a:xfrm>
              <a:off x="-12693011" y="456154"/>
              <a:ext cx="7353649" cy="7132230"/>
            </a:xfrm>
            <a:custGeom>
              <a:avLst/>
              <a:gdLst>
                <a:gd name="connsiteX0" fmla="*/ 6263125 w 7353649"/>
                <a:gd name="connsiteY0" fmla="*/ 0 h 7132230"/>
                <a:gd name="connsiteX1" fmla="*/ 6408247 w 7353649"/>
                <a:gd name="connsiteY1" fmla="*/ 147791 h 7132230"/>
                <a:gd name="connsiteX2" fmla="*/ 5848753 w 7353649"/>
                <a:gd name="connsiteY2" fmla="*/ 1256533 h 7132230"/>
                <a:gd name="connsiteX3" fmla="*/ 6126659 w 7353649"/>
                <a:gd name="connsiteY3" fmla="*/ 1981927 h 7132230"/>
                <a:gd name="connsiteX4" fmla="*/ 7343724 w 7353649"/>
                <a:gd name="connsiteY4" fmla="*/ 2330590 h 7132230"/>
                <a:gd name="connsiteX5" fmla="*/ 7353649 w 7353649"/>
                <a:gd name="connsiteY5" fmla="*/ 3270656 h 7132230"/>
                <a:gd name="connsiteX6" fmla="*/ 6119481 w 7353649"/>
                <a:gd name="connsiteY6" fmla="*/ 3664997 h 7132230"/>
                <a:gd name="connsiteX7" fmla="*/ 5828582 w 7353649"/>
                <a:gd name="connsiteY7" fmla="*/ 4336469 h 7132230"/>
                <a:gd name="connsiteX8" fmla="*/ 6454377 w 7353649"/>
                <a:gd name="connsiteY8" fmla="*/ 5482484 h 7132230"/>
                <a:gd name="connsiteX9" fmla="*/ 5805210 w 7353649"/>
                <a:gd name="connsiteY9" fmla="*/ 6191390 h 7132230"/>
                <a:gd name="connsiteX10" fmla="*/ 4648950 w 7353649"/>
                <a:gd name="connsiteY10" fmla="*/ 5663834 h 7132230"/>
                <a:gd name="connsiteX11" fmla="*/ 3933481 w 7353649"/>
                <a:gd name="connsiteY11" fmla="*/ 5937469 h 7132230"/>
                <a:gd name="connsiteX12" fmla="*/ 3544183 w 7353649"/>
                <a:gd name="connsiteY12" fmla="*/ 7132230 h 7132230"/>
                <a:gd name="connsiteX13" fmla="*/ 2589148 w 7353649"/>
                <a:gd name="connsiteY13" fmla="*/ 7113127 h 7132230"/>
                <a:gd name="connsiteX14" fmla="*/ 2229973 w 7353649"/>
                <a:gd name="connsiteY14" fmla="*/ 5940831 h 7132230"/>
                <a:gd name="connsiteX15" fmla="*/ 1499190 w 7353649"/>
                <a:gd name="connsiteY15" fmla="*/ 5636326 h 7132230"/>
                <a:gd name="connsiteX16" fmla="*/ 391835 w 7353649"/>
                <a:gd name="connsiteY16" fmla="*/ 6237841 h 7132230"/>
                <a:gd name="connsiteX17" fmla="*/ 0 w 7353649"/>
                <a:gd name="connsiteY17" fmla="*/ 5849369 h 7132230"/>
                <a:gd name="connsiteX18" fmla="*/ 1850329 w 7353649"/>
                <a:gd name="connsiteY18" fmla="*/ 4121277 h 7132230"/>
                <a:gd name="connsiteX19" fmla="*/ 1872705 w 7353649"/>
                <a:gd name="connsiteY19" fmla="*/ 4132356 h 7132230"/>
                <a:gd name="connsiteX20" fmla="*/ 2000592 w 7353649"/>
                <a:gd name="connsiteY20" fmla="*/ 4212764 h 7132230"/>
                <a:gd name="connsiteX21" fmla="*/ 4743793 w 7353649"/>
                <a:gd name="connsiteY21" fmla="*/ 2742139 h 7132230"/>
                <a:gd name="connsiteX22" fmla="*/ 4470680 w 7353649"/>
                <a:gd name="connsiteY22" fmla="*/ 1887095 h 7132230"/>
                <a:gd name="connsiteX23" fmla="*/ 4378746 w 7353649"/>
                <a:gd name="connsiteY23" fmla="*/ 1759894 h 7132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353649" h="7132230">
                  <a:moveTo>
                    <a:pt x="6263125" y="0"/>
                  </a:moveTo>
                  <a:lnTo>
                    <a:pt x="6408247" y="147791"/>
                  </a:lnTo>
                  <a:lnTo>
                    <a:pt x="5848753" y="1256533"/>
                  </a:lnTo>
                  <a:lnTo>
                    <a:pt x="6126659" y="1981927"/>
                  </a:lnTo>
                  <a:lnTo>
                    <a:pt x="7343724" y="2330590"/>
                  </a:lnTo>
                  <a:lnTo>
                    <a:pt x="7353649" y="3270656"/>
                  </a:lnTo>
                  <a:lnTo>
                    <a:pt x="6119481" y="3664997"/>
                  </a:lnTo>
                  <a:lnTo>
                    <a:pt x="5828582" y="4336469"/>
                  </a:lnTo>
                  <a:lnTo>
                    <a:pt x="6454377" y="5482484"/>
                  </a:lnTo>
                  <a:lnTo>
                    <a:pt x="5805210" y="6191390"/>
                  </a:lnTo>
                  <a:lnTo>
                    <a:pt x="4648950" y="5663834"/>
                  </a:lnTo>
                  <a:lnTo>
                    <a:pt x="3933481" y="5937469"/>
                  </a:lnTo>
                  <a:lnTo>
                    <a:pt x="3544183" y="7132230"/>
                  </a:lnTo>
                  <a:lnTo>
                    <a:pt x="2589148" y="7113127"/>
                  </a:lnTo>
                  <a:lnTo>
                    <a:pt x="2229973" y="5940831"/>
                  </a:lnTo>
                  <a:lnTo>
                    <a:pt x="1499190" y="5636326"/>
                  </a:lnTo>
                  <a:lnTo>
                    <a:pt x="391835" y="6237841"/>
                  </a:lnTo>
                  <a:lnTo>
                    <a:pt x="0" y="5849369"/>
                  </a:lnTo>
                  <a:lnTo>
                    <a:pt x="1850329" y="4121277"/>
                  </a:lnTo>
                  <a:lnTo>
                    <a:pt x="1872705" y="4132356"/>
                  </a:lnTo>
                  <a:cubicBezTo>
                    <a:pt x="1912234" y="4153727"/>
                    <a:pt x="1954767" y="4180283"/>
                    <a:pt x="2000592" y="4212764"/>
                  </a:cubicBezTo>
                  <a:cubicBezTo>
                    <a:pt x="2564542" y="4700162"/>
                    <a:pt x="4776957" y="4952368"/>
                    <a:pt x="4743793" y="2742139"/>
                  </a:cubicBezTo>
                  <a:cubicBezTo>
                    <a:pt x="4728128" y="2412915"/>
                    <a:pt x="4626644" y="2130450"/>
                    <a:pt x="4470680" y="1887095"/>
                  </a:cubicBezTo>
                  <a:lnTo>
                    <a:pt x="4378746" y="1759894"/>
                  </a:lnTo>
                  <a:close/>
                </a:path>
              </a:pathLst>
            </a:custGeom>
            <a:solidFill>
              <a:srgbClr val="7A7A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82"/>
            </a:p>
          </p:txBody>
        </p:sp>
        <p:sp>
          <p:nvSpPr>
            <p:cNvPr id="42" name="Freeform: Shape 41"/>
            <p:cNvSpPr/>
            <p:nvPr/>
          </p:nvSpPr>
          <p:spPr>
            <a:xfrm>
              <a:off x="-15207205" y="1321875"/>
              <a:ext cx="6434180" cy="1862570"/>
            </a:xfrm>
            <a:custGeom>
              <a:avLst/>
              <a:gdLst>
                <a:gd name="connsiteX0" fmla="*/ 6157732 w 6157732"/>
                <a:gd name="connsiteY0" fmla="*/ 914400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7732 w 6157732"/>
                <a:gd name="connsiteY11" fmla="*/ 914400 h 1551008"/>
                <a:gd name="connsiteX0" fmla="*/ 6154919 w 6157732"/>
                <a:gd name="connsiteY0" fmla="*/ 1018501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4919 w 6157732"/>
                <a:gd name="connsiteY11" fmla="*/ 1018501 h 1551008"/>
                <a:gd name="connsiteX0" fmla="*/ 5903089 w 6157732"/>
                <a:gd name="connsiteY0" fmla="*/ 1180618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39970 w 6264646"/>
                <a:gd name="connsiteY3" fmla="*/ 92598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903089 w 6264646"/>
                <a:gd name="connsiteY10" fmla="*/ 118061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88816"/>
                <a:gd name="connsiteY0" fmla="*/ 1220008 h 1551008"/>
                <a:gd name="connsiteX1" fmla="*/ 6264646 w 6288816"/>
                <a:gd name="connsiteY1" fmla="*/ 936018 h 1551008"/>
                <a:gd name="connsiteX2" fmla="*/ 4734046 w 6288816"/>
                <a:gd name="connsiteY2" fmla="*/ 0 h 1551008"/>
                <a:gd name="connsiteX3" fmla="*/ 2903394 w 6288816"/>
                <a:gd name="connsiteY3" fmla="*/ 134801 h 1551008"/>
                <a:gd name="connsiteX4" fmla="*/ 1562582 w 6288816"/>
                <a:gd name="connsiteY4" fmla="*/ 1134319 h 1551008"/>
                <a:gd name="connsiteX5" fmla="*/ 266218 w 6288816"/>
                <a:gd name="connsiteY5" fmla="*/ 983848 h 1551008"/>
                <a:gd name="connsiteX6" fmla="*/ 0 w 6288816"/>
                <a:gd name="connsiteY6" fmla="*/ 1296365 h 1551008"/>
                <a:gd name="connsiteX7" fmla="*/ 1747777 w 6288816"/>
                <a:gd name="connsiteY7" fmla="*/ 1551008 h 1551008"/>
                <a:gd name="connsiteX8" fmla="*/ 3078545 w 6288816"/>
                <a:gd name="connsiteY8" fmla="*/ 646260 h 1551008"/>
                <a:gd name="connsiteX9" fmla="*/ 4609216 w 6288816"/>
                <a:gd name="connsiteY9" fmla="*/ 505191 h 1551008"/>
                <a:gd name="connsiteX10" fmla="*/ 5877767 w 6288816"/>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64662 h 1595662"/>
                <a:gd name="connsiteX1" fmla="*/ 6264646 w 6299907"/>
                <a:gd name="connsiteY1" fmla="*/ 980672 h 1595662"/>
                <a:gd name="connsiteX2" fmla="*/ 4734046 w 6299907"/>
                <a:gd name="connsiteY2" fmla="*/ 44654 h 1595662"/>
                <a:gd name="connsiteX3" fmla="*/ 2903394 w 6299907"/>
                <a:gd name="connsiteY3" fmla="*/ 179455 h 1595662"/>
                <a:gd name="connsiteX4" fmla="*/ 1562582 w 6299907"/>
                <a:gd name="connsiteY4" fmla="*/ 1178973 h 1595662"/>
                <a:gd name="connsiteX5" fmla="*/ 266218 w 6299907"/>
                <a:gd name="connsiteY5" fmla="*/ 1028502 h 1595662"/>
                <a:gd name="connsiteX6" fmla="*/ 0 w 6299907"/>
                <a:gd name="connsiteY6" fmla="*/ 1341019 h 1595662"/>
                <a:gd name="connsiteX7" fmla="*/ 1747777 w 6299907"/>
                <a:gd name="connsiteY7" fmla="*/ 1595662 h 1595662"/>
                <a:gd name="connsiteX8" fmla="*/ 3078545 w 6299907"/>
                <a:gd name="connsiteY8" fmla="*/ 690914 h 1595662"/>
                <a:gd name="connsiteX9" fmla="*/ 4609216 w 6299907"/>
                <a:gd name="connsiteY9" fmla="*/ 549845 h 1595662"/>
                <a:gd name="connsiteX10" fmla="*/ 5877767 w 6299907"/>
                <a:gd name="connsiteY10" fmla="*/ 1264662 h 1595662"/>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350331"/>
                <a:gd name="connsiteY0" fmla="*/ 1303484 h 1634484"/>
                <a:gd name="connsiteX1" fmla="*/ 6264646 w 6350331"/>
                <a:gd name="connsiteY1" fmla="*/ 1019494 h 1634484"/>
                <a:gd name="connsiteX2" fmla="*/ 4734046 w 6350331"/>
                <a:gd name="connsiteY2" fmla="*/ 83476 h 1634484"/>
                <a:gd name="connsiteX3" fmla="*/ 2903394 w 6350331"/>
                <a:gd name="connsiteY3" fmla="*/ 218277 h 1634484"/>
                <a:gd name="connsiteX4" fmla="*/ 1562582 w 6350331"/>
                <a:gd name="connsiteY4" fmla="*/ 1217795 h 1634484"/>
                <a:gd name="connsiteX5" fmla="*/ 266218 w 6350331"/>
                <a:gd name="connsiteY5" fmla="*/ 1067324 h 1634484"/>
                <a:gd name="connsiteX6" fmla="*/ 0 w 6350331"/>
                <a:gd name="connsiteY6" fmla="*/ 1379841 h 1634484"/>
                <a:gd name="connsiteX7" fmla="*/ 1747777 w 6350331"/>
                <a:gd name="connsiteY7" fmla="*/ 1634484 h 1634484"/>
                <a:gd name="connsiteX8" fmla="*/ 3078545 w 6350331"/>
                <a:gd name="connsiteY8" fmla="*/ 729736 h 1634484"/>
                <a:gd name="connsiteX9" fmla="*/ 4609216 w 6350331"/>
                <a:gd name="connsiteY9" fmla="*/ 588667 h 1634484"/>
                <a:gd name="connsiteX10" fmla="*/ 5877767 w 6350331"/>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840557"/>
                <a:gd name="connsiteX1" fmla="*/ 6264646 w 6351908"/>
                <a:gd name="connsiteY1" fmla="*/ 1019494 h 1840557"/>
                <a:gd name="connsiteX2" fmla="*/ 4734046 w 6351908"/>
                <a:gd name="connsiteY2" fmla="*/ 83476 h 1840557"/>
                <a:gd name="connsiteX3" fmla="*/ 2903394 w 6351908"/>
                <a:gd name="connsiteY3" fmla="*/ 218277 h 1840557"/>
                <a:gd name="connsiteX4" fmla="*/ 1556955 w 6351908"/>
                <a:gd name="connsiteY4" fmla="*/ 1237490 h 1840557"/>
                <a:gd name="connsiteX5" fmla="*/ 274659 w 6351908"/>
                <a:gd name="connsiteY5" fmla="*/ 1016680 h 1840557"/>
                <a:gd name="connsiteX6" fmla="*/ 0 w 6351908"/>
                <a:gd name="connsiteY6" fmla="*/ 1379841 h 1840557"/>
                <a:gd name="connsiteX7" fmla="*/ 1719641 w 6351908"/>
                <a:gd name="connsiteY7" fmla="*/ 1710450 h 1840557"/>
                <a:gd name="connsiteX8" fmla="*/ 3078545 w 6351908"/>
                <a:gd name="connsiteY8" fmla="*/ 729736 h 1840557"/>
                <a:gd name="connsiteX9" fmla="*/ 4609216 w 6351908"/>
                <a:gd name="connsiteY9" fmla="*/ 588667 h 1840557"/>
                <a:gd name="connsiteX10" fmla="*/ 5877767 w 6351908"/>
                <a:gd name="connsiteY10" fmla="*/ 1303484 h 1840557"/>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980675 w 6454816"/>
                <a:gd name="connsiteY0" fmla="*/ 1303484 h 1893535"/>
                <a:gd name="connsiteX1" fmla="*/ 6367554 w 6454816"/>
                <a:gd name="connsiteY1" fmla="*/ 1019494 h 1893535"/>
                <a:gd name="connsiteX2" fmla="*/ 4836954 w 6454816"/>
                <a:gd name="connsiteY2" fmla="*/ 83476 h 1893535"/>
                <a:gd name="connsiteX3" fmla="*/ 3006302 w 6454816"/>
                <a:gd name="connsiteY3" fmla="*/ 218277 h 1893535"/>
                <a:gd name="connsiteX4" fmla="*/ 1659863 w 6454816"/>
                <a:gd name="connsiteY4" fmla="*/ 1237490 h 1893535"/>
                <a:gd name="connsiteX5" fmla="*/ 377567 w 6454816"/>
                <a:gd name="connsiteY5" fmla="*/ 1016680 h 1893535"/>
                <a:gd name="connsiteX6" fmla="*/ 102908 w 6454816"/>
                <a:gd name="connsiteY6" fmla="*/ 1379841 h 1893535"/>
                <a:gd name="connsiteX7" fmla="*/ 1822549 w 6454816"/>
                <a:gd name="connsiteY7" fmla="*/ 1710450 h 1893535"/>
                <a:gd name="connsiteX8" fmla="*/ 3181453 w 6454816"/>
                <a:gd name="connsiteY8" fmla="*/ 729736 h 1893535"/>
                <a:gd name="connsiteX9" fmla="*/ 4712124 w 6454816"/>
                <a:gd name="connsiteY9" fmla="*/ 588667 h 1893535"/>
                <a:gd name="connsiteX10" fmla="*/ 5980675 w 6454816"/>
                <a:gd name="connsiteY10" fmla="*/ 1303484 h 1893535"/>
                <a:gd name="connsiteX0" fmla="*/ 5961776 w 6435917"/>
                <a:gd name="connsiteY0" fmla="*/ 1303484 h 1893535"/>
                <a:gd name="connsiteX1" fmla="*/ 6348655 w 6435917"/>
                <a:gd name="connsiteY1" fmla="*/ 1019494 h 1893535"/>
                <a:gd name="connsiteX2" fmla="*/ 4818055 w 6435917"/>
                <a:gd name="connsiteY2" fmla="*/ 83476 h 1893535"/>
                <a:gd name="connsiteX3" fmla="*/ 2987403 w 6435917"/>
                <a:gd name="connsiteY3" fmla="*/ 218277 h 1893535"/>
                <a:gd name="connsiteX4" fmla="*/ 1640964 w 6435917"/>
                <a:gd name="connsiteY4" fmla="*/ 1237490 h 1893535"/>
                <a:gd name="connsiteX5" fmla="*/ 358668 w 6435917"/>
                <a:gd name="connsiteY5" fmla="*/ 1016680 h 1893535"/>
                <a:gd name="connsiteX6" fmla="*/ 84009 w 6435917"/>
                <a:gd name="connsiteY6" fmla="*/ 1379841 h 1893535"/>
                <a:gd name="connsiteX7" fmla="*/ 1803650 w 6435917"/>
                <a:gd name="connsiteY7" fmla="*/ 1710450 h 1893535"/>
                <a:gd name="connsiteX8" fmla="*/ 3162554 w 6435917"/>
                <a:gd name="connsiteY8" fmla="*/ 729736 h 1893535"/>
                <a:gd name="connsiteX9" fmla="*/ 4693225 w 6435917"/>
                <a:gd name="connsiteY9" fmla="*/ 588667 h 1893535"/>
                <a:gd name="connsiteX10" fmla="*/ 5961776 w 6435917"/>
                <a:gd name="connsiteY10" fmla="*/ 1303484 h 1893535"/>
                <a:gd name="connsiteX0" fmla="*/ 5961776 w 6435917"/>
                <a:gd name="connsiteY0" fmla="*/ 1303484 h 1892323"/>
                <a:gd name="connsiteX1" fmla="*/ 6348655 w 6435917"/>
                <a:gd name="connsiteY1" fmla="*/ 1019494 h 1892323"/>
                <a:gd name="connsiteX2" fmla="*/ 4818055 w 6435917"/>
                <a:gd name="connsiteY2" fmla="*/ 83476 h 1892323"/>
                <a:gd name="connsiteX3" fmla="*/ 2987403 w 6435917"/>
                <a:gd name="connsiteY3" fmla="*/ 218277 h 1892323"/>
                <a:gd name="connsiteX4" fmla="*/ 1640964 w 6435917"/>
                <a:gd name="connsiteY4" fmla="*/ 1237490 h 1892323"/>
                <a:gd name="connsiteX5" fmla="*/ 358668 w 6435917"/>
                <a:gd name="connsiteY5" fmla="*/ 1016680 h 1892323"/>
                <a:gd name="connsiteX6" fmla="*/ 84009 w 6435917"/>
                <a:gd name="connsiteY6" fmla="*/ 1379841 h 1892323"/>
                <a:gd name="connsiteX7" fmla="*/ 1803650 w 6435917"/>
                <a:gd name="connsiteY7" fmla="*/ 1710450 h 1892323"/>
                <a:gd name="connsiteX8" fmla="*/ 3162554 w 6435917"/>
                <a:gd name="connsiteY8" fmla="*/ 729736 h 1892323"/>
                <a:gd name="connsiteX9" fmla="*/ 4693225 w 6435917"/>
                <a:gd name="connsiteY9" fmla="*/ 588667 h 1892323"/>
                <a:gd name="connsiteX10" fmla="*/ 5961776 w 6435917"/>
                <a:gd name="connsiteY10" fmla="*/ 1303484 h 1892323"/>
                <a:gd name="connsiteX0" fmla="*/ 5941465 w 6415606"/>
                <a:gd name="connsiteY0" fmla="*/ 1303484 h 1902580"/>
                <a:gd name="connsiteX1" fmla="*/ 6328344 w 6415606"/>
                <a:gd name="connsiteY1" fmla="*/ 1019494 h 1902580"/>
                <a:gd name="connsiteX2" fmla="*/ 4797744 w 6415606"/>
                <a:gd name="connsiteY2" fmla="*/ 83476 h 1902580"/>
                <a:gd name="connsiteX3" fmla="*/ 2967092 w 6415606"/>
                <a:gd name="connsiteY3" fmla="*/ 218277 h 1902580"/>
                <a:gd name="connsiteX4" fmla="*/ 1620653 w 6415606"/>
                <a:gd name="connsiteY4" fmla="*/ 1237490 h 1902580"/>
                <a:gd name="connsiteX5" fmla="*/ 338357 w 6415606"/>
                <a:gd name="connsiteY5" fmla="*/ 1016680 h 1902580"/>
                <a:gd name="connsiteX6" fmla="*/ 89019 w 6415606"/>
                <a:gd name="connsiteY6" fmla="*/ 1419231 h 1902580"/>
                <a:gd name="connsiteX7" fmla="*/ 1783339 w 6415606"/>
                <a:gd name="connsiteY7" fmla="*/ 1710450 h 1902580"/>
                <a:gd name="connsiteX8" fmla="*/ 3142243 w 6415606"/>
                <a:gd name="connsiteY8" fmla="*/ 729736 h 1902580"/>
                <a:gd name="connsiteX9" fmla="*/ 4672914 w 6415606"/>
                <a:gd name="connsiteY9" fmla="*/ 588667 h 1902580"/>
                <a:gd name="connsiteX10" fmla="*/ 5941465 w 6415606"/>
                <a:gd name="connsiteY10" fmla="*/ 1303484 h 1902580"/>
                <a:gd name="connsiteX0" fmla="*/ 5960039 w 6434180"/>
                <a:gd name="connsiteY0" fmla="*/ 1303484 h 1902580"/>
                <a:gd name="connsiteX1" fmla="*/ 6346918 w 6434180"/>
                <a:gd name="connsiteY1" fmla="*/ 1019494 h 1902580"/>
                <a:gd name="connsiteX2" fmla="*/ 4816318 w 6434180"/>
                <a:gd name="connsiteY2" fmla="*/ 83476 h 1902580"/>
                <a:gd name="connsiteX3" fmla="*/ 2985666 w 6434180"/>
                <a:gd name="connsiteY3" fmla="*/ 218277 h 1902580"/>
                <a:gd name="connsiteX4" fmla="*/ 1639227 w 6434180"/>
                <a:gd name="connsiteY4" fmla="*/ 1237490 h 1902580"/>
                <a:gd name="connsiteX5" fmla="*/ 356931 w 6434180"/>
                <a:gd name="connsiteY5" fmla="*/ 1016680 h 1902580"/>
                <a:gd name="connsiteX6" fmla="*/ 107593 w 6434180"/>
                <a:gd name="connsiteY6" fmla="*/ 1419231 h 1902580"/>
                <a:gd name="connsiteX7" fmla="*/ 1801913 w 6434180"/>
                <a:gd name="connsiteY7" fmla="*/ 1710450 h 1902580"/>
                <a:gd name="connsiteX8" fmla="*/ 3160817 w 6434180"/>
                <a:gd name="connsiteY8" fmla="*/ 729736 h 1902580"/>
                <a:gd name="connsiteX9" fmla="*/ 4691488 w 6434180"/>
                <a:gd name="connsiteY9" fmla="*/ 588667 h 1902580"/>
                <a:gd name="connsiteX10" fmla="*/ 5960039 w 6434180"/>
                <a:gd name="connsiteY10" fmla="*/ 1303484 h 1902580"/>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946772"/>
                <a:gd name="connsiteX1" fmla="*/ 6346918 w 6434180"/>
                <a:gd name="connsiteY1" fmla="*/ 1019494 h 1946772"/>
                <a:gd name="connsiteX2" fmla="*/ 4816318 w 6434180"/>
                <a:gd name="connsiteY2" fmla="*/ 83476 h 1946772"/>
                <a:gd name="connsiteX3" fmla="*/ 2985666 w 6434180"/>
                <a:gd name="connsiteY3" fmla="*/ 218277 h 1946772"/>
                <a:gd name="connsiteX4" fmla="*/ 1639227 w 6434180"/>
                <a:gd name="connsiteY4" fmla="*/ 1237490 h 1946772"/>
                <a:gd name="connsiteX5" fmla="*/ 356931 w 6434180"/>
                <a:gd name="connsiteY5" fmla="*/ 1016680 h 1946772"/>
                <a:gd name="connsiteX6" fmla="*/ 107593 w 6434180"/>
                <a:gd name="connsiteY6" fmla="*/ 1419231 h 1946772"/>
                <a:gd name="connsiteX7" fmla="*/ 1801913 w 6434180"/>
                <a:gd name="connsiteY7" fmla="*/ 1710450 h 1946772"/>
                <a:gd name="connsiteX8" fmla="*/ 3160817 w 6434180"/>
                <a:gd name="connsiteY8" fmla="*/ 729736 h 1946772"/>
                <a:gd name="connsiteX9" fmla="*/ 4691488 w 6434180"/>
                <a:gd name="connsiteY9" fmla="*/ 588667 h 1946772"/>
                <a:gd name="connsiteX10" fmla="*/ 5960039 w 6434180"/>
                <a:gd name="connsiteY10" fmla="*/ 1303484 h 1946772"/>
                <a:gd name="connsiteX0" fmla="*/ 5960039 w 6434180"/>
                <a:gd name="connsiteY0" fmla="*/ 1303484 h 1848056"/>
                <a:gd name="connsiteX1" fmla="*/ 6346918 w 6434180"/>
                <a:gd name="connsiteY1" fmla="*/ 1019494 h 1848056"/>
                <a:gd name="connsiteX2" fmla="*/ 4816318 w 6434180"/>
                <a:gd name="connsiteY2" fmla="*/ 83476 h 1848056"/>
                <a:gd name="connsiteX3" fmla="*/ 2985666 w 6434180"/>
                <a:gd name="connsiteY3" fmla="*/ 218277 h 1848056"/>
                <a:gd name="connsiteX4" fmla="*/ 1639227 w 6434180"/>
                <a:gd name="connsiteY4" fmla="*/ 1237490 h 1848056"/>
                <a:gd name="connsiteX5" fmla="*/ 356931 w 6434180"/>
                <a:gd name="connsiteY5" fmla="*/ 1016680 h 1848056"/>
                <a:gd name="connsiteX6" fmla="*/ 107593 w 6434180"/>
                <a:gd name="connsiteY6" fmla="*/ 1419231 h 1848056"/>
                <a:gd name="connsiteX7" fmla="*/ 1801913 w 6434180"/>
                <a:gd name="connsiteY7" fmla="*/ 1710450 h 1848056"/>
                <a:gd name="connsiteX8" fmla="*/ 3160817 w 6434180"/>
                <a:gd name="connsiteY8" fmla="*/ 729736 h 1848056"/>
                <a:gd name="connsiteX9" fmla="*/ 4691488 w 6434180"/>
                <a:gd name="connsiteY9" fmla="*/ 588667 h 1848056"/>
                <a:gd name="connsiteX10" fmla="*/ 5960039 w 6434180"/>
                <a:gd name="connsiteY10" fmla="*/ 1303484 h 1848056"/>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5521 h 1862570"/>
                <a:gd name="connsiteX1" fmla="*/ 6346918 w 6434180"/>
                <a:gd name="connsiteY1" fmla="*/ 991531 h 1862570"/>
                <a:gd name="connsiteX2" fmla="*/ 4816318 w 6434180"/>
                <a:gd name="connsiteY2" fmla="*/ 55513 h 1862570"/>
                <a:gd name="connsiteX3" fmla="*/ 2985666 w 6434180"/>
                <a:gd name="connsiteY3" fmla="*/ 190314 h 1862570"/>
                <a:gd name="connsiteX4" fmla="*/ 1639227 w 6434180"/>
                <a:gd name="connsiteY4" fmla="*/ 1209527 h 1862570"/>
                <a:gd name="connsiteX5" fmla="*/ 356931 w 6434180"/>
                <a:gd name="connsiteY5" fmla="*/ 988717 h 1862570"/>
                <a:gd name="connsiteX6" fmla="*/ 107593 w 6434180"/>
                <a:gd name="connsiteY6" fmla="*/ 1391268 h 1862570"/>
                <a:gd name="connsiteX7" fmla="*/ 1801913 w 6434180"/>
                <a:gd name="connsiteY7" fmla="*/ 1682487 h 1862570"/>
                <a:gd name="connsiteX8" fmla="*/ 3160817 w 6434180"/>
                <a:gd name="connsiteY8" fmla="*/ 701773 h 1862570"/>
                <a:gd name="connsiteX9" fmla="*/ 4691488 w 6434180"/>
                <a:gd name="connsiteY9" fmla="*/ 560704 h 1862570"/>
                <a:gd name="connsiteX10" fmla="*/ 5960039 w 6434180"/>
                <a:gd name="connsiteY10" fmla="*/ 1275521 h 1862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34180" h="1862570">
                  <a:moveTo>
                    <a:pt x="5960039" y="1275521"/>
                  </a:moveTo>
                  <a:cubicBezTo>
                    <a:pt x="6283134" y="1670414"/>
                    <a:pt x="6589346" y="1260633"/>
                    <a:pt x="6346918" y="991531"/>
                  </a:cubicBezTo>
                  <a:cubicBezTo>
                    <a:pt x="5949259" y="586678"/>
                    <a:pt x="5223959" y="131561"/>
                    <a:pt x="4816318" y="55513"/>
                  </a:cubicBezTo>
                  <a:cubicBezTo>
                    <a:pt x="4408677" y="-20535"/>
                    <a:pt x="3494501" y="-52826"/>
                    <a:pt x="2985666" y="190314"/>
                  </a:cubicBezTo>
                  <a:cubicBezTo>
                    <a:pt x="2476831" y="433454"/>
                    <a:pt x="1908164" y="1000838"/>
                    <a:pt x="1639227" y="1209527"/>
                  </a:cubicBezTo>
                  <a:cubicBezTo>
                    <a:pt x="1370290" y="1418216"/>
                    <a:pt x="729968" y="1345550"/>
                    <a:pt x="356931" y="988717"/>
                  </a:cubicBezTo>
                  <a:cubicBezTo>
                    <a:pt x="96566" y="758079"/>
                    <a:pt x="-146919" y="1182994"/>
                    <a:pt x="107593" y="1391268"/>
                  </a:cubicBezTo>
                  <a:cubicBezTo>
                    <a:pt x="576706" y="1808146"/>
                    <a:pt x="1317996" y="2048782"/>
                    <a:pt x="1801913" y="1682487"/>
                  </a:cubicBezTo>
                  <a:cubicBezTo>
                    <a:pt x="2285830" y="1316192"/>
                    <a:pt x="2704050" y="940116"/>
                    <a:pt x="3160817" y="701773"/>
                  </a:cubicBezTo>
                  <a:cubicBezTo>
                    <a:pt x="3617584" y="463430"/>
                    <a:pt x="4299587" y="485617"/>
                    <a:pt x="4691488" y="560704"/>
                  </a:cubicBezTo>
                  <a:cubicBezTo>
                    <a:pt x="5083389" y="635791"/>
                    <a:pt x="5573765" y="907826"/>
                    <a:pt x="5960039" y="1275521"/>
                  </a:cubicBezTo>
                  <a:close/>
                </a:path>
              </a:pathLst>
            </a:custGeom>
            <a:solidFill>
              <a:srgbClr val="59B4D9"/>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882"/>
            </a:p>
          </p:txBody>
        </p:sp>
        <p:sp>
          <p:nvSpPr>
            <p:cNvPr id="43" name="Freeform: Shape 42"/>
            <p:cNvSpPr/>
            <p:nvPr/>
          </p:nvSpPr>
          <p:spPr>
            <a:xfrm>
              <a:off x="-15771436" y="2395995"/>
              <a:ext cx="6401905" cy="1781951"/>
            </a:xfrm>
            <a:custGeom>
              <a:avLst/>
              <a:gdLst>
                <a:gd name="connsiteX0" fmla="*/ 6157732 w 6157732"/>
                <a:gd name="connsiteY0" fmla="*/ 914400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7732 w 6157732"/>
                <a:gd name="connsiteY11" fmla="*/ 914400 h 1551008"/>
                <a:gd name="connsiteX0" fmla="*/ 6154919 w 6157732"/>
                <a:gd name="connsiteY0" fmla="*/ 1018501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4919 w 6157732"/>
                <a:gd name="connsiteY11" fmla="*/ 1018501 h 1551008"/>
                <a:gd name="connsiteX0" fmla="*/ 5903089 w 6157732"/>
                <a:gd name="connsiteY0" fmla="*/ 1180618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39970 w 6264646"/>
                <a:gd name="connsiteY3" fmla="*/ 92598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903089 w 6264646"/>
                <a:gd name="connsiteY10" fmla="*/ 118061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88816"/>
                <a:gd name="connsiteY0" fmla="*/ 1220008 h 1551008"/>
                <a:gd name="connsiteX1" fmla="*/ 6264646 w 6288816"/>
                <a:gd name="connsiteY1" fmla="*/ 936018 h 1551008"/>
                <a:gd name="connsiteX2" fmla="*/ 4734046 w 6288816"/>
                <a:gd name="connsiteY2" fmla="*/ 0 h 1551008"/>
                <a:gd name="connsiteX3" fmla="*/ 2903394 w 6288816"/>
                <a:gd name="connsiteY3" fmla="*/ 134801 h 1551008"/>
                <a:gd name="connsiteX4" fmla="*/ 1562582 w 6288816"/>
                <a:gd name="connsiteY4" fmla="*/ 1134319 h 1551008"/>
                <a:gd name="connsiteX5" fmla="*/ 266218 w 6288816"/>
                <a:gd name="connsiteY5" fmla="*/ 983848 h 1551008"/>
                <a:gd name="connsiteX6" fmla="*/ 0 w 6288816"/>
                <a:gd name="connsiteY6" fmla="*/ 1296365 h 1551008"/>
                <a:gd name="connsiteX7" fmla="*/ 1747777 w 6288816"/>
                <a:gd name="connsiteY7" fmla="*/ 1551008 h 1551008"/>
                <a:gd name="connsiteX8" fmla="*/ 3078545 w 6288816"/>
                <a:gd name="connsiteY8" fmla="*/ 646260 h 1551008"/>
                <a:gd name="connsiteX9" fmla="*/ 4609216 w 6288816"/>
                <a:gd name="connsiteY9" fmla="*/ 505191 h 1551008"/>
                <a:gd name="connsiteX10" fmla="*/ 5877767 w 6288816"/>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64662 h 1595662"/>
                <a:gd name="connsiteX1" fmla="*/ 6264646 w 6299907"/>
                <a:gd name="connsiteY1" fmla="*/ 980672 h 1595662"/>
                <a:gd name="connsiteX2" fmla="*/ 4734046 w 6299907"/>
                <a:gd name="connsiteY2" fmla="*/ 44654 h 1595662"/>
                <a:gd name="connsiteX3" fmla="*/ 2903394 w 6299907"/>
                <a:gd name="connsiteY3" fmla="*/ 179455 h 1595662"/>
                <a:gd name="connsiteX4" fmla="*/ 1562582 w 6299907"/>
                <a:gd name="connsiteY4" fmla="*/ 1178973 h 1595662"/>
                <a:gd name="connsiteX5" fmla="*/ 266218 w 6299907"/>
                <a:gd name="connsiteY5" fmla="*/ 1028502 h 1595662"/>
                <a:gd name="connsiteX6" fmla="*/ 0 w 6299907"/>
                <a:gd name="connsiteY6" fmla="*/ 1341019 h 1595662"/>
                <a:gd name="connsiteX7" fmla="*/ 1747777 w 6299907"/>
                <a:gd name="connsiteY7" fmla="*/ 1595662 h 1595662"/>
                <a:gd name="connsiteX8" fmla="*/ 3078545 w 6299907"/>
                <a:gd name="connsiteY8" fmla="*/ 690914 h 1595662"/>
                <a:gd name="connsiteX9" fmla="*/ 4609216 w 6299907"/>
                <a:gd name="connsiteY9" fmla="*/ 549845 h 1595662"/>
                <a:gd name="connsiteX10" fmla="*/ 5877767 w 6299907"/>
                <a:gd name="connsiteY10" fmla="*/ 1264662 h 1595662"/>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350331"/>
                <a:gd name="connsiteY0" fmla="*/ 1303484 h 1634484"/>
                <a:gd name="connsiteX1" fmla="*/ 6264646 w 6350331"/>
                <a:gd name="connsiteY1" fmla="*/ 1019494 h 1634484"/>
                <a:gd name="connsiteX2" fmla="*/ 4734046 w 6350331"/>
                <a:gd name="connsiteY2" fmla="*/ 83476 h 1634484"/>
                <a:gd name="connsiteX3" fmla="*/ 2903394 w 6350331"/>
                <a:gd name="connsiteY3" fmla="*/ 218277 h 1634484"/>
                <a:gd name="connsiteX4" fmla="*/ 1562582 w 6350331"/>
                <a:gd name="connsiteY4" fmla="*/ 1217795 h 1634484"/>
                <a:gd name="connsiteX5" fmla="*/ 266218 w 6350331"/>
                <a:gd name="connsiteY5" fmla="*/ 1067324 h 1634484"/>
                <a:gd name="connsiteX6" fmla="*/ 0 w 6350331"/>
                <a:gd name="connsiteY6" fmla="*/ 1379841 h 1634484"/>
                <a:gd name="connsiteX7" fmla="*/ 1747777 w 6350331"/>
                <a:gd name="connsiteY7" fmla="*/ 1634484 h 1634484"/>
                <a:gd name="connsiteX8" fmla="*/ 3078545 w 6350331"/>
                <a:gd name="connsiteY8" fmla="*/ 729736 h 1634484"/>
                <a:gd name="connsiteX9" fmla="*/ 4609216 w 6350331"/>
                <a:gd name="connsiteY9" fmla="*/ 588667 h 1634484"/>
                <a:gd name="connsiteX10" fmla="*/ 5877767 w 6350331"/>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840557"/>
                <a:gd name="connsiteX1" fmla="*/ 6264646 w 6351908"/>
                <a:gd name="connsiteY1" fmla="*/ 1019494 h 1840557"/>
                <a:gd name="connsiteX2" fmla="*/ 4734046 w 6351908"/>
                <a:gd name="connsiteY2" fmla="*/ 83476 h 1840557"/>
                <a:gd name="connsiteX3" fmla="*/ 2903394 w 6351908"/>
                <a:gd name="connsiteY3" fmla="*/ 218277 h 1840557"/>
                <a:gd name="connsiteX4" fmla="*/ 1556955 w 6351908"/>
                <a:gd name="connsiteY4" fmla="*/ 1237490 h 1840557"/>
                <a:gd name="connsiteX5" fmla="*/ 274659 w 6351908"/>
                <a:gd name="connsiteY5" fmla="*/ 1016680 h 1840557"/>
                <a:gd name="connsiteX6" fmla="*/ 0 w 6351908"/>
                <a:gd name="connsiteY6" fmla="*/ 1379841 h 1840557"/>
                <a:gd name="connsiteX7" fmla="*/ 1719641 w 6351908"/>
                <a:gd name="connsiteY7" fmla="*/ 1710450 h 1840557"/>
                <a:gd name="connsiteX8" fmla="*/ 3078545 w 6351908"/>
                <a:gd name="connsiteY8" fmla="*/ 729736 h 1840557"/>
                <a:gd name="connsiteX9" fmla="*/ 4609216 w 6351908"/>
                <a:gd name="connsiteY9" fmla="*/ 588667 h 1840557"/>
                <a:gd name="connsiteX10" fmla="*/ 5877767 w 6351908"/>
                <a:gd name="connsiteY10" fmla="*/ 1303484 h 1840557"/>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980675 w 6454816"/>
                <a:gd name="connsiteY0" fmla="*/ 1303484 h 1893535"/>
                <a:gd name="connsiteX1" fmla="*/ 6367554 w 6454816"/>
                <a:gd name="connsiteY1" fmla="*/ 1019494 h 1893535"/>
                <a:gd name="connsiteX2" fmla="*/ 4836954 w 6454816"/>
                <a:gd name="connsiteY2" fmla="*/ 83476 h 1893535"/>
                <a:gd name="connsiteX3" fmla="*/ 3006302 w 6454816"/>
                <a:gd name="connsiteY3" fmla="*/ 218277 h 1893535"/>
                <a:gd name="connsiteX4" fmla="*/ 1659863 w 6454816"/>
                <a:gd name="connsiteY4" fmla="*/ 1237490 h 1893535"/>
                <a:gd name="connsiteX5" fmla="*/ 377567 w 6454816"/>
                <a:gd name="connsiteY5" fmla="*/ 1016680 h 1893535"/>
                <a:gd name="connsiteX6" fmla="*/ 102908 w 6454816"/>
                <a:gd name="connsiteY6" fmla="*/ 1379841 h 1893535"/>
                <a:gd name="connsiteX7" fmla="*/ 1822549 w 6454816"/>
                <a:gd name="connsiteY7" fmla="*/ 1710450 h 1893535"/>
                <a:gd name="connsiteX8" fmla="*/ 3181453 w 6454816"/>
                <a:gd name="connsiteY8" fmla="*/ 729736 h 1893535"/>
                <a:gd name="connsiteX9" fmla="*/ 4712124 w 6454816"/>
                <a:gd name="connsiteY9" fmla="*/ 588667 h 1893535"/>
                <a:gd name="connsiteX10" fmla="*/ 5980675 w 6454816"/>
                <a:gd name="connsiteY10" fmla="*/ 1303484 h 1893535"/>
                <a:gd name="connsiteX0" fmla="*/ 5961776 w 6435917"/>
                <a:gd name="connsiteY0" fmla="*/ 1303484 h 1893535"/>
                <a:gd name="connsiteX1" fmla="*/ 6348655 w 6435917"/>
                <a:gd name="connsiteY1" fmla="*/ 1019494 h 1893535"/>
                <a:gd name="connsiteX2" fmla="*/ 4818055 w 6435917"/>
                <a:gd name="connsiteY2" fmla="*/ 83476 h 1893535"/>
                <a:gd name="connsiteX3" fmla="*/ 2987403 w 6435917"/>
                <a:gd name="connsiteY3" fmla="*/ 218277 h 1893535"/>
                <a:gd name="connsiteX4" fmla="*/ 1640964 w 6435917"/>
                <a:gd name="connsiteY4" fmla="*/ 1237490 h 1893535"/>
                <a:gd name="connsiteX5" fmla="*/ 358668 w 6435917"/>
                <a:gd name="connsiteY5" fmla="*/ 1016680 h 1893535"/>
                <a:gd name="connsiteX6" fmla="*/ 84009 w 6435917"/>
                <a:gd name="connsiteY6" fmla="*/ 1379841 h 1893535"/>
                <a:gd name="connsiteX7" fmla="*/ 1803650 w 6435917"/>
                <a:gd name="connsiteY7" fmla="*/ 1710450 h 1893535"/>
                <a:gd name="connsiteX8" fmla="*/ 3162554 w 6435917"/>
                <a:gd name="connsiteY8" fmla="*/ 729736 h 1893535"/>
                <a:gd name="connsiteX9" fmla="*/ 4693225 w 6435917"/>
                <a:gd name="connsiteY9" fmla="*/ 588667 h 1893535"/>
                <a:gd name="connsiteX10" fmla="*/ 5961776 w 6435917"/>
                <a:gd name="connsiteY10" fmla="*/ 1303484 h 1893535"/>
                <a:gd name="connsiteX0" fmla="*/ 5961776 w 6435917"/>
                <a:gd name="connsiteY0" fmla="*/ 1303484 h 1892323"/>
                <a:gd name="connsiteX1" fmla="*/ 6348655 w 6435917"/>
                <a:gd name="connsiteY1" fmla="*/ 1019494 h 1892323"/>
                <a:gd name="connsiteX2" fmla="*/ 4818055 w 6435917"/>
                <a:gd name="connsiteY2" fmla="*/ 83476 h 1892323"/>
                <a:gd name="connsiteX3" fmla="*/ 2987403 w 6435917"/>
                <a:gd name="connsiteY3" fmla="*/ 218277 h 1892323"/>
                <a:gd name="connsiteX4" fmla="*/ 1640964 w 6435917"/>
                <a:gd name="connsiteY4" fmla="*/ 1237490 h 1892323"/>
                <a:gd name="connsiteX5" fmla="*/ 358668 w 6435917"/>
                <a:gd name="connsiteY5" fmla="*/ 1016680 h 1892323"/>
                <a:gd name="connsiteX6" fmla="*/ 84009 w 6435917"/>
                <a:gd name="connsiteY6" fmla="*/ 1379841 h 1892323"/>
                <a:gd name="connsiteX7" fmla="*/ 1803650 w 6435917"/>
                <a:gd name="connsiteY7" fmla="*/ 1710450 h 1892323"/>
                <a:gd name="connsiteX8" fmla="*/ 3162554 w 6435917"/>
                <a:gd name="connsiteY8" fmla="*/ 729736 h 1892323"/>
                <a:gd name="connsiteX9" fmla="*/ 4693225 w 6435917"/>
                <a:gd name="connsiteY9" fmla="*/ 588667 h 1892323"/>
                <a:gd name="connsiteX10" fmla="*/ 5961776 w 6435917"/>
                <a:gd name="connsiteY10" fmla="*/ 1303484 h 1892323"/>
                <a:gd name="connsiteX0" fmla="*/ 5941465 w 6415606"/>
                <a:gd name="connsiteY0" fmla="*/ 1303484 h 1902580"/>
                <a:gd name="connsiteX1" fmla="*/ 6328344 w 6415606"/>
                <a:gd name="connsiteY1" fmla="*/ 1019494 h 1902580"/>
                <a:gd name="connsiteX2" fmla="*/ 4797744 w 6415606"/>
                <a:gd name="connsiteY2" fmla="*/ 83476 h 1902580"/>
                <a:gd name="connsiteX3" fmla="*/ 2967092 w 6415606"/>
                <a:gd name="connsiteY3" fmla="*/ 218277 h 1902580"/>
                <a:gd name="connsiteX4" fmla="*/ 1620653 w 6415606"/>
                <a:gd name="connsiteY4" fmla="*/ 1237490 h 1902580"/>
                <a:gd name="connsiteX5" fmla="*/ 338357 w 6415606"/>
                <a:gd name="connsiteY5" fmla="*/ 1016680 h 1902580"/>
                <a:gd name="connsiteX6" fmla="*/ 89019 w 6415606"/>
                <a:gd name="connsiteY6" fmla="*/ 1419231 h 1902580"/>
                <a:gd name="connsiteX7" fmla="*/ 1783339 w 6415606"/>
                <a:gd name="connsiteY7" fmla="*/ 1710450 h 1902580"/>
                <a:gd name="connsiteX8" fmla="*/ 3142243 w 6415606"/>
                <a:gd name="connsiteY8" fmla="*/ 729736 h 1902580"/>
                <a:gd name="connsiteX9" fmla="*/ 4672914 w 6415606"/>
                <a:gd name="connsiteY9" fmla="*/ 588667 h 1902580"/>
                <a:gd name="connsiteX10" fmla="*/ 5941465 w 6415606"/>
                <a:gd name="connsiteY10" fmla="*/ 1303484 h 1902580"/>
                <a:gd name="connsiteX0" fmla="*/ 5960039 w 6434180"/>
                <a:gd name="connsiteY0" fmla="*/ 1303484 h 1902580"/>
                <a:gd name="connsiteX1" fmla="*/ 6346918 w 6434180"/>
                <a:gd name="connsiteY1" fmla="*/ 1019494 h 1902580"/>
                <a:gd name="connsiteX2" fmla="*/ 4816318 w 6434180"/>
                <a:gd name="connsiteY2" fmla="*/ 83476 h 1902580"/>
                <a:gd name="connsiteX3" fmla="*/ 2985666 w 6434180"/>
                <a:gd name="connsiteY3" fmla="*/ 218277 h 1902580"/>
                <a:gd name="connsiteX4" fmla="*/ 1639227 w 6434180"/>
                <a:gd name="connsiteY4" fmla="*/ 1237490 h 1902580"/>
                <a:gd name="connsiteX5" fmla="*/ 356931 w 6434180"/>
                <a:gd name="connsiteY5" fmla="*/ 1016680 h 1902580"/>
                <a:gd name="connsiteX6" fmla="*/ 107593 w 6434180"/>
                <a:gd name="connsiteY6" fmla="*/ 1419231 h 1902580"/>
                <a:gd name="connsiteX7" fmla="*/ 1801913 w 6434180"/>
                <a:gd name="connsiteY7" fmla="*/ 1710450 h 1902580"/>
                <a:gd name="connsiteX8" fmla="*/ 3160817 w 6434180"/>
                <a:gd name="connsiteY8" fmla="*/ 729736 h 1902580"/>
                <a:gd name="connsiteX9" fmla="*/ 4691488 w 6434180"/>
                <a:gd name="connsiteY9" fmla="*/ 588667 h 1902580"/>
                <a:gd name="connsiteX10" fmla="*/ 5960039 w 6434180"/>
                <a:gd name="connsiteY10" fmla="*/ 1303484 h 1902580"/>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946772"/>
                <a:gd name="connsiteX1" fmla="*/ 6346918 w 6434180"/>
                <a:gd name="connsiteY1" fmla="*/ 1019494 h 1946772"/>
                <a:gd name="connsiteX2" fmla="*/ 4816318 w 6434180"/>
                <a:gd name="connsiteY2" fmla="*/ 83476 h 1946772"/>
                <a:gd name="connsiteX3" fmla="*/ 2985666 w 6434180"/>
                <a:gd name="connsiteY3" fmla="*/ 218277 h 1946772"/>
                <a:gd name="connsiteX4" fmla="*/ 1639227 w 6434180"/>
                <a:gd name="connsiteY4" fmla="*/ 1237490 h 1946772"/>
                <a:gd name="connsiteX5" fmla="*/ 356931 w 6434180"/>
                <a:gd name="connsiteY5" fmla="*/ 1016680 h 1946772"/>
                <a:gd name="connsiteX6" fmla="*/ 107593 w 6434180"/>
                <a:gd name="connsiteY6" fmla="*/ 1419231 h 1946772"/>
                <a:gd name="connsiteX7" fmla="*/ 1801913 w 6434180"/>
                <a:gd name="connsiteY7" fmla="*/ 1710450 h 1946772"/>
                <a:gd name="connsiteX8" fmla="*/ 3160817 w 6434180"/>
                <a:gd name="connsiteY8" fmla="*/ 729736 h 1946772"/>
                <a:gd name="connsiteX9" fmla="*/ 4691488 w 6434180"/>
                <a:gd name="connsiteY9" fmla="*/ 588667 h 1946772"/>
                <a:gd name="connsiteX10" fmla="*/ 5960039 w 6434180"/>
                <a:gd name="connsiteY10" fmla="*/ 1303484 h 1946772"/>
                <a:gd name="connsiteX0" fmla="*/ 5960039 w 6434180"/>
                <a:gd name="connsiteY0" fmla="*/ 1303484 h 1848056"/>
                <a:gd name="connsiteX1" fmla="*/ 6346918 w 6434180"/>
                <a:gd name="connsiteY1" fmla="*/ 1019494 h 1848056"/>
                <a:gd name="connsiteX2" fmla="*/ 4816318 w 6434180"/>
                <a:gd name="connsiteY2" fmla="*/ 83476 h 1848056"/>
                <a:gd name="connsiteX3" fmla="*/ 2985666 w 6434180"/>
                <a:gd name="connsiteY3" fmla="*/ 218277 h 1848056"/>
                <a:gd name="connsiteX4" fmla="*/ 1639227 w 6434180"/>
                <a:gd name="connsiteY4" fmla="*/ 1237490 h 1848056"/>
                <a:gd name="connsiteX5" fmla="*/ 356931 w 6434180"/>
                <a:gd name="connsiteY5" fmla="*/ 1016680 h 1848056"/>
                <a:gd name="connsiteX6" fmla="*/ 107593 w 6434180"/>
                <a:gd name="connsiteY6" fmla="*/ 1419231 h 1848056"/>
                <a:gd name="connsiteX7" fmla="*/ 1801913 w 6434180"/>
                <a:gd name="connsiteY7" fmla="*/ 1710450 h 1848056"/>
                <a:gd name="connsiteX8" fmla="*/ 3160817 w 6434180"/>
                <a:gd name="connsiteY8" fmla="*/ 729736 h 1848056"/>
                <a:gd name="connsiteX9" fmla="*/ 4691488 w 6434180"/>
                <a:gd name="connsiteY9" fmla="*/ 588667 h 1848056"/>
                <a:gd name="connsiteX10" fmla="*/ 5960039 w 6434180"/>
                <a:gd name="connsiteY10" fmla="*/ 1303484 h 1848056"/>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5521 h 1862570"/>
                <a:gd name="connsiteX1" fmla="*/ 6346918 w 6434180"/>
                <a:gd name="connsiteY1" fmla="*/ 991531 h 1862570"/>
                <a:gd name="connsiteX2" fmla="*/ 4816318 w 6434180"/>
                <a:gd name="connsiteY2" fmla="*/ 55513 h 1862570"/>
                <a:gd name="connsiteX3" fmla="*/ 2985666 w 6434180"/>
                <a:gd name="connsiteY3" fmla="*/ 190314 h 1862570"/>
                <a:gd name="connsiteX4" fmla="*/ 1639227 w 6434180"/>
                <a:gd name="connsiteY4" fmla="*/ 1209527 h 1862570"/>
                <a:gd name="connsiteX5" fmla="*/ 356931 w 6434180"/>
                <a:gd name="connsiteY5" fmla="*/ 988717 h 1862570"/>
                <a:gd name="connsiteX6" fmla="*/ 107593 w 6434180"/>
                <a:gd name="connsiteY6" fmla="*/ 1391268 h 1862570"/>
                <a:gd name="connsiteX7" fmla="*/ 1801913 w 6434180"/>
                <a:gd name="connsiteY7" fmla="*/ 1682487 h 1862570"/>
                <a:gd name="connsiteX8" fmla="*/ 3160817 w 6434180"/>
                <a:gd name="connsiteY8" fmla="*/ 701773 h 1862570"/>
                <a:gd name="connsiteX9" fmla="*/ 4691488 w 6434180"/>
                <a:gd name="connsiteY9" fmla="*/ 560704 h 1862570"/>
                <a:gd name="connsiteX10" fmla="*/ 5960039 w 6434180"/>
                <a:gd name="connsiteY10" fmla="*/ 1275521 h 1862570"/>
                <a:gd name="connsiteX0" fmla="*/ 5960039 w 6434180"/>
                <a:gd name="connsiteY0" fmla="*/ 1275521 h 1716378"/>
                <a:gd name="connsiteX1" fmla="*/ 6346918 w 6434180"/>
                <a:gd name="connsiteY1" fmla="*/ 991531 h 1716378"/>
                <a:gd name="connsiteX2" fmla="*/ 4816318 w 6434180"/>
                <a:gd name="connsiteY2" fmla="*/ 55513 h 1716378"/>
                <a:gd name="connsiteX3" fmla="*/ 2985666 w 6434180"/>
                <a:gd name="connsiteY3" fmla="*/ 190314 h 1716378"/>
                <a:gd name="connsiteX4" fmla="*/ 1639227 w 6434180"/>
                <a:gd name="connsiteY4" fmla="*/ 1209527 h 1716378"/>
                <a:gd name="connsiteX5" fmla="*/ 356931 w 6434180"/>
                <a:gd name="connsiteY5" fmla="*/ 988717 h 1716378"/>
                <a:gd name="connsiteX6" fmla="*/ 107593 w 6434180"/>
                <a:gd name="connsiteY6" fmla="*/ 1391268 h 1716378"/>
                <a:gd name="connsiteX7" fmla="*/ 1801913 w 6434180"/>
                <a:gd name="connsiteY7" fmla="*/ 1682487 h 1716378"/>
                <a:gd name="connsiteX8" fmla="*/ 3389417 w 6434180"/>
                <a:gd name="connsiteY8" fmla="*/ 1171673 h 1716378"/>
                <a:gd name="connsiteX9" fmla="*/ 4691488 w 6434180"/>
                <a:gd name="connsiteY9" fmla="*/ 560704 h 1716378"/>
                <a:gd name="connsiteX10" fmla="*/ 5960039 w 6434180"/>
                <a:gd name="connsiteY10" fmla="*/ 1275521 h 1716378"/>
                <a:gd name="connsiteX0" fmla="*/ 5960039 w 6434180"/>
                <a:gd name="connsiteY0" fmla="*/ 1223507 h 1664364"/>
                <a:gd name="connsiteX1" fmla="*/ 6346918 w 6434180"/>
                <a:gd name="connsiteY1" fmla="*/ 939517 h 1664364"/>
                <a:gd name="connsiteX2" fmla="*/ 4816318 w 6434180"/>
                <a:gd name="connsiteY2" fmla="*/ 3499 h 1664364"/>
                <a:gd name="connsiteX3" fmla="*/ 3207916 w 6434180"/>
                <a:gd name="connsiteY3" fmla="*/ 652650 h 1664364"/>
                <a:gd name="connsiteX4" fmla="*/ 1639227 w 6434180"/>
                <a:gd name="connsiteY4" fmla="*/ 1157513 h 1664364"/>
                <a:gd name="connsiteX5" fmla="*/ 356931 w 6434180"/>
                <a:gd name="connsiteY5" fmla="*/ 936703 h 1664364"/>
                <a:gd name="connsiteX6" fmla="*/ 107593 w 6434180"/>
                <a:gd name="connsiteY6" fmla="*/ 1339254 h 1664364"/>
                <a:gd name="connsiteX7" fmla="*/ 1801913 w 6434180"/>
                <a:gd name="connsiteY7" fmla="*/ 1630473 h 1664364"/>
                <a:gd name="connsiteX8" fmla="*/ 3389417 w 6434180"/>
                <a:gd name="connsiteY8" fmla="*/ 1119659 h 1664364"/>
                <a:gd name="connsiteX9" fmla="*/ 4691488 w 6434180"/>
                <a:gd name="connsiteY9" fmla="*/ 508690 h 1664364"/>
                <a:gd name="connsiteX10" fmla="*/ 5960039 w 6434180"/>
                <a:gd name="connsiteY10" fmla="*/ 1223507 h 1664364"/>
                <a:gd name="connsiteX0" fmla="*/ 5948917 w 6423058"/>
                <a:gd name="connsiteY0" fmla="*/ 1223507 h 1664364"/>
                <a:gd name="connsiteX1" fmla="*/ 6335796 w 6423058"/>
                <a:gd name="connsiteY1" fmla="*/ 939517 h 1664364"/>
                <a:gd name="connsiteX2" fmla="*/ 4805196 w 6423058"/>
                <a:gd name="connsiteY2" fmla="*/ 3499 h 1664364"/>
                <a:gd name="connsiteX3" fmla="*/ 3196794 w 6423058"/>
                <a:gd name="connsiteY3" fmla="*/ 652650 h 1664364"/>
                <a:gd name="connsiteX4" fmla="*/ 1628105 w 6423058"/>
                <a:gd name="connsiteY4" fmla="*/ 1157513 h 1664364"/>
                <a:gd name="connsiteX5" fmla="*/ 402959 w 6423058"/>
                <a:gd name="connsiteY5" fmla="*/ 860503 h 1664364"/>
                <a:gd name="connsiteX6" fmla="*/ 96471 w 6423058"/>
                <a:gd name="connsiteY6" fmla="*/ 1339254 h 1664364"/>
                <a:gd name="connsiteX7" fmla="*/ 1790791 w 6423058"/>
                <a:gd name="connsiteY7" fmla="*/ 1630473 h 1664364"/>
                <a:gd name="connsiteX8" fmla="*/ 3378295 w 6423058"/>
                <a:gd name="connsiteY8" fmla="*/ 1119659 h 1664364"/>
                <a:gd name="connsiteX9" fmla="*/ 4680366 w 6423058"/>
                <a:gd name="connsiteY9" fmla="*/ 508690 h 1664364"/>
                <a:gd name="connsiteX10" fmla="*/ 5948917 w 6423058"/>
                <a:gd name="connsiteY10" fmla="*/ 1223507 h 1664364"/>
                <a:gd name="connsiteX0" fmla="*/ 5912928 w 6387069"/>
                <a:gd name="connsiteY0" fmla="*/ 1223507 h 1636325"/>
                <a:gd name="connsiteX1" fmla="*/ 6299807 w 6387069"/>
                <a:gd name="connsiteY1" fmla="*/ 939517 h 1636325"/>
                <a:gd name="connsiteX2" fmla="*/ 4769207 w 6387069"/>
                <a:gd name="connsiteY2" fmla="*/ 3499 h 1636325"/>
                <a:gd name="connsiteX3" fmla="*/ 3160805 w 6387069"/>
                <a:gd name="connsiteY3" fmla="*/ 652650 h 1636325"/>
                <a:gd name="connsiteX4" fmla="*/ 1592116 w 6387069"/>
                <a:gd name="connsiteY4" fmla="*/ 1157513 h 1636325"/>
                <a:gd name="connsiteX5" fmla="*/ 366970 w 6387069"/>
                <a:gd name="connsiteY5" fmla="*/ 860503 h 1636325"/>
                <a:gd name="connsiteX6" fmla="*/ 104932 w 6387069"/>
                <a:gd name="connsiteY6" fmla="*/ 1231304 h 1636325"/>
                <a:gd name="connsiteX7" fmla="*/ 1754802 w 6387069"/>
                <a:gd name="connsiteY7" fmla="*/ 1630473 h 1636325"/>
                <a:gd name="connsiteX8" fmla="*/ 3342306 w 6387069"/>
                <a:gd name="connsiteY8" fmla="*/ 1119659 h 1636325"/>
                <a:gd name="connsiteX9" fmla="*/ 4644377 w 6387069"/>
                <a:gd name="connsiteY9" fmla="*/ 508690 h 1636325"/>
                <a:gd name="connsiteX10" fmla="*/ 5912928 w 6387069"/>
                <a:gd name="connsiteY10" fmla="*/ 1223507 h 1636325"/>
                <a:gd name="connsiteX0" fmla="*/ 5912928 w 6387069"/>
                <a:gd name="connsiteY0" fmla="*/ 1223507 h 1872772"/>
                <a:gd name="connsiteX1" fmla="*/ 6299807 w 6387069"/>
                <a:gd name="connsiteY1" fmla="*/ 939517 h 1872772"/>
                <a:gd name="connsiteX2" fmla="*/ 4769207 w 6387069"/>
                <a:gd name="connsiteY2" fmla="*/ 3499 h 1872772"/>
                <a:gd name="connsiteX3" fmla="*/ 3160805 w 6387069"/>
                <a:gd name="connsiteY3" fmla="*/ 652650 h 1872772"/>
                <a:gd name="connsiteX4" fmla="*/ 1592116 w 6387069"/>
                <a:gd name="connsiteY4" fmla="*/ 1157513 h 1872772"/>
                <a:gd name="connsiteX5" fmla="*/ 366970 w 6387069"/>
                <a:gd name="connsiteY5" fmla="*/ 860503 h 1872772"/>
                <a:gd name="connsiteX6" fmla="*/ 104932 w 6387069"/>
                <a:gd name="connsiteY6" fmla="*/ 1231304 h 1872772"/>
                <a:gd name="connsiteX7" fmla="*/ 1748452 w 6387069"/>
                <a:gd name="connsiteY7" fmla="*/ 1871773 h 1872772"/>
                <a:gd name="connsiteX8" fmla="*/ 3342306 w 6387069"/>
                <a:gd name="connsiteY8" fmla="*/ 1119659 h 1872772"/>
                <a:gd name="connsiteX9" fmla="*/ 4644377 w 6387069"/>
                <a:gd name="connsiteY9" fmla="*/ 508690 h 1872772"/>
                <a:gd name="connsiteX10" fmla="*/ 5912928 w 6387069"/>
                <a:gd name="connsiteY10" fmla="*/ 1223507 h 1872772"/>
                <a:gd name="connsiteX0" fmla="*/ 5912928 w 6387069"/>
                <a:gd name="connsiteY0" fmla="*/ 1223435 h 1872700"/>
                <a:gd name="connsiteX1" fmla="*/ 6299807 w 6387069"/>
                <a:gd name="connsiteY1" fmla="*/ 939445 h 1872700"/>
                <a:gd name="connsiteX2" fmla="*/ 4769207 w 6387069"/>
                <a:gd name="connsiteY2" fmla="*/ 3427 h 1872700"/>
                <a:gd name="connsiteX3" fmla="*/ 3160805 w 6387069"/>
                <a:gd name="connsiteY3" fmla="*/ 652578 h 1872700"/>
                <a:gd name="connsiteX4" fmla="*/ 1668316 w 6387069"/>
                <a:gd name="connsiteY4" fmla="*/ 1398741 h 1872700"/>
                <a:gd name="connsiteX5" fmla="*/ 366970 w 6387069"/>
                <a:gd name="connsiteY5" fmla="*/ 860431 h 1872700"/>
                <a:gd name="connsiteX6" fmla="*/ 104932 w 6387069"/>
                <a:gd name="connsiteY6" fmla="*/ 1231232 h 1872700"/>
                <a:gd name="connsiteX7" fmla="*/ 1748452 w 6387069"/>
                <a:gd name="connsiteY7" fmla="*/ 1871701 h 1872700"/>
                <a:gd name="connsiteX8" fmla="*/ 3342306 w 6387069"/>
                <a:gd name="connsiteY8" fmla="*/ 1119587 h 1872700"/>
                <a:gd name="connsiteX9" fmla="*/ 4644377 w 6387069"/>
                <a:gd name="connsiteY9" fmla="*/ 508618 h 1872700"/>
                <a:gd name="connsiteX10" fmla="*/ 5912928 w 6387069"/>
                <a:gd name="connsiteY10" fmla="*/ 1223435 h 1872700"/>
                <a:gd name="connsiteX0" fmla="*/ 5912928 w 6387069"/>
                <a:gd name="connsiteY0" fmla="*/ 1223435 h 1872700"/>
                <a:gd name="connsiteX1" fmla="*/ 6299807 w 6387069"/>
                <a:gd name="connsiteY1" fmla="*/ 939445 h 1872700"/>
                <a:gd name="connsiteX2" fmla="*/ 4769207 w 6387069"/>
                <a:gd name="connsiteY2" fmla="*/ 3427 h 1872700"/>
                <a:gd name="connsiteX3" fmla="*/ 3160805 w 6387069"/>
                <a:gd name="connsiteY3" fmla="*/ 652578 h 1872700"/>
                <a:gd name="connsiteX4" fmla="*/ 1668316 w 6387069"/>
                <a:gd name="connsiteY4" fmla="*/ 1398741 h 1872700"/>
                <a:gd name="connsiteX5" fmla="*/ 366970 w 6387069"/>
                <a:gd name="connsiteY5" fmla="*/ 860431 h 1872700"/>
                <a:gd name="connsiteX6" fmla="*/ 104932 w 6387069"/>
                <a:gd name="connsiteY6" fmla="*/ 1231232 h 1872700"/>
                <a:gd name="connsiteX7" fmla="*/ 1748452 w 6387069"/>
                <a:gd name="connsiteY7" fmla="*/ 1871701 h 1872700"/>
                <a:gd name="connsiteX8" fmla="*/ 3342306 w 6387069"/>
                <a:gd name="connsiteY8" fmla="*/ 1119587 h 1872700"/>
                <a:gd name="connsiteX9" fmla="*/ 4574527 w 6387069"/>
                <a:gd name="connsiteY9" fmla="*/ 565768 h 1872700"/>
                <a:gd name="connsiteX10" fmla="*/ 5912928 w 6387069"/>
                <a:gd name="connsiteY10" fmla="*/ 1223435 h 1872700"/>
                <a:gd name="connsiteX0" fmla="*/ 5912928 w 6370309"/>
                <a:gd name="connsiteY0" fmla="*/ 1223435 h 1872700"/>
                <a:gd name="connsiteX1" fmla="*/ 6299807 w 6370309"/>
                <a:gd name="connsiteY1" fmla="*/ 939445 h 1872700"/>
                <a:gd name="connsiteX2" fmla="*/ 4769207 w 6370309"/>
                <a:gd name="connsiteY2" fmla="*/ 3427 h 1872700"/>
                <a:gd name="connsiteX3" fmla="*/ 3160805 w 6370309"/>
                <a:gd name="connsiteY3" fmla="*/ 652578 h 1872700"/>
                <a:gd name="connsiteX4" fmla="*/ 1668316 w 6370309"/>
                <a:gd name="connsiteY4" fmla="*/ 1398741 h 1872700"/>
                <a:gd name="connsiteX5" fmla="*/ 366970 w 6370309"/>
                <a:gd name="connsiteY5" fmla="*/ 860431 h 1872700"/>
                <a:gd name="connsiteX6" fmla="*/ 104932 w 6370309"/>
                <a:gd name="connsiteY6" fmla="*/ 1231232 h 1872700"/>
                <a:gd name="connsiteX7" fmla="*/ 1748452 w 6370309"/>
                <a:gd name="connsiteY7" fmla="*/ 1871701 h 1872700"/>
                <a:gd name="connsiteX8" fmla="*/ 3342306 w 6370309"/>
                <a:gd name="connsiteY8" fmla="*/ 1119587 h 1872700"/>
                <a:gd name="connsiteX9" fmla="*/ 4574527 w 6370309"/>
                <a:gd name="connsiteY9" fmla="*/ 565768 h 1872700"/>
                <a:gd name="connsiteX10" fmla="*/ 5912928 w 6370309"/>
                <a:gd name="connsiteY10" fmla="*/ 1223435 h 1872700"/>
                <a:gd name="connsiteX0" fmla="*/ 5912928 w 6341709"/>
                <a:gd name="connsiteY0" fmla="*/ 1223435 h 1872700"/>
                <a:gd name="connsiteX1" fmla="*/ 6299807 w 6341709"/>
                <a:gd name="connsiteY1" fmla="*/ 939445 h 1872700"/>
                <a:gd name="connsiteX2" fmla="*/ 4769207 w 6341709"/>
                <a:gd name="connsiteY2" fmla="*/ 3427 h 1872700"/>
                <a:gd name="connsiteX3" fmla="*/ 3160805 w 6341709"/>
                <a:gd name="connsiteY3" fmla="*/ 652578 h 1872700"/>
                <a:gd name="connsiteX4" fmla="*/ 1668316 w 6341709"/>
                <a:gd name="connsiteY4" fmla="*/ 1398741 h 1872700"/>
                <a:gd name="connsiteX5" fmla="*/ 366970 w 6341709"/>
                <a:gd name="connsiteY5" fmla="*/ 860431 h 1872700"/>
                <a:gd name="connsiteX6" fmla="*/ 104932 w 6341709"/>
                <a:gd name="connsiteY6" fmla="*/ 1231232 h 1872700"/>
                <a:gd name="connsiteX7" fmla="*/ 1748452 w 6341709"/>
                <a:gd name="connsiteY7" fmla="*/ 1871701 h 1872700"/>
                <a:gd name="connsiteX8" fmla="*/ 3342306 w 6341709"/>
                <a:gd name="connsiteY8" fmla="*/ 1119587 h 1872700"/>
                <a:gd name="connsiteX9" fmla="*/ 4574527 w 6341709"/>
                <a:gd name="connsiteY9" fmla="*/ 565768 h 1872700"/>
                <a:gd name="connsiteX10" fmla="*/ 5912928 w 6341709"/>
                <a:gd name="connsiteY10" fmla="*/ 1223435 h 1872700"/>
                <a:gd name="connsiteX0" fmla="*/ 5912928 w 6341709"/>
                <a:gd name="connsiteY0" fmla="*/ 1160338 h 1809603"/>
                <a:gd name="connsiteX1" fmla="*/ 6299807 w 6341709"/>
                <a:gd name="connsiteY1" fmla="*/ 876348 h 1809603"/>
                <a:gd name="connsiteX2" fmla="*/ 4566007 w 6341709"/>
                <a:gd name="connsiteY2" fmla="*/ 3830 h 1809603"/>
                <a:gd name="connsiteX3" fmla="*/ 3160805 w 6341709"/>
                <a:gd name="connsiteY3" fmla="*/ 589481 h 1809603"/>
                <a:gd name="connsiteX4" fmla="*/ 1668316 w 6341709"/>
                <a:gd name="connsiteY4" fmla="*/ 1335644 h 1809603"/>
                <a:gd name="connsiteX5" fmla="*/ 366970 w 6341709"/>
                <a:gd name="connsiteY5" fmla="*/ 797334 h 1809603"/>
                <a:gd name="connsiteX6" fmla="*/ 104932 w 6341709"/>
                <a:gd name="connsiteY6" fmla="*/ 1168135 h 1809603"/>
                <a:gd name="connsiteX7" fmla="*/ 1748452 w 6341709"/>
                <a:gd name="connsiteY7" fmla="*/ 1808604 h 1809603"/>
                <a:gd name="connsiteX8" fmla="*/ 3342306 w 6341709"/>
                <a:gd name="connsiteY8" fmla="*/ 1056490 h 1809603"/>
                <a:gd name="connsiteX9" fmla="*/ 4574527 w 6341709"/>
                <a:gd name="connsiteY9" fmla="*/ 502671 h 1809603"/>
                <a:gd name="connsiteX10" fmla="*/ 5912928 w 6341709"/>
                <a:gd name="connsiteY10" fmla="*/ 1160338 h 1809603"/>
                <a:gd name="connsiteX0" fmla="*/ 5912928 w 6341709"/>
                <a:gd name="connsiteY0" fmla="*/ 1158006 h 1807271"/>
                <a:gd name="connsiteX1" fmla="*/ 6299807 w 6341709"/>
                <a:gd name="connsiteY1" fmla="*/ 874016 h 1807271"/>
                <a:gd name="connsiteX2" fmla="*/ 4566007 w 6341709"/>
                <a:gd name="connsiteY2" fmla="*/ 1498 h 1807271"/>
                <a:gd name="connsiteX3" fmla="*/ 3160805 w 6341709"/>
                <a:gd name="connsiteY3" fmla="*/ 587149 h 1807271"/>
                <a:gd name="connsiteX4" fmla="*/ 1668316 w 6341709"/>
                <a:gd name="connsiteY4" fmla="*/ 1333312 h 1807271"/>
                <a:gd name="connsiteX5" fmla="*/ 366970 w 6341709"/>
                <a:gd name="connsiteY5" fmla="*/ 795002 h 1807271"/>
                <a:gd name="connsiteX6" fmla="*/ 104932 w 6341709"/>
                <a:gd name="connsiteY6" fmla="*/ 1165803 h 1807271"/>
                <a:gd name="connsiteX7" fmla="*/ 1748452 w 6341709"/>
                <a:gd name="connsiteY7" fmla="*/ 1806272 h 1807271"/>
                <a:gd name="connsiteX8" fmla="*/ 3342306 w 6341709"/>
                <a:gd name="connsiteY8" fmla="*/ 1054158 h 1807271"/>
                <a:gd name="connsiteX9" fmla="*/ 4574527 w 6341709"/>
                <a:gd name="connsiteY9" fmla="*/ 500339 h 1807271"/>
                <a:gd name="connsiteX10" fmla="*/ 5912928 w 6341709"/>
                <a:gd name="connsiteY10" fmla="*/ 1158006 h 1807271"/>
                <a:gd name="connsiteX0" fmla="*/ 5912928 w 6341709"/>
                <a:gd name="connsiteY0" fmla="*/ 1158785 h 1808050"/>
                <a:gd name="connsiteX1" fmla="*/ 6299807 w 6341709"/>
                <a:gd name="connsiteY1" fmla="*/ 874795 h 1808050"/>
                <a:gd name="connsiteX2" fmla="*/ 4566007 w 6341709"/>
                <a:gd name="connsiteY2" fmla="*/ 2277 h 1808050"/>
                <a:gd name="connsiteX3" fmla="*/ 3160805 w 6341709"/>
                <a:gd name="connsiteY3" fmla="*/ 587928 h 1808050"/>
                <a:gd name="connsiteX4" fmla="*/ 1668316 w 6341709"/>
                <a:gd name="connsiteY4" fmla="*/ 1334091 h 1808050"/>
                <a:gd name="connsiteX5" fmla="*/ 366970 w 6341709"/>
                <a:gd name="connsiteY5" fmla="*/ 795781 h 1808050"/>
                <a:gd name="connsiteX6" fmla="*/ 104932 w 6341709"/>
                <a:gd name="connsiteY6" fmla="*/ 1166582 h 1808050"/>
                <a:gd name="connsiteX7" fmla="*/ 1748452 w 6341709"/>
                <a:gd name="connsiteY7" fmla="*/ 1807051 h 1808050"/>
                <a:gd name="connsiteX8" fmla="*/ 3342306 w 6341709"/>
                <a:gd name="connsiteY8" fmla="*/ 1054937 h 1808050"/>
                <a:gd name="connsiteX9" fmla="*/ 4574527 w 6341709"/>
                <a:gd name="connsiteY9" fmla="*/ 501118 h 1808050"/>
                <a:gd name="connsiteX10" fmla="*/ 5912928 w 6341709"/>
                <a:gd name="connsiteY10" fmla="*/ 1158785 h 1808050"/>
                <a:gd name="connsiteX0" fmla="*/ 5912928 w 6341709"/>
                <a:gd name="connsiteY0" fmla="*/ 1158785 h 1808050"/>
                <a:gd name="connsiteX1" fmla="*/ 6299807 w 6341709"/>
                <a:gd name="connsiteY1" fmla="*/ 874795 h 1808050"/>
                <a:gd name="connsiteX2" fmla="*/ 4566007 w 6341709"/>
                <a:gd name="connsiteY2" fmla="*/ 2277 h 1808050"/>
                <a:gd name="connsiteX3" fmla="*/ 3160805 w 6341709"/>
                <a:gd name="connsiteY3" fmla="*/ 587928 h 1808050"/>
                <a:gd name="connsiteX4" fmla="*/ 1668316 w 6341709"/>
                <a:gd name="connsiteY4" fmla="*/ 1334091 h 1808050"/>
                <a:gd name="connsiteX5" fmla="*/ 366970 w 6341709"/>
                <a:gd name="connsiteY5" fmla="*/ 795781 h 1808050"/>
                <a:gd name="connsiteX6" fmla="*/ 104932 w 6341709"/>
                <a:gd name="connsiteY6" fmla="*/ 1166582 h 1808050"/>
                <a:gd name="connsiteX7" fmla="*/ 1748452 w 6341709"/>
                <a:gd name="connsiteY7" fmla="*/ 1807051 h 1808050"/>
                <a:gd name="connsiteX8" fmla="*/ 3342306 w 6341709"/>
                <a:gd name="connsiteY8" fmla="*/ 1054937 h 1808050"/>
                <a:gd name="connsiteX9" fmla="*/ 4574527 w 6341709"/>
                <a:gd name="connsiteY9" fmla="*/ 501118 h 1808050"/>
                <a:gd name="connsiteX10" fmla="*/ 5912928 w 6341709"/>
                <a:gd name="connsiteY10" fmla="*/ 1158785 h 1808050"/>
                <a:gd name="connsiteX0" fmla="*/ 5912928 w 6341709"/>
                <a:gd name="connsiteY0" fmla="*/ 1158785 h 1808050"/>
                <a:gd name="connsiteX1" fmla="*/ 6299807 w 6341709"/>
                <a:gd name="connsiteY1" fmla="*/ 874795 h 1808050"/>
                <a:gd name="connsiteX2" fmla="*/ 4566007 w 6341709"/>
                <a:gd name="connsiteY2" fmla="*/ 2277 h 1808050"/>
                <a:gd name="connsiteX3" fmla="*/ 3160805 w 6341709"/>
                <a:gd name="connsiteY3" fmla="*/ 587928 h 1808050"/>
                <a:gd name="connsiteX4" fmla="*/ 1668316 w 6341709"/>
                <a:gd name="connsiteY4" fmla="*/ 1334091 h 1808050"/>
                <a:gd name="connsiteX5" fmla="*/ 366970 w 6341709"/>
                <a:gd name="connsiteY5" fmla="*/ 795781 h 1808050"/>
                <a:gd name="connsiteX6" fmla="*/ 104932 w 6341709"/>
                <a:gd name="connsiteY6" fmla="*/ 1166582 h 1808050"/>
                <a:gd name="connsiteX7" fmla="*/ 1748452 w 6341709"/>
                <a:gd name="connsiteY7" fmla="*/ 1807051 h 1808050"/>
                <a:gd name="connsiteX8" fmla="*/ 3342306 w 6341709"/>
                <a:gd name="connsiteY8" fmla="*/ 1054937 h 1808050"/>
                <a:gd name="connsiteX9" fmla="*/ 4574527 w 6341709"/>
                <a:gd name="connsiteY9" fmla="*/ 501118 h 1808050"/>
                <a:gd name="connsiteX10" fmla="*/ 5912928 w 6341709"/>
                <a:gd name="connsiteY10" fmla="*/ 1158785 h 1808050"/>
                <a:gd name="connsiteX0" fmla="*/ 5973987 w 6402768"/>
                <a:gd name="connsiteY0" fmla="*/ 1158785 h 1808050"/>
                <a:gd name="connsiteX1" fmla="*/ 6360866 w 6402768"/>
                <a:gd name="connsiteY1" fmla="*/ 874795 h 1808050"/>
                <a:gd name="connsiteX2" fmla="*/ 4627066 w 6402768"/>
                <a:gd name="connsiteY2" fmla="*/ 2277 h 1808050"/>
                <a:gd name="connsiteX3" fmla="*/ 3221864 w 6402768"/>
                <a:gd name="connsiteY3" fmla="*/ 587928 h 1808050"/>
                <a:gd name="connsiteX4" fmla="*/ 1729375 w 6402768"/>
                <a:gd name="connsiteY4" fmla="*/ 1334091 h 1808050"/>
                <a:gd name="connsiteX5" fmla="*/ 428029 w 6402768"/>
                <a:gd name="connsiteY5" fmla="*/ 795781 h 1808050"/>
                <a:gd name="connsiteX6" fmla="*/ 165991 w 6402768"/>
                <a:gd name="connsiteY6" fmla="*/ 1166582 h 1808050"/>
                <a:gd name="connsiteX7" fmla="*/ 1809511 w 6402768"/>
                <a:gd name="connsiteY7" fmla="*/ 1807051 h 1808050"/>
                <a:gd name="connsiteX8" fmla="*/ 3403365 w 6402768"/>
                <a:gd name="connsiteY8" fmla="*/ 1054937 h 1808050"/>
                <a:gd name="connsiteX9" fmla="*/ 4635586 w 6402768"/>
                <a:gd name="connsiteY9" fmla="*/ 501118 h 1808050"/>
                <a:gd name="connsiteX10" fmla="*/ 5973987 w 6402768"/>
                <a:gd name="connsiteY10" fmla="*/ 1158785 h 1808050"/>
                <a:gd name="connsiteX0" fmla="*/ 6015010 w 6443791"/>
                <a:gd name="connsiteY0" fmla="*/ 1158785 h 1808050"/>
                <a:gd name="connsiteX1" fmla="*/ 6401889 w 6443791"/>
                <a:gd name="connsiteY1" fmla="*/ 874795 h 1808050"/>
                <a:gd name="connsiteX2" fmla="*/ 4668089 w 6443791"/>
                <a:gd name="connsiteY2" fmla="*/ 2277 h 1808050"/>
                <a:gd name="connsiteX3" fmla="*/ 3262887 w 6443791"/>
                <a:gd name="connsiteY3" fmla="*/ 587928 h 1808050"/>
                <a:gd name="connsiteX4" fmla="*/ 1770398 w 6443791"/>
                <a:gd name="connsiteY4" fmla="*/ 1334091 h 1808050"/>
                <a:gd name="connsiteX5" fmla="*/ 469052 w 6443791"/>
                <a:gd name="connsiteY5" fmla="*/ 795781 h 1808050"/>
                <a:gd name="connsiteX6" fmla="*/ 207014 w 6443791"/>
                <a:gd name="connsiteY6" fmla="*/ 1166582 h 1808050"/>
                <a:gd name="connsiteX7" fmla="*/ 1850534 w 6443791"/>
                <a:gd name="connsiteY7" fmla="*/ 1807051 h 1808050"/>
                <a:gd name="connsiteX8" fmla="*/ 3444388 w 6443791"/>
                <a:gd name="connsiteY8" fmla="*/ 1054937 h 1808050"/>
                <a:gd name="connsiteX9" fmla="*/ 4676609 w 6443791"/>
                <a:gd name="connsiteY9" fmla="*/ 501118 h 1808050"/>
                <a:gd name="connsiteX10" fmla="*/ 6015010 w 6443791"/>
                <a:gd name="connsiteY10" fmla="*/ 1158785 h 1808050"/>
                <a:gd name="connsiteX0" fmla="*/ 5958523 w 6387304"/>
                <a:gd name="connsiteY0" fmla="*/ 1158785 h 1808050"/>
                <a:gd name="connsiteX1" fmla="*/ 6345402 w 6387304"/>
                <a:gd name="connsiteY1" fmla="*/ 874795 h 1808050"/>
                <a:gd name="connsiteX2" fmla="*/ 4611602 w 6387304"/>
                <a:gd name="connsiteY2" fmla="*/ 2277 h 1808050"/>
                <a:gd name="connsiteX3" fmla="*/ 3206400 w 6387304"/>
                <a:gd name="connsiteY3" fmla="*/ 587928 h 1808050"/>
                <a:gd name="connsiteX4" fmla="*/ 1713911 w 6387304"/>
                <a:gd name="connsiteY4" fmla="*/ 1334091 h 1808050"/>
                <a:gd name="connsiteX5" fmla="*/ 412565 w 6387304"/>
                <a:gd name="connsiteY5" fmla="*/ 795781 h 1808050"/>
                <a:gd name="connsiteX6" fmla="*/ 150527 w 6387304"/>
                <a:gd name="connsiteY6" fmla="*/ 1166582 h 1808050"/>
                <a:gd name="connsiteX7" fmla="*/ 1794047 w 6387304"/>
                <a:gd name="connsiteY7" fmla="*/ 1807051 h 1808050"/>
                <a:gd name="connsiteX8" fmla="*/ 3387901 w 6387304"/>
                <a:gd name="connsiteY8" fmla="*/ 1054937 h 1808050"/>
                <a:gd name="connsiteX9" fmla="*/ 4620122 w 6387304"/>
                <a:gd name="connsiteY9" fmla="*/ 501118 h 1808050"/>
                <a:gd name="connsiteX10" fmla="*/ 5958523 w 6387304"/>
                <a:gd name="connsiteY10" fmla="*/ 1158785 h 1808050"/>
                <a:gd name="connsiteX0" fmla="*/ 5973124 w 6401905"/>
                <a:gd name="connsiteY0" fmla="*/ 1158785 h 1808050"/>
                <a:gd name="connsiteX1" fmla="*/ 6360003 w 6401905"/>
                <a:gd name="connsiteY1" fmla="*/ 874795 h 1808050"/>
                <a:gd name="connsiteX2" fmla="*/ 4626203 w 6401905"/>
                <a:gd name="connsiteY2" fmla="*/ 2277 h 1808050"/>
                <a:gd name="connsiteX3" fmla="*/ 3221001 w 6401905"/>
                <a:gd name="connsiteY3" fmla="*/ 587928 h 1808050"/>
                <a:gd name="connsiteX4" fmla="*/ 1728512 w 6401905"/>
                <a:gd name="connsiteY4" fmla="*/ 1334091 h 1808050"/>
                <a:gd name="connsiteX5" fmla="*/ 427166 w 6401905"/>
                <a:gd name="connsiteY5" fmla="*/ 795781 h 1808050"/>
                <a:gd name="connsiteX6" fmla="*/ 165128 w 6401905"/>
                <a:gd name="connsiteY6" fmla="*/ 1166582 h 1808050"/>
                <a:gd name="connsiteX7" fmla="*/ 1808648 w 6401905"/>
                <a:gd name="connsiteY7" fmla="*/ 1807051 h 1808050"/>
                <a:gd name="connsiteX8" fmla="*/ 3402502 w 6401905"/>
                <a:gd name="connsiteY8" fmla="*/ 1054937 h 1808050"/>
                <a:gd name="connsiteX9" fmla="*/ 4634723 w 6401905"/>
                <a:gd name="connsiteY9" fmla="*/ 501118 h 1808050"/>
                <a:gd name="connsiteX10" fmla="*/ 5973124 w 6401905"/>
                <a:gd name="connsiteY10" fmla="*/ 1158785 h 1808050"/>
                <a:gd name="connsiteX0" fmla="*/ 5973124 w 6401905"/>
                <a:gd name="connsiteY0" fmla="*/ 1158785 h 1808050"/>
                <a:gd name="connsiteX1" fmla="*/ 6360003 w 6401905"/>
                <a:gd name="connsiteY1" fmla="*/ 874795 h 1808050"/>
                <a:gd name="connsiteX2" fmla="*/ 4626203 w 6401905"/>
                <a:gd name="connsiteY2" fmla="*/ 2277 h 1808050"/>
                <a:gd name="connsiteX3" fmla="*/ 3221001 w 6401905"/>
                <a:gd name="connsiteY3" fmla="*/ 587928 h 1808050"/>
                <a:gd name="connsiteX4" fmla="*/ 1728512 w 6401905"/>
                <a:gd name="connsiteY4" fmla="*/ 1334091 h 1808050"/>
                <a:gd name="connsiteX5" fmla="*/ 427166 w 6401905"/>
                <a:gd name="connsiteY5" fmla="*/ 795781 h 1808050"/>
                <a:gd name="connsiteX6" fmla="*/ 165128 w 6401905"/>
                <a:gd name="connsiteY6" fmla="*/ 1166582 h 1808050"/>
                <a:gd name="connsiteX7" fmla="*/ 1808648 w 6401905"/>
                <a:gd name="connsiteY7" fmla="*/ 1807051 h 1808050"/>
                <a:gd name="connsiteX8" fmla="*/ 3402502 w 6401905"/>
                <a:gd name="connsiteY8" fmla="*/ 1054937 h 1808050"/>
                <a:gd name="connsiteX9" fmla="*/ 4634723 w 6401905"/>
                <a:gd name="connsiteY9" fmla="*/ 501118 h 1808050"/>
                <a:gd name="connsiteX10" fmla="*/ 5973124 w 6401905"/>
                <a:gd name="connsiteY10" fmla="*/ 1158785 h 1808050"/>
                <a:gd name="connsiteX0" fmla="*/ 5973124 w 6401905"/>
                <a:gd name="connsiteY0" fmla="*/ 1158785 h 1808050"/>
                <a:gd name="connsiteX1" fmla="*/ 6360003 w 6401905"/>
                <a:gd name="connsiteY1" fmla="*/ 874795 h 1808050"/>
                <a:gd name="connsiteX2" fmla="*/ 4626203 w 6401905"/>
                <a:gd name="connsiteY2" fmla="*/ 2277 h 1808050"/>
                <a:gd name="connsiteX3" fmla="*/ 3221001 w 6401905"/>
                <a:gd name="connsiteY3" fmla="*/ 587928 h 1808050"/>
                <a:gd name="connsiteX4" fmla="*/ 1728512 w 6401905"/>
                <a:gd name="connsiteY4" fmla="*/ 1334091 h 1808050"/>
                <a:gd name="connsiteX5" fmla="*/ 427166 w 6401905"/>
                <a:gd name="connsiteY5" fmla="*/ 795781 h 1808050"/>
                <a:gd name="connsiteX6" fmla="*/ 165128 w 6401905"/>
                <a:gd name="connsiteY6" fmla="*/ 1166582 h 1808050"/>
                <a:gd name="connsiteX7" fmla="*/ 1808648 w 6401905"/>
                <a:gd name="connsiteY7" fmla="*/ 1807051 h 1808050"/>
                <a:gd name="connsiteX8" fmla="*/ 3402502 w 6401905"/>
                <a:gd name="connsiteY8" fmla="*/ 1054937 h 1808050"/>
                <a:gd name="connsiteX9" fmla="*/ 4634723 w 6401905"/>
                <a:gd name="connsiteY9" fmla="*/ 501118 h 1808050"/>
                <a:gd name="connsiteX10" fmla="*/ 5973124 w 6401905"/>
                <a:gd name="connsiteY10" fmla="*/ 1158785 h 1808050"/>
                <a:gd name="connsiteX0" fmla="*/ 5973124 w 6401905"/>
                <a:gd name="connsiteY0" fmla="*/ 1132686 h 1781951"/>
                <a:gd name="connsiteX1" fmla="*/ 6360003 w 6401905"/>
                <a:gd name="connsiteY1" fmla="*/ 848696 h 1781951"/>
                <a:gd name="connsiteX2" fmla="*/ 4645253 w 6401905"/>
                <a:gd name="connsiteY2" fmla="*/ 1578 h 1781951"/>
                <a:gd name="connsiteX3" fmla="*/ 3221001 w 6401905"/>
                <a:gd name="connsiteY3" fmla="*/ 561829 h 1781951"/>
                <a:gd name="connsiteX4" fmla="*/ 1728512 w 6401905"/>
                <a:gd name="connsiteY4" fmla="*/ 1307992 h 1781951"/>
                <a:gd name="connsiteX5" fmla="*/ 427166 w 6401905"/>
                <a:gd name="connsiteY5" fmla="*/ 769682 h 1781951"/>
                <a:gd name="connsiteX6" fmla="*/ 165128 w 6401905"/>
                <a:gd name="connsiteY6" fmla="*/ 1140483 h 1781951"/>
                <a:gd name="connsiteX7" fmla="*/ 1808648 w 6401905"/>
                <a:gd name="connsiteY7" fmla="*/ 1780952 h 1781951"/>
                <a:gd name="connsiteX8" fmla="*/ 3402502 w 6401905"/>
                <a:gd name="connsiteY8" fmla="*/ 1028838 h 1781951"/>
                <a:gd name="connsiteX9" fmla="*/ 4634723 w 6401905"/>
                <a:gd name="connsiteY9" fmla="*/ 475019 h 1781951"/>
                <a:gd name="connsiteX10" fmla="*/ 5973124 w 6401905"/>
                <a:gd name="connsiteY10" fmla="*/ 1132686 h 1781951"/>
                <a:gd name="connsiteX0" fmla="*/ 5973124 w 6401905"/>
                <a:gd name="connsiteY0" fmla="*/ 1132686 h 1781951"/>
                <a:gd name="connsiteX1" fmla="*/ 6360003 w 6401905"/>
                <a:gd name="connsiteY1" fmla="*/ 848696 h 1781951"/>
                <a:gd name="connsiteX2" fmla="*/ 4645253 w 6401905"/>
                <a:gd name="connsiteY2" fmla="*/ 1578 h 1781951"/>
                <a:gd name="connsiteX3" fmla="*/ 3221001 w 6401905"/>
                <a:gd name="connsiteY3" fmla="*/ 561829 h 1781951"/>
                <a:gd name="connsiteX4" fmla="*/ 1728512 w 6401905"/>
                <a:gd name="connsiteY4" fmla="*/ 1307992 h 1781951"/>
                <a:gd name="connsiteX5" fmla="*/ 427166 w 6401905"/>
                <a:gd name="connsiteY5" fmla="*/ 769682 h 1781951"/>
                <a:gd name="connsiteX6" fmla="*/ 165128 w 6401905"/>
                <a:gd name="connsiteY6" fmla="*/ 1140483 h 1781951"/>
                <a:gd name="connsiteX7" fmla="*/ 1808648 w 6401905"/>
                <a:gd name="connsiteY7" fmla="*/ 1780952 h 1781951"/>
                <a:gd name="connsiteX8" fmla="*/ 3402502 w 6401905"/>
                <a:gd name="connsiteY8" fmla="*/ 1028838 h 1781951"/>
                <a:gd name="connsiteX9" fmla="*/ 4634723 w 6401905"/>
                <a:gd name="connsiteY9" fmla="*/ 475019 h 1781951"/>
                <a:gd name="connsiteX10" fmla="*/ 5973124 w 6401905"/>
                <a:gd name="connsiteY10" fmla="*/ 1132686 h 178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01905" h="1781951">
                  <a:moveTo>
                    <a:pt x="5973124" y="1132686"/>
                  </a:moveTo>
                  <a:cubicBezTo>
                    <a:pt x="6156519" y="1324379"/>
                    <a:pt x="6526231" y="1016198"/>
                    <a:pt x="6360003" y="848696"/>
                  </a:cubicBezTo>
                  <a:cubicBezTo>
                    <a:pt x="5905194" y="367643"/>
                    <a:pt x="5365270" y="30339"/>
                    <a:pt x="4645253" y="1578"/>
                  </a:cubicBezTo>
                  <a:cubicBezTo>
                    <a:pt x="3925236" y="-27183"/>
                    <a:pt x="3707125" y="344093"/>
                    <a:pt x="3221001" y="561829"/>
                  </a:cubicBezTo>
                  <a:cubicBezTo>
                    <a:pt x="2734877" y="779565"/>
                    <a:pt x="2543401" y="1267000"/>
                    <a:pt x="1728512" y="1307992"/>
                  </a:cubicBezTo>
                  <a:cubicBezTo>
                    <a:pt x="913623" y="1348984"/>
                    <a:pt x="800203" y="1126515"/>
                    <a:pt x="427166" y="769682"/>
                  </a:cubicBezTo>
                  <a:cubicBezTo>
                    <a:pt x="77901" y="386644"/>
                    <a:pt x="-184634" y="875059"/>
                    <a:pt x="165128" y="1140483"/>
                  </a:cubicBezTo>
                  <a:cubicBezTo>
                    <a:pt x="634241" y="1557361"/>
                    <a:pt x="1269086" y="1799559"/>
                    <a:pt x="1808648" y="1780952"/>
                  </a:cubicBezTo>
                  <a:cubicBezTo>
                    <a:pt x="2348210" y="1762345"/>
                    <a:pt x="2969589" y="1405243"/>
                    <a:pt x="3402502" y="1028838"/>
                  </a:cubicBezTo>
                  <a:cubicBezTo>
                    <a:pt x="3835415" y="652433"/>
                    <a:pt x="4206286" y="457711"/>
                    <a:pt x="4634723" y="475019"/>
                  </a:cubicBezTo>
                  <a:cubicBezTo>
                    <a:pt x="5063160" y="492327"/>
                    <a:pt x="5586850" y="764991"/>
                    <a:pt x="5973124" y="1132686"/>
                  </a:cubicBezTo>
                  <a:close/>
                </a:path>
              </a:pathLst>
            </a:custGeom>
            <a:solidFill>
              <a:srgbClr val="59B4D9"/>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882"/>
            </a:p>
          </p:txBody>
        </p:sp>
        <p:sp>
          <p:nvSpPr>
            <p:cNvPr id="44" name="Freeform: Shape 43"/>
            <p:cNvSpPr/>
            <p:nvPr/>
          </p:nvSpPr>
          <p:spPr>
            <a:xfrm flipH="1" flipV="1">
              <a:off x="-16372125" y="3446034"/>
              <a:ext cx="6434180" cy="1862570"/>
            </a:xfrm>
            <a:custGeom>
              <a:avLst/>
              <a:gdLst>
                <a:gd name="connsiteX0" fmla="*/ 6157732 w 6157732"/>
                <a:gd name="connsiteY0" fmla="*/ 914400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7732 w 6157732"/>
                <a:gd name="connsiteY11" fmla="*/ 914400 h 1551008"/>
                <a:gd name="connsiteX0" fmla="*/ 6154919 w 6157732"/>
                <a:gd name="connsiteY0" fmla="*/ 1018501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4919 w 6157732"/>
                <a:gd name="connsiteY11" fmla="*/ 1018501 h 1551008"/>
                <a:gd name="connsiteX0" fmla="*/ 5903089 w 6157732"/>
                <a:gd name="connsiteY0" fmla="*/ 1180618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39970 w 6264646"/>
                <a:gd name="connsiteY3" fmla="*/ 92598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903089 w 6264646"/>
                <a:gd name="connsiteY10" fmla="*/ 118061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88816"/>
                <a:gd name="connsiteY0" fmla="*/ 1220008 h 1551008"/>
                <a:gd name="connsiteX1" fmla="*/ 6264646 w 6288816"/>
                <a:gd name="connsiteY1" fmla="*/ 936018 h 1551008"/>
                <a:gd name="connsiteX2" fmla="*/ 4734046 w 6288816"/>
                <a:gd name="connsiteY2" fmla="*/ 0 h 1551008"/>
                <a:gd name="connsiteX3" fmla="*/ 2903394 w 6288816"/>
                <a:gd name="connsiteY3" fmla="*/ 134801 h 1551008"/>
                <a:gd name="connsiteX4" fmla="*/ 1562582 w 6288816"/>
                <a:gd name="connsiteY4" fmla="*/ 1134319 h 1551008"/>
                <a:gd name="connsiteX5" fmla="*/ 266218 w 6288816"/>
                <a:gd name="connsiteY5" fmla="*/ 983848 h 1551008"/>
                <a:gd name="connsiteX6" fmla="*/ 0 w 6288816"/>
                <a:gd name="connsiteY6" fmla="*/ 1296365 h 1551008"/>
                <a:gd name="connsiteX7" fmla="*/ 1747777 w 6288816"/>
                <a:gd name="connsiteY7" fmla="*/ 1551008 h 1551008"/>
                <a:gd name="connsiteX8" fmla="*/ 3078545 w 6288816"/>
                <a:gd name="connsiteY8" fmla="*/ 646260 h 1551008"/>
                <a:gd name="connsiteX9" fmla="*/ 4609216 w 6288816"/>
                <a:gd name="connsiteY9" fmla="*/ 505191 h 1551008"/>
                <a:gd name="connsiteX10" fmla="*/ 5877767 w 6288816"/>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64662 h 1595662"/>
                <a:gd name="connsiteX1" fmla="*/ 6264646 w 6299907"/>
                <a:gd name="connsiteY1" fmla="*/ 980672 h 1595662"/>
                <a:gd name="connsiteX2" fmla="*/ 4734046 w 6299907"/>
                <a:gd name="connsiteY2" fmla="*/ 44654 h 1595662"/>
                <a:gd name="connsiteX3" fmla="*/ 2903394 w 6299907"/>
                <a:gd name="connsiteY3" fmla="*/ 179455 h 1595662"/>
                <a:gd name="connsiteX4" fmla="*/ 1562582 w 6299907"/>
                <a:gd name="connsiteY4" fmla="*/ 1178973 h 1595662"/>
                <a:gd name="connsiteX5" fmla="*/ 266218 w 6299907"/>
                <a:gd name="connsiteY5" fmla="*/ 1028502 h 1595662"/>
                <a:gd name="connsiteX6" fmla="*/ 0 w 6299907"/>
                <a:gd name="connsiteY6" fmla="*/ 1341019 h 1595662"/>
                <a:gd name="connsiteX7" fmla="*/ 1747777 w 6299907"/>
                <a:gd name="connsiteY7" fmla="*/ 1595662 h 1595662"/>
                <a:gd name="connsiteX8" fmla="*/ 3078545 w 6299907"/>
                <a:gd name="connsiteY8" fmla="*/ 690914 h 1595662"/>
                <a:gd name="connsiteX9" fmla="*/ 4609216 w 6299907"/>
                <a:gd name="connsiteY9" fmla="*/ 549845 h 1595662"/>
                <a:gd name="connsiteX10" fmla="*/ 5877767 w 6299907"/>
                <a:gd name="connsiteY10" fmla="*/ 1264662 h 1595662"/>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350331"/>
                <a:gd name="connsiteY0" fmla="*/ 1303484 h 1634484"/>
                <a:gd name="connsiteX1" fmla="*/ 6264646 w 6350331"/>
                <a:gd name="connsiteY1" fmla="*/ 1019494 h 1634484"/>
                <a:gd name="connsiteX2" fmla="*/ 4734046 w 6350331"/>
                <a:gd name="connsiteY2" fmla="*/ 83476 h 1634484"/>
                <a:gd name="connsiteX3" fmla="*/ 2903394 w 6350331"/>
                <a:gd name="connsiteY3" fmla="*/ 218277 h 1634484"/>
                <a:gd name="connsiteX4" fmla="*/ 1562582 w 6350331"/>
                <a:gd name="connsiteY4" fmla="*/ 1217795 h 1634484"/>
                <a:gd name="connsiteX5" fmla="*/ 266218 w 6350331"/>
                <a:gd name="connsiteY5" fmla="*/ 1067324 h 1634484"/>
                <a:gd name="connsiteX6" fmla="*/ 0 w 6350331"/>
                <a:gd name="connsiteY6" fmla="*/ 1379841 h 1634484"/>
                <a:gd name="connsiteX7" fmla="*/ 1747777 w 6350331"/>
                <a:gd name="connsiteY7" fmla="*/ 1634484 h 1634484"/>
                <a:gd name="connsiteX8" fmla="*/ 3078545 w 6350331"/>
                <a:gd name="connsiteY8" fmla="*/ 729736 h 1634484"/>
                <a:gd name="connsiteX9" fmla="*/ 4609216 w 6350331"/>
                <a:gd name="connsiteY9" fmla="*/ 588667 h 1634484"/>
                <a:gd name="connsiteX10" fmla="*/ 5877767 w 6350331"/>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840557"/>
                <a:gd name="connsiteX1" fmla="*/ 6264646 w 6351908"/>
                <a:gd name="connsiteY1" fmla="*/ 1019494 h 1840557"/>
                <a:gd name="connsiteX2" fmla="*/ 4734046 w 6351908"/>
                <a:gd name="connsiteY2" fmla="*/ 83476 h 1840557"/>
                <a:gd name="connsiteX3" fmla="*/ 2903394 w 6351908"/>
                <a:gd name="connsiteY3" fmla="*/ 218277 h 1840557"/>
                <a:gd name="connsiteX4" fmla="*/ 1556955 w 6351908"/>
                <a:gd name="connsiteY4" fmla="*/ 1237490 h 1840557"/>
                <a:gd name="connsiteX5" fmla="*/ 274659 w 6351908"/>
                <a:gd name="connsiteY5" fmla="*/ 1016680 h 1840557"/>
                <a:gd name="connsiteX6" fmla="*/ 0 w 6351908"/>
                <a:gd name="connsiteY6" fmla="*/ 1379841 h 1840557"/>
                <a:gd name="connsiteX7" fmla="*/ 1719641 w 6351908"/>
                <a:gd name="connsiteY7" fmla="*/ 1710450 h 1840557"/>
                <a:gd name="connsiteX8" fmla="*/ 3078545 w 6351908"/>
                <a:gd name="connsiteY8" fmla="*/ 729736 h 1840557"/>
                <a:gd name="connsiteX9" fmla="*/ 4609216 w 6351908"/>
                <a:gd name="connsiteY9" fmla="*/ 588667 h 1840557"/>
                <a:gd name="connsiteX10" fmla="*/ 5877767 w 6351908"/>
                <a:gd name="connsiteY10" fmla="*/ 1303484 h 1840557"/>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980675 w 6454816"/>
                <a:gd name="connsiteY0" fmla="*/ 1303484 h 1893535"/>
                <a:gd name="connsiteX1" fmla="*/ 6367554 w 6454816"/>
                <a:gd name="connsiteY1" fmla="*/ 1019494 h 1893535"/>
                <a:gd name="connsiteX2" fmla="*/ 4836954 w 6454816"/>
                <a:gd name="connsiteY2" fmla="*/ 83476 h 1893535"/>
                <a:gd name="connsiteX3" fmla="*/ 3006302 w 6454816"/>
                <a:gd name="connsiteY3" fmla="*/ 218277 h 1893535"/>
                <a:gd name="connsiteX4" fmla="*/ 1659863 w 6454816"/>
                <a:gd name="connsiteY4" fmla="*/ 1237490 h 1893535"/>
                <a:gd name="connsiteX5" fmla="*/ 377567 w 6454816"/>
                <a:gd name="connsiteY5" fmla="*/ 1016680 h 1893535"/>
                <a:gd name="connsiteX6" fmla="*/ 102908 w 6454816"/>
                <a:gd name="connsiteY6" fmla="*/ 1379841 h 1893535"/>
                <a:gd name="connsiteX7" fmla="*/ 1822549 w 6454816"/>
                <a:gd name="connsiteY7" fmla="*/ 1710450 h 1893535"/>
                <a:gd name="connsiteX8" fmla="*/ 3181453 w 6454816"/>
                <a:gd name="connsiteY8" fmla="*/ 729736 h 1893535"/>
                <a:gd name="connsiteX9" fmla="*/ 4712124 w 6454816"/>
                <a:gd name="connsiteY9" fmla="*/ 588667 h 1893535"/>
                <a:gd name="connsiteX10" fmla="*/ 5980675 w 6454816"/>
                <a:gd name="connsiteY10" fmla="*/ 1303484 h 1893535"/>
                <a:gd name="connsiteX0" fmla="*/ 5961776 w 6435917"/>
                <a:gd name="connsiteY0" fmla="*/ 1303484 h 1893535"/>
                <a:gd name="connsiteX1" fmla="*/ 6348655 w 6435917"/>
                <a:gd name="connsiteY1" fmla="*/ 1019494 h 1893535"/>
                <a:gd name="connsiteX2" fmla="*/ 4818055 w 6435917"/>
                <a:gd name="connsiteY2" fmla="*/ 83476 h 1893535"/>
                <a:gd name="connsiteX3" fmla="*/ 2987403 w 6435917"/>
                <a:gd name="connsiteY3" fmla="*/ 218277 h 1893535"/>
                <a:gd name="connsiteX4" fmla="*/ 1640964 w 6435917"/>
                <a:gd name="connsiteY4" fmla="*/ 1237490 h 1893535"/>
                <a:gd name="connsiteX5" fmla="*/ 358668 w 6435917"/>
                <a:gd name="connsiteY5" fmla="*/ 1016680 h 1893535"/>
                <a:gd name="connsiteX6" fmla="*/ 84009 w 6435917"/>
                <a:gd name="connsiteY6" fmla="*/ 1379841 h 1893535"/>
                <a:gd name="connsiteX7" fmla="*/ 1803650 w 6435917"/>
                <a:gd name="connsiteY7" fmla="*/ 1710450 h 1893535"/>
                <a:gd name="connsiteX8" fmla="*/ 3162554 w 6435917"/>
                <a:gd name="connsiteY8" fmla="*/ 729736 h 1893535"/>
                <a:gd name="connsiteX9" fmla="*/ 4693225 w 6435917"/>
                <a:gd name="connsiteY9" fmla="*/ 588667 h 1893535"/>
                <a:gd name="connsiteX10" fmla="*/ 5961776 w 6435917"/>
                <a:gd name="connsiteY10" fmla="*/ 1303484 h 1893535"/>
                <a:gd name="connsiteX0" fmla="*/ 5961776 w 6435917"/>
                <a:gd name="connsiteY0" fmla="*/ 1303484 h 1892323"/>
                <a:gd name="connsiteX1" fmla="*/ 6348655 w 6435917"/>
                <a:gd name="connsiteY1" fmla="*/ 1019494 h 1892323"/>
                <a:gd name="connsiteX2" fmla="*/ 4818055 w 6435917"/>
                <a:gd name="connsiteY2" fmla="*/ 83476 h 1892323"/>
                <a:gd name="connsiteX3" fmla="*/ 2987403 w 6435917"/>
                <a:gd name="connsiteY3" fmla="*/ 218277 h 1892323"/>
                <a:gd name="connsiteX4" fmla="*/ 1640964 w 6435917"/>
                <a:gd name="connsiteY4" fmla="*/ 1237490 h 1892323"/>
                <a:gd name="connsiteX5" fmla="*/ 358668 w 6435917"/>
                <a:gd name="connsiteY5" fmla="*/ 1016680 h 1892323"/>
                <a:gd name="connsiteX6" fmla="*/ 84009 w 6435917"/>
                <a:gd name="connsiteY6" fmla="*/ 1379841 h 1892323"/>
                <a:gd name="connsiteX7" fmla="*/ 1803650 w 6435917"/>
                <a:gd name="connsiteY7" fmla="*/ 1710450 h 1892323"/>
                <a:gd name="connsiteX8" fmla="*/ 3162554 w 6435917"/>
                <a:gd name="connsiteY8" fmla="*/ 729736 h 1892323"/>
                <a:gd name="connsiteX9" fmla="*/ 4693225 w 6435917"/>
                <a:gd name="connsiteY9" fmla="*/ 588667 h 1892323"/>
                <a:gd name="connsiteX10" fmla="*/ 5961776 w 6435917"/>
                <a:gd name="connsiteY10" fmla="*/ 1303484 h 1892323"/>
                <a:gd name="connsiteX0" fmla="*/ 5941465 w 6415606"/>
                <a:gd name="connsiteY0" fmla="*/ 1303484 h 1902580"/>
                <a:gd name="connsiteX1" fmla="*/ 6328344 w 6415606"/>
                <a:gd name="connsiteY1" fmla="*/ 1019494 h 1902580"/>
                <a:gd name="connsiteX2" fmla="*/ 4797744 w 6415606"/>
                <a:gd name="connsiteY2" fmla="*/ 83476 h 1902580"/>
                <a:gd name="connsiteX3" fmla="*/ 2967092 w 6415606"/>
                <a:gd name="connsiteY3" fmla="*/ 218277 h 1902580"/>
                <a:gd name="connsiteX4" fmla="*/ 1620653 w 6415606"/>
                <a:gd name="connsiteY4" fmla="*/ 1237490 h 1902580"/>
                <a:gd name="connsiteX5" fmla="*/ 338357 w 6415606"/>
                <a:gd name="connsiteY5" fmla="*/ 1016680 h 1902580"/>
                <a:gd name="connsiteX6" fmla="*/ 89019 w 6415606"/>
                <a:gd name="connsiteY6" fmla="*/ 1419231 h 1902580"/>
                <a:gd name="connsiteX7" fmla="*/ 1783339 w 6415606"/>
                <a:gd name="connsiteY7" fmla="*/ 1710450 h 1902580"/>
                <a:gd name="connsiteX8" fmla="*/ 3142243 w 6415606"/>
                <a:gd name="connsiteY8" fmla="*/ 729736 h 1902580"/>
                <a:gd name="connsiteX9" fmla="*/ 4672914 w 6415606"/>
                <a:gd name="connsiteY9" fmla="*/ 588667 h 1902580"/>
                <a:gd name="connsiteX10" fmla="*/ 5941465 w 6415606"/>
                <a:gd name="connsiteY10" fmla="*/ 1303484 h 1902580"/>
                <a:gd name="connsiteX0" fmla="*/ 5960039 w 6434180"/>
                <a:gd name="connsiteY0" fmla="*/ 1303484 h 1902580"/>
                <a:gd name="connsiteX1" fmla="*/ 6346918 w 6434180"/>
                <a:gd name="connsiteY1" fmla="*/ 1019494 h 1902580"/>
                <a:gd name="connsiteX2" fmla="*/ 4816318 w 6434180"/>
                <a:gd name="connsiteY2" fmla="*/ 83476 h 1902580"/>
                <a:gd name="connsiteX3" fmla="*/ 2985666 w 6434180"/>
                <a:gd name="connsiteY3" fmla="*/ 218277 h 1902580"/>
                <a:gd name="connsiteX4" fmla="*/ 1639227 w 6434180"/>
                <a:gd name="connsiteY4" fmla="*/ 1237490 h 1902580"/>
                <a:gd name="connsiteX5" fmla="*/ 356931 w 6434180"/>
                <a:gd name="connsiteY5" fmla="*/ 1016680 h 1902580"/>
                <a:gd name="connsiteX6" fmla="*/ 107593 w 6434180"/>
                <a:gd name="connsiteY6" fmla="*/ 1419231 h 1902580"/>
                <a:gd name="connsiteX7" fmla="*/ 1801913 w 6434180"/>
                <a:gd name="connsiteY7" fmla="*/ 1710450 h 1902580"/>
                <a:gd name="connsiteX8" fmla="*/ 3160817 w 6434180"/>
                <a:gd name="connsiteY8" fmla="*/ 729736 h 1902580"/>
                <a:gd name="connsiteX9" fmla="*/ 4691488 w 6434180"/>
                <a:gd name="connsiteY9" fmla="*/ 588667 h 1902580"/>
                <a:gd name="connsiteX10" fmla="*/ 5960039 w 6434180"/>
                <a:gd name="connsiteY10" fmla="*/ 1303484 h 1902580"/>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946772"/>
                <a:gd name="connsiteX1" fmla="*/ 6346918 w 6434180"/>
                <a:gd name="connsiteY1" fmla="*/ 1019494 h 1946772"/>
                <a:gd name="connsiteX2" fmla="*/ 4816318 w 6434180"/>
                <a:gd name="connsiteY2" fmla="*/ 83476 h 1946772"/>
                <a:gd name="connsiteX3" fmla="*/ 2985666 w 6434180"/>
                <a:gd name="connsiteY3" fmla="*/ 218277 h 1946772"/>
                <a:gd name="connsiteX4" fmla="*/ 1639227 w 6434180"/>
                <a:gd name="connsiteY4" fmla="*/ 1237490 h 1946772"/>
                <a:gd name="connsiteX5" fmla="*/ 356931 w 6434180"/>
                <a:gd name="connsiteY5" fmla="*/ 1016680 h 1946772"/>
                <a:gd name="connsiteX6" fmla="*/ 107593 w 6434180"/>
                <a:gd name="connsiteY6" fmla="*/ 1419231 h 1946772"/>
                <a:gd name="connsiteX7" fmla="*/ 1801913 w 6434180"/>
                <a:gd name="connsiteY7" fmla="*/ 1710450 h 1946772"/>
                <a:gd name="connsiteX8" fmla="*/ 3160817 w 6434180"/>
                <a:gd name="connsiteY8" fmla="*/ 729736 h 1946772"/>
                <a:gd name="connsiteX9" fmla="*/ 4691488 w 6434180"/>
                <a:gd name="connsiteY9" fmla="*/ 588667 h 1946772"/>
                <a:gd name="connsiteX10" fmla="*/ 5960039 w 6434180"/>
                <a:gd name="connsiteY10" fmla="*/ 1303484 h 1946772"/>
                <a:gd name="connsiteX0" fmla="*/ 5960039 w 6434180"/>
                <a:gd name="connsiteY0" fmla="*/ 1303484 h 1848056"/>
                <a:gd name="connsiteX1" fmla="*/ 6346918 w 6434180"/>
                <a:gd name="connsiteY1" fmla="*/ 1019494 h 1848056"/>
                <a:gd name="connsiteX2" fmla="*/ 4816318 w 6434180"/>
                <a:gd name="connsiteY2" fmla="*/ 83476 h 1848056"/>
                <a:gd name="connsiteX3" fmla="*/ 2985666 w 6434180"/>
                <a:gd name="connsiteY3" fmla="*/ 218277 h 1848056"/>
                <a:gd name="connsiteX4" fmla="*/ 1639227 w 6434180"/>
                <a:gd name="connsiteY4" fmla="*/ 1237490 h 1848056"/>
                <a:gd name="connsiteX5" fmla="*/ 356931 w 6434180"/>
                <a:gd name="connsiteY5" fmla="*/ 1016680 h 1848056"/>
                <a:gd name="connsiteX6" fmla="*/ 107593 w 6434180"/>
                <a:gd name="connsiteY6" fmla="*/ 1419231 h 1848056"/>
                <a:gd name="connsiteX7" fmla="*/ 1801913 w 6434180"/>
                <a:gd name="connsiteY7" fmla="*/ 1710450 h 1848056"/>
                <a:gd name="connsiteX8" fmla="*/ 3160817 w 6434180"/>
                <a:gd name="connsiteY8" fmla="*/ 729736 h 1848056"/>
                <a:gd name="connsiteX9" fmla="*/ 4691488 w 6434180"/>
                <a:gd name="connsiteY9" fmla="*/ 588667 h 1848056"/>
                <a:gd name="connsiteX10" fmla="*/ 5960039 w 6434180"/>
                <a:gd name="connsiteY10" fmla="*/ 1303484 h 1848056"/>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5521 h 1862570"/>
                <a:gd name="connsiteX1" fmla="*/ 6346918 w 6434180"/>
                <a:gd name="connsiteY1" fmla="*/ 991531 h 1862570"/>
                <a:gd name="connsiteX2" fmla="*/ 4816318 w 6434180"/>
                <a:gd name="connsiteY2" fmla="*/ 55513 h 1862570"/>
                <a:gd name="connsiteX3" fmla="*/ 2985666 w 6434180"/>
                <a:gd name="connsiteY3" fmla="*/ 190314 h 1862570"/>
                <a:gd name="connsiteX4" fmla="*/ 1639227 w 6434180"/>
                <a:gd name="connsiteY4" fmla="*/ 1209527 h 1862570"/>
                <a:gd name="connsiteX5" fmla="*/ 356931 w 6434180"/>
                <a:gd name="connsiteY5" fmla="*/ 988717 h 1862570"/>
                <a:gd name="connsiteX6" fmla="*/ 107593 w 6434180"/>
                <a:gd name="connsiteY6" fmla="*/ 1391268 h 1862570"/>
                <a:gd name="connsiteX7" fmla="*/ 1801913 w 6434180"/>
                <a:gd name="connsiteY7" fmla="*/ 1682487 h 1862570"/>
                <a:gd name="connsiteX8" fmla="*/ 3160817 w 6434180"/>
                <a:gd name="connsiteY8" fmla="*/ 701773 h 1862570"/>
                <a:gd name="connsiteX9" fmla="*/ 4691488 w 6434180"/>
                <a:gd name="connsiteY9" fmla="*/ 560704 h 1862570"/>
                <a:gd name="connsiteX10" fmla="*/ 5960039 w 6434180"/>
                <a:gd name="connsiteY10" fmla="*/ 1275521 h 1862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34180" h="1862570">
                  <a:moveTo>
                    <a:pt x="5960039" y="1275521"/>
                  </a:moveTo>
                  <a:cubicBezTo>
                    <a:pt x="6283134" y="1670414"/>
                    <a:pt x="6589346" y="1260633"/>
                    <a:pt x="6346918" y="991531"/>
                  </a:cubicBezTo>
                  <a:cubicBezTo>
                    <a:pt x="5949259" y="586678"/>
                    <a:pt x="5223959" y="131561"/>
                    <a:pt x="4816318" y="55513"/>
                  </a:cubicBezTo>
                  <a:cubicBezTo>
                    <a:pt x="4408677" y="-20535"/>
                    <a:pt x="3494501" y="-52826"/>
                    <a:pt x="2985666" y="190314"/>
                  </a:cubicBezTo>
                  <a:cubicBezTo>
                    <a:pt x="2476831" y="433454"/>
                    <a:pt x="1908164" y="1000838"/>
                    <a:pt x="1639227" y="1209527"/>
                  </a:cubicBezTo>
                  <a:cubicBezTo>
                    <a:pt x="1370290" y="1418216"/>
                    <a:pt x="729968" y="1345550"/>
                    <a:pt x="356931" y="988717"/>
                  </a:cubicBezTo>
                  <a:cubicBezTo>
                    <a:pt x="96566" y="758079"/>
                    <a:pt x="-146919" y="1182994"/>
                    <a:pt x="107593" y="1391268"/>
                  </a:cubicBezTo>
                  <a:cubicBezTo>
                    <a:pt x="576706" y="1808146"/>
                    <a:pt x="1317996" y="2048782"/>
                    <a:pt x="1801913" y="1682487"/>
                  </a:cubicBezTo>
                  <a:cubicBezTo>
                    <a:pt x="2285830" y="1316192"/>
                    <a:pt x="2704050" y="940116"/>
                    <a:pt x="3160817" y="701773"/>
                  </a:cubicBezTo>
                  <a:cubicBezTo>
                    <a:pt x="3617584" y="463430"/>
                    <a:pt x="4299587" y="485617"/>
                    <a:pt x="4691488" y="560704"/>
                  </a:cubicBezTo>
                  <a:cubicBezTo>
                    <a:pt x="5083389" y="635791"/>
                    <a:pt x="5573765" y="907826"/>
                    <a:pt x="5960039" y="1275521"/>
                  </a:cubicBezTo>
                  <a:close/>
                </a:path>
              </a:pathLst>
            </a:custGeom>
            <a:solidFill>
              <a:srgbClr val="59B4D9"/>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882"/>
            </a:p>
          </p:txBody>
        </p:sp>
      </p:grpSp>
      <p:sp>
        <p:nvSpPr>
          <p:cNvPr id="45" name="Rectangle 44"/>
          <p:cNvSpPr/>
          <p:nvPr/>
        </p:nvSpPr>
        <p:spPr>
          <a:xfrm>
            <a:off x="4201908" y="4887472"/>
            <a:ext cx="622625" cy="226294"/>
          </a:xfrm>
          <a:prstGeom prst="rect">
            <a:avLst/>
          </a:prstGeom>
        </p:spPr>
        <p:txBody>
          <a:bodyPr wrap="none">
            <a:spAutoFit/>
          </a:bodyPr>
          <a:lstStyle/>
          <a:p>
            <a:pPr defTabSz="895403" fontAlgn="base">
              <a:lnSpc>
                <a:spcPct val="90000"/>
              </a:lnSpc>
              <a:spcBef>
                <a:spcPct val="0"/>
              </a:spcBef>
            </a:pPr>
            <a:r>
              <a:rPr lang="en-US" sz="980" kern="0" err="1">
                <a:solidFill>
                  <a:srgbClr val="404040">
                    <a:lumMod val="50000"/>
                  </a:srgbClr>
                </a:solidFill>
                <a:ea typeface="Segoe UI Black" panose="020B0A02040204020203" pitchFamily="34" charset="0"/>
                <a:cs typeface="Segoe UI Black" panose="020B0A02040204020203" pitchFamily="34" charset="0"/>
              </a:rPr>
              <a:t>IoT</a:t>
            </a:r>
            <a:r>
              <a:rPr lang="en-US" sz="980" kern="0">
                <a:solidFill>
                  <a:srgbClr val="404040">
                    <a:lumMod val="50000"/>
                  </a:srgbClr>
                </a:solidFill>
                <a:ea typeface="Segoe UI Black" panose="020B0A02040204020203" pitchFamily="34" charset="0"/>
                <a:cs typeface="Segoe UI Black" panose="020B0A02040204020203" pitchFamily="34" charset="0"/>
              </a:rPr>
              <a:t> Hub</a:t>
            </a:r>
          </a:p>
        </p:txBody>
      </p:sp>
      <p:sp>
        <p:nvSpPr>
          <p:cNvPr id="46" name="IoT"/>
          <p:cNvSpPr>
            <a:spLocks noChangeAspect="1"/>
          </p:cNvSpPr>
          <p:nvPr/>
        </p:nvSpPr>
        <p:spPr>
          <a:xfrm rot="10800000">
            <a:off x="4263736" y="4491054"/>
            <a:ext cx="438319" cy="372394"/>
          </a:xfrm>
          <a:custGeom>
            <a:avLst/>
            <a:gdLst>
              <a:gd name="connsiteX0" fmla="*/ 2409306 w 2409306"/>
              <a:gd name="connsiteY0" fmla="*/ 661085 h 2046937"/>
              <a:gd name="connsiteX1" fmla="*/ 2100118 w 2409306"/>
              <a:gd name="connsiteY1" fmla="*/ 661085 h 2046937"/>
              <a:gd name="connsiteX2" fmla="*/ 2100118 w 2409306"/>
              <a:gd name="connsiteY2" fmla="*/ 337516 h 2046937"/>
              <a:gd name="connsiteX3" fmla="*/ 1750938 w 2409306"/>
              <a:gd name="connsiteY3" fmla="*/ 337516 h 2046937"/>
              <a:gd name="connsiteX4" fmla="*/ 1750938 w 2409306"/>
              <a:gd name="connsiteY4" fmla="*/ 0 h 2046937"/>
              <a:gd name="connsiteX5" fmla="*/ 2409306 w 2409306"/>
              <a:gd name="connsiteY5" fmla="*/ 0 h 2046937"/>
              <a:gd name="connsiteX6" fmla="*/ 1488047 w 2409306"/>
              <a:gd name="connsiteY6" fmla="*/ 1738307 h 2046937"/>
              <a:gd name="connsiteX7" fmla="*/ 1305692 w 2409306"/>
              <a:gd name="connsiteY7" fmla="*/ 1555952 h 2046937"/>
              <a:gd name="connsiteX8" fmla="*/ 1320022 w 2409306"/>
              <a:gd name="connsiteY8" fmla="*/ 1484971 h 2046937"/>
              <a:gd name="connsiteX9" fmla="*/ 1339103 w 2409306"/>
              <a:gd name="connsiteY9" fmla="*/ 1456670 h 2046937"/>
              <a:gd name="connsiteX10" fmla="*/ 1130226 w 2409306"/>
              <a:gd name="connsiteY10" fmla="*/ 1277304 h 2046937"/>
              <a:gd name="connsiteX11" fmla="*/ 1073109 w 2409306"/>
              <a:gd name="connsiteY11" fmla="*/ 1362019 h 2046937"/>
              <a:gd name="connsiteX12" fmla="*/ 882279 w 2409306"/>
              <a:gd name="connsiteY12" fmla="*/ 1441064 h 2046937"/>
              <a:gd name="connsiteX13" fmla="*/ 612404 w 2409306"/>
              <a:gd name="connsiteY13" fmla="*/ 1171189 h 2046937"/>
              <a:gd name="connsiteX14" fmla="*/ 691449 w 2409306"/>
              <a:gd name="connsiteY14" fmla="*/ 980358 h 2046937"/>
              <a:gd name="connsiteX15" fmla="*/ 721899 w 2409306"/>
              <a:gd name="connsiteY15" fmla="*/ 955235 h 2046937"/>
              <a:gd name="connsiteX16" fmla="*/ 636319 w 2409306"/>
              <a:gd name="connsiteY16" fmla="*/ 774559 h 2046937"/>
              <a:gd name="connsiteX17" fmla="*/ 599476 w 2409306"/>
              <a:gd name="connsiteY17" fmla="*/ 795685 h 2046937"/>
              <a:gd name="connsiteX18" fmla="*/ 538390 w 2409306"/>
              <a:gd name="connsiteY18" fmla="*/ 806875 h 2046937"/>
              <a:gd name="connsiteX19" fmla="*/ 501610 w 2409306"/>
              <a:gd name="connsiteY19" fmla="*/ 803464 h 2046937"/>
              <a:gd name="connsiteX20" fmla="*/ 357605 w 2409306"/>
              <a:gd name="connsiteY20" fmla="*/ 589527 h 2046937"/>
              <a:gd name="connsiteX21" fmla="*/ 571542 w 2409306"/>
              <a:gd name="connsiteY21" fmla="*/ 445521 h 2046937"/>
              <a:gd name="connsiteX22" fmla="*/ 715547 w 2409306"/>
              <a:gd name="connsiteY22" fmla="*/ 659458 h 2046937"/>
              <a:gd name="connsiteX23" fmla="*/ 692665 w 2409306"/>
              <a:gd name="connsiteY23" fmla="*/ 718873 h 2046937"/>
              <a:gd name="connsiteX24" fmla="*/ 671892 w 2409306"/>
              <a:gd name="connsiteY24" fmla="*/ 742856 h 2046937"/>
              <a:gd name="connsiteX25" fmla="*/ 761132 w 2409306"/>
              <a:gd name="connsiteY25" fmla="*/ 931261 h 2046937"/>
              <a:gd name="connsiteX26" fmla="*/ 777231 w 2409306"/>
              <a:gd name="connsiteY26" fmla="*/ 922522 h 2046937"/>
              <a:gd name="connsiteX27" fmla="*/ 882279 w 2409306"/>
              <a:gd name="connsiteY27" fmla="*/ 901314 h 2046937"/>
              <a:gd name="connsiteX28" fmla="*/ 1033169 w 2409306"/>
              <a:gd name="connsiteY28" fmla="*/ 947404 h 2046937"/>
              <a:gd name="connsiteX29" fmla="*/ 1063152 w 2409306"/>
              <a:gd name="connsiteY29" fmla="*/ 972142 h 2046937"/>
              <a:gd name="connsiteX30" fmla="*/ 1326447 w 2409306"/>
              <a:gd name="connsiteY30" fmla="*/ 732796 h 2046937"/>
              <a:gd name="connsiteX31" fmla="*/ 1310219 w 2409306"/>
              <a:gd name="connsiteY31" fmla="*/ 705635 h 2046937"/>
              <a:gd name="connsiteX32" fmla="*/ 1346607 w 2409306"/>
              <a:gd name="connsiteY32" fmla="*/ 561722 h 2046937"/>
              <a:gd name="connsiteX33" fmla="*/ 1536295 w 2409306"/>
              <a:gd name="connsiteY33" fmla="*/ 570760 h 2046937"/>
              <a:gd name="connsiteX34" fmla="*/ 1527257 w 2409306"/>
              <a:gd name="connsiteY34" fmla="*/ 760448 h 2046937"/>
              <a:gd name="connsiteX35" fmla="*/ 1430541 w 2409306"/>
              <a:gd name="connsiteY35" fmla="*/ 795215 h 2046937"/>
              <a:gd name="connsiteX36" fmla="*/ 1380536 w 2409306"/>
              <a:gd name="connsiteY36" fmla="*/ 782988 h 2046937"/>
              <a:gd name="connsiteX37" fmla="*/ 1357679 w 2409306"/>
              <a:gd name="connsiteY37" fmla="*/ 766190 h 2046937"/>
              <a:gd name="connsiteX38" fmla="*/ 1091719 w 2409306"/>
              <a:gd name="connsiteY38" fmla="*/ 1007960 h 2046937"/>
              <a:gd name="connsiteX39" fmla="*/ 1130946 w 2409306"/>
              <a:gd name="connsiteY39" fmla="*/ 1066141 h 2046937"/>
              <a:gd name="connsiteX40" fmla="*/ 1133553 w 2409306"/>
              <a:gd name="connsiteY40" fmla="*/ 1074539 h 2046937"/>
              <a:gd name="connsiteX41" fmla="*/ 1977742 w 2409306"/>
              <a:gd name="connsiteY41" fmla="*/ 1074539 h 2046937"/>
              <a:gd name="connsiteX42" fmla="*/ 1986328 w 2409306"/>
              <a:gd name="connsiteY42" fmla="*/ 1032010 h 2046937"/>
              <a:gd name="connsiteX43" fmla="*/ 2141113 w 2409306"/>
              <a:gd name="connsiteY43" fmla="*/ 929412 h 2046937"/>
              <a:gd name="connsiteX44" fmla="*/ 2309099 w 2409306"/>
              <a:gd name="connsiteY44" fmla="*/ 1097398 h 2046937"/>
              <a:gd name="connsiteX45" fmla="*/ 2141113 w 2409306"/>
              <a:gd name="connsiteY45" fmla="*/ 1265384 h 2046937"/>
              <a:gd name="connsiteX46" fmla="*/ 1986328 w 2409306"/>
              <a:gd name="connsiteY46" fmla="*/ 1162786 h 2046937"/>
              <a:gd name="connsiteX47" fmla="*/ 1977742 w 2409306"/>
              <a:gd name="connsiteY47" fmla="*/ 1120258 h 2046937"/>
              <a:gd name="connsiteX48" fmla="*/ 1147020 w 2409306"/>
              <a:gd name="connsiteY48" fmla="*/ 1120258 h 2046937"/>
              <a:gd name="connsiteX49" fmla="*/ 1152154 w 2409306"/>
              <a:gd name="connsiteY49" fmla="*/ 1171189 h 2046937"/>
              <a:gd name="connsiteX50" fmla="*/ 1146671 w 2409306"/>
              <a:gd name="connsiteY50" fmla="*/ 1225578 h 2046937"/>
              <a:gd name="connsiteX51" fmla="*/ 1145302 w 2409306"/>
              <a:gd name="connsiteY51" fmla="*/ 1229988 h 2046937"/>
              <a:gd name="connsiteX52" fmla="*/ 1367860 w 2409306"/>
              <a:gd name="connsiteY52" fmla="*/ 1421103 h 2046937"/>
              <a:gd name="connsiteX53" fmla="*/ 1417066 w 2409306"/>
              <a:gd name="connsiteY53" fmla="*/ 1387927 h 2046937"/>
              <a:gd name="connsiteX54" fmla="*/ 1488047 w 2409306"/>
              <a:gd name="connsiteY54" fmla="*/ 1373597 h 2046937"/>
              <a:gd name="connsiteX55" fmla="*/ 1670402 w 2409306"/>
              <a:gd name="connsiteY55" fmla="*/ 1555952 h 2046937"/>
              <a:gd name="connsiteX56" fmla="*/ 1488047 w 2409306"/>
              <a:gd name="connsiteY56" fmla="*/ 1738307 h 2046937"/>
              <a:gd name="connsiteX57" fmla="*/ 658368 w 2409306"/>
              <a:gd name="connsiteY57" fmla="*/ 2046937 h 2046937"/>
              <a:gd name="connsiteX58" fmla="*/ 0 w 2409306"/>
              <a:gd name="connsiteY58" fmla="*/ 2046937 h 2046937"/>
              <a:gd name="connsiteX59" fmla="*/ 0 w 2409306"/>
              <a:gd name="connsiteY59" fmla="*/ 1385852 h 2046937"/>
              <a:gd name="connsiteX60" fmla="*/ 309188 w 2409306"/>
              <a:gd name="connsiteY60" fmla="*/ 1385852 h 2046937"/>
              <a:gd name="connsiteX61" fmla="*/ 309188 w 2409306"/>
              <a:gd name="connsiteY61" fmla="*/ 1709421 h 2046937"/>
              <a:gd name="connsiteX62" fmla="*/ 658368 w 2409306"/>
              <a:gd name="connsiteY62" fmla="*/ 1709421 h 204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409306" h="2046937">
                <a:moveTo>
                  <a:pt x="2409306" y="661085"/>
                </a:moveTo>
                <a:lnTo>
                  <a:pt x="2100118" y="661085"/>
                </a:lnTo>
                <a:lnTo>
                  <a:pt x="2100118" y="337516"/>
                </a:lnTo>
                <a:lnTo>
                  <a:pt x="1750938" y="337516"/>
                </a:lnTo>
                <a:lnTo>
                  <a:pt x="1750938" y="0"/>
                </a:lnTo>
                <a:lnTo>
                  <a:pt x="2409306" y="0"/>
                </a:lnTo>
                <a:close/>
                <a:moveTo>
                  <a:pt x="1488047" y="1738307"/>
                </a:moveTo>
                <a:cubicBezTo>
                  <a:pt x="1387335" y="1738307"/>
                  <a:pt x="1305692" y="1656664"/>
                  <a:pt x="1305692" y="1555952"/>
                </a:cubicBezTo>
                <a:cubicBezTo>
                  <a:pt x="1305692" y="1530774"/>
                  <a:pt x="1310794" y="1506788"/>
                  <a:pt x="1320022" y="1484971"/>
                </a:cubicBezTo>
                <a:lnTo>
                  <a:pt x="1339103" y="1456670"/>
                </a:lnTo>
                <a:lnTo>
                  <a:pt x="1130226" y="1277304"/>
                </a:lnTo>
                <a:lnTo>
                  <a:pt x="1073109" y="1362019"/>
                </a:lnTo>
                <a:cubicBezTo>
                  <a:pt x="1024272" y="1410857"/>
                  <a:pt x="956803" y="1441064"/>
                  <a:pt x="882279" y="1441064"/>
                </a:cubicBezTo>
                <a:cubicBezTo>
                  <a:pt x="733231" y="1441064"/>
                  <a:pt x="612404" y="1320237"/>
                  <a:pt x="612404" y="1171189"/>
                </a:cubicBezTo>
                <a:cubicBezTo>
                  <a:pt x="612404" y="1096665"/>
                  <a:pt x="642611" y="1029196"/>
                  <a:pt x="691449" y="980358"/>
                </a:cubicBezTo>
                <a:lnTo>
                  <a:pt x="721899" y="955235"/>
                </a:lnTo>
                <a:lnTo>
                  <a:pt x="636319" y="774559"/>
                </a:lnTo>
                <a:lnTo>
                  <a:pt x="599476" y="795685"/>
                </a:lnTo>
                <a:cubicBezTo>
                  <a:pt x="580212" y="802784"/>
                  <a:pt x="559593" y="806686"/>
                  <a:pt x="538390" y="806875"/>
                </a:cubicBezTo>
                <a:cubicBezTo>
                  <a:pt x="526273" y="806983"/>
                  <a:pt x="513966" y="805878"/>
                  <a:pt x="501610" y="803464"/>
                </a:cubicBezTo>
                <a:cubicBezTo>
                  <a:pt x="402767" y="784153"/>
                  <a:pt x="338294" y="688370"/>
                  <a:pt x="357605" y="589527"/>
                </a:cubicBezTo>
                <a:cubicBezTo>
                  <a:pt x="376916" y="490684"/>
                  <a:pt x="472698" y="426210"/>
                  <a:pt x="571542" y="445521"/>
                </a:cubicBezTo>
                <a:cubicBezTo>
                  <a:pt x="670385" y="464832"/>
                  <a:pt x="734858" y="560615"/>
                  <a:pt x="715547" y="659458"/>
                </a:cubicBezTo>
                <a:cubicBezTo>
                  <a:pt x="711323" y="681080"/>
                  <a:pt x="703439" y="701058"/>
                  <a:pt x="692665" y="718873"/>
                </a:cubicBezTo>
                <a:lnTo>
                  <a:pt x="671892" y="742856"/>
                </a:lnTo>
                <a:lnTo>
                  <a:pt x="761132" y="931261"/>
                </a:lnTo>
                <a:lnTo>
                  <a:pt x="777231" y="922522"/>
                </a:lnTo>
                <a:cubicBezTo>
                  <a:pt x="809519" y="908866"/>
                  <a:pt x="845017" y="901314"/>
                  <a:pt x="882279" y="901314"/>
                </a:cubicBezTo>
                <a:cubicBezTo>
                  <a:pt x="938172" y="901314"/>
                  <a:pt x="990096" y="918305"/>
                  <a:pt x="1033169" y="947404"/>
                </a:cubicBezTo>
                <a:lnTo>
                  <a:pt x="1063152" y="972142"/>
                </a:lnTo>
                <a:lnTo>
                  <a:pt x="1326447" y="732796"/>
                </a:lnTo>
                <a:lnTo>
                  <a:pt x="1310219" y="705635"/>
                </a:lnTo>
                <a:cubicBezTo>
                  <a:pt x="1292884" y="656260"/>
                  <a:pt x="1305449" y="599136"/>
                  <a:pt x="1346607" y="561722"/>
                </a:cubicBezTo>
                <a:cubicBezTo>
                  <a:pt x="1401483" y="511836"/>
                  <a:pt x="1486410" y="515883"/>
                  <a:pt x="1536295" y="570760"/>
                </a:cubicBezTo>
                <a:cubicBezTo>
                  <a:pt x="1586180" y="625636"/>
                  <a:pt x="1582134" y="710562"/>
                  <a:pt x="1527257" y="760448"/>
                </a:cubicBezTo>
                <a:cubicBezTo>
                  <a:pt x="1499819" y="785390"/>
                  <a:pt x="1464868" y="796850"/>
                  <a:pt x="1430541" y="795215"/>
                </a:cubicBezTo>
                <a:cubicBezTo>
                  <a:pt x="1413378" y="794397"/>
                  <a:pt x="1396370" y="790305"/>
                  <a:pt x="1380536" y="782988"/>
                </a:cubicBezTo>
                <a:lnTo>
                  <a:pt x="1357679" y="766190"/>
                </a:lnTo>
                <a:lnTo>
                  <a:pt x="1091719" y="1007960"/>
                </a:lnTo>
                <a:lnTo>
                  <a:pt x="1130946" y="1066141"/>
                </a:lnTo>
                <a:lnTo>
                  <a:pt x="1133553" y="1074539"/>
                </a:lnTo>
                <a:lnTo>
                  <a:pt x="1977742" y="1074539"/>
                </a:lnTo>
                <a:lnTo>
                  <a:pt x="1986328" y="1032010"/>
                </a:lnTo>
                <a:cubicBezTo>
                  <a:pt x="2011830" y="971717"/>
                  <a:pt x="2071531" y="929412"/>
                  <a:pt x="2141113" y="929412"/>
                </a:cubicBezTo>
                <a:cubicBezTo>
                  <a:pt x="2233889" y="929412"/>
                  <a:pt x="2309099" y="1004622"/>
                  <a:pt x="2309099" y="1097398"/>
                </a:cubicBezTo>
                <a:cubicBezTo>
                  <a:pt x="2309099" y="1190174"/>
                  <a:pt x="2233889" y="1265384"/>
                  <a:pt x="2141113" y="1265384"/>
                </a:cubicBezTo>
                <a:cubicBezTo>
                  <a:pt x="2071531" y="1265384"/>
                  <a:pt x="2011830" y="1223078"/>
                  <a:pt x="1986328" y="1162786"/>
                </a:cubicBezTo>
                <a:lnTo>
                  <a:pt x="1977742" y="1120258"/>
                </a:lnTo>
                <a:lnTo>
                  <a:pt x="1147020" y="1120258"/>
                </a:lnTo>
                <a:lnTo>
                  <a:pt x="1152154" y="1171189"/>
                </a:lnTo>
                <a:cubicBezTo>
                  <a:pt x="1152154" y="1189820"/>
                  <a:pt x="1150266" y="1208010"/>
                  <a:pt x="1146671" y="1225578"/>
                </a:cubicBezTo>
                <a:lnTo>
                  <a:pt x="1145302" y="1229988"/>
                </a:lnTo>
                <a:lnTo>
                  <a:pt x="1367860" y="1421103"/>
                </a:lnTo>
                <a:lnTo>
                  <a:pt x="1417066" y="1387927"/>
                </a:lnTo>
                <a:cubicBezTo>
                  <a:pt x="1438882" y="1378700"/>
                  <a:pt x="1462869" y="1373597"/>
                  <a:pt x="1488047" y="1373597"/>
                </a:cubicBezTo>
                <a:cubicBezTo>
                  <a:pt x="1588759" y="1373597"/>
                  <a:pt x="1670402" y="1455240"/>
                  <a:pt x="1670402" y="1555952"/>
                </a:cubicBezTo>
                <a:cubicBezTo>
                  <a:pt x="1670402" y="1656664"/>
                  <a:pt x="1588759" y="1738307"/>
                  <a:pt x="1488047" y="1738307"/>
                </a:cubicBezTo>
                <a:close/>
                <a:moveTo>
                  <a:pt x="658368" y="2046937"/>
                </a:moveTo>
                <a:lnTo>
                  <a:pt x="0" y="2046937"/>
                </a:lnTo>
                <a:lnTo>
                  <a:pt x="0" y="1385852"/>
                </a:lnTo>
                <a:lnTo>
                  <a:pt x="309188" y="1385852"/>
                </a:lnTo>
                <a:lnTo>
                  <a:pt x="309188" y="1709421"/>
                </a:lnTo>
                <a:lnTo>
                  <a:pt x="658368" y="1709421"/>
                </a:lnTo>
                <a:close/>
              </a:path>
            </a:pathLst>
          </a:custGeom>
          <a:solidFill>
            <a:srgbClr val="59B4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grpSp>
        <p:nvGrpSpPr>
          <p:cNvPr id="48" name="Azure Stream Analytics"/>
          <p:cNvGrpSpPr>
            <a:grpSpLocks noChangeAspect="1"/>
          </p:cNvGrpSpPr>
          <p:nvPr/>
        </p:nvGrpSpPr>
        <p:grpSpPr>
          <a:xfrm>
            <a:off x="2116096" y="5254415"/>
            <a:ext cx="484101" cy="376240"/>
            <a:chOff x="-16372125" y="-986193"/>
            <a:chExt cx="11032763" cy="8574577"/>
          </a:xfrm>
        </p:grpSpPr>
        <p:sp>
          <p:nvSpPr>
            <p:cNvPr id="49" name="Freeform: Shape 48"/>
            <p:cNvSpPr/>
            <p:nvPr/>
          </p:nvSpPr>
          <p:spPr>
            <a:xfrm>
              <a:off x="-13161948" y="-986193"/>
              <a:ext cx="7822586" cy="8546326"/>
            </a:xfrm>
            <a:custGeom>
              <a:avLst/>
              <a:gdLst>
                <a:gd name="connsiteX0" fmla="*/ 362857 w 7866743"/>
                <a:gd name="connsiteY0" fmla="*/ 2394857 h 8577943"/>
                <a:gd name="connsiteX1" fmla="*/ 29029 w 7866743"/>
                <a:gd name="connsiteY1" fmla="*/ 1611085 h 8577943"/>
                <a:gd name="connsiteX2" fmla="*/ 740229 w 7866743"/>
                <a:gd name="connsiteY2" fmla="*/ 1016000 h 8577943"/>
                <a:gd name="connsiteX3" fmla="*/ 1857829 w 7866743"/>
                <a:gd name="connsiteY3" fmla="*/ 1494971 h 8577943"/>
                <a:gd name="connsiteX4" fmla="*/ 2554514 w 7866743"/>
                <a:gd name="connsiteY4" fmla="*/ 1262743 h 8577943"/>
                <a:gd name="connsiteX5" fmla="*/ 2960914 w 7866743"/>
                <a:gd name="connsiteY5" fmla="*/ 0 h 8577943"/>
                <a:gd name="connsiteX6" fmla="*/ 3962400 w 7866743"/>
                <a:gd name="connsiteY6" fmla="*/ 72571 h 8577943"/>
                <a:gd name="connsiteX7" fmla="*/ 4397829 w 7866743"/>
                <a:gd name="connsiteY7" fmla="*/ 1291771 h 8577943"/>
                <a:gd name="connsiteX8" fmla="*/ 5065486 w 7866743"/>
                <a:gd name="connsiteY8" fmla="*/ 1553028 h 8577943"/>
                <a:gd name="connsiteX9" fmla="*/ 6183086 w 7866743"/>
                <a:gd name="connsiteY9" fmla="*/ 957943 h 8577943"/>
                <a:gd name="connsiteX10" fmla="*/ 6850743 w 7866743"/>
                <a:gd name="connsiteY10" fmla="*/ 1654628 h 8577943"/>
                <a:gd name="connsiteX11" fmla="*/ 6328229 w 7866743"/>
                <a:gd name="connsiteY11" fmla="*/ 2743200 h 8577943"/>
                <a:gd name="connsiteX12" fmla="*/ 6633029 w 7866743"/>
                <a:gd name="connsiteY12" fmla="*/ 3556000 h 8577943"/>
                <a:gd name="connsiteX13" fmla="*/ 7823200 w 7866743"/>
                <a:gd name="connsiteY13" fmla="*/ 3817257 h 8577943"/>
                <a:gd name="connsiteX14" fmla="*/ 7866743 w 7866743"/>
                <a:gd name="connsiteY14" fmla="*/ 4760685 h 8577943"/>
                <a:gd name="connsiteX15" fmla="*/ 6604000 w 7866743"/>
                <a:gd name="connsiteY15" fmla="*/ 5094514 h 8577943"/>
                <a:gd name="connsiteX16" fmla="*/ 6328229 w 7866743"/>
                <a:gd name="connsiteY16" fmla="*/ 5791200 h 8577943"/>
                <a:gd name="connsiteX17" fmla="*/ 6952343 w 7866743"/>
                <a:gd name="connsiteY17" fmla="*/ 6952343 h 8577943"/>
                <a:gd name="connsiteX18" fmla="*/ 6284686 w 7866743"/>
                <a:gd name="connsiteY18" fmla="*/ 7678057 h 8577943"/>
                <a:gd name="connsiteX19" fmla="*/ 5167086 w 7866743"/>
                <a:gd name="connsiteY19" fmla="*/ 7155543 h 8577943"/>
                <a:gd name="connsiteX20" fmla="*/ 4397829 w 7866743"/>
                <a:gd name="connsiteY20" fmla="*/ 7402285 h 8577943"/>
                <a:gd name="connsiteX21" fmla="*/ 4064000 w 7866743"/>
                <a:gd name="connsiteY21" fmla="*/ 8563428 h 8577943"/>
                <a:gd name="connsiteX22" fmla="*/ 3077029 w 7866743"/>
                <a:gd name="connsiteY22" fmla="*/ 8577943 h 8577943"/>
                <a:gd name="connsiteX23" fmla="*/ 2627086 w 7866743"/>
                <a:gd name="connsiteY23" fmla="*/ 7402285 h 8577943"/>
                <a:gd name="connsiteX24" fmla="*/ 2061029 w 7866743"/>
                <a:gd name="connsiteY24" fmla="*/ 7170057 h 8577943"/>
                <a:gd name="connsiteX25" fmla="*/ 899886 w 7866743"/>
                <a:gd name="connsiteY25" fmla="*/ 7692571 h 8577943"/>
                <a:gd name="connsiteX26" fmla="*/ 203200 w 7866743"/>
                <a:gd name="connsiteY26" fmla="*/ 7053943 h 8577943"/>
                <a:gd name="connsiteX27" fmla="*/ 391886 w 7866743"/>
                <a:gd name="connsiteY27" fmla="*/ 6574971 h 8577943"/>
                <a:gd name="connsiteX28" fmla="*/ 1611086 w 7866743"/>
                <a:gd name="connsiteY28" fmla="*/ 3933371 h 8577943"/>
                <a:gd name="connsiteX29" fmla="*/ 391886 w 7866743"/>
                <a:gd name="connsiteY29" fmla="*/ 2249714 h 8577943"/>
                <a:gd name="connsiteX30" fmla="*/ 0 w 7866743"/>
                <a:gd name="connsiteY30" fmla="*/ 1538514 h 8577943"/>
                <a:gd name="connsiteX0" fmla="*/ 333828 w 7837714"/>
                <a:gd name="connsiteY0" fmla="*/ 2394857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62857 w 7837714"/>
                <a:gd name="connsiteY29" fmla="*/ 2249714 h 8577943"/>
                <a:gd name="connsiteX0" fmla="*/ 333828 w 7837714"/>
                <a:gd name="connsiteY0" fmla="*/ 2394857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37644 w 7837714"/>
                <a:gd name="connsiteY29" fmla="*/ 2387546 h 8577943"/>
                <a:gd name="connsiteX0" fmla="*/ 333828 w 7837714"/>
                <a:gd name="connsiteY0" fmla="*/ 2394857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37644 w 7837714"/>
                <a:gd name="connsiteY29" fmla="*/ 2387546 h 8577943"/>
                <a:gd name="connsiteX30" fmla="*/ 333828 w 7837714"/>
                <a:gd name="connsiteY30" fmla="*/ 2394857 h 8577943"/>
                <a:gd name="connsiteX0" fmla="*/ 337644 w 7837714"/>
                <a:gd name="connsiteY0" fmla="*/ 2387546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37644 w 7837714"/>
                <a:gd name="connsiteY29" fmla="*/ 2387546 h 8577943"/>
                <a:gd name="connsiteX0" fmla="*/ 374623 w 7837714"/>
                <a:gd name="connsiteY0" fmla="*/ 2367376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74623 w 7837714"/>
                <a:gd name="connsiteY29" fmla="*/ 2367376 h 8577943"/>
                <a:gd name="connsiteX0" fmla="*/ 393113 w 7856204"/>
                <a:gd name="connsiteY0" fmla="*/ 2367376 h 8577943"/>
                <a:gd name="connsiteX1" fmla="*/ 0 w 7856204"/>
                <a:gd name="connsiteY1" fmla="*/ 1656469 h 8577943"/>
                <a:gd name="connsiteX2" fmla="*/ 729690 w 7856204"/>
                <a:gd name="connsiteY2" fmla="*/ 1016000 h 8577943"/>
                <a:gd name="connsiteX3" fmla="*/ 1847290 w 7856204"/>
                <a:gd name="connsiteY3" fmla="*/ 1494971 h 8577943"/>
                <a:gd name="connsiteX4" fmla="*/ 2543975 w 7856204"/>
                <a:gd name="connsiteY4" fmla="*/ 1262743 h 8577943"/>
                <a:gd name="connsiteX5" fmla="*/ 2950375 w 7856204"/>
                <a:gd name="connsiteY5" fmla="*/ 0 h 8577943"/>
                <a:gd name="connsiteX6" fmla="*/ 3951861 w 7856204"/>
                <a:gd name="connsiteY6" fmla="*/ 72571 h 8577943"/>
                <a:gd name="connsiteX7" fmla="*/ 4387290 w 7856204"/>
                <a:gd name="connsiteY7" fmla="*/ 1291771 h 8577943"/>
                <a:gd name="connsiteX8" fmla="*/ 5054947 w 7856204"/>
                <a:gd name="connsiteY8" fmla="*/ 1553028 h 8577943"/>
                <a:gd name="connsiteX9" fmla="*/ 6172547 w 7856204"/>
                <a:gd name="connsiteY9" fmla="*/ 957943 h 8577943"/>
                <a:gd name="connsiteX10" fmla="*/ 6840204 w 7856204"/>
                <a:gd name="connsiteY10" fmla="*/ 1654628 h 8577943"/>
                <a:gd name="connsiteX11" fmla="*/ 6317690 w 7856204"/>
                <a:gd name="connsiteY11" fmla="*/ 2743200 h 8577943"/>
                <a:gd name="connsiteX12" fmla="*/ 6622490 w 7856204"/>
                <a:gd name="connsiteY12" fmla="*/ 3556000 h 8577943"/>
                <a:gd name="connsiteX13" fmla="*/ 7812661 w 7856204"/>
                <a:gd name="connsiteY13" fmla="*/ 3817257 h 8577943"/>
                <a:gd name="connsiteX14" fmla="*/ 7856204 w 7856204"/>
                <a:gd name="connsiteY14" fmla="*/ 4760685 h 8577943"/>
                <a:gd name="connsiteX15" fmla="*/ 6593461 w 7856204"/>
                <a:gd name="connsiteY15" fmla="*/ 5094514 h 8577943"/>
                <a:gd name="connsiteX16" fmla="*/ 6317690 w 7856204"/>
                <a:gd name="connsiteY16" fmla="*/ 5791200 h 8577943"/>
                <a:gd name="connsiteX17" fmla="*/ 6941804 w 7856204"/>
                <a:gd name="connsiteY17" fmla="*/ 6952343 h 8577943"/>
                <a:gd name="connsiteX18" fmla="*/ 6274147 w 7856204"/>
                <a:gd name="connsiteY18" fmla="*/ 7678057 h 8577943"/>
                <a:gd name="connsiteX19" fmla="*/ 5156547 w 7856204"/>
                <a:gd name="connsiteY19" fmla="*/ 7155543 h 8577943"/>
                <a:gd name="connsiteX20" fmla="*/ 4387290 w 7856204"/>
                <a:gd name="connsiteY20" fmla="*/ 7402285 h 8577943"/>
                <a:gd name="connsiteX21" fmla="*/ 4053461 w 7856204"/>
                <a:gd name="connsiteY21" fmla="*/ 8563428 h 8577943"/>
                <a:gd name="connsiteX22" fmla="*/ 3066490 w 7856204"/>
                <a:gd name="connsiteY22" fmla="*/ 8577943 h 8577943"/>
                <a:gd name="connsiteX23" fmla="*/ 2616547 w 7856204"/>
                <a:gd name="connsiteY23" fmla="*/ 7402285 h 8577943"/>
                <a:gd name="connsiteX24" fmla="*/ 2050490 w 7856204"/>
                <a:gd name="connsiteY24" fmla="*/ 7170057 h 8577943"/>
                <a:gd name="connsiteX25" fmla="*/ 889347 w 7856204"/>
                <a:gd name="connsiteY25" fmla="*/ 7692571 h 8577943"/>
                <a:gd name="connsiteX26" fmla="*/ 192661 w 7856204"/>
                <a:gd name="connsiteY26" fmla="*/ 7053943 h 8577943"/>
                <a:gd name="connsiteX27" fmla="*/ 381347 w 7856204"/>
                <a:gd name="connsiteY27" fmla="*/ 6574971 h 8577943"/>
                <a:gd name="connsiteX28" fmla="*/ 1600547 w 7856204"/>
                <a:gd name="connsiteY28" fmla="*/ 3933371 h 8577943"/>
                <a:gd name="connsiteX29" fmla="*/ 393113 w 7856204"/>
                <a:gd name="connsiteY29" fmla="*/ 2367376 h 8577943"/>
                <a:gd name="connsiteX0" fmla="*/ 393113 w 7856204"/>
                <a:gd name="connsiteY0" fmla="*/ 2367376 h 8577943"/>
                <a:gd name="connsiteX1" fmla="*/ 0 w 7856204"/>
                <a:gd name="connsiteY1" fmla="*/ 1656469 h 8577943"/>
                <a:gd name="connsiteX2" fmla="*/ 709519 w 7856204"/>
                <a:gd name="connsiteY2" fmla="*/ 977340 h 8577943"/>
                <a:gd name="connsiteX3" fmla="*/ 1847290 w 7856204"/>
                <a:gd name="connsiteY3" fmla="*/ 1494971 h 8577943"/>
                <a:gd name="connsiteX4" fmla="*/ 2543975 w 7856204"/>
                <a:gd name="connsiteY4" fmla="*/ 1262743 h 8577943"/>
                <a:gd name="connsiteX5" fmla="*/ 2950375 w 7856204"/>
                <a:gd name="connsiteY5" fmla="*/ 0 h 8577943"/>
                <a:gd name="connsiteX6" fmla="*/ 3951861 w 7856204"/>
                <a:gd name="connsiteY6" fmla="*/ 72571 h 8577943"/>
                <a:gd name="connsiteX7" fmla="*/ 4387290 w 7856204"/>
                <a:gd name="connsiteY7" fmla="*/ 1291771 h 8577943"/>
                <a:gd name="connsiteX8" fmla="*/ 5054947 w 7856204"/>
                <a:gd name="connsiteY8" fmla="*/ 1553028 h 8577943"/>
                <a:gd name="connsiteX9" fmla="*/ 6172547 w 7856204"/>
                <a:gd name="connsiteY9" fmla="*/ 957943 h 8577943"/>
                <a:gd name="connsiteX10" fmla="*/ 6840204 w 7856204"/>
                <a:gd name="connsiteY10" fmla="*/ 1654628 h 8577943"/>
                <a:gd name="connsiteX11" fmla="*/ 6317690 w 7856204"/>
                <a:gd name="connsiteY11" fmla="*/ 2743200 h 8577943"/>
                <a:gd name="connsiteX12" fmla="*/ 6622490 w 7856204"/>
                <a:gd name="connsiteY12" fmla="*/ 3556000 h 8577943"/>
                <a:gd name="connsiteX13" fmla="*/ 7812661 w 7856204"/>
                <a:gd name="connsiteY13" fmla="*/ 3817257 h 8577943"/>
                <a:gd name="connsiteX14" fmla="*/ 7856204 w 7856204"/>
                <a:gd name="connsiteY14" fmla="*/ 4760685 h 8577943"/>
                <a:gd name="connsiteX15" fmla="*/ 6593461 w 7856204"/>
                <a:gd name="connsiteY15" fmla="*/ 5094514 h 8577943"/>
                <a:gd name="connsiteX16" fmla="*/ 6317690 w 7856204"/>
                <a:gd name="connsiteY16" fmla="*/ 5791200 h 8577943"/>
                <a:gd name="connsiteX17" fmla="*/ 6941804 w 7856204"/>
                <a:gd name="connsiteY17" fmla="*/ 6952343 h 8577943"/>
                <a:gd name="connsiteX18" fmla="*/ 6274147 w 7856204"/>
                <a:gd name="connsiteY18" fmla="*/ 7678057 h 8577943"/>
                <a:gd name="connsiteX19" fmla="*/ 5156547 w 7856204"/>
                <a:gd name="connsiteY19" fmla="*/ 7155543 h 8577943"/>
                <a:gd name="connsiteX20" fmla="*/ 4387290 w 7856204"/>
                <a:gd name="connsiteY20" fmla="*/ 7402285 h 8577943"/>
                <a:gd name="connsiteX21" fmla="*/ 4053461 w 7856204"/>
                <a:gd name="connsiteY21" fmla="*/ 8563428 h 8577943"/>
                <a:gd name="connsiteX22" fmla="*/ 3066490 w 7856204"/>
                <a:gd name="connsiteY22" fmla="*/ 8577943 h 8577943"/>
                <a:gd name="connsiteX23" fmla="*/ 2616547 w 7856204"/>
                <a:gd name="connsiteY23" fmla="*/ 7402285 h 8577943"/>
                <a:gd name="connsiteX24" fmla="*/ 2050490 w 7856204"/>
                <a:gd name="connsiteY24" fmla="*/ 7170057 h 8577943"/>
                <a:gd name="connsiteX25" fmla="*/ 889347 w 7856204"/>
                <a:gd name="connsiteY25" fmla="*/ 7692571 h 8577943"/>
                <a:gd name="connsiteX26" fmla="*/ 192661 w 7856204"/>
                <a:gd name="connsiteY26" fmla="*/ 7053943 h 8577943"/>
                <a:gd name="connsiteX27" fmla="*/ 381347 w 7856204"/>
                <a:gd name="connsiteY27" fmla="*/ 6574971 h 8577943"/>
                <a:gd name="connsiteX28" fmla="*/ 1600547 w 7856204"/>
                <a:gd name="connsiteY28" fmla="*/ 3933371 h 8577943"/>
                <a:gd name="connsiteX29" fmla="*/ 393113 w 7856204"/>
                <a:gd name="connsiteY29" fmla="*/ 2367376 h 8577943"/>
                <a:gd name="connsiteX0" fmla="*/ 393113 w 7856204"/>
                <a:gd name="connsiteY0" fmla="*/ 2367376 h 8577943"/>
                <a:gd name="connsiteX1" fmla="*/ 0 w 7856204"/>
                <a:gd name="connsiteY1" fmla="*/ 1656469 h 8577943"/>
                <a:gd name="connsiteX2" fmla="*/ 709519 w 7856204"/>
                <a:gd name="connsiteY2" fmla="*/ 977340 h 8577943"/>
                <a:gd name="connsiteX3" fmla="*/ 1872504 w 7856204"/>
                <a:gd name="connsiteY3" fmla="*/ 1511780 h 8577943"/>
                <a:gd name="connsiteX4" fmla="*/ 2543975 w 7856204"/>
                <a:gd name="connsiteY4" fmla="*/ 1262743 h 8577943"/>
                <a:gd name="connsiteX5" fmla="*/ 2950375 w 7856204"/>
                <a:gd name="connsiteY5" fmla="*/ 0 h 8577943"/>
                <a:gd name="connsiteX6" fmla="*/ 3951861 w 7856204"/>
                <a:gd name="connsiteY6" fmla="*/ 72571 h 8577943"/>
                <a:gd name="connsiteX7" fmla="*/ 4387290 w 7856204"/>
                <a:gd name="connsiteY7" fmla="*/ 1291771 h 8577943"/>
                <a:gd name="connsiteX8" fmla="*/ 5054947 w 7856204"/>
                <a:gd name="connsiteY8" fmla="*/ 1553028 h 8577943"/>
                <a:gd name="connsiteX9" fmla="*/ 6172547 w 7856204"/>
                <a:gd name="connsiteY9" fmla="*/ 957943 h 8577943"/>
                <a:gd name="connsiteX10" fmla="*/ 6840204 w 7856204"/>
                <a:gd name="connsiteY10" fmla="*/ 1654628 h 8577943"/>
                <a:gd name="connsiteX11" fmla="*/ 6317690 w 7856204"/>
                <a:gd name="connsiteY11" fmla="*/ 2743200 h 8577943"/>
                <a:gd name="connsiteX12" fmla="*/ 6622490 w 7856204"/>
                <a:gd name="connsiteY12" fmla="*/ 3556000 h 8577943"/>
                <a:gd name="connsiteX13" fmla="*/ 7812661 w 7856204"/>
                <a:gd name="connsiteY13" fmla="*/ 3817257 h 8577943"/>
                <a:gd name="connsiteX14" fmla="*/ 7856204 w 7856204"/>
                <a:gd name="connsiteY14" fmla="*/ 4760685 h 8577943"/>
                <a:gd name="connsiteX15" fmla="*/ 6593461 w 7856204"/>
                <a:gd name="connsiteY15" fmla="*/ 5094514 h 8577943"/>
                <a:gd name="connsiteX16" fmla="*/ 6317690 w 7856204"/>
                <a:gd name="connsiteY16" fmla="*/ 5791200 h 8577943"/>
                <a:gd name="connsiteX17" fmla="*/ 6941804 w 7856204"/>
                <a:gd name="connsiteY17" fmla="*/ 6952343 h 8577943"/>
                <a:gd name="connsiteX18" fmla="*/ 6274147 w 7856204"/>
                <a:gd name="connsiteY18" fmla="*/ 7678057 h 8577943"/>
                <a:gd name="connsiteX19" fmla="*/ 5156547 w 7856204"/>
                <a:gd name="connsiteY19" fmla="*/ 7155543 h 8577943"/>
                <a:gd name="connsiteX20" fmla="*/ 4387290 w 7856204"/>
                <a:gd name="connsiteY20" fmla="*/ 7402285 h 8577943"/>
                <a:gd name="connsiteX21" fmla="*/ 4053461 w 7856204"/>
                <a:gd name="connsiteY21" fmla="*/ 8563428 h 8577943"/>
                <a:gd name="connsiteX22" fmla="*/ 3066490 w 7856204"/>
                <a:gd name="connsiteY22" fmla="*/ 8577943 h 8577943"/>
                <a:gd name="connsiteX23" fmla="*/ 2616547 w 7856204"/>
                <a:gd name="connsiteY23" fmla="*/ 7402285 h 8577943"/>
                <a:gd name="connsiteX24" fmla="*/ 2050490 w 7856204"/>
                <a:gd name="connsiteY24" fmla="*/ 7170057 h 8577943"/>
                <a:gd name="connsiteX25" fmla="*/ 889347 w 7856204"/>
                <a:gd name="connsiteY25" fmla="*/ 7692571 h 8577943"/>
                <a:gd name="connsiteX26" fmla="*/ 192661 w 7856204"/>
                <a:gd name="connsiteY26" fmla="*/ 7053943 h 8577943"/>
                <a:gd name="connsiteX27" fmla="*/ 381347 w 7856204"/>
                <a:gd name="connsiteY27" fmla="*/ 6574971 h 8577943"/>
                <a:gd name="connsiteX28" fmla="*/ 1600547 w 7856204"/>
                <a:gd name="connsiteY28" fmla="*/ 3933371 h 8577943"/>
                <a:gd name="connsiteX29" fmla="*/ 393113 w 7856204"/>
                <a:gd name="connsiteY29" fmla="*/ 2367376 h 8577943"/>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87290 w 7856204"/>
                <a:gd name="connsiteY7" fmla="*/ 1219200 h 8505372"/>
                <a:gd name="connsiteX8" fmla="*/ 5054947 w 7856204"/>
                <a:gd name="connsiteY8" fmla="*/ 1480457 h 8505372"/>
                <a:gd name="connsiteX9" fmla="*/ 6172547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54947 w 7856204"/>
                <a:gd name="connsiteY8" fmla="*/ 1480457 h 8505372"/>
                <a:gd name="connsiteX9" fmla="*/ 6172547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112097 w 7856204"/>
                <a:gd name="connsiteY8" fmla="*/ 1468690 h 8505372"/>
                <a:gd name="connsiteX9" fmla="*/ 6172547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78480 w 7856204"/>
                <a:gd name="connsiteY8" fmla="*/ 1480456 h 8505372"/>
                <a:gd name="connsiteX9" fmla="*/ 6172547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78480 w 7856204"/>
                <a:gd name="connsiteY8" fmla="*/ 1480456 h 8505372"/>
                <a:gd name="connsiteX9" fmla="*/ 6212888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78480 w 7856204"/>
                <a:gd name="connsiteY8" fmla="*/ 1480456 h 8505372"/>
                <a:gd name="connsiteX9" fmla="*/ 6212888 w 7856204"/>
                <a:gd name="connsiteY9" fmla="*/ 885372 h 8505372"/>
                <a:gd name="connsiteX10" fmla="*/ 6877184 w 7856204"/>
                <a:gd name="connsiteY10" fmla="*/ 156188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78480 w 7856204"/>
                <a:gd name="connsiteY8" fmla="*/ 1480456 h 8505372"/>
                <a:gd name="connsiteX9" fmla="*/ 6212888 w 7856204"/>
                <a:gd name="connsiteY9" fmla="*/ 885372 h 8505372"/>
                <a:gd name="connsiteX10" fmla="*/ 6877184 w 7856204"/>
                <a:gd name="connsiteY10" fmla="*/ 1561887 h 8505372"/>
                <a:gd name="connsiteX11" fmla="*/ 6317690 w 7856204"/>
                <a:gd name="connsiteY11" fmla="*/ 2670629 h 8505372"/>
                <a:gd name="connsiteX12" fmla="*/ 6595596 w 7856204"/>
                <a:gd name="connsiteY12" fmla="*/ 3396023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93461 w 7822586"/>
                <a:gd name="connsiteY15" fmla="*/ 5021943 h 8505372"/>
                <a:gd name="connsiteX16" fmla="*/ 6317690 w 7822586"/>
                <a:gd name="connsiteY16" fmla="*/ 5718629 h 8505372"/>
                <a:gd name="connsiteX17" fmla="*/ 6941804 w 7822586"/>
                <a:gd name="connsiteY17" fmla="*/ 6879772 h 8505372"/>
                <a:gd name="connsiteX18" fmla="*/ 6274147 w 7822586"/>
                <a:gd name="connsiteY18" fmla="*/ 7605486 h 8505372"/>
                <a:gd name="connsiteX19" fmla="*/ 5156547 w 7822586"/>
                <a:gd name="connsiteY19" fmla="*/ 7082972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317690 w 7822586"/>
                <a:gd name="connsiteY16" fmla="*/ 5718629 h 8505372"/>
                <a:gd name="connsiteX17" fmla="*/ 6941804 w 7822586"/>
                <a:gd name="connsiteY17" fmla="*/ 6879772 h 8505372"/>
                <a:gd name="connsiteX18" fmla="*/ 6274147 w 7822586"/>
                <a:gd name="connsiteY18" fmla="*/ 7605486 h 8505372"/>
                <a:gd name="connsiteX19" fmla="*/ 5156547 w 7822586"/>
                <a:gd name="connsiteY19" fmla="*/ 7082972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297519 w 7822586"/>
                <a:gd name="connsiteY16" fmla="*/ 5750565 h 8505372"/>
                <a:gd name="connsiteX17" fmla="*/ 6941804 w 7822586"/>
                <a:gd name="connsiteY17" fmla="*/ 6879772 h 8505372"/>
                <a:gd name="connsiteX18" fmla="*/ 6274147 w 7822586"/>
                <a:gd name="connsiteY18" fmla="*/ 7605486 h 8505372"/>
                <a:gd name="connsiteX19" fmla="*/ 5156547 w 7822586"/>
                <a:gd name="connsiteY19" fmla="*/ 7082972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297519 w 7822586"/>
                <a:gd name="connsiteY16" fmla="*/ 5750565 h 8505372"/>
                <a:gd name="connsiteX17" fmla="*/ 6923314 w 7822586"/>
                <a:gd name="connsiteY17" fmla="*/ 6896580 h 8505372"/>
                <a:gd name="connsiteX18" fmla="*/ 6274147 w 7822586"/>
                <a:gd name="connsiteY18" fmla="*/ 7605486 h 8505372"/>
                <a:gd name="connsiteX19" fmla="*/ 5156547 w 7822586"/>
                <a:gd name="connsiteY19" fmla="*/ 7082972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297519 w 7822586"/>
                <a:gd name="connsiteY16" fmla="*/ 5750565 h 8505372"/>
                <a:gd name="connsiteX17" fmla="*/ 6923314 w 7822586"/>
                <a:gd name="connsiteY17" fmla="*/ 6896580 h 8505372"/>
                <a:gd name="connsiteX18" fmla="*/ 6274147 w 7822586"/>
                <a:gd name="connsiteY18" fmla="*/ 7605486 h 8505372"/>
                <a:gd name="connsiteX19" fmla="*/ 5117887 w 7822586"/>
                <a:gd name="connsiteY19" fmla="*/ 7077930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297519 w 7822586"/>
                <a:gd name="connsiteY16" fmla="*/ 5750565 h 8505372"/>
                <a:gd name="connsiteX17" fmla="*/ 6923314 w 7822586"/>
                <a:gd name="connsiteY17" fmla="*/ 6896580 h 8505372"/>
                <a:gd name="connsiteX18" fmla="*/ 6274147 w 7822586"/>
                <a:gd name="connsiteY18" fmla="*/ 7605486 h 8505372"/>
                <a:gd name="connsiteX19" fmla="*/ 5117887 w 7822586"/>
                <a:gd name="connsiteY19" fmla="*/ 7077930 h 8505372"/>
                <a:gd name="connsiteX20" fmla="*/ 4402418 w 7822586"/>
                <a:gd name="connsiteY20" fmla="*/ 7351565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66490 w 7822586"/>
                <a:gd name="connsiteY22" fmla="*/ 8505372 h 8546326"/>
                <a:gd name="connsiteX23" fmla="*/ 2616547 w 7822586"/>
                <a:gd name="connsiteY23" fmla="*/ 7329714 h 8546326"/>
                <a:gd name="connsiteX24" fmla="*/ 2050490 w 7822586"/>
                <a:gd name="connsiteY24" fmla="*/ 7097486 h 8546326"/>
                <a:gd name="connsiteX25" fmla="*/ 889347 w 7822586"/>
                <a:gd name="connsiteY25" fmla="*/ 7620000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16547 w 7822586"/>
                <a:gd name="connsiteY23" fmla="*/ 7329714 h 8546326"/>
                <a:gd name="connsiteX24" fmla="*/ 2050490 w 7822586"/>
                <a:gd name="connsiteY24" fmla="*/ 7097486 h 8546326"/>
                <a:gd name="connsiteX25" fmla="*/ 889347 w 7822586"/>
                <a:gd name="connsiteY25" fmla="*/ 7620000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2050490 w 7822586"/>
                <a:gd name="connsiteY24" fmla="*/ 7097486 h 8546326"/>
                <a:gd name="connsiteX25" fmla="*/ 889347 w 7822586"/>
                <a:gd name="connsiteY25" fmla="*/ 7620000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89347 w 7822586"/>
                <a:gd name="connsiteY25" fmla="*/ 7620000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79664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185431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185431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185431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1753180 w 7822586"/>
                <a:gd name="connsiteY29" fmla="*/ 4973717 h 8546326"/>
                <a:gd name="connsiteX30" fmla="*/ 1600547 w 7822586"/>
                <a:gd name="connsiteY30" fmla="*/ 3860800 h 8546326"/>
                <a:gd name="connsiteX31" fmla="*/ 393113 w 7822586"/>
                <a:gd name="connsiteY31"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1600547 w 7822586"/>
                <a:gd name="connsiteY30" fmla="*/ 3860800 h 8546326"/>
                <a:gd name="connsiteX31" fmla="*/ 393113 w 7822586"/>
                <a:gd name="connsiteY31"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1896450 w 7822586"/>
                <a:gd name="connsiteY30" fmla="*/ 4733529 h 8546326"/>
                <a:gd name="connsiteX31" fmla="*/ 1600547 w 7822586"/>
                <a:gd name="connsiteY31" fmla="*/ 3860800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1600547 w 7822586"/>
                <a:gd name="connsiteY31" fmla="*/ 3860800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372611 w 7822586"/>
                <a:gd name="connsiteY29" fmla="*/ 5525728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372611 w 7822586"/>
                <a:gd name="connsiteY29" fmla="*/ 5525728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372611 w 7822586"/>
                <a:gd name="connsiteY29" fmla="*/ 5525728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469529 w 7822586"/>
                <a:gd name="connsiteY29" fmla="*/ 5626860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469529 w 7822586"/>
                <a:gd name="connsiteY29" fmla="*/ 5626860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469529 w 7822586"/>
                <a:gd name="connsiteY29" fmla="*/ 5626860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469529 w 7822586"/>
                <a:gd name="connsiteY29" fmla="*/ 5626860 h 8546326"/>
                <a:gd name="connsiteX30" fmla="*/ 5212730 w 7822586"/>
                <a:gd name="connsiteY30" fmla="*/ 4156235 h 8546326"/>
                <a:gd name="connsiteX31" fmla="*/ 2911047 w 7822586"/>
                <a:gd name="connsiteY31" fmla="*/ 1960365 h 8546326"/>
                <a:gd name="connsiteX32" fmla="*/ 393113 w 7822586"/>
                <a:gd name="connsiteY32" fmla="*/ 2294805 h 854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822586" h="8546326">
                  <a:moveTo>
                    <a:pt x="393113" y="2294805"/>
                  </a:moveTo>
                  <a:lnTo>
                    <a:pt x="0" y="1583898"/>
                  </a:lnTo>
                  <a:lnTo>
                    <a:pt x="709519" y="904769"/>
                  </a:lnTo>
                  <a:lnTo>
                    <a:pt x="1872504" y="1439209"/>
                  </a:lnTo>
                  <a:lnTo>
                    <a:pt x="2543975" y="1190172"/>
                  </a:lnTo>
                  <a:lnTo>
                    <a:pt x="2926843" y="4750"/>
                  </a:lnTo>
                  <a:lnTo>
                    <a:pt x="3951861" y="0"/>
                  </a:lnTo>
                  <a:lnTo>
                    <a:pt x="4368801" y="1153645"/>
                  </a:lnTo>
                  <a:lnTo>
                    <a:pt x="5078480" y="1480456"/>
                  </a:lnTo>
                  <a:lnTo>
                    <a:pt x="6212888" y="885372"/>
                  </a:lnTo>
                  <a:lnTo>
                    <a:pt x="6877184" y="1561887"/>
                  </a:lnTo>
                  <a:lnTo>
                    <a:pt x="6317690" y="2670629"/>
                  </a:lnTo>
                  <a:lnTo>
                    <a:pt x="6595596" y="3396023"/>
                  </a:lnTo>
                  <a:lnTo>
                    <a:pt x="7812661" y="3744686"/>
                  </a:lnTo>
                  <a:lnTo>
                    <a:pt x="7822586" y="4684752"/>
                  </a:lnTo>
                  <a:lnTo>
                    <a:pt x="6588418" y="5079093"/>
                  </a:lnTo>
                  <a:lnTo>
                    <a:pt x="6297519" y="5750565"/>
                  </a:lnTo>
                  <a:lnTo>
                    <a:pt x="6923314" y="6896580"/>
                  </a:lnTo>
                  <a:lnTo>
                    <a:pt x="6274147" y="7605486"/>
                  </a:lnTo>
                  <a:lnTo>
                    <a:pt x="5117887" y="7077930"/>
                  </a:lnTo>
                  <a:lnTo>
                    <a:pt x="4402418" y="7351565"/>
                  </a:lnTo>
                  <a:lnTo>
                    <a:pt x="4013120" y="8546326"/>
                  </a:lnTo>
                  <a:lnTo>
                    <a:pt x="3058085" y="8527223"/>
                  </a:lnTo>
                  <a:lnTo>
                    <a:pt x="2698910" y="7354927"/>
                  </a:lnTo>
                  <a:lnTo>
                    <a:pt x="1968127" y="7050422"/>
                  </a:lnTo>
                  <a:lnTo>
                    <a:pt x="860772" y="7651937"/>
                  </a:lnTo>
                  <a:lnTo>
                    <a:pt x="167448" y="6964563"/>
                  </a:lnTo>
                  <a:lnTo>
                    <a:pt x="351850" y="6540324"/>
                  </a:lnTo>
                  <a:cubicBezTo>
                    <a:pt x="986108" y="6351013"/>
                    <a:pt x="1392821" y="6014221"/>
                    <a:pt x="1854312" y="5605791"/>
                  </a:cubicBezTo>
                  <a:cubicBezTo>
                    <a:pt x="1947015" y="5486399"/>
                    <a:pt x="2102927" y="5367008"/>
                    <a:pt x="2469529" y="5626860"/>
                  </a:cubicBezTo>
                  <a:cubicBezTo>
                    <a:pt x="3033479" y="6114258"/>
                    <a:pt x="5245894" y="6366464"/>
                    <a:pt x="5212730" y="4156235"/>
                  </a:cubicBezTo>
                  <a:cubicBezTo>
                    <a:pt x="5150069" y="2839337"/>
                    <a:pt x="3714316" y="2270603"/>
                    <a:pt x="2911047" y="1960365"/>
                  </a:cubicBezTo>
                  <a:cubicBezTo>
                    <a:pt x="1897086" y="1603775"/>
                    <a:pt x="785583" y="2037298"/>
                    <a:pt x="393113" y="2294805"/>
                  </a:cubicBezTo>
                  <a:close/>
                </a:path>
              </a:pathLst>
            </a:custGeom>
            <a:solidFill>
              <a:srgbClr val="90909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82"/>
            </a:p>
          </p:txBody>
        </p:sp>
        <p:sp>
          <p:nvSpPr>
            <p:cNvPr id="50" name="Freeform: Shape 49"/>
            <p:cNvSpPr/>
            <p:nvPr/>
          </p:nvSpPr>
          <p:spPr>
            <a:xfrm>
              <a:off x="-12693011" y="456154"/>
              <a:ext cx="7353649" cy="7132230"/>
            </a:xfrm>
            <a:custGeom>
              <a:avLst/>
              <a:gdLst>
                <a:gd name="connsiteX0" fmla="*/ 6263125 w 7353649"/>
                <a:gd name="connsiteY0" fmla="*/ 0 h 7132230"/>
                <a:gd name="connsiteX1" fmla="*/ 6408247 w 7353649"/>
                <a:gd name="connsiteY1" fmla="*/ 147791 h 7132230"/>
                <a:gd name="connsiteX2" fmla="*/ 5848753 w 7353649"/>
                <a:gd name="connsiteY2" fmla="*/ 1256533 h 7132230"/>
                <a:gd name="connsiteX3" fmla="*/ 6126659 w 7353649"/>
                <a:gd name="connsiteY3" fmla="*/ 1981927 h 7132230"/>
                <a:gd name="connsiteX4" fmla="*/ 7343724 w 7353649"/>
                <a:gd name="connsiteY4" fmla="*/ 2330590 h 7132230"/>
                <a:gd name="connsiteX5" fmla="*/ 7353649 w 7353649"/>
                <a:gd name="connsiteY5" fmla="*/ 3270656 h 7132230"/>
                <a:gd name="connsiteX6" fmla="*/ 6119481 w 7353649"/>
                <a:gd name="connsiteY6" fmla="*/ 3664997 h 7132230"/>
                <a:gd name="connsiteX7" fmla="*/ 5828582 w 7353649"/>
                <a:gd name="connsiteY7" fmla="*/ 4336469 h 7132230"/>
                <a:gd name="connsiteX8" fmla="*/ 6454377 w 7353649"/>
                <a:gd name="connsiteY8" fmla="*/ 5482484 h 7132230"/>
                <a:gd name="connsiteX9" fmla="*/ 5805210 w 7353649"/>
                <a:gd name="connsiteY9" fmla="*/ 6191390 h 7132230"/>
                <a:gd name="connsiteX10" fmla="*/ 4648950 w 7353649"/>
                <a:gd name="connsiteY10" fmla="*/ 5663834 h 7132230"/>
                <a:gd name="connsiteX11" fmla="*/ 3933481 w 7353649"/>
                <a:gd name="connsiteY11" fmla="*/ 5937469 h 7132230"/>
                <a:gd name="connsiteX12" fmla="*/ 3544183 w 7353649"/>
                <a:gd name="connsiteY12" fmla="*/ 7132230 h 7132230"/>
                <a:gd name="connsiteX13" fmla="*/ 2589148 w 7353649"/>
                <a:gd name="connsiteY13" fmla="*/ 7113127 h 7132230"/>
                <a:gd name="connsiteX14" fmla="*/ 2229973 w 7353649"/>
                <a:gd name="connsiteY14" fmla="*/ 5940831 h 7132230"/>
                <a:gd name="connsiteX15" fmla="*/ 1499190 w 7353649"/>
                <a:gd name="connsiteY15" fmla="*/ 5636326 h 7132230"/>
                <a:gd name="connsiteX16" fmla="*/ 391835 w 7353649"/>
                <a:gd name="connsiteY16" fmla="*/ 6237841 h 7132230"/>
                <a:gd name="connsiteX17" fmla="*/ 0 w 7353649"/>
                <a:gd name="connsiteY17" fmla="*/ 5849369 h 7132230"/>
                <a:gd name="connsiteX18" fmla="*/ 1850329 w 7353649"/>
                <a:gd name="connsiteY18" fmla="*/ 4121277 h 7132230"/>
                <a:gd name="connsiteX19" fmla="*/ 1872705 w 7353649"/>
                <a:gd name="connsiteY19" fmla="*/ 4132356 h 7132230"/>
                <a:gd name="connsiteX20" fmla="*/ 2000592 w 7353649"/>
                <a:gd name="connsiteY20" fmla="*/ 4212764 h 7132230"/>
                <a:gd name="connsiteX21" fmla="*/ 4743793 w 7353649"/>
                <a:gd name="connsiteY21" fmla="*/ 2742139 h 7132230"/>
                <a:gd name="connsiteX22" fmla="*/ 4470680 w 7353649"/>
                <a:gd name="connsiteY22" fmla="*/ 1887095 h 7132230"/>
                <a:gd name="connsiteX23" fmla="*/ 4378746 w 7353649"/>
                <a:gd name="connsiteY23" fmla="*/ 1759894 h 7132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353649" h="7132230">
                  <a:moveTo>
                    <a:pt x="6263125" y="0"/>
                  </a:moveTo>
                  <a:lnTo>
                    <a:pt x="6408247" y="147791"/>
                  </a:lnTo>
                  <a:lnTo>
                    <a:pt x="5848753" y="1256533"/>
                  </a:lnTo>
                  <a:lnTo>
                    <a:pt x="6126659" y="1981927"/>
                  </a:lnTo>
                  <a:lnTo>
                    <a:pt x="7343724" y="2330590"/>
                  </a:lnTo>
                  <a:lnTo>
                    <a:pt x="7353649" y="3270656"/>
                  </a:lnTo>
                  <a:lnTo>
                    <a:pt x="6119481" y="3664997"/>
                  </a:lnTo>
                  <a:lnTo>
                    <a:pt x="5828582" y="4336469"/>
                  </a:lnTo>
                  <a:lnTo>
                    <a:pt x="6454377" y="5482484"/>
                  </a:lnTo>
                  <a:lnTo>
                    <a:pt x="5805210" y="6191390"/>
                  </a:lnTo>
                  <a:lnTo>
                    <a:pt x="4648950" y="5663834"/>
                  </a:lnTo>
                  <a:lnTo>
                    <a:pt x="3933481" y="5937469"/>
                  </a:lnTo>
                  <a:lnTo>
                    <a:pt x="3544183" y="7132230"/>
                  </a:lnTo>
                  <a:lnTo>
                    <a:pt x="2589148" y="7113127"/>
                  </a:lnTo>
                  <a:lnTo>
                    <a:pt x="2229973" y="5940831"/>
                  </a:lnTo>
                  <a:lnTo>
                    <a:pt x="1499190" y="5636326"/>
                  </a:lnTo>
                  <a:lnTo>
                    <a:pt x="391835" y="6237841"/>
                  </a:lnTo>
                  <a:lnTo>
                    <a:pt x="0" y="5849369"/>
                  </a:lnTo>
                  <a:lnTo>
                    <a:pt x="1850329" y="4121277"/>
                  </a:lnTo>
                  <a:lnTo>
                    <a:pt x="1872705" y="4132356"/>
                  </a:lnTo>
                  <a:cubicBezTo>
                    <a:pt x="1912234" y="4153727"/>
                    <a:pt x="1954767" y="4180283"/>
                    <a:pt x="2000592" y="4212764"/>
                  </a:cubicBezTo>
                  <a:cubicBezTo>
                    <a:pt x="2564542" y="4700162"/>
                    <a:pt x="4776957" y="4952368"/>
                    <a:pt x="4743793" y="2742139"/>
                  </a:cubicBezTo>
                  <a:cubicBezTo>
                    <a:pt x="4728128" y="2412915"/>
                    <a:pt x="4626644" y="2130450"/>
                    <a:pt x="4470680" y="1887095"/>
                  </a:cubicBezTo>
                  <a:lnTo>
                    <a:pt x="4378746" y="1759894"/>
                  </a:lnTo>
                  <a:close/>
                </a:path>
              </a:pathLst>
            </a:custGeom>
            <a:solidFill>
              <a:srgbClr val="7A7A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82"/>
            </a:p>
          </p:txBody>
        </p:sp>
        <p:sp>
          <p:nvSpPr>
            <p:cNvPr id="51" name="Freeform: Shape 50"/>
            <p:cNvSpPr/>
            <p:nvPr/>
          </p:nvSpPr>
          <p:spPr>
            <a:xfrm>
              <a:off x="-15207205" y="1321875"/>
              <a:ext cx="6434180" cy="1862570"/>
            </a:xfrm>
            <a:custGeom>
              <a:avLst/>
              <a:gdLst>
                <a:gd name="connsiteX0" fmla="*/ 6157732 w 6157732"/>
                <a:gd name="connsiteY0" fmla="*/ 914400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7732 w 6157732"/>
                <a:gd name="connsiteY11" fmla="*/ 914400 h 1551008"/>
                <a:gd name="connsiteX0" fmla="*/ 6154919 w 6157732"/>
                <a:gd name="connsiteY0" fmla="*/ 1018501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4919 w 6157732"/>
                <a:gd name="connsiteY11" fmla="*/ 1018501 h 1551008"/>
                <a:gd name="connsiteX0" fmla="*/ 5903089 w 6157732"/>
                <a:gd name="connsiteY0" fmla="*/ 1180618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39970 w 6264646"/>
                <a:gd name="connsiteY3" fmla="*/ 92598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903089 w 6264646"/>
                <a:gd name="connsiteY10" fmla="*/ 118061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88816"/>
                <a:gd name="connsiteY0" fmla="*/ 1220008 h 1551008"/>
                <a:gd name="connsiteX1" fmla="*/ 6264646 w 6288816"/>
                <a:gd name="connsiteY1" fmla="*/ 936018 h 1551008"/>
                <a:gd name="connsiteX2" fmla="*/ 4734046 w 6288816"/>
                <a:gd name="connsiteY2" fmla="*/ 0 h 1551008"/>
                <a:gd name="connsiteX3" fmla="*/ 2903394 w 6288816"/>
                <a:gd name="connsiteY3" fmla="*/ 134801 h 1551008"/>
                <a:gd name="connsiteX4" fmla="*/ 1562582 w 6288816"/>
                <a:gd name="connsiteY4" fmla="*/ 1134319 h 1551008"/>
                <a:gd name="connsiteX5" fmla="*/ 266218 w 6288816"/>
                <a:gd name="connsiteY5" fmla="*/ 983848 h 1551008"/>
                <a:gd name="connsiteX6" fmla="*/ 0 w 6288816"/>
                <a:gd name="connsiteY6" fmla="*/ 1296365 h 1551008"/>
                <a:gd name="connsiteX7" fmla="*/ 1747777 w 6288816"/>
                <a:gd name="connsiteY7" fmla="*/ 1551008 h 1551008"/>
                <a:gd name="connsiteX8" fmla="*/ 3078545 w 6288816"/>
                <a:gd name="connsiteY8" fmla="*/ 646260 h 1551008"/>
                <a:gd name="connsiteX9" fmla="*/ 4609216 w 6288816"/>
                <a:gd name="connsiteY9" fmla="*/ 505191 h 1551008"/>
                <a:gd name="connsiteX10" fmla="*/ 5877767 w 6288816"/>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64662 h 1595662"/>
                <a:gd name="connsiteX1" fmla="*/ 6264646 w 6299907"/>
                <a:gd name="connsiteY1" fmla="*/ 980672 h 1595662"/>
                <a:gd name="connsiteX2" fmla="*/ 4734046 w 6299907"/>
                <a:gd name="connsiteY2" fmla="*/ 44654 h 1595662"/>
                <a:gd name="connsiteX3" fmla="*/ 2903394 w 6299907"/>
                <a:gd name="connsiteY3" fmla="*/ 179455 h 1595662"/>
                <a:gd name="connsiteX4" fmla="*/ 1562582 w 6299907"/>
                <a:gd name="connsiteY4" fmla="*/ 1178973 h 1595662"/>
                <a:gd name="connsiteX5" fmla="*/ 266218 w 6299907"/>
                <a:gd name="connsiteY5" fmla="*/ 1028502 h 1595662"/>
                <a:gd name="connsiteX6" fmla="*/ 0 w 6299907"/>
                <a:gd name="connsiteY6" fmla="*/ 1341019 h 1595662"/>
                <a:gd name="connsiteX7" fmla="*/ 1747777 w 6299907"/>
                <a:gd name="connsiteY7" fmla="*/ 1595662 h 1595662"/>
                <a:gd name="connsiteX8" fmla="*/ 3078545 w 6299907"/>
                <a:gd name="connsiteY8" fmla="*/ 690914 h 1595662"/>
                <a:gd name="connsiteX9" fmla="*/ 4609216 w 6299907"/>
                <a:gd name="connsiteY9" fmla="*/ 549845 h 1595662"/>
                <a:gd name="connsiteX10" fmla="*/ 5877767 w 6299907"/>
                <a:gd name="connsiteY10" fmla="*/ 1264662 h 1595662"/>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350331"/>
                <a:gd name="connsiteY0" fmla="*/ 1303484 h 1634484"/>
                <a:gd name="connsiteX1" fmla="*/ 6264646 w 6350331"/>
                <a:gd name="connsiteY1" fmla="*/ 1019494 h 1634484"/>
                <a:gd name="connsiteX2" fmla="*/ 4734046 w 6350331"/>
                <a:gd name="connsiteY2" fmla="*/ 83476 h 1634484"/>
                <a:gd name="connsiteX3" fmla="*/ 2903394 w 6350331"/>
                <a:gd name="connsiteY3" fmla="*/ 218277 h 1634484"/>
                <a:gd name="connsiteX4" fmla="*/ 1562582 w 6350331"/>
                <a:gd name="connsiteY4" fmla="*/ 1217795 h 1634484"/>
                <a:gd name="connsiteX5" fmla="*/ 266218 w 6350331"/>
                <a:gd name="connsiteY5" fmla="*/ 1067324 h 1634484"/>
                <a:gd name="connsiteX6" fmla="*/ 0 w 6350331"/>
                <a:gd name="connsiteY6" fmla="*/ 1379841 h 1634484"/>
                <a:gd name="connsiteX7" fmla="*/ 1747777 w 6350331"/>
                <a:gd name="connsiteY7" fmla="*/ 1634484 h 1634484"/>
                <a:gd name="connsiteX8" fmla="*/ 3078545 w 6350331"/>
                <a:gd name="connsiteY8" fmla="*/ 729736 h 1634484"/>
                <a:gd name="connsiteX9" fmla="*/ 4609216 w 6350331"/>
                <a:gd name="connsiteY9" fmla="*/ 588667 h 1634484"/>
                <a:gd name="connsiteX10" fmla="*/ 5877767 w 6350331"/>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840557"/>
                <a:gd name="connsiteX1" fmla="*/ 6264646 w 6351908"/>
                <a:gd name="connsiteY1" fmla="*/ 1019494 h 1840557"/>
                <a:gd name="connsiteX2" fmla="*/ 4734046 w 6351908"/>
                <a:gd name="connsiteY2" fmla="*/ 83476 h 1840557"/>
                <a:gd name="connsiteX3" fmla="*/ 2903394 w 6351908"/>
                <a:gd name="connsiteY3" fmla="*/ 218277 h 1840557"/>
                <a:gd name="connsiteX4" fmla="*/ 1556955 w 6351908"/>
                <a:gd name="connsiteY4" fmla="*/ 1237490 h 1840557"/>
                <a:gd name="connsiteX5" fmla="*/ 274659 w 6351908"/>
                <a:gd name="connsiteY5" fmla="*/ 1016680 h 1840557"/>
                <a:gd name="connsiteX6" fmla="*/ 0 w 6351908"/>
                <a:gd name="connsiteY6" fmla="*/ 1379841 h 1840557"/>
                <a:gd name="connsiteX7" fmla="*/ 1719641 w 6351908"/>
                <a:gd name="connsiteY7" fmla="*/ 1710450 h 1840557"/>
                <a:gd name="connsiteX8" fmla="*/ 3078545 w 6351908"/>
                <a:gd name="connsiteY8" fmla="*/ 729736 h 1840557"/>
                <a:gd name="connsiteX9" fmla="*/ 4609216 w 6351908"/>
                <a:gd name="connsiteY9" fmla="*/ 588667 h 1840557"/>
                <a:gd name="connsiteX10" fmla="*/ 5877767 w 6351908"/>
                <a:gd name="connsiteY10" fmla="*/ 1303484 h 1840557"/>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980675 w 6454816"/>
                <a:gd name="connsiteY0" fmla="*/ 1303484 h 1893535"/>
                <a:gd name="connsiteX1" fmla="*/ 6367554 w 6454816"/>
                <a:gd name="connsiteY1" fmla="*/ 1019494 h 1893535"/>
                <a:gd name="connsiteX2" fmla="*/ 4836954 w 6454816"/>
                <a:gd name="connsiteY2" fmla="*/ 83476 h 1893535"/>
                <a:gd name="connsiteX3" fmla="*/ 3006302 w 6454816"/>
                <a:gd name="connsiteY3" fmla="*/ 218277 h 1893535"/>
                <a:gd name="connsiteX4" fmla="*/ 1659863 w 6454816"/>
                <a:gd name="connsiteY4" fmla="*/ 1237490 h 1893535"/>
                <a:gd name="connsiteX5" fmla="*/ 377567 w 6454816"/>
                <a:gd name="connsiteY5" fmla="*/ 1016680 h 1893535"/>
                <a:gd name="connsiteX6" fmla="*/ 102908 w 6454816"/>
                <a:gd name="connsiteY6" fmla="*/ 1379841 h 1893535"/>
                <a:gd name="connsiteX7" fmla="*/ 1822549 w 6454816"/>
                <a:gd name="connsiteY7" fmla="*/ 1710450 h 1893535"/>
                <a:gd name="connsiteX8" fmla="*/ 3181453 w 6454816"/>
                <a:gd name="connsiteY8" fmla="*/ 729736 h 1893535"/>
                <a:gd name="connsiteX9" fmla="*/ 4712124 w 6454816"/>
                <a:gd name="connsiteY9" fmla="*/ 588667 h 1893535"/>
                <a:gd name="connsiteX10" fmla="*/ 5980675 w 6454816"/>
                <a:gd name="connsiteY10" fmla="*/ 1303484 h 1893535"/>
                <a:gd name="connsiteX0" fmla="*/ 5961776 w 6435917"/>
                <a:gd name="connsiteY0" fmla="*/ 1303484 h 1893535"/>
                <a:gd name="connsiteX1" fmla="*/ 6348655 w 6435917"/>
                <a:gd name="connsiteY1" fmla="*/ 1019494 h 1893535"/>
                <a:gd name="connsiteX2" fmla="*/ 4818055 w 6435917"/>
                <a:gd name="connsiteY2" fmla="*/ 83476 h 1893535"/>
                <a:gd name="connsiteX3" fmla="*/ 2987403 w 6435917"/>
                <a:gd name="connsiteY3" fmla="*/ 218277 h 1893535"/>
                <a:gd name="connsiteX4" fmla="*/ 1640964 w 6435917"/>
                <a:gd name="connsiteY4" fmla="*/ 1237490 h 1893535"/>
                <a:gd name="connsiteX5" fmla="*/ 358668 w 6435917"/>
                <a:gd name="connsiteY5" fmla="*/ 1016680 h 1893535"/>
                <a:gd name="connsiteX6" fmla="*/ 84009 w 6435917"/>
                <a:gd name="connsiteY6" fmla="*/ 1379841 h 1893535"/>
                <a:gd name="connsiteX7" fmla="*/ 1803650 w 6435917"/>
                <a:gd name="connsiteY7" fmla="*/ 1710450 h 1893535"/>
                <a:gd name="connsiteX8" fmla="*/ 3162554 w 6435917"/>
                <a:gd name="connsiteY8" fmla="*/ 729736 h 1893535"/>
                <a:gd name="connsiteX9" fmla="*/ 4693225 w 6435917"/>
                <a:gd name="connsiteY9" fmla="*/ 588667 h 1893535"/>
                <a:gd name="connsiteX10" fmla="*/ 5961776 w 6435917"/>
                <a:gd name="connsiteY10" fmla="*/ 1303484 h 1893535"/>
                <a:gd name="connsiteX0" fmla="*/ 5961776 w 6435917"/>
                <a:gd name="connsiteY0" fmla="*/ 1303484 h 1892323"/>
                <a:gd name="connsiteX1" fmla="*/ 6348655 w 6435917"/>
                <a:gd name="connsiteY1" fmla="*/ 1019494 h 1892323"/>
                <a:gd name="connsiteX2" fmla="*/ 4818055 w 6435917"/>
                <a:gd name="connsiteY2" fmla="*/ 83476 h 1892323"/>
                <a:gd name="connsiteX3" fmla="*/ 2987403 w 6435917"/>
                <a:gd name="connsiteY3" fmla="*/ 218277 h 1892323"/>
                <a:gd name="connsiteX4" fmla="*/ 1640964 w 6435917"/>
                <a:gd name="connsiteY4" fmla="*/ 1237490 h 1892323"/>
                <a:gd name="connsiteX5" fmla="*/ 358668 w 6435917"/>
                <a:gd name="connsiteY5" fmla="*/ 1016680 h 1892323"/>
                <a:gd name="connsiteX6" fmla="*/ 84009 w 6435917"/>
                <a:gd name="connsiteY6" fmla="*/ 1379841 h 1892323"/>
                <a:gd name="connsiteX7" fmla="*/ 1803650 w 6435917"/>
                <a:gd name="connsiteY7" fmla="*/ 1710450 h 1892323"/>
                <a:gd name="connsiteX8" fmla="*/ 3162554 w 6435917"/>
                <a:gd name="connsiteY8" fmla="*/ 729736 h 1892323"/>
                <a:gd name="connsiteX9" fmla="*/ 4693225 w 6435917"/>
                <a:gd name="connsiteY9" fmla="*/ 588667 h 1892323"/>
                <a:gd name="connsiteX10" fmla="*/ 5961776 w 6435917"/>
                <a:gd name="connsiteY10" fmla="*/ 1303484 h 1892323"/>
                <a:gd name="connsiteX0" fmla="*/ 5941465 w 6415606"/>
                <a:gd name="connsiteY0" fmla="*/ 1303484 h 1902580"/>
                <a:gd name="connsiteX1" fmla="*/ 6328344 w 6415606"/>
                <a:gd name="connsiteY1" fmla="*/ 1019494 h 1902580"/>
                <a:gd name="connsiteX2" fmla="*/ 4797744 w 6415606"/>
                <a:gd name="connsiteY2" fmla="*/ 83476 h 1902580"/>
                <a:gd name="connsiteX3" fmla="*/ 2967092 w 6415606"/>
                <a:gd name="connsiteY3" fmla="*/ 218277 h 1902580"/>
                <a:gd name="connsiteX4" fmla="*/ 1620653 w 6415606"/>
                <a:gd name="connsiteY4" fmla="*/ 1237490 h 1902580"/>
                <a:gd name="connsiteX5" fmla="*/ 338357 w 6415606"/>
                <a:gd name="connsiteY5" fmla="*/ 1016680 h 1902580"/>
                <a:gd name="connsiteX6" fmla="*/ 89019 w 6415606"/>
                <a:gd name="connsiteY6" fmla="*/ 1419231 h 1902580"/>
                <a:gd name="connsiteX7" fmla="*/ 1783339 w 6415606"/>
                <a:gd name="connsiteY7" fmla="*/ 1710450 h 1902580"/>
                <a:gd name="connsiteX8" fmla="*/ 3142243 w 6415606"/>
                <a:gd name="connsiteY8" fmla="*/ 729736 h 1902580"/>
                <a:gd name="connsiteX9" fmla="*/ 4672914 w 6415606"/>
                <a:gd name="connsiteY9" fmla="*/ 588667 h 1902580"/>
                <a:gd name="connsiteX10" fmla="*/ 5941465 w 6415606"/>
                <a:gd name="connsiteY10" fmla="*/ 1303484 h 1902580"/>
                <a:gd name="connsiteX0" fmla="*/ 5960039 w 6434180"/>
                <a:gd name="connsiteY0" fmla="*/ 1303484 h 1902580"/>
                <a:gd name="connsiteX1" fmla="*/ 6346918 w 6434180"/>
                <a:gd name="connsiteY1" fmla="*/ 1019494 h 1902580"/>
                <a:gd name="connsiteX2" fmla="*/ 4816318 w 6434180"/>
                <a:gd name="connsiteY2" fmla="*/ 83476 h 1902580"/>
                <a:gd name="connsiteX3" fmla="*/ 2985666 w 6434180"/>
                <a:gd name="connsiteY3" fmla="*/ 218277 h 1902580"/>
                <a:gd name="connsiteX4" fmla="*/ 1639227 w 6434180"/>
                <a:gd name="connsiteY4" fmla="*/ 1237490 h 1902580"/>
                <a:gd name="connsiteX5" fmla="*/ 356931 w 6434180"/>
                <a:gd name="connsiteY5" fmla="*/ 1016680 h 1902580"/>
                <a:gd name="connsiteX6" fmla="*/ 107593 w 6434180"/>
                <a:gd name="connsiteY6" fmla="*/ 1419231 h 1902580"/>
                <a:gd name="connsiteX7" fmla="*/ 1801913 w 6434180"/>
                <a:gd name="connsiteY7" fmla="*/ 1710450 h 1902580"/>
                <a:gd name="connsiteX8" fmla="*/ 3160817 w 6434180"/>
                <a:gd name="connsiteY8" fmla="*/ 729736 h 1902580"/>
                <a:gd name="connsiteX9" fmla="*/ 4691488 w 6434180"/>
                <a:gd name="connsiteY9" fmla="*/ 588667 h 1902580"/>
                <a:gd name="connsiteX10" fmla="*/ 5960039 w 6434180"/>
                <a:gd name="connsiteY10" fmla="*/ 1303484 h 1902580"/>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946772"/>
                <a:gd name="connsiteX1" fmla="*/ 6346918 w 6434180"/>
                <a:gd name="connsiteY1" fmla="*/ 1019494 h 1946772"/>
                <a:gd name="connsiteX2" fmla="*/ 4816318 w 6434180"/>
                <a:gd name="connsiteY2" fmla="*/ 83476 h 1946772"/>
                <a:gd name="connsiteX3" fmla="*/ 2985666 w 6434180"/>
                <a:gd name="connsiteY3" fmla="*/ 218277 h 1946772"/>
                <a:gd name="connsiteX4" fmla="*/ 1639227 w 6434180"/>
                <a:gd name="connsiteY4" fmla="*/ 1237490 h 1946772"/>
                <a:gd name="connsiteX5" fmla="*/ 356931 w 6434180"/>
                <a:gd name="connsiteY5" fmla="*/ 1016680 h 1946772"/>
                <a:gd name="connsiteX6" fmla="*/ 107593 w 6434180"/>
                <a:gd name="connsiteY6" fmla="*/ 1419231 h 1946772"/>
                <a:gd name="connsiteX7" fmla="*/ 1801913 w 6434180"/>
                <a:gd name="connsiteY7" fmla="*/ 1710450 h 1946772"/>
                <a:gd name="connsiteX8" fmla="*/ 3160817 w 6434180"/>
                <a:gd name="connsiteY8" fmla="*/ 729736 h 1946772"/>
                <a:gd name="connsiteX9" fmla="*/ 4691488 w 6434180"/>
                <a:gd name="connsiteY9" fmla="*/ 588667 h 1946772"/>
                <a:gd name="connsiteX10" fmla="*/ 5960039 w 6434180"/>
                <a:gd name="connsiteY10" fmla="*/ 1303484 h 1946772"/>
                <a:gd name="connsiteX0" fmla="*/ 5960039 w 6434180"/>
                <a:gd name="connsiteY0" fmla="*/ 1303484 h 1848056"/>
                <a:gd name="connsiteX1" fmla="*/ 6346918 w 6434180"/>
                <a:gd name="connsiteY1" fmla="*/ 1019494 h 1848056"/>
                <a:gd name="connsiteX2" fmla="*/ 4816318 w 6434180"/>
                <a:gd name="connsiteY2" fmla="*/ 83476 h 1848056"/>
                <a:gd name="connsiteX3" fmla="*/ 2985666 w 6434180"/>
                <a:gd name="connsiteY3" fmla="*/ 218277 h 1848056"/>
                <a:gd name="connsiteX4" fmla="*/ 1639227 w 6434180"/>
                <a:gd name="connsiteY4" fmla="*/ 1237490 h 1848056"/>
                <a:gd name="connsiteX5" fmla="*/ 356931 w 6434180"/>
                <a:gd name="connsiteY5" fmla="*/ 1016680 h 1848056"/>
                <a:gd name="connsiteX6" fmla="*/ 107593 w 6434180"/>
                <a:gd name="connsiteY6" fmla="*/ 1419231 h 1848056"/>
                <a:gd name="connsiteX7" fmla="*/ 1801913 w 6434180"/>
                <a:gd name="connsiteY7" fmla="*/ 1710450 h 1848056"/>
                <a:gd name="connsiteX8" fmla="*/ 3160817 w 6434180"/>
                <a:gd name="connsiteY8" fmla="*/ 729736 h 1848056"/>
                <a:gd name="connsiteX9" fmla="*/ 4691488 w 6434180"/>
                <a:gd name="connsiteY9" fmla="*/ 588667 h 1848056"/>
                <a:gd name="connsiteX10" fmla="*/ 5960039 w 6434180"/>
                <a:gd name="connsiteY10" fmla="*/ 1303484 h 1848056"/>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5521 h 1862570"/>
                <a:gd name="connsiteX1" fmla="*/ 6346918 w 6434180"/>
                <a:gd name="connsiteY1" fmla="*/ 991531 h 1862570"/>
                <a:gd name="connsiteX2" fmla="*/ 4816318 w 6434180"/>
                <a:gd name="connsiteY2" fmla="*/ 55513 h 1862570"/>
                <a:gd name="connsiteX3" fmla="*/ 2985666 w 6434180"/>
                <a:gd name="connsiteY3" fmla="*/ 190314 h 1862570"/>
                <a:gd name="connsiteX4" fmla="*/ 1639227 w 6434180"/>
                <a:gd name="connsiteY4" fmla="*/ 1209527 h 1862570"/>
                <a:gd name="connsiteX5" fmla="*/ 356931 w 6434180"/>
                <a:gd name="connsiteY5" fmla="*/ 988717 h 1862570"/>
                <a:gd name="connsiteX6" fmla="*/ 107593 w 6434180"/>
                <a:gd name="connsiteY6" fmla="*/ 1391268 h 1862570"/>
                <a:gd name="connsiteX7" fmla="*/ 1801913 w 6434180"/>
                <a:gd name="connsiteY7" fmla="*/ 1682487 h 1862570"/>
                <a:gd name="connsiteX8" fmla="*/ 3160817 w 6434180"/>
                <a:gd name="connsiteY8" fmla="*/ 701773 h 1862570"/>
                <a:gd name="connsiteX9" fmla="*/ 4691488 w 6434180"/>
                <a:gd name="connsiteY9" fmla="*/ 560704 h 1862570"/>
                <a:gd name="connsiteX10" fmla="*/ 5960039 w 6434180"/>
                <a:gd name="connsiteY10" fmla="*/ 1275521 h 1862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34180" h="1862570">
                  <a:moveTo>
                    <a:pt x="5960039" y="1275521"/>
                  </a:moveTo>
                  <a:cubicBezTo>
                    <a:pt x="6283134" y="1670414"/>
                    <a:pt x="6589346" y="1260633"/>
                    <a:pt x="6346918" y="991531"/>
                  </a:cubicBezTo>
                  <a:cubicBezTo>
                    <a:pt x="5949259" y="586678"/>
                    <a:pt x="5223959" y="131561"/>
                    <a:pt x="4816318" y="55513"/>
                  </a:cubicBezTo>
                  <a:cubicBezTo>
                    <a:pt x="4408677" y="-20535"/>
                    <a:pt x="3494501" y="-52826"/>
                    <a:pt x="2985666" y="190314"/>
                  </a:cubicBezTo>
                  <a:cubicBezTo>
                    <a:pt x="2476831" y="433454"/>
                    <a:pt x="1908164" y="1000838"/>
                    <a:pt x="1639227" y="1209527"/>
                  </a:cubicBezTo>
                  <a:cubicBezTo>
                    <a:pt x="1370290" y="1418216"/>
                    <a:pt x="729968" y="1345550"/>
                    <a:pt x="356931" y="988717"/>
                  </a:cubicBezTo>
                  <a:cubicBezTo>
                    <a:pt x="96566" y="758079"/>
                    <a:pt x="-146919" y="1182994"/>
                    <a:pt x="107593" y="1391268"/>
                  </a:cubicBezTo>
                  <a:cubicBezTo>
                    <a:pt x="576706" y="1808146"/>
                    <a:pt x="1317996" y="2048782"/>
                    <a:pt x="1801913" y="1682487"/>
                  </a:cubicBezTo>
                  <a:cubicBezTo>
                    <a:pt x="2285830" y="1316192"/>
                    <a:pt x="2704050" y="940116"/>
                    <a:pt x="3160817" y="701773"/>
                  </a:cubicBezTo>
                  <a:cubicBezTo>
                    <a:pt x="3617584" y="463430"/>
                    <a:pt x="4299587" y="485617"/>
                    <a:pt x="4691488" y="560704"/>
                  </a:cubicBezTo>
                  <a:cubicBezTo>
                    <a:pt x="5083389" y="635791"/>
                    <a:pt x="5573765" y="907826"/>
                    <a:pt x="5960039" y="1275521"/>
                  </a:cubicBezTo>
                  <a:close/>
                </a:path>
              </a:pathLst>
            </a:custGeom>
            <a:solidFill>
              <a:srgbClr val="59B4D9"/>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882"/>
            </a:p>
          </p:txBody>
        </p:sp>
        <p:sp>
          <p:nvSpPr>
            <p:cNvPr id="52" name="Freeform: Shape 51"/>
            <p:cNvSpPr/>
            <p:nvPr/>
          </p:nvSpPr>
          <p:spPr>
            <a:xfrm>
              <a:off x="-15771436" y="2395995"/>
              <a:ext cx="6401905" cy="1781951"/>
            </a:xfrm>
            <a:custGeom>
              <a:avLst/>
              <a:gdLst>
                <a:gd name="connsiteX0" fmla="*/ 6157732 w 6157732"/>
                <a:gd name="connsiteY0" fmla="*/ 914400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7732 w 6157732"/>
                <a:gd name="connsiteY11" fmla="*/ 914400 h 1551008"/>
                <a:gd name="connsiteX0" fmla="*/ 6154919 w 6157732"/>
                <a:gd name="connsiteY0" fmla="*/ 1018501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4919 w 6157732"/>
                <a:gd name="connsiteY11" fmla="*/ 1018501 h 1551008"/>
                <a:gd name="connsiteX0" fmla="*/ 5903089 w 6157732"/>
                <a:gd name="connsiteY0" fmla="*/ 1180618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39970 w 6264646"/>
                <a:gd name="connsiteY3" fmla="*/ 92598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903089 w 6264646"/>
                <a:gd name="connsiteY10" fmla="*/ 118061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88816"/>
                <a:gd name="connsiteY0" fmla="*/ 1220008 h 1551008"/>
                <a:gd name="connsiteX1" fmla="*/ 6264646 w 6288816"/>
                <a:gd name="connsiteY1" fmla="*/ 936018 h 1551008"/>
                <a:gd name="connsiteX2" fmla="*/ 4734046 w 6288816"/>
                <a:gd name="connsiteY2" fmla="*/ 0 h 1551008"/>
                <a:gd name="connsiteX3" fmla="*/ 2903394 w 6288816"/>
                <a:gd name="connsiteY3" fmla="*/ 134801 h 1551008"/>
                <a:gd name="connsiteX4" fmla="*/ 1562582 w 6288816"/>
                <a:gd name="connsiteY4" fmla="*/ 1134319 h 1551008"/>
                <a:gd name="connsiteX5" fmla="*/ 266218 w 6288816"/>
                <a:gd name="connsiteY5" fmla="*/ 983848 h 1551008"/>
                <a:gd name="connsiteX6" fmla="*/ 0 w 6288816"/>
                <a:gd name="connsiteY6" fmla="*/ 1296365 h 1551008"/>
                <a:gd name="connsiteX7" fmla="*/ 1747777 w 6288816"/>
                <a:gd name="connsiteY7" fmla="*/ 1551008 h 1551008"/>
                <a:gd name="connsiteX8" fmla="*/ 3078545 w 6288816"/>
                <a:gd name="connsiteY8" fmla="*/ 646260 h 1551008"/>
                <a:gd name="connsiteX9" fmla="*/ 4609216 w 6288816"/>
                <a:gd name="connsiteY9" fmla="*/ 505191 h 1551008"/>
                <a:gd name="connsiteX10" fmla="*/ 5877767 w 6288816"/>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64662 h 1595662"/>
                <a:gd name="connsiteX1" fmla="*/ 6264646 w 6299907"/>
                <a:gd name="connsiteY1" fmla="*/ 980672 h 1595662"/>
                <a:gd name="connsiteX2" fmla="*/ 4734046 w 6299907"/>
                <a:gd name="connsiteY2" fmla="*/ 44654 h 1595662"/>
                <a:gd name="connsiteX3" fmla="*/ 2903394 w 6299907"/>
                <a:gd name="connsiteY3" fmla="*/ 179455 h 1595662"/>
                <a:gd name="connsiteX4" fmla="*/ 1562582 w 6299907"/>
                <a:gd name="connsiteY4" fmla="*/ 1178973 h 1595662"/>
                <a:gd name="connsiteX5" fmla="*/ 266218 w 6299907"/>
                <a:gd name="connsiteY5" fmla="*/ 1028502 h 1595662"/>
                <a:gd name="connsiteX6" fmla="*/ 0 w 6299907"/>
                <a:gd name="connsiteY6" fmla="*/ 1341019 h 1595662"/>
                <a:gd name="connsiteX7" fmla="*/ 1747777 w 6299907"/>
                <a:gd name="connsiteY7" fmla="*/ 1595662 h 1595662"/>
                <a:gd name="connsiteX8" fmla="*/ 3078545 w 6299907"/>
                <a:gd name="connsiteY8" fmla="*/ 690914 h 1595662"/>
                <a:gd name="connsiteX9" fmla="*/ 4609216 w 6299907"/>
                <a:gd name="connsiteY9" fmla="*/ 549845 h 1595662"/>
                <a:gd name="connsiteX10" fmla="*/ 5877767 w 6299907"/>
                <a:gd name="connsiteY10" fmla="*/ 1264662 h 1595662"/>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350331"/>
                <a:gd name="connsiteY0" fmla="*/ 1303484 h 1634484"/>
                <a:gd name="connsiteX1" fmla="*/ 6264646 w 6350331"/>
                <a:gd name="connsiteY1" fmla="*/ 1019494 h 1634484"/>
                <a:gd name="connsiteX2" fmla="*/ 4734046 w 6350331"/>
                <a:gd name="connsiteY2" fmla="*/ 83476 h 1634484"/>
                <a:gd name="connsiteX3" fmla="*/ 2903394 w 6350331"/>
                <a:gd name="connsiteY3" fmla="*/ 218277 h 1634484"/>
                <a:gd name="connsiteX4" fmla="*/ 1562582 w 6350331"/>
                <a:gd name="connsiteY4" fmla="*/ 1217795 h 1634484"/>
                <a:gd name="connsiteX5" fmla="*/ 266218 w 6350331"/>
                <a:gd name="connsiteY5" fmla="*/ 1067324 h 1634484"/>
                <a:gd name="connsiteX6" fmla="*/ 0 w 6350331"/>
                <a:gd name="connsiteY6" fmla="*/ 1379841 h 1634484"/>
                <a:gd name="connsiteX7" fmla="*/ 1747777 w 6350331"/>
                <a:gd name="connsiteY7" fmla="*/ 1634484 h 1634484"/>
                <a:gd name="connsiteX8" fmla="*/ 3078545 w 6350331"/>
                <a:gd name="connsiteY8" fmla="*/ 729736 h 1634484"/>
                <a:gd name="connsiteX9" fmla="*/ 4609216 w 6350331"/>
                <a:gd name="connsiteY9" fmla="*/ 588667 h 1634484"/>
                <a:gd name="connsiteX10" fmla="*/ 5877767 w 6350331"/>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840557"/>
                <a:gd name="connsiteX1" fmla="*/ 6264646 w 6351908"/>
                <a:gd name="connsiteY1" fmla="*/ 1019494 h 1840557"/>
                <a:gd name="connsiteX2" fmla="*/ 4734046 w 6351908"/>
                <a:gd name="connsiteY2" fmla="*/ 83476 h 1840557"/>
                <a:gd name="connsiteX3" fmla="*/ 2903394 w 6351908"/>
                <a:gd name="connsiteY3" fmla="*/ 218277 h 1840557"/>
                <a:gd name="connsiteX4" fmla="*/ 1556955 w 6351908"/>
                <a:gd name="connsiteY4" fmla="*/ 1237490 h 1840557"/>
                <a:gd name="connsiteX5" fmla="*/ 274659 w 6351908"/>
                <a:gd name="connsiteY5" fmla="*/ 1016680 h 1840557"/>
                <a:gd name="connsiteX6" fmla="*/ 0 w 6351908"/>
                <a:gd name="connsiteY6" fmla="*/ 1379841 h 1840557"/>
                <a:gd name="connsiteX7" fmla="*/ 1719641 w 6351908"/>
                <a:gd name="connsiteY7" fmla="*/ 1710450 h 1840557"/>
                <a:gd name="connsiteX8" fmla="*/ 3078545 w 6351908"/>
                <a:gd name="connsiteY8" fmla="*/ 729736 h 1840557"/>
                <a:gd name="connsiteX9" fmla="*/ 4609216 w 6351908"/>
                <a:gd name="connsiteY9" fmla="*/ 588667 h 1840557"/>
                <a:gd name="connsiteX10" fmla="*/ 5877767 w 6351908"/>
                <a:gd name="connsiteY10" fmla="*/ 1303484 h 1840557"/>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980675 w 6454816"/>
                <a:gd name="connsiteY0" fmla="*/ 1303484 h 1893535"/>
                <a:gd name="connsiteX1" fmla="*/ 6367554 w 6454816"/>
                <a:gd name="connsiteY1" fmla="*/ 1019494 h 1893535"/>
                <a:gd name="connsiteX2" fmla="*/ 4836954 w 6454816"/>
                <a:gd name="connsiteY2" fmla="*/ 83476 h 1893535"/>
                <a:gd name="connsiteX3" fmla="*/ 3006302 w 6454816"/>
                <a:gd name="connsiteY3" fmla="*/ 218277 h 1893535"/>
                <a:gd name="connsiteX4" fmla="*/ 1659863 w 6454816"/>
                <a:gd name="connsiteY4" fmla="*/ 1237490 h 1893535"/>
                <a:gd name="connsiteX5" fmla="*/ 377567 w 6454816"/>
                <a:gd name="connsiteY5" fmla="*/ 1016680 h 1893535"/>
                <a:gd name="connsiteX6" fmla="*/ 102908 w 6454816"/>
                <a:gd name="connsiteY6" fmla="*/ 1379841 h 1893535"/>
                <a:gd name="connsiteX7" fmla="*/ 1822549 w 6454816"/>
                <a:gd name="connsiteY7" fmla="*/ 1710450 h 1893535"/>
                <a:gd name="connsiteX8" fmla="*/ 3181453 w 6454816"/>
                <a:gd name="connsiteY8" fmla="*/ 729736 h 1893535"/>
                <a:gd name="connsiteX9" fmla="*/ 4712124 w 6454816"/>
                <a:gd name="connsiteY9" fmla="*/ 588667 h 1893535"/>
                <a:gd name="connsiteX10" fmla="*/ 5980675 w 6454816"/>
                <a:gd name="connsiteY10" fmla="*/ 1303484 h 1893535"/>
                <a:gd name="connsiteX0" fmla="*/ 5961776 w 6435917"/>
                <a:gd name="connsiteY0" fmla="*/ 1303484 h 1893535"/>
                <a:gd name="connsiteX1" fmla="*/ 6348655 w 6435917"/>
                <a:gd name="connsiteY1" fmla="*/ 1019494 h 1893535"/>
                <a:gd name="connsiteX2" fmla="*/ 4818055 w 6435917"/>
                <a:gd name="connsiteY2" fmla="*/ 83476 h 1893535"/>
                <a:gd name="connsiteX3" fmla="*/ 2987403 w 6435917"/>
                <a:gd name="connsiteY3" fmla="*/ 218277 h 1893535"/>
                <a:gd name="connsiteX4" fmla="*/ 1640964 w 6435917"/>
                <a:gd name="connsiteY4" fmla="*/ 1237490 h 1893535"/>
                <a:gd name="connsiteX5" fmla="*/ 358668 w 6435917"/>
                <a:gd name="connsiteY5" fmla="*/ 1016680 h 1893535"/>
                <a:gd name="connsiteX6" fmla="*/ 84009 w 6435917"/>
                <a:gd name="connsiteY6" fmla="*/ 1379841 h 1893535"/>
                <a:gd name="connsiteX7" fmla="*/ 1803650 w 6435917"/>
                <a:gd name="connsiteY7" fmla="*/ 1710450 h 1893535"/>
                <a:gd name="connsiteX8" fmla="*/ 3162554 w 6435917"/>
                <a:gd name="connsiteY8" fmla="*/ 729736 h 1893535"/>
                <a:gd name="connsiteX9" fmla="*/ 4693225 w 6435917"/>
                <a:gd name="connsiteY9" fmla="*/ 588667 h 1893535"/>
                <a:gd name="connsiteX10" fmla="*/ 5961776 w 6435917"/>
                <a:gd name="connsiteY10" fmla="*/ 1303484 h 1893535"/>
                <a:gd name="connsiteX0" fmla="*/ 5961776 w 6435917"/>
                <a:gd name="connsiteY0" fmla="*/ 1303484 h 1892323"/>
                <a:gd name="connsiteX1" fmla="*/ 6348655 w 6435917"/>
                <a:gd name="connsiteY1" fmla="*/ 1019494 h 1892323"/>
                <a:gd name="connsiteX2" fmla="*/ 4818055 w 6435917"/>
                <a:gd name="connsiteY2" fmla="*/ 83476 h 1892323"/>
                <a:gd name="connsiteX3" fmla="*/ 2987403 w 6435917"/>
                <a:gd name="connsiteY3" fmla="*/ 218277 h 1892323"/>
                <a:gd name="connsiteX4" fmla="*/ 1640964 w 6435917"/>
                <a:gd name="connsiteY4" fmla="*/ 1237490 h 1892323"/>
                <a:gd name="connsiteX5" fmla="*/ 358668 w 6435917"/>
                <a:gd name="connsiteY5" fmla="*/ 1016680 h 1892323"/>
                <a:gd name="connsiteX6" fmla="*/ 84009 w 6435917"/>
                <a:gd name="connsiteY6" fmla="*/ 1379841 h 1892323"/>
                <a:gd name="connsiteX7" fmla="*/ 1803650 w 6435917"/>
                <a:gd name="connsiteY7" fmla="*/ 1710450 h 1892323"/>
                <a:gd name="connsiteX8" fmla="*/ 3162554 w 6435917"/>
                <a:gd name="connsiteY8" fmla="*/ 729736 h 1892323"/>
                <a:gd name="connsiteX9" fmla="*/ 4693225 w 6435917"/>
                <a:gd name="connsiteY9" fmla="*/ 588667 h 1892323"/>
                <a:gd name="connsiteX10" fmla="*/ 5961776 w 6435917"/>
                <a:gd name="connsiteY10" fmla="*/ 1303484 h 1892323"/>
                <a:gd name="connsiteX0" fmla="*/ 5941465 w 6415606"/>
                <a:gd name="connsiteY0" fmla="*/ 1303484 h 1902580"/>
                <a:gd name="connsiteX1" fmla="*/ 6328344 w 6415606"/>
                <a:gd name="connsiteY1" fmla="*/ 1019494 h 1902580"/>
                <a:gd name="connsiteX2" fmla="*/ 4797744 w 6415606"/>
                <a:gd name="connsiteY2" fmla="*/ 83476 h 1902580"/>
                <a:gd name="connsiteX3" fmla="*/ 2967092 w 6415606"/>
                <a:gd name="connsiteY3" fmla="*/ 218277 h 1902580"/>
                <a:gd name="connsiteX4" fmla="*/ 1620653 w 6415606"/>
                <a:gd name="connsiteY4" fmla="*/ 1237490 h 1902580"/>
                <a:gd name="connsiteX5" fmla="*/ 338357 w 6415606"/>
                <a:gd name="connsiteY5" fmla="*/ 1016680 h 1902580"/>
                <a:gd name="connsiteX6" fmla="*/ 89019 w 6415606"/>
                <a:gd name="connsiteY6" fmla="*/ 1419231 h 1902580"/>
                <a:gd name="connsiteX7" fmla="*/ 1783339 w 6415606"/>
                <a:gd name="connsiteY7" fmla="*/ 1710450 h 1902580"/>
                <a:gd name="connsiteX8" fmla="*/ 3142243 w 6415606"/>
                <a:gd name="connsiteY8" fmla="*/ 729736 h 1902580"/>
                <a:gd name="connsiteX9" fmla="*/ 4672914 w 6415606"/>
                <a:gd name="connsiteY9" fmla="*/ 588667 h 1902580"/>
                <a:gd name="connsiteX10" fmla="*/ 5941465 w 6415606"/>
                <a:gd name="connsiteY10" fmla="*/ 1303484 h 1902580"/>
                <a:gd name="connsiteX0" fmla="*/ 5960039 w 6434180"/>
                <a:gd name="connsiteY0" fmla="*/ 1303484 h 1902580"/>
                <a:gd name="connsiteX1" fmla="*/ 6346918 w 6434180"/>
                <a:gd name="connsiteY1" fmla="*/ 1019494 h 1902580"/>
                <a:gd name="connsiteX2" fmla="*/ 4816318 w 6434180"/>
                <a:gd name="connsiteY2" fmla="*/ 83476 h 1902580"/>
                <a:gd name="connsiteX3" fmla="*/ 2985666 w 6434180"/>
                <a:gd name="connsiteY3" fmla="*/ 218277 h 1902580"/>
                <a:gd name="connsiteX4" fmla="*/ 1639227 w 6434180"/>
                <a:gd name="connsiteY4" fmla="*/ 1237490 h 1902580"/>
                <a:gd name="connsiteX5" fmla="*/ 356931 w 6434180"/>
                <a:gd name="connsiteY5" fmla="*/ 1016680 h 1902580"/>
                <a:gd name="connsiteX6" fmla="*/ 107593 w 6434180"/>
                <a:gd name="connsiteY6" fmla="*/ 1419231 h 1902580"/>
                <a:gd name="connsiteX7" fmla="*/ 1801913 w 6434180"/>
                <a:gd name="connsiteY7" fmla="*/ 1710450 h 1902580"/>
                <a:gd name="connsiteX8" fmla="*/ 3160817 w 6434180"/>
                <a:gd name="connsiteY8" fmla="*/ 729736 h 1902580"/>
                <a:gd name="connsiteX9" fmla="*/ 4691488 w 6434180"/>
                <a:gd name="connsiteY9" fmla="*/ 588667 h 1902580"/>
                <a:gd name="connsiteX10" fmla="*/ 5960039 w 6434180"/>
                <a:gd name="connsiteY10" fmla="*/ 1303484 h 1902580"/>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946772"/>
                <a:gd name="connsiteX1" fmla="*/ 6346918 w 6434180"/>
                <a:gd name="connsiteY1" fmla="*/ 1019494 h 1946772"/>
                <a:gd name="connsiteX2" fmla="*/ 4816318 w 6434180"/>
                <a:gd name="connsiteY2" fmla="*/ 83476 h 1946772"/>
                <a:gd name="connsiteX3" fmla="*/ 2985666 w 6434180"/>
                <a:gd name="connsiteY3" fmla="*/ 218277 h 1946772"/>
                <a:gd name="connsiteX4" fmla="*/ 1639227 w 6434180"/>
                <a:gd name="connsiteY4" fmla="*/ 1237490 h 1946772"/>
                <a:gd name="connsiteX5" fmla="*/ 356931 w 6434180"/>
                <a:gd name="connsiteY5" fmla="*/ 1016680 h 1946772"/>
                <a:gd name="connsiteX6" fmla="*/ 107593 w 6434180"/>
                <a:gd name="connsiteY6" fmla="*/ 1419231 h 1946772"/>
                <a:gd name="connsiteX7" fmla="*/ 1801913 w 6434180"/>
                <a:gd name="connsiteY7" fmla="*/ 1710450 h 1946772"/>
                <a:gd name="connsiteX8" fmla="*/ 3160817 w 6434180"/>
                <a:gd name="connsiteY8" fmla="*/ 729736 h 1946772"/>
                <a:gd name="connsiteX9" fmla="*/ 4691488 w 6434180"/>
                <a:gd name="connsiteY9" fmla="*/ 588667 h 1946772"/>
                <a:gd name="connsiteX10" fmla="*/ 5960039 w 6434180"/>
                <a:gd name="connsiteY10" fmla="*/ 1303484 h 1946772"/>
                <a:gd name="connsiteX0" fmla="*/ 5960039 w 6434180"/>
                <a:gd name="connsiteY0" fmla="*/ 1303484 h 1848056"/>
                <a:gd name="connsiteX1" fmla="*/ 6346918 w 6434180"/>
                <a:gd name="connsiteY1" fmla="*/ 1019494 h 1848056"/>
                <a:gd name="connsiteX2" fmla="*/ 4816318 w 6434180"/>
                <a:gd name="connsiteY2" fmla="*/ 83476 h 1848056"/>
                <a:gd name="connsiteX3" fmla="*/ 2985666 w 6434180"/>
                <a:gd name="connsiteY3" fmla="*/ 218277 h 1848056"/>
                <a:gd name="connsiteX4" fmla="*/ 1639227 w 6434180"/>
                <a:gd name="connsiteY4" fmla="*/ 1237490 h 1848056"/>
                <a:gd name="connsiteX5" fmla="*/ 356931 w 6434180"/>
                <a:gd name="connsiteY5" fmla="*/ 1016680 h 1848056"/>
                <a:gd name="connsiteX6" fmla="*/ 107593 w 6434180"/>
                <a:gd name="connsiteY6" fmla="*/ 1419231 h 1848056"/>
                <a:gd name="connsiteX7" fmla="*/ 1801913 w 6434180"/>
                <a:gd name="connsiteY7" fmla="*/ 1710450 h 1848056"/>
                <a:gd name="connsiteX8" fmla="*/ 3160817 w 6434180"/>
                <a:gd name="connsiteY8" fmla="*/ 729736 h 1848056"/>
                <a:gd name="connsiteX9" fmla="*/ 4691488 w 6434180"/>
                <a:gd name="connsiteY9" fmla="*/ 588667 h 1848056"/>
                <a:gd name="connsiteX10" fmla="*/ 5960039 w 6434180"/>
                <a:gd name="connsiteY10" fmla="*/ 1303484 h 1848056"/>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5521 h 1862570"/>
                <a:gd name="connsiteX1" fmla="*/ 6346918 w 6434180"/>
                <a:gd name="connsiteY1" fmla="*/ 991531 h 1862570"/>
                <a:gd name="connsiteX2" fmla="*/ 4816318 w 6434180"/>
                <a:gd name="connsiteY2" fmla="*/ 55513 h 1862570"/>
                <a:gd name="connsiteX3" fmla="*/ 2985666 w 6434180"/>
                <a:gd name="connsiteY3" fmla="*/ 190314 h 1862570"/>
                <a:gd name="connsiteX4" fmla="*/ 1639227 w 6434180"/>
                <a:gd name="connsiteY4" fmla="*/ 1209527 h 1862570"/>
                <a:gd name="connsiteX5" fmla="*/ 356931 w 6434180"/>
                <a:gd name="connsiteY5" fmla="*/ 988717 h 1862570"/>
                <a:gd name="connsiteX6" fmla="*/ 107593 w 6434180"/>
                <a:gd name="connsiteY6" fmla="*/ 1391268 h 1862570"/>
                <a:gd name="connsiteX7" fmla="*/ 1801913 w 6434180"/>
                <a:gd name="connsiteY7" fmla="*/ 1682487 h 1862570"/>
                <a:gd name="connsiteX8" fmla="*/ 3160817 w 6434180"/>
                <a:gd name="connsiteY8" fmla="*/ 701773 h 1862570"/>
                <a:gd name="connsiteX9" fmla="*/ 4691488 w 6434180"/>
                <a:gd name="connsiteY9" fmla="*/ 560704 h 1862570"/>
                <a:gd name="connsiteX10" fmla="*/ 5960039 w 6434180"/>
                <a:gd name="connsiteY10" fmla="*/ 1275521 h 1862570"/>
                <a:gd name="connsiteX0" fmla="*/ 5960039 w 6434180"/>
                <a:gd name="connsiteY0" fmla="*/ 1275521 h 1716378"/>
                <a:gd name="connsiteX1" fmla="*/ 6346918 w 6434180"/>
                <a:gd name="connsiteY1" fmla="*/ 991531 h 1716378"/>
                <a:gd name="connsiteX2" fmla="*/ 4816318 w 6434180"/>
                <a:gd name="connsiteY2" fmla="*/ 55513 h 1716378"/>
                <a:gd name="connsiteX3" fmla="*/ 2985666 w 6434180"/>
                <a:gd name="connsiteY3" fmla="*/ 190314 h 1716378"/>
                <a:gd name="connsiteX4" fmla="*/ 1639227 w 6434180"/>
                <a:gd name="connsiteY4" fmla="*/ 1209527 h 1716378"/>
                <a:gd name="connsiteX5" fmla="*/ 356931 w 6434180"/>
                <a:gd name="connsiteY5" fmla="*/ 988717 h 1716378"/>
                <a:gd name="connsiteX6" fmla="*/ 107593 w 6434180"/>
                <a:gd name="connsiteY6" fmla="*/ 1391268 h 1716378"/>
                <a:gd name="connsiteX7" fmla="*/ 1801913 w 6434180"/>
                <a:gd name="connsiteY7" fmla="*/ 1682487 h 1716378"/>
                <a:gd name="connsiteX8" fmla="*/ 3389417 w 6434180"/>
                <a:gd name="connsiteY8" fmla="*/ 1171673 h 1716378"/>
                <a:gd name="connsiteX9" fmla="*/ 4691488 w 6434180"/>
                <a:gd name="connsiteY9" fmla="*/ 560704 h 1716378"/>
                <a:gd name="connsiteX10" fmla="*/ 5960039 w 6434180"/>
                <a:gd name="connsiteY10" fmla="*/ 1275521 h 1716378"/>
                <a:gd name="connsiteX0" fmla="*/ 5960039 w 6434180"/>
                <a:gd name="connsiteY0" fmla="*/ 1223507 h 1664364"/>
                <a:gd name="connsiteX1" fmla="*/ 6346918 w 6434180"/>
                <a:gd name="connsiteY1" fmla="*/ 939517 h 1664364"/>
                <a:gd name="connsiteX2" fmla="*/ 4816318 w 6434180"/>
                <a:gd name="connsiteY2" fmla="*/ 3499 h 1664364"/>
                <a:gd name="connsiteX3" fmla="*/ 3207916 w 6434180"/>
                <a:gd name="connsiteY3" fmla="*/ 652650 h 1664364"/>
                <a:gd name="connsiteX4" fmla="*/ 1639227 w 6434180"/>
                <a:gd name="connsiteY4" fmla="*/ 1157513 h 1664364"/>
                <a:gd name="connsiteX5" fmla="*/ 356931 w 6434180"/>
                <a:gd name="connsiteY5" fmla="*/ 936703 h 1664364"/>
                <a:gd name="connsiteX6" fmla="*/ 107593 w 6434180"/>
                <a:gd name="connsiteY6" fmla="*/ 1339254 h 1664364"/>
                <a:gd name="connsiteX7" fmla="*/ 1801913 w 6434180"/>
                <a:gd name="connsiteY7" fmla="*/ 1630473 h 1664364"/>
                <a:gd name="connsiteX8" fmla="*/ 3389417 w 6434180"/>
                <a:gd name="connsiteY8" fmla="*/ 1119659 h 1664364"/>
                <a:gd name="connsiteX9" fmla="*/ 4691488 w 6434180"/>
                <a:gd name="connsiteY9" fmla="*/ 508690 h 1664364"/>
                <a:gd name="connsiteX10" fmla="*/ 5960039 w 6434180"/>
                <a:gd name="connsiteY10" fmla="*/ 1223507 h 1664364"/>
                <a:gd name="connsiteX0" fmla="*/ 5948917 w 6423058"/>
                <a:gd name="connsiteY0" fmla="*/ 1223507 h 1664364"/>
                <a:gd name="connsiteX1" fmla="*/ 6335796 w 6423058"/>
                <a:gd name="connsiteY1" fmla="*/ 939517 h 1664364"/>
                <a:gd name="connsiteX2" fmla="*/ 4805196 w 6423058"/>
                <a:gd name="connsiteY2" fmla="*/ 3499 h 1664364"/>
                <a:gd name="connsiteX3" fmla="*/ 3196794 w 6423058"/>
                <a:gd name="connsiteY3" fmla="*/ 652650 h 1664364"/>
                <a:gd name="connsiteX4" fmla="*/ 1628105 w 6423058"/>
                <a:gd name="connsiteY4" fmla="*/ 1157513 h 1664364"/>
                <a:gd name="connsiteX5" fmla="*/ 402959 w 6423058"/>
                <a:gd name="connsiteY5" fmla="*/ 860503 h 1664364"/>
                <a:gd name="connsiteX6" fmla="*/ 96471 w 6423058"/>
                <a:gd name="connsiteY6" fmla="*/ 1339254 h 1664364"/>
                <a:gd name="connsiteX7" fmla="*/ 1790791 w 6423058"/>
                <a:gd name="connsiteY7" fmla="*/ 1630473 h 1664364"/>
                <a:gd name="connsiteX8" fmla="*/ 3378295 w 6423058"/>
                <a:gd name="connsiteY8" fmla="*/ 1119659 h 1664364"/>
                <a:gd name="connsiteX9" fmla="*/ 4680366 w 6423058"/>
                <a:gd name="connsiteY9" fmla="*/ 508690 h 1664364"/>
                <a:gd name="connsiteX10" fmla="*/ 5948917 w 6423058"/>
                <a:gd name="connsiteY10" fmla="*/ 1223507 h 1664364"/>
                <a:gd name="connsiteX0" fmla="*/ 5912928 w 6387069"/>
                <a:gd name="connsiteY0" fmla="*/ 1223507 h 1636325"/>
                <a:gd name="connsiteX1" fmla="*/ 6299807 w 6387069"/>
                <a:gd name="connsiteY1" fmla="*/ 939517 h 1636325"/>
                <a:gd name="connsiteX2" fmla="*/ 4769207 w 6387069"/>
                <a:gd name="connsiteY2" fmla="*/ 3499 h 1636325"/>
                <a:gd name="connsiteX3" fmla="*/ 3160805 w 6387069"/>
                <a:gd name="connsiteY3" fmla="*/ 652650 h 1636325"/>
                <a:gd name="connsiteX4" fmla="*/ 1592116 w 6387069"/>
                <a:gd name="connsiteY4" fmla="*/ 1157513 h 1636325"/>
                <a:gd name="connsiteX5" fmla="*/ 366970 w 6387069"/>
                <a:gd name="connsiteY5" fmla="*/ 860503 h 1636325"/>
                <a:gd name="connsiteX6" fmla="*/ 104932 w 6387069"/>
                <a:gd name="connsiteY6" fmla="*/ 1231304 h 1636325"/>
                <a:gd name="connsiteX7" fmla="*/ 1754802 w 6387069"/>
                <a:gd name="connsiteY7" fmla="*/ 1630473 h 1636325"/>
                <a:gd name="connsiteX8" fmla="*/ 3342306 w 6387069"/>
                <a:gd name="connsiteY8" fmla="*/ 1119659 h 1636325"/>
                <a:gd name="connsiteX9" fmla="*/ 4644377 w 6387069"/>
                <a:gd name="connsiteY9" fmla="*/ 508690 h 1636325"/>
                <a:gd name="connsiteX10" fmla="*/ 5912928 w 6387069"/>
                <a:gd name="connsiteY10" fmla="*/ 1223507 h 1636325"/>
                <a:gd name="connsiteX0" fmla="*/ 5912928 w 6387069"/>
                <a:gd name="connsiteY0" fmla="*/ 1223507 h 1872772"/>
                <a:gd name="connsiteX1" fmla="*/ 6299807 w 6387069"/>
                <a:gd name="connsiteY1" fmla="*/ 939517 h 1872772"/>
                <a:gd name="connsiteX2" fmla="*/ 4769207 w 6387069"/>
                <a:gd name="connsiteY2" fmla="*/ 3499 h 1872772"/>
                <a:gd name="connsiteX3" fmla="*/ 3160805 w 6387069"/>
                <a:gd name="connsiteY3" fmla="*/ 652650 h 1872772"/>
                <a:gd name="connsiteX4" fmla="*/ 1592116 w 6387069"/>
                <a:gd name="connsiteY4" fmla="*/ 1157513 h 1872772"/>
                <a:gd name="connsiteX5" fmla="*/ 366970 w 6387069"/>
                <a:gd name="connsiteY5" fmla="*/ 860503 h 1872772"/>
                <a:gd name="connsiteX6" fmla="*/ 104932 w 6387069"/>
                <a:gd name="connsiteY6" fmla="*/ 1231304 h 1872772"/>
                <a:gd name="connsiteX7" fmla="*/ 1748452 w 6387069"/>
                <a:gd name="connsiteY7" fmla="*/ 1871773 h 1872772"/>
                <a:gd name="connsiteX8" fmla="*/ 3342306 w 6387069"/>
                <a:gd name="connsiteY8" fmla="*/ 1119659 h 1872772"/>
                <a:gd name="connsiteX9" fmla="*/ 4644377 w 6387069"/>
                <a:gd name="connsiteY9" fmla="*/ 508690 h 1872772"/>
                <a:gd name="connsiteX10" fmla="*/ 5912928 w 6387069"/>
                <a:gd name="connsiteY10" fmla="*/ 1223507 h 1872772"/>
                <a:gd name="connsiteX0" fmla="*/ 5912928 w 6387069"/>
                <a:gd name="connsiteY0" fmla="*/ 1223435 h 1872700"/>
                <a:gd name="connsiteX1" fmla="*/ 6299807 w 6387069"/>
                <a:gd name="connsiteY1" fmla="*/ 939445 h 1872700"/>
                <a:gd name="connsiteX2" fmla="*/ 4769207 w 6387069"/>
                <a:gd name="connsiteY2" fmla="*/ 3427 h 1872700"/>
                <a:gd name="connsiteX3" fmla="*/ 3160805 w 6387069"/>
                <a:gd name="connsiteY3" fmla="*/ 652578 h 1872700"/>
                <a:gd name="connsiteX4" fmla="*/ 1668316 w 6387069"/>
                <a:gd name="connsiteY4" fmla="*/ 1398741 h 1872700"/>
                <a:gd name="connsiteX5" fmla="*/ 366970 w 6387069"/>
                <a:gd name="connsiteY5" fmla="*/ 860431 h 1872700"/>
                <a:gd name="connsiteX6" fmla="*/ 104932 w 6387069"/>
                <a:gd name="connsiteY6" fmla="*/ 1231232 h 1872700"/>
                <a:gd name="connsiteX7" fmla="*/ 1748452 w 6387069"/>
                <a:gd name="connsiteY7" fmla="*/ 1871701 h 1872700"/>
                <a:gd name="connsiteX8" fmla="*/ 3342306 w 6387069"/>
                <a:gd name="connsiteY8" fmla="*/ 1119587 h 1872700"/>
                <a:gd name="connsiteX9" fmla="*/ 4644377 w 6387069"/>
                <a:gd name="connsiteY9" fmla="*/ 508618 h 1872700"/>
                <a:gd name="connsiteX10" fmla="*/ 5912928 w 6387069"/>
                <a:gd name="connsiteY10" fmla="*/ 1223435 h 1872700"/>
                <a:gd name="connsiteX0" fmla="*/ 5912928 w 6387069"/>
                <a:gd name="connsiteY0" fmla="*/ 1223435 h 1872700"/>
                <a:gd name="connsiteX1" fmla="*/ 6299807 w 6387069"/>
                <a:gd name="connsiteY1" fmla="*/ 939445 h 1872700"/>
                <a:gd name="connsiteX2" fmla="*/ 4769207 w 6387069"/>
                <a:gd name="connsiteY2" fmla="*/ 3427 h 1872700"/>
                <a:gd name="connsiteX3" fmla="*/ 3160805 w 6387069"/>
                <a:gd name="connsiteY3" fmla="*/ 652578 h 1872700"/>
                <a:gd name="connsiteX4" fmla="*/ 1668316 w 6387069"/>
                <a:gd name="connsiteY4" fmla="*/ 1398741 h 1872700"/>
                <a:gd name="connsiteX5" fmla="*/ 366970 w 6387069"/>
                <a:gd name="connsiteY5" fmla="*/ 860431 h 1872700"/>
                <a:gd name="connsiteX6" fmla="*/ 104932 w 6387069"/>
                <a:gd name="connsiteY6" fmla="*/ 1231232 h 1872700"/>
                <a:gd name="connsiteX7" fmla="*/ 1748452 w 6387069"/>
                <a:gd name="connsiteY7" fmla="*/ 1871701 h 1872700"/>
                <a:gd name="connsiteX8" fmla="*/ 3342306 w 6387069"/>
                <a:gd name="connsiteY8" fmla="*/ 1119587 h 1872700"/>
                <a:gd name="connsiteX9" fmla="*/ 4574527 w 6387069"/>
                <a:gd name="connsiteY9" fmla="*/ 565768 h 1872700"/>
                <a:gd name="connsiteX10" fmla="*/ 5912928 w 6387069"/>
                <a:gd name="connsiteY10" fmla="*/ 1223435 h 1872700"/>
                <a:gd name="connsiteX0" fmla="*/ 5912928 w 6370309"/>
                <a:gd name="connsiteY0" fmla="*/ 1223435 h 1872700"/>
                <a:gd name="connsiteX1" fmla="*/ 6299807 w 6370309"/>
                <a:gd name="connsiteY1" fmla="*/ 939445 h 1872700"/>
                <a:gd name="connsiteX2" fmla="*/ 4769207 w 6370309"/>
                <a:gd name="connsiteY2" fmla="*/ 3427 h 1872700"/>
                <a:gd name="connsiteX3" fmla="*/ 3160805 w 6370309"/>
                <a:gd name="connsiteY3" fmla="*/ 652578 h 1872700"/>
                <a:gd name="connsiteX4" fmla="*/ 1668316 w 6370309"/>
                <a:gd name="connsiteY4" fmla="*/ 1398741 h 1872700"/>
                <a:gd name="connsiteX5" fmla="*/ 366970 w 6370309"/>
                <a:gd name="connsiteY5" fmla="*/ 860431 h 1872700"/>
                <a:gd name="connsiteX6" fmla="*/ 104932 w 6370309"/>
                <a:gd name="connsiteY6" fmla="*/ 1231232 h 1872700"/>
                <a:gd name="connsiteX7" fmla="*/ 1748452 w 6370309"/>
                <a:gd name="connsiteY7" fmla="*/ 1871701 h 1872700"/>
                <a:gd name="connsiteX8" fmla="*/ 3342306 w 6370309"/>
                <a:gd name="connsiteY8" fmla="*/ 1119587 h 1872700"/>
                <a:gd name="connsiteX9" fmla="*/ 4574527 w 6370309"/>
                <a:gd name="connsiteY9" fmla="*/ 565768 h 1872700"/>
                <a:gd name="connsiteX10" fmla="*/ 5912928 w 6370309"/>
                <a:gd name="connsiteY10" fmla="*/ 1223435 h 1872700"/>
                <a:gd name="connsiteX0" fmla="*/ 5912928 w 6341709"/>
                <a:gd name="connsiteY0" fmla="*/ 1223435 h 1872700"/>
                <a:gd name="connsiteX1" fmla="*/ 6299807 w 6341709"/>
                <a:gd name="connsiteY1" fmla="*/ 939445 h 1872700"/>
                <a:gd name="connsiteX2" fmla="*/ 4769207 w 6341709"/>
                <a:gd name="connsiteY2" fmla="*/ 3427 h 1872700"/>
                <a:gd name="connsiteX3" fmla="*/ 3160805 w 6341709"/>
                <a:gd name="connsiteY3" fmla="*/ 652578 h 1872700"/>
                <a:gd name="connsiteX4" fmla="*/ 1668316 w 6341709"/>
                <a:gd name="connsiteY4" fmla="*/ 1398741 h 1872700"/>
                <a:gd name="connsiteX5" fmla="*/ 366970 w 6341709"/>
                <a:gd name="connsiteY5" fmla="*/ 860431 h 1872700"/>
                <a:gd name="connsiteX6" fmla="*/ 104932 w 6341709"/>
                <a:gd name="connsiteY6" fmla="*/ 1231232 h 1872700"/>
                <a:gd name="connsiteX7" fmla="*/ 1748452 w 6341709"/>
                <a:gd name="connsiteY7" fmla="*/ 1871701 h 1872700"/>
                <a:gd name="connsiteX8" fmla="*/ 3342306 w 6341709"/>
                <a:gd name="connsiteY8" fmla="*/ 1119587 h 1872700"/>
                <a:gd name="connsiteX9" fmla="*/ 4574527 w 6341709"/>
                <a:gd name="connsiteY9" fmla="*/ 565768 h 1872700"/>
                <a:gd name="connsiteX10" fmla="*/ 5912928 w 6341709"/>
                <a:gd name="connsiteY10" fmla="*/ 1223435 h 1872700"/>
                <a:gd name="connsiteX0" fmla="*/ 5912928 w 6341709"/>
                <a:gd name="connsiteY0" fmla="*/ 1160338 h 1809603"/>
                <a:gd name="connsiteX1" fmla="*/ 6299807 w 6341709"/>
                <a:gd name="connsiteY1" fmla="*/ 876348 h 1809603"/>
                <a:gd name="connsiteX2" fmla="*/ 4566007 w 6341709"/>
                <a:gd name="connsiteY2" fmla="*/ 3830 h 1809603"/>
                <a:gd name="connsiteX3" fmla="*/ 3160805 w 6341709"/>
                <a:gd name="connsiteY3" fmla="*/ 589481 h 1809603"/>
                <a:gd name="connsiteX4" fmla="*/ 1668316 w 6341709"/>
                <a:gd name="connsiteY4" fmla="*/ 1335644 h 1809603"/>
                <a:gd name="connsiteX5" fmla="*/ 366970 w 6341709"/>
                <a:gd name="connsiteY5" fmla="*/ 797334 h 1809603"/>
                <a:gd name="connsiteX6" fmla="*/ 104932 w 6341709"/>
                <a:gd name="connsiteY6" fmla="*/ 1168135 h 1809603"/>
                <a:gd name="connsiteX7" fmla="*/ 1748452 w 6341709"/>
                <a:gd name="connsiteY7" fmla="*/ 1808604 h 1809603"/>
                <a:gd name="connsiteX8" fmla="*/ 3342306 w 6341709"/>
                <a:gd name="connsiteY8" fmla="*/ 1056490 h 1809603"/>
                <a:gd name="connsiteX9" fmla="*/ 4574527 w 6341709"/>
                <a:gd name="connsiteY9" fmla="*/ 502671 h 1809603"/>
                <a:gd name="connsiteX10" fmla="*/ 5912928 w 6341709"/>
                <a:gd name="connsiteY10" fmla="*/ 1160338 h 1809603"/>
                <a:gd name="connsiteX0" fmla="*/ 5912928 w 6341709"/>
                <a:gd name="connsiteY0" fmla="*/ 1158006 h 1807271"/>
                <a:gd name="connsiteX1" fmla="*/ 6299807 w 6341709"/>
                <a:gd name="connsiteY1" fmla="*/ 874016 h 1807271"/>
                <a:gd name="connsiteX2" fmla="*/ 4566007 w 6341709"/>
                <a:gd name="connsiteY2" fmla="*/ 1498 h 1807271"/>
                <a:gd name="connsiteX3" fmla="*/ 3160805 w 6341709"/>
                <a:gd name="connsiteY3" fmla="*/ 587149 h 1807271"/>
                <a:gd name="connsiteX4" fmla="*/ 1668316 w 6341709"/>
                <a:gd name="connsiteY4" fmla="*/ 1333312 h 1807271"/>
                <a:gd name="connsiteX5" fmla="*/ 366970 w 6341709"/>
                <a:gd name="connsiteY5" fmla="*/ 795002 h 1807271"/>
                <a:gd name="connsiteX6" fmla="*/ 104932 w 6341709"/>
                <a:gd name="connsiteY6" fmla="*/ 1165803 h 1807271"/>
                <a:gd name="connsiteX7" fmla="*/ 1748452 w 6341709"/>
                <a:gd name="connsiteY7" fmla="*/ 1806272 h 1807271"/>
                <a:gd name="connsiteX8" fmla="*/ 3342306 w 6341709"/>
                <a:gd name="connsiteY8" fmla="*/ 1054158 h 1807271"/>
                <a:gd name="connsiteX9" fmla="*/ 4574527 w 6341709"/>
                <a:gd name="connsiteY9" fmla="*/ 500339 h 1807271"/>
                <a:gd name="connsiteX10" fmla="*/ 5912928 w 6341709"/>
                <a:gd name="connsiteY10" fmla="*/ 1158006 h 1807271"/>
                <a:gd name="connsiteX0" fmla="*/ 5912928 w 6341709"/>
                <a:gd name="connsiteY0" fmla="*/ 1158785 h 1808050"/>
                <a:gd name="connsiteX1" fmla="*/ 6299807 w 6341709"/>
                <a:gd name="connsiteY1" fmla="*/ 874795 h 1808050"/>
                <a:gd name="connsiteX2" fmla="*/ 4566007 w 6341709"/>
                <a:gd name="connsiteY2" fmla="*/ 2277 h 1808050"/>
                <a:gd name="connsiteX3" fmla="*/ 3160805 w 6341709"/>
                <a:gd name="connsiteY3" fmla="*/ 587928 h 1808050"/>
                <a:gd name="connsiteX4" fmla="*/ 1668316 w 6341709"/>
                <a:gd name="connsiteY4" fmla="*/ 1334091 h 1808050"/>
                <a:gd name="connsiteX5" fmla="*/ 366970 w 6341709"/>
                <a:gd name="connsiteY5" fmla="*/ 795781 h 1808050"/>
                <a:gd name="connsiteX6" fmla="*/ 104932 w 6341709"/>
                <a:gd name="connsiteY6" fmla="*/ 1166582 h 1808050"/>
                <a:gd name="connsiteX7" fmla="*/ 1748452 w 6341709"/>
                <a:gd name="connsiteY7" fmla="*/ 1807051 h 1808050"/>
                <a:gd name="connsiteX8" fmla="*/ 3342306 w 6341709"/>
                <a:gd name="connsiteY8" fmla="*/ 1054937 h 1808050"/>
                <a:gd name="connsiteX9" fmla="*/ 4574527 w 6341709"/>
                <a:gd name="connsiteY9" fmla="*/ 501118 h 1808050"/>
                <a:gd name="connsiteX10" fmla="*/ 5912928 w 6341709"/>
                <a:gd name="connsiteY10" fmla="*/ 1158785 h 1808050"/>
                <a:gd name="connsiteX0" fmla="*/ 5912928 w 6341709"/>
                <a:gd name="connsiteY0" fmla="*/ 1158785 h 1808050"/>
                <a:gd name="connsiteX1" fmla="*/ 6299807 w 6341709"/>
                <a:gd name="connsiteY1" fmla="*/ 874795 h 1808050"/>
                <a:gd name="connsiteX2" fmla="*/ 4566007 w 6341709"/>
                <a:gd name="connsiteY2" fmla="*/ 2277 h 1808050"/>
                <a:gd name="connsiteX3" fmla="*/ 3160805 w 6341709"/>
                <a:gd name="connsiteY3" fmla="*/ 587928 h 1808050"/>
                <a:gd name="connsiteX4" fmla="*/ 1668316 w 6341709"/>
                <a:gd name="connsiteY4" fmla="*/ 1334091 h 1808050"/>
                <a:gd name="connsiteX5" fmla="*/ 366970 w 6341709"/>
                <a:gd name="connsiteY5" fmla="*/ 795781 h 1808050"/>
                <a:gd name="connsiteX6" fmla="*/ 104932 w 6341709"/>
                <a:gd name="connsiteY6" fmla="*/ 1166582 h 1808050"/>
                <a:gd name="connsiteX7" fmla="*/ 1748452 w 6341709"/>
                <a:gd name="connsiteY7" fmla="*/ 1807051 h 1808050"/>
                <a:gd name="connsiteX8" fmla="*/ 3342306 w 6341709"/>
                <a:gd name="connsiteY8" fmla="*/ 1054937 h 1808050"/>
                <a:gd name="connsiteX9" fmla="*/ 4574527 w 6341709"/>
                <a:gd name="connsiteY9" fmla="*/ 501118 h 1808050"/>
                <a:gd name="connsiteX10" fmla="*/ 5912928 w 6341709"/>
                <a:gd name="connsiteY10" fmla="*/ 1158785 h 1808050"/>
                <a:gd name="connsiteX0" fmla="*/ 5912928 w 6341709"/>
                <a:gd name="connsiteY0" fmla="*/ 1158785 h 1808050"/>
                <a:gd name="connsiteX1" fmla="*/ 6299807 w 6341709"/>
                <a:gd name="connsiteY1" fmla="*/ 874795 h 1808050"/>
                <a:gd name="connsiteX2" fmla="*/ 4566007 w 6341709"/>
                <a:gd name="connsiteY2" fmla="*/ 2277 h 1808050"/>
                <a:gd name="connsiteX3" fmla="*/ 3160805 w 6341709"/>
                <a:gd name="connsiteY3" fmla="*/ 587928 h 1808050"/>
                <a:gd name="connsiteX4" fmla="*/ 1668316 w 6341709"/>
                <a:gd name="connsiteY4" fmla="*/ 1334091 h 1808050"/>
                <a:gd name="connsiteX5" fmla="*/ 366970 w 6341709"/>
                <a:gd name="connsiteY5" fmla="*/ 795781 h 1808050"/>
                <a:gd name="connsiteX6" fmla="*/ 104932 w 6341709"/>
                <a:gd name="connsiteY6" fmla="*/ 1166582 h 1808050"/>
                <a:gd name="connsiteX7" fmla="*/ 1748452 w 6341709"/>
                <a:gd name="connsiteY7" fmla="*/ 1807051 h 1808050"/>
                <a:gd name="connsiteX8" fmla="*/ 3342306 w 6341709"/>
                <a:gd name="connsiteY8" fmla="*/ 1054937 h 1808050"/>
                <a:gd name="connsiteX9" fmla="*/ 4574527 w 6341709"/>
                <a:gd name="connsiteY9" fmla="*/ 501118 h 1808050"/>
                <a:gd name="connsiteX10" fmla="*/ 5912928 w 6341709"/>
                <a:gd name="connsiteY10" fmla="*/ 1158785 h 1808050"/>
                <a:gd name="connsiteX0" fmla="*/ 5973987 w 6402768"/>
                <a:gd name="connsiteY0" fmla="*/ 1158785 h 1808050"/>
                <a:gd name="connsiteX1" fmla="*/ 6360866 w 6402768"/>
                <a:gd name="connsiteY1" fmla="*/ 874795 h 1808050"/>
                <a:gd name="connsiteX2" fmla="*/ 4627066 w 6402768"/>
                <a:gd name="connsiteY2" fmla="*/ 2277 h 1808050"/>
                <a:gd name="connsiteX3" fmla="*/ 3221864 w 6402768"/>
                <a:gd name="connsiteY3" fmla="*/ 587928 h 1808050"/>
                <a:gd name="connsiteX4" fmla="*/ 1729375 w 6402768"/>
                <a:gd name="connsiteY4" fmla="*/ 1334091 h 1808050"/>
                <a:gd name="connsiteX5" fmla="*/ 428029 w 6402768"/>
                <a:gd name="connsiteY5" fmla="*/ 795781 h 1808050"/>
                <a:gd name="connsiteX6" fmla="*/ 165991 w 6402768"/>
                <a:gd name="connsiteY6" fmla="*/ 1166582 h 1808050"/>
                <a:gd name="connsiteX7" fmla="*/ 1809511 w 6402768"/>
                <a:gd name="connsiteY7" fmla="*/ 1807051 h 1808050"/>
                <a:gd name="connsiteX8" fmla="*/ 3403365 w 6402768"/>
                <a:gd name="connsiteY8" fmla="*/ 1054937 h 1808050"/>
                <a:gd name="connsiteX9" fmla="*/ 4635586 w 6402768"/>
                <a:gd name="connsiteY9" fmla="*/ 501118 h 1808050"/>
                <a:gd name="connsiteX10" fmla="*/ 5973987 w 6402768"/>
                <a:gd name="connsiteY10" fmla="*/ 1158785 h 1808050"/>
                <a:gd name="connsiteX0" fmla="*/ 6015010 w 6443791"/>
                <a:gd name="connsiteY0" fmla="*/ 1158785 h 1808050"/>
                <a:gd name="connsiteX1" fmla="*/ 6401889 w 6443791"/>
                <a:gd name="connsiteY1" fmla="*/ 874795 h 1808050"/>
                <a:gd name="connsiteX2" fmla="*/ 4668089 w 6443791"/>
                <a:gd name="connsiteY2" fmla="*/ 2277 h 1808050"/>
                <a:gd name="connsiteX3" fmla="*/ 3262887 w 6443791"/>
                <a:gd name="connsiteY3" fmla="*/ 587928 h 1808050"/>
                <a:gd name="connsiteX4" fmla="*/ 1770398 w 6443791"/>
                <a:gd name="connsiteY4" fmla="*/ 1334091 h 1808050"/>
                <a:gd name="connsiteX5" fmla="*/ 469052 w 6443791"/>
                <a:gd name="connsiteY5" fmla="*/ 795781 h 1808050"/>
                <a:gd name="connsiteX6" fmla="*/ 207014 w 6443791"/>
                <a:gd name="connsiteY6" fmla="*/ 1166582 h 1808050"/>
                <a:gd name="connsiteX7" fmla="*/ 1850534 w 6443791"/>
                <a:gd name="connsiteY7" fmla="*/ 1807051 h 1808050"/>
                <a:gd name="connsiteX8" fmla="*/ 3444388 w 6443791"/>
                <a:gd name="connsiteY8" fmla="*/ 1054937 h 1808050"/>
                <a:gd name="connsiteX9" fmla="*/ 4676609 w 6443791"/>
                <a:gd name="connsiteY9" fmla="*/ 501118 h 1808050"/>
                <a:gd name="connsiteX10" fmla="*/ 6015010 w 6443791"/>
                <a:gd name="connsiteY10" fmla="*/ 1158785 h 1808050"/>
                <a:gd name="connsiteX0" fmla="*/ 5958523 w 6387304"/>
                <a:gd name="connsiteY0" fmla="*/ 1158785 h 1808050"/>
                <a:gd name="connsiteX1" fmla="*/ 6345402 w 6387304"/>
                <a:gd name="connsiteY1" fmla="*/ 874795 h 1808050"/>
                <a:gd name="connsiteX2" fmla="*/ 4611602 w 6387304"/>
                <a:gd name="connsiteY2" fmla="*/ 2277 h 1808050"/>
                <a:gd name="connsiteX3" fmla="*/ 3206400 w 6387304"/>
                <a:gd name="connsiteY3" fmla="*/ 587928 h 1808050"/>
                <a:gd name="connsiteX4" fmla="*/ 1713911 w 6387304"/>
                <a:gd name="connsiteY4" fmla="*/ 1334091 h 1808050"/>
                <a:gd name="connsiteX5" fmla="*/ 412565 w 6387304"/>
                <a:gd name="connsiteY5" fmla="*/ 795781 h 1808050"/>
                <a:gd name="connsiteX6" fmla="*/ 150527 w 6387304"/>
                <a:gd name="connsiteY6" fmla="*/ 1166582 h 1808050"/>
                <a:gd name="connsiteX7" fmla="*/ 1794047 w 6387304"/>
                <a:gd name="connsiteY7" fmla="*/ 1807051 h 1808050"/>
                <a:gd name="connsiteX8" fmla="*/ 3387901 w 6387304"/>
                <a:gd name="connsiteY8" fmla="*/ 1054937 h 1808050"/>
                <a:gd name="connsiteX9" fmla="*/ 4620122 w 6387304"/>
                <a:gd name="connsiteY9" fmla="*/ 501118 h 1808050"/>
                <a:gd name="connsiteX10" fmla="*/ 5958523 w 6387304"/>
                <a:gd name="connsiteY10" fmla="*/ 1158785 h 1808050"/>
                <a:gd name="connsiteX0" fmla="*/ 5973124 w 6401905"/>
                <a:gd name="connsiteY0" fmla="*/ 1158785 h 1808050"/>
                <a:gd name="connsiteX1" fmla="*/ 6360003 w 6401905"/>
                <a:gd name="connsiteY1" fmla="*/ 874795 h 1808050"/>
                <a:gd name="connsiteX2" fmla="*/ 4626203 w 6401905"/>
                <a:gd name="connsiteY2" fmla="*/ 2277 h 1808050"/>
                <a:gd name="connsiteX3" fmla="*/ 3221001 w 6401905"/>
                <a:gd name="connsiteY3" fmla="*/ 587928 h 1808050"/>
                <a:gd name="connsiteX4" fmla="*/ 1728512 w 6401905"/>
                <a:gd name="connsiteY4" fmla="*/ 1334091 h 1808050"/>
                <a:gd name="connsiteX5" fmla="*/ 427166 w 6401905"/>
                <a:gd name="connsiteY5" fmla="*/ 795781 h 1808050"/>
                <a:gd name="connsiteX6" fmla="*/ 165128 w 6401905"/>
                <a:gd name="connsiteY6" fmla="*/ 1166582 h 1808050"/>
                <a:gd name="connsiteX7" fmla="*/ 1808648 w 6401905"/>
                <a:gd name="connsiteY7" fmla="*/ 1807051 h 1808050"/>
                <a:gd name="connsiteX8" fmla="*/ 3402502 w 6401905"/>
                <a:gd name="connsiteY8" fmla="*/ 1054937 h 1808050"/>
                <a:gd name="connsiteX9" fmla="*/ 4634723 w 6401905"/>
                <a:gd name="connsiteY9" fmla="*/ 501118 h 1808050"/>
                <a:gd name="connsiteX10" fmla="*/ 5973124 w 6401905"/>
                <a:gd name="connsiteY10" fmla="*/ 1158785 h 1808050"/>
                <a:gd name="connsiteX0" fmla="*/ 5973124 w 6401905"/>
                <a:gd name="connsiteY0" fmla="*/ 1158785 h 1808050"/>
                <a:gd name="connsiteX1" fmla="*/ 6360003 w 6401905"/>
                <a:gd name="connsiteY1" fmla="*/ 874795 h 1808050"/>
                <a:gd name="connsiteX2" fmla="*/ 4626203 w 6401905"/>
                <a:gd name="connsiteY2" fmla="*/ 2277 h 1808050"/>
                <a:gd name="connsiteX3" fmla="*/ 3221001 w 6401905"/>
                <a:gd name="connsiteY3" fmla="*/ 587928 h 1808050"/>
                <a:gd name="connsiteX4" fmla="*/ 1728512 w 6401905"/>
                <a:gd name="connsiteY4" fmla="*/ 1334091 h 1808050"/>
                <a:gd name="connsiteX5" fmla="*/ 427166 w 6401905"/>
                <a:gd name="connsiteY5" fmla="*/ 795781 h 1808050"/>
                <a:gd name="connsiteX6" fmla="*/ 165128 w 6401905"/>
                <a:gd name="connsiteY6" fmla="*/ 1166582 h 1808050"/>
                <a:gd name="connsiteX7" fmla="*/ 1808648 w 6401905"/>
                <a:gd name="connsiteY7" fmla="*/ 1807051 h 1808050"/>
                <a:gd name="connsiteX8" fmla="*/ 3402502 w 6401905"/>
                <a:gd name="connsiteY8" fmla="*/ 1054937 h 1808050"/>
                <a:gd name="connsiteX9" fmla="*/ 4634723 w 6401905"/>
                <a:gd name="connsiteY9" fmla="*/ 501118 h 1808050"/>
                <a:gd name="connsiteX10" fmla="*/ 5973124 w 6401905"/>
                <a:gd name="connsiteY10" fmla="*/ 1158785 h 1808050"/>
                <a:gd name="connsiteX0" fmla="*/ 5973124 w 6401905"/>
                <a:gd name="connsiteY0" fmla="*/ 1158785 h 1808050"/>
                <a:gd name="connsiteX1" fmla="*/ 6360003 w 6401905"/>
                <a:gd name="connsiteY1" fmla="*/ 874795 h 1808050"/>
                <a:gd name="connsiteX2" fmla="*/ 4626203 w 6401905"/>
                <a:gd name="connsiteY2" fmla="*/ 2277 h 1808050"/>
                <a:gd name="connsiteX3" fmla="*/ 3221001 w 6401905"/>
                <a:gd name="connsiteY3" fmla="*/ 587928 h 1808050"/>
                <a:gd name="connsiteX4" fmla="*/ 1728512 w 6401905"/>
                <a:gd name="connsiteY4" fmla="*/ 1334091 h 1808050"/>
                <a:gd name="connsiteX5" fmla="*/ 427166 w 6401905"/>
                <a:gd name="connsiteY5" fmla="*/ 795781 h 1808050"/>
                <a:gd name="connsiteX6" fmla="*/ 165128 w 6401905"/>
                <a:gd name="connsiteY6" fmla="*/ 1166582 h 1808050"/>
                <a:gd name="connsiteX7" fmla="*/ 1808648 w 6401905"/>
                <a:gd name="connsiteY7" fmla="*/ 1807051 h 1808050"/>
                <a:gd name="connsiteX8" fmla="*/ 3402502 w 6401905"/>
                <a:gd name="connsiteY8" fmla="*/ 1054937 h 1808050"/>
                <a:gd name="connsiteX9" fmla="*/ 4634723 w 6401905"/>
                <a:gd name="connsiteY9" fmla="*/ 501118 h 1808050"/>
                <a:gd name="connsiteX10" fmla="*/ 5973124 w 6401905"/>
                <a:gd name="connsiteY10" fmla="*/ 1158785 h 1808050"/>
                <a:gd name="connsiteX0" fmla="*/ 5973124 w 6401905"/>
                <a:gd name="connsiteY0" fmla="*/ 1132686 h 1781951"/>
                <a:gd name="connsiteX1" fmla="*/ 6360003 w 6401905"/>
                <a:gd name="connsiteY1" fmla="*/ 848696 h 1781951"/>
                <a:gd name="connsiteX2" fmla="*/ 4645253 w 6401905"/>
                <a:gd name="connsiteY2" fmla="*/ 1578 h 1781951"/>
                <a:gd name="connsiteX3" fmla="*/ 3221001 w 6401905"/>
                <a:gd name="connsiteY3" fmla="*/ 561829 h 1781951"/>
                <a:gd name="connsiteX4" fmla="*/ 1728512 w 6401905"/>
                <a:gd name="connsiteY4" fmla="*/ 1307992 h 1781951"/>
                <a:gd name="connsiteX5" fmla="*/ 427166 w 6401905"/>
                <a:gd name="connsiteY5" fmla="*/ 769682 h 1781951"/>
                <a:gd name="connsiteX6" fmla="*/ 165128 w 6401905"/>
                <a:gd name="connsiteY6" fmla="*/ 1140483 h 1781951"/>
                <a:gd name="connsiteX7" fmla="*/ 1808648 w 6401905"/>
                <a:gd name="connsiteY7" fmla="*/ 1780952 h 1781951"/>
                <a:gd name="connsiteX8" fmla="*/ 3402502 w 6401905"/>
                <a:gd name="connsiteY8" fmla="*/ 1028838 h 1781951"/>
                <a:gd name="connsiteX9" fmla="*/ 4634723 w 6401905"/>
                <a:gd name="connsiteY9" fmla="*/ 475019 h 1781951"/>
                <a:gd name="connsiteX10" fmla="*/ 5973124 w 6401905"/>
                <a:gd name="connsiteY10" fmla="*/ 1132686 h 1781951"/>
                <a:gd name="connsiteX0" fmla="*/ 5973124 w 6401905"/>
                <a:gd name="connsiteY0" fmla="*/ 1132686 h 1781951"/>
                <a:gd name="connsiteX1" fmla="*/ 6360003 w 6401905"/>
                <a:gd name="connsiteY1" fmla="*/ 848696 h 1781951"/>
                <a:gd name="connsiteX2" fmla="*/ 4645253 w 6401905"/>
                <a:gd name="connsiteY2" fmla="*/ 1578 h 1781951"/>
                <a:gd name="connsiteX3" fmla="*/ 3221001 w 6401905"/>
                <a:gd name="connsiteY3" fmla="*/ 561829 h 1781951"/>
                <a:gd name="connsiteX4" fmla="*/ 1728512 w 6401905"/>
                <a:gd name="connsiteY4" fmla="*/ 1307992 h 1781951"/>
                <a:gd name="connsiteX5" fmla="*/ 427166 w 6401905"/>
                <a:gd name="connsiteY5" fmla="*/ 769682 h 1781951"/>
                <a:gd name="connsiteX6" fmla="*/ 165128 w 6401905"/>
                <a:gd name="connsiteY6" fmla="*/ 1140483 h 1781951"/>
                <a:gd name="connsiteX7" fmla="*/ 1808648 w 6401905"/>
                <a:gd name="connsiteY7" fmla="*/ 1780952 h 1781951"/>
                <a:gd name="connsiteX8" fmla="*/ 3402502 w 6401905"/>
                <a:gd name="connsiteY8" fmla="*/ 1028838 h 1781951"/>
                <a:gd name="connsiteX9" fmla="*/ 4634723 w 6401905"/>
                <a:gd name="connsiteY9" fmla="*/ 475019 h 1781951"/>
                <a:gd name="connsiteX10" fmla="*/ 5973124 w 6401905"/>
                <a:gd name="connsiteY10" fmla="*/ 1132686 h 178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01905" h="1781951">
                  <a:moveTo>
                    <a:pt x="5973124" y="1132686"/>
                  </a:moveTo>
                  <a:cubicBezTo>
                    <a:pt x="6156519" y="1324379"/>
                    <a:pt x="6526231" y="1016198"/>
                    <a:pt x="6360003" y="848696"/>
                  </a:cubicBezTo>
                  <a:cubicBezTo>
                    <a:pt x="5905194" y="367643"/>
                    <a:pt x="5365270" y="30339"/>
                    <a:pt x="4645253" y="1578"/>
                  </a:cubicBezTo>
                  <a:cubicBezTo>
                    <a:pt x="3925236" y="-27183"/>
                    <a:pt x="3707125" y="344093"/>
                    <a:pt x="3221001" y="561829"/>
                  </a:cubicBezTo>
                  <a:cubicBezTo>
                    <a:pt x="2734877" y="779565"/>
                    <a:pt x="2543401" y="1267000"/>
                    <a:pt x="1728512" y="1307992"/>
                  </a:cubicBezTo>
                  <a:cubicBezTo>
                    <a:pt x="913623" y="1348984"/>
                    <a:pt x="800203" y="1126515"/>
                    <a:pt x="427166" y="769682"/>
                  </a:cubicBezTo>
                  <a:cubicBezTo>
                    <a:pt x="77901" y="386644"/>
                    <a:pt x="-184634" y="875059"/>
                    <a:pt x="165128" y="1140483"/>
                  </a:cubicBezTo>
                  <a:cubicBezTo>
                    <a:pt x="634241" y="1557361"/>
                    <a:pt x="1269086" y="1799559"/>
                    <a:pt x="1808648" y="1780952"/>
                  </a:cubicBezTo>
                  <a:cubicBezTo>
                    <a:pt x="2348210" y="1762345"/>
                    <a:pt x="2969589" y="1405243"/>
                    <a:pt x="3402502" y="1028838"/>
                  </a:cubicBezTo>
                  <a:cubicBezTo>
                    <a:pt x="3835415" y="652433"/>
                    <a:pt x="4206286" y="457711"/>
                    <a:pt x="4634723" y="475019"/>
                  </a:cubicBezTo>
                  <a:cubicBezTo>
                    <a:pt x="5063160" y="492327"/>
                    <a:pt x="5586850" y="764991"/>
                    <a:pt x="5973124" y="1132686"/>
                  </a:cubicBezTo>
                  <a:close/>
                </a:path>
              </a:pathLst>
            </a:custGeom>
            <a:solidFill>
              <a:srgbClr val="59B4D9"/>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882"/>
            </a:p>
          </p:txBody>
        </p:sp>
        <p:sp>
          <p:nvSpPr>
            <p:cNvPr id="53" name="Freeform: Shape 52"/>
            <p:cNvSpPr/>
            <p:nvPr/>
          </p:nvSpPr>
          <p:spPr>
            <a:xfrm flipH="1" flipV="1">
              <a:off x="-16372125" y="3446034"/>
              <a:ext cx="6434180" cy="1862570"/>
            </a:xfrm>
            <a:custGeom>
              <a:avLst/>
              <a:gdLst>
                <a:gd name="connsiteX0" fmla="*/ 6157732 w 6157732"/>
                <a:gd name="connsiteY0" fmla="*/ 914400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7732 w 6157732"/>
                <a:gd name="connsiteY11" fmla="*/ 914400 h 1551008"/>
                <a:gd name="connsiteX0" fmla="*/ 6154919 w 6157732"/>
                <a:gd name="connsiteY0" fmla="*/ 1018501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4919 w 6157732"/>
                <a:gd name="connsiteY11" fmla="*/ 1018501 h 1551008"/>
                <a:gd name="connsiteX0" fmla="*/ 5903089 w 6157732"/>
                <a:gd name="connsiteY0" fmla="*/ 1180618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39970 w 6264646"/>
                <a:gd name="connsiteY3" fmla="*/ 92598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903089 w 6264646"/>
                <a:gd name="connsiteY10" fmla="*/ 118061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88816"/>
                <a:gd name="connsiteY0" fmla="*/ 1220008 h 1551008"/>
                <a:gd name="connsiteX1" fmla="*/ 6264646 w 6288816"/>
                <a:gd name="connsiteY1" fmla="*/ 936018 h 1551008"/>
                <a:gd name="connsiteX2" fmla="*/ 4734046 w 6288816"/>
                <a:gd name="connsiteY2" fmla="*/ 0 h 1551008"/>
                <a:gd name="connsiteX3" fmla="*/ 2903394 w 6288816"/>
                <a:gd name="connsiteY3" fmla="*/ 134801 h 1551008"/>
                <a:gd name="connsiteX4" fmla="*/ 1562582 w 6288816"/>
                <a:gd name="connsiteY4" fmla="*/ 1134319 h 1551008"/>
                <a:gd name="connsiteX5" fmla="*/ 266218 w 6288816"/>
                <a:gd name="connsiteY5" fmla="*/ 983848 h 1551008"/>
                <a:gd name="connsiteX6" fmla="*/ 0 w 6288816"/>
                <a:gd name="connsiteY6" fmla="*/ 1296365 h 1551008"/>
                <a:gd name="connsiteX7" fmla="*/ 1747777 w 6288816"/>
                <a:gd name="connsiteY7" fmla="*/ 1551008 h 1551008"/>
                <a:gd name="connsiteX8" fmla="*/ 3078545 w 6288816"/>
                <a:gd name="connsiteY8" fmla="*/ 646260 h 1551008"/>
                <a:gd name="connsiteX9" fmla="*/ 4609216 w 6288816"/>
                <a:gd name="connsiteY9" fmla="*/ 505191 h 1551008"/>
                <a:gd name="connsiteX10" fmla="*/ 5877767 w 6288816"/>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64662 h 1595662"/>
                <a:gd name="connsiteX1" fmla="*/ 6264646 w 6299907"/>
                <a:gd name="connsiteY1" fmla="*/ 980672 h 1595662"/>
                <a:gd name="connsiteX2" fmla="*/ 4734046 w 6299907"/>
                <a:gd name="connsiteY2" fmla="*/ 44654 h 1595662"/>
                <a:gd name="connsiteX3" fmla="*/ 2903394 w 6299907"/>
                <a:gd name="connsiteY3" fmla="*/ 179455 h 1595662"/>
                <a:gd name="connsiteX4" fmla="*/ 1562582 w 6299907"/>
                <a:gd name="connsiteY4" fmla="*/ 1178973 h 1595662"/>
                <a:gd name="connsiteX5" fmla="*/ 266218 w 6299907"/>
                <a:gd name="connsiteY5" fmla="*/ 1028502 h 1595662"/>
                <a:gd name="connsiteX6" fmla="*/ 0 w 6299907"/>
                <a:gd name="connsiteY6" fmla="*/ 1341019 h 1595662"/>
                <a:gd name="connsiteX7" fmla="*/ 1747777 w 6299907"/>
                <a:gd name="connsiteY7" fmla="*/ 1595662 h 1595662"/>
                <a:gd name="connsiteX8" fmla="*/ 3078545 w 6299907"/>
                <a:gd name="connsiteY8" fmla="*/ 690914 h 1595662"/>
                <a:gd name="connsiteX9" fmla="*/ 4609216 w 6299907"/>
                <a:gd name="connsiteY9" fmla="*/ 549845 h 1595662"/>
                <a:gd name="connsiteX10" fmla="*/ 5877767 w 6299907"/>
                <a:gd name="connsiteY10" fmla="*/ 1264662 h 1595662"/>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350331"/>
                <a:gd name="connsiteY0" fmla="*/ 1303484 h 1634484"/>
                <a:gd name="connsiteX1" fmla="*/ 6264646 w 6350331"/>
                <a:gd name="connsiteY1" fmla="*/ 1019494 h 1634484"/>
                <a:gd name="connsiteX2" fmla="*/ 4734046 w 6350331"/>
                <a:gd name="connsiteY2" fmla="*/ 83476 h 1634484"/>
                <a:gd name="connsiteX3" fmla="*/ 2903394 w 6350331"/>
                <a:gd name="connsiteY3" fmla="*/ 218277 h 1634484"/>
                <a:gd name="connsiteX4" fmla="*/ 1562582 w 6350331"/>
                <a:gd name="connsiteY4" fmla="*/ 1217795 h 1634484"/>
                <a:gd name="connsiteX5" fmla="*/ 266218 w 6350331"/>
                <a:gd name="connsiteY5" fmla="*/ 1067324 h 1634484"/>
                <a:gd name="connsiteX6" fmla="*/ 0 w 6350331"/>
                <a:gd name="connsiteY6" fmla="*/ 1379841 h 1634484"/>
                <a:gd name="connsiteX7" fmla="*/ 1747777 w 6350331"/>
                <a:gd name="connsiteY7" fmla="*/ 1634484 h 1634484"/>
                <a:gd name="connsiteX8" fmla="*/ 3078545 w 6350331"/>
                <a:gd name="connsiteY8" fmla="*/ 729736 h 1634484"/>
                <a:gd name="connsiteX9" fmla="*/ 4609216 w 6350331"/>
                <a:gd name="connsiteY9" fmla="*/ 588667 h 1634484"/>
                <a:gd name="connsiteX10" fmla="*/ 5877767 w 6350331"/>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840557"/>
                <a:gd name="connsiteX1" fmla="*/ 6264646 w 6351908"/>
                <a:gd name="connsiteY1" fmla="*/ 1019494 h 1840557"/>
                <a:gd name="connsiteX2" fmla="*/ 4734046 w 6351908"/>
                <a:gd name="connsiteY2" fmla="*/ 83476 h 1840557"/>
                <a:gd name="connsiteX3" fmla="*/ 2903394 w 6351908"/>
                <a:gd name="connsiteY3" fmla="*/ 218277 h 1840557"/>
                <a:gd name="connsiteX4" fmla="*/ 1556955 w 6351908"/>
                <a:gd name="connsiteY4" fmla="*/ 1237490 h 1840557"/>
                <a:gd name="connsiteX5" fmla="*/ 274659 w 6351908"/>
                <a:gd name="connsiteY5" fmla="*/ 1016680 h 1840557"/>
                <a:gd name="connsiteX6" fmla="*/ 0 w 6351908"/>
                <a:gd name="connsiteY6" fmla="*/ 1379841 h 1840557"/>
                <a:gd name="connsiteX7" fmla="*/ 1719641 w 6351908"/>
                <a:gd name="connsiteY7" fmla="*/ 1710450 h 1840557"/>
                <a:gd name="connsiteX8" fmla="*/ 3078545 w 6351908"/>
                <a:gd name="connsiteY8" fmla="*/ 729736 h 1840557"/>
                <a:gd name="connsiteX9" fmla="*/ 4609216 w 6351908"/>
                <a:gd name="connsiteY9" fmla="*/ 588667 h 1840557"/>
                <a:gd name="connsiteX10" fmla="*/ 5877767 w 6351908"/>
                <a:gd name="connsiteY10" fmla="*/ 1303484 h 1840557"/>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980675 w 6454816"/>
                <a:gd name="connsiteY0" fmla="*/ 1303484 h 1893535"/>
                <a:gd name="connsiteX1" fmla="*/ 6367554 w 6454816"/>
                <a:gd name="connsiteY1" fmla="*/ 1019494 h 1893535"/>
                <a:gd name="connsiteX2" fmla="*/ 4836954 w 6454816"/>
                <a:gd name="connsiteY2" fmla="*/ 83476 h 1893535"/>
                <a:gd name="connsiteX3" fmla="*/ 3006302 w 6454816"/>
                <a:gd name="connsiteY3" fmla="*/ 218277 h 1893535"/>
                <a:gd name="connsiteX4" fmla="*/ 1659863 w 6454816"/>
                <a:gd name="connsiteY4" fmla="*/ 1237490 h 1893535"/>
                <a:gd name="connsiteX5" fmla="*/ 377567 w 6454816"/>
                <a:gd name="connsiteY5" fmla="*/ 1016680 h 1893535"/>
                <a:gd name="connsiteX6" fmla="*/ 102908 w 6454816"/>
                <a:gd name="connsiteY6" fmla="*/ 1379841 h 1893535"/>
                <a:gd name="connsiteX7" fmla="*/ 1822549 w 6454816"/>
                <a:gd name="connsiteY7" fmla="*/ 1710450 h 1893535"/>
                <a:gd name="connsiteX8" fmla="*/ 3181453 w 6454816"/>
                <a:gd name="connsiteY8" fmla="*/ 729736 h 1893535"/>
                <a:gd name="connsiteX9" fmla="*/ 4712124 w 6454816"/>
                <a:gd name="connsiteY9" fmla="*/ 588667 h 1893535"/>
                <a:gd name="connsiteX10" fmla="*/ 5980675 w 6454816"/>
                <a:gd name="connsiteY10" fmla="*/ 1303484 h 1893535"/>
                <a:gd name="connsiteX0" fmla="*/ 5961776 w 6435917"/>
                <a:gd name="connsiteY0" fmla="*/ 1303484 h 1893535"/>
                <a:gd name="connsiteX1" fmla="*/ 6348655 w 6435917"/>
                <a:gd name="connsiteY1" fmla="*/ 1019494 h 1893535"/>
                <a:gd name="connsiteX2" fmla="*/ 4818055 w 6435917"/>
                <a:gd name="connsiteY2" fmla="*/ 83476 h 1893535"/>
                <a:gd name="connsiteX3" fmla="*/ 2987403 w 6435917"/>
                <a:gd name="connsiteY3" fmla="*/ 218277 h 1893535"/>
                <a:gd name="connsiteX4" fmla="*/ 1640964 w 6435917"/>
                <a:gd name="connsiteY4" fmla="*/ 1237490 h 1893535"/>
                <a:gd name="connsiteX5" fmla="*/ 358668 w 6435917"/>
                <a:gd name="connsiteY5" fmla="*/ 1016680 h 1893535"/>
                <a:gd name="connsiteX6" fmla="*/ 84009 w 6435917"/>
                <a:gd name="connsiteY6" fmla="*/ 1379841 h 1893535"/>
                <a:gd name="connsiteX7" fmla="*/ 1803650 w 6435917"/>
                <a:gd name="connsiteY7" fmla="*/ 1710450 h 1893535"/>
                <a:gd name="connsiteX8" fmla="*/ 3162554 w 6435917"/>
                <a:gd name="connsiteY8" fmla="*/ 729736 h 1893535"/>
                <a:gd name="connsiteX9" fmla="*/ 4693225 w 6435917"/>
                <a:gd name="connsiteY9" fmla="*/ 588667 h 1893535"/>
                <a:gd name="connsiteX10" fmla="*/ 5961776 w 6435917"/>
                <a:gd name="connsiteY10" fmla="*/ 1303484 h 1893535"/>
                <a:gd name="connsiteX0" fmla="*/ 5961776 w 6435917"/>
                <a:gd name="connsiteY0" fmla="*/ 1303484 h 1892323"/>
                <a:gd name="connsiteX1" fmla="*/ 6348655 w 6435917"/>
                <a:gd name="connsiteY1" fmla="*/ 1019494 h 1892323"/>
                <a:gd name="connsiteX2" fmla="*/ 4818055 w 6435917"/>
                <a:gd name="connsiteY2" fmla="*/ 83476 h 1892323"/>
                <a:gd name="connsiteX3" fmla="*/ 2987403 w 6435917"/>
                <a:gd name="connsiteY3" fmla="*/ 218277 h 1892323"/>
                <a:gd name="connsiteX4" fmla="*/ 1640964 w 6435917"/>
                <a:gd name="connsiteY4" fmla="*/ 1237490 h 1892323"/>
                <a:gd name="connsiteX5" fmla="*/ 358668 w 6435917"/>
                <a:gd name="connsiteY5" fmla="*/ 1016680 h 1892323"/>
                <a:gd name="connsiteX6" fmla="*/ 84009 w 6435917"/>
                <a:gd name="connsiteY6" fmla="*/ 1379841 h 1892323"/>
                <a:gd name="connsiteX7" fmla="*/ 1803650 w 6435917"/>
                <a:gd name="connsiteY7" fmla="*/ 1710450 h 1892323"/>
                <a:gd name="connsiteX8" fmla="*/ 3162554 w 6435917"/>
                <a:gd name="connsiteY8" fmla="*/ 729736 h 1892323"/>
                <a:gd name="connsiteX9" fmla="*/ 4693225 w 6435917"/>
                <a:gd name="connsiteY9" fmla="*/ 588667 h 1892323"/>
                <a:gd name="connsiteX10" fmla="*/ 5961776 w 6435917"/>
                <a:gd name="connsiteY10" fmla="*/ 1303484 h 1892323"/>
                <a:gd name="connsiteX0" fmla="*/ 5941465 w 6415606"/>
                <a:gd name="connsiteY0" fmla="*/ 1303484 h 1902580"/>
                <a:gd name="connsiteX1" fmla="*/ 6328344 w 6415606"/>
                <a:gd name="connsiteY1" fmla="*/ 1019494 h 1902580"/>
                <a:gd name="connsiteX2" fmla="*/ 4797744 w 6415606"/>
                <a:gd name="connsiteY2" fmla="*/ 83476 h 1902580"/>
                <a:gd name="connsiteX3" fmla="*/ 2967092 w 6415606"/>
                <a:gd name="connsiteY3" fmla="*/ 218277 h 1902580"/>
                <a:gd name="connsiteX4" fmla="*/ 1620653 w 6415606"/>
                <a:gd name="connsiteY4" fmla="*/ 1237490 h 1902580"/>
                <a:gd name="connsiteX5" fmla="*/ 338357 w 6415606"/>
                <a:gd name="connsiteY5" fmla="*/ 1016680 h 1902580"/>
                <a:gd name="connsiteX6" fmla="*/ 89019 w 6415606"/>
                <a:gd name="connsiteY6" fmla="*/ 1419231 h 1902580"/>
                <a:gd name="connsiteX7" fmla="*/ 1783339 w 6415606"/>
                <a:gd name="connsiteY7" fmla="*/ 1710450 h 1902580"/>
                <a:gd name="connsiteX8" fmla="*/ 3142243 w 6415606"/>
                <a:gd name="connsiteY8" fmla="*/ 729736 h 1902580"/>
                <a:gd name="connsiteX9" fmla="*/ 4672914 w 6415606"/>
                <a:gd name="connsiteY9" fmla="*/ 588667 h 1902580"/>
                <a:gd name="connsiteX10" fmla="*/ 5941465 w 6415606"/>
                <a:gd name="connsiteY10" fmla="*/ 1303484 h 1902580"/>
                <a:gd name="connsiteX0" fmla="*/ 5960039 w 6434180"/>
                <a:gd name="connsiteY0" fmla="*/ 1303484 h 1902580"/>
                <a:gd name="connsiteX1" fmla="*/ 6346918 w 6434180"/>
                <a:gd name="connsiteY1" fmla="*/ 1019494 h 1902580"/>
                <a:gd name="connsiteX2" fmla="*/ 4816318 w 6434180"/>
                <a:gd name="connsiteY2" fmla="*/ 83476 h 1902580"/>
                <a:gd name="connsiteX3" fmla="*/ 2985666 w 6434180"/>
                <a:gd name="connsiteY3" fmla="*/ 218277 h 1902580"/>
                <a:gd name="connsiteX4" fmla="*/ 1639227 w 6434180"/>
                <a:gd name="connsiteY4" fmla="*/ 1237490 h 1902580"/>
                <a:gd name="connsiteX5" fmla="*/ 356931 w 6434180"/>
                <a:gd name="connsiteY5" fmla="*/ 1016680 h 1902580"/>
                <a:gd name="connsiteX6" fmla="*/ 107593 w 6434180"/>
                <a:gd name="connsiteY6" fmla="*/ 1419231 h 1902580"/>
                <a:gd name="connsiteX7" fmla="*/ 1801913 w 6434180"/>
                <a:gd name="connsiteY7" fmla="*/ 1710450 h 1902580"/>
                <a:gd name="connsiteX8" fmla="*/ 3160817 w 6434180"/>
                <a:gd name="connsiteY8" fmla="*/ 729736 h 1902580"/>
                <a:gd name="connsiteX9" fmla="*/ 4691488 w 6434180"/>
                <a:gd name="connsiteY9" fmla="*/ 588667 h 1902580"/>
                <a:gd name="connsiteX10" fmla="*/ 5960039 w 6434180"/>
                <a:gd name="connsiteY10" fmla="*/ 1303484 h 1902580"/>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946772"/>
                <a:gd name="connsiteX1" fmla="*/ 6346918 w 6434180"/>
                <a:gd name="connsiteY1" fmla="*/ 1019494 h 1946772"/>
                <a:gd name="connsiteX2" fmla="*/ 4816318 w 6434180"/>
                <a:gd name="connsiteY2" fmla="*/ 83476 h 1946772"/>
                <a:gd name="connsiteX3" fmla="*/ 2985666 w 6434180"/>
                <a:gd name="connsiteY3" fmla="*/ 218277 h 1946772"/>
                <a:gd name="connsiteX4" fmla="*/ 1639227 w 6434180"/>
                <a:gd name="connsiteY4" fmla="*/ 1237490 h 1946772"/>
                <a:gd name="connsiteX5" fmla="*/ 356931 w 6434180"/>
                <a:gd name="connsiteY5" fmla="*/ 1016680 h 1946772"/>
                <a:gd name="connsiteX6" fmla="*/ 107593 w 6434180"/>
                <a:gd name="connsiteY6" fmla="*/ 1419231 h 1946772"/>
                <a:gd name="connsiteX7" fmla="*/ 1801913 w 6434180"/>
                <a:gd name="connsiteY7" fmla="*/ 1710450 h 1946772"/>
                <a:gd name="connsiteX8" fmla="*/ 3160817 w 6434180"/>
                <a:gd name="connsiteY8" fmla="*/ 729736 h 1946772"/>
                <a:gd name="connsiteX9" fmla="*/ 4691488 w 6434180"/>
                <a:gd name="connsiteY9" fmla="*/ 588667 h 1946772"/>
                <a:gd name="connsiteX10" fmla="*/ 5960039 w 6434180"/>
                <a:gd name="connsiteY10" fmla="*/ 1303484 h 1946772"/>
                <a:gd name="connsiteX0" fmla="*/ 5960039 w 6434180"/>
                <a:gd name="connsiteY0" fmla="*/ 1303484 h 1848056"/>
                <a:gd name="connsiteX1" fmla="*/ 6346918 w 6434180"/>
                <a:gd name="connsiteY1" fmla="*/ 1019494 h 1848056"/>
                <a:gd name="connsiteX2" fmla="*/ 4816318 w 6434180"/>
                <a:gd name="connsiteY2" fmla="*/ 83476 h 1848056"/>
                <a:gd name="connsiteX3" fmla="*/ 2985666 w 6434180"/>
                <a:gd name="connsiteY3" fmla="*/ 218277 h 1848056"/>
                <a:gd name="connsiteX4" fmla="*/ 1639227 w 6434180"/>
                <a:gd name="connsiteY4" fmla="*/ 1237490 h 1848056"/>
                <a:gd name="connsiteX5" fmla="*/ 356931 w 6434180"/>
                <a:gd name="connsiteY5" fmla="*/ 1016680 h 1848056"/>
                <a:gd name="connsiteX6" fmla="*/ 107593 w 6434180"/>
                <a:gd name="connsiteY6" fmla="*/ 1419231 h 1848056"/>
                <a:gd name="connsiteX7" fmla="*/ 1801913 w 6434180"/>
                <a:gd name="connsiteY7" fmla="*/ 1710450 h 1848056"/>
                <a:gd name="connsiteX8" fmla="*/ 3160817 w 6434180"/>
                <a:gd name="connsiteY8" fmla="*/ 729736 h 1848056"/>
                <a:gd name="connsiteX9" fmla="*/ 4691488 w 6434180"/>
                <a:gd name="connsiteY9" fmla="*/ 588667 h 1848056"/>
                <a:gd name="connsiteX10" fmla="*/ 5960039 w 6434180"/>
                <a:gd name="connsiteY10" fmla="*/ 1303484 h 1848056"/>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5521 h 1862570"/>
                <a:gd name="connsiteX1" fmla="*/ 6346918 w 6434180"/>
                <a:gd name="connsiteY1" fmla="*/ 991531 h 1862570"/>
                <a:gd name="connsiteX2" fmla="*/ 4816318 w 6434180"/>
                <a:gd name="connsiteY2" fmla="*/ 55513 h 1862570"/>
                <a:gd name="connsiteX3" fmla="*/ 2985666 w 6434180"/>
                <a:gd name="connsiteY3" fmla="*/ 190314 h 1862570"/>
                <a:gd name="connsiteX4" fmla="*/ 1639227 w 6434180"/>
                <a:gd name="connsiteY4" fmla="*/ 1209527 h 1862570"/>
                <a:gd name="connsiteX5" fmla="*/ 356931 w 6434180"/>
                <a:gd name="connsiteY5" fmla="*/ 988717 h 1862570"/>
                <a:gd name="connsiteX6" fmla="*/ 107593 w 6434180"/>
                <a:gd name="connsiteY6" fmla="*/ 1391268 h 1862570"/>
                <a:gd name="connsiteX7" fmla="*/ 1801913 w 6434180"/>
                <a:gd name="connsiteY7" fmla="*/ 1682487 h 1862570"/>
                <a:gd name="connsiteX8" fmla="*/ 3160817 w 6434180"/>
                <a:gd name="connsiteY8" fmla="*/ 701773 h 1862570"/>
                <a:gd name="connsiteX9" fmla="*/ 4691488 w 6434180"/>
                <a:gd name="connsiteY9" fmla="*/ 560704 h 1862570"/>
                <a:gd name="connsiteX10" fmla="*/ 5960039 w 6434180"/>
                <a:gd name="connsiteY10" fmla="*/ 1275521 h 1862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34180" h="1862570">
                  <a:moveTo>
                    <a:pt x="5960039" y="1275521"/>
                  </a:moveTo>
                  <a:cubicBezTo>
                    <a:pt x="6283134" y="1670414"/>
                    <a:pt x="6589346" y="1260633"/>
                    <a:pt x="6346918" y="991531"/>
                  </a:cubicBezTo>
                  <a:cubicBezTo>
                    <a:pt x="5949259" y="586678"/>
                    <a:pt x="5223959" y="131561"/>
                    <a:pt x="4816318" y="55513"/>
                  </a:cubicBezTo>
                  <a:cubicBezTo>
                    <a:pt x="4408677" y="-20535"/>
                    <a:pt x="3494501" y="-52826"/>
                    <a:pt x="2985666" y="190314"/>
                  </a:cubicBezTo>
                  <a:cubicBezTo>
                    <a:pt x="2476831" y="433454"/>
                    <a:pt x="1908164" y="1000838"/>
                    <a:pt x="1639227" y="1209527"/>
                  </a:cubicBezTo>
                  <a:cubicBezTo>
                    <a:pt x="1370290" y="1418216"/>
                    <a:pt x="729968" y="1345550"/>
                    <a:pt x="356931" y="988717"/>
                  </a:cubicBezTo>
                  <a:cubicBezTo>
                    <a:pt x="96566" y="758079"/>
                    <a:pt x="-146919" y="1182994"/>
                    <a:pt x="107593" y="1391268"/>
                  </a:cubicBezTo>
                  <a:cubicBezTo>
                    <a:pt x="576706" y="1808146"/>
                    <a:pt x="1317996" y="2048782"/>
                    <a:pt x="1801913" y="1682487"/>
                  </a:cubicBezTo>
                  <a:cubicBezTo>
                    <a:pt x="2285830" y="1316192"/>
                    <a:pt x="2704050" y="940116"/>
                    <a:pt x="3160817" y="701773"/>
                  </a:cubicBezTo>
                  <a:cubicBezTo>
                    <a:pt x="3617584" y="463430"/>
                    <a:pt x="4299587" y="485617"/>
                    <a:pt x="4691488" y="560704"/>
                  </a:cubicBezTo>
                  <a:cubicBezTo>
                    <a:pt x="5083389" y="635791"/>
                    <a:pt x="5573765" y="907826"/>
                    <a:pt x="5960039" y="1275521"/>
                  </a:cubicBezTo>
                  <a:close/>
                </a:path>
              </a:pathLst>
            </a:custGeom>
            <a:solidFill>
              <a:srgbClr val="59B4D9"/>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882"/>
            </a:p>
          </p:txBody>
        </p:sp>
      </p:grpSp>
      <p:sp>
        <p:nvSpPr>
          <p:cNvPr id="54" name="Rectangle 53"/>
          <p:cNvSpPr/>
          <p:nvPr/>
        </p:nvSpPr>
        <p:spPr>
          <a:xfrm>
            <a:off x="269240" y="4634691"/>
            <a:ext cx="825347" cy="233083"/>
          </a:xfrm>
          <a:prstGeom prst="rect">
            <a:avLst/>
          </a:prstGeom>
        </p:spPr>
        <p:txBody>
          <a:bodyPr wrap="none">
            <a:spAutoFit/>
          </a:bodyPr>
          <a:lstStyle/>
          <a:p>
            <a:pPr defTabSz="895403" fontAlgn="base">
              <a:lnSpc>
                <a:spcPct val="90000"/>
              </a:lnSpc>
              <a:spcBef>
                <a:spcPct val="0"/>
              </a:spcBef>
            </a:pPr>
            <a:r>
              <a:rPr lang="en-US" sz="1029" kern="0" err="1">
                <a:solidFill>
                  <a:srgbClr val="404040">
                    <a:lumMod val="50000"/>
                  </a:srgbClr>
                </a:solidFill>
                <a:ea typeface="Segoe UI Black" panose="020B0A02040204020203" pitchFamily="34" charset="0"/>
                <a:cs typeface="Segoe UI Black" panose="020B0A02040204020203" pitchFamily="34" charset="0"/>
              </a:rPr>
              <a:t>IoT</a:t>
            </a:r>
            <a:r>
              <a:rPr lang="en-US" sz="1029" kern="0">
                <a:solidFill>
                  <a:srgbClr val="404040">
                    <a:lumMod val="50000"/>
                  </a:srgbClr>
                </a:solidFill>
                <a:ea typeface="Segoe UI Black" panose="020B0A02040204020203" pitchFamily="34" charset="0"/>
                <a:cs typeface="Segoe UI Black" panose="020B0A02040204020203" pitchFamily="34" charset="0"/>
              </a:rPr>
              <a:t> devices</a:t>
            </a:r>
          </a:p>
        </p:txBody>
      </p:sp>
      <p:grpSp>
        <p:nvGrpSpPr>
          <p:cNvPr id="9" name="Group 8"/>
          <p:cNvGrpSpPr/>
          <p:nvPr/>
        </p:nvGrpSpPr>
        <p:grpSpPr>
          <a:xfrm>
            <a:off x="1058762" y="3677763"/>
            <a:ext cx="287990" cy="2077536"/>
            <a:chOff x="1275268" y="4055813"/>
            <a:chExt cx="293765" cy="2119195"/>
          </a:xfrm>
        </p:grpSpPr>
        <p:sp>
          <p:nvSpPr>
            <p:cNvPr id="61" name="device"/>
            <p:cNvSpPr>
              <a:spLocks noChangeAspect="1"/>
            </p:cNvSpPr>
            <p:nvPr/>
          </p:nvSpPr>
          <p:spPr bwMode="auto">
            <a:xfrm>
              <a:off x="1275268" y="4055813"/>
              <a:ext cx="293765" cy="296982"/>
            </a:xfrm>
            <a:custGeom>
              <a:avLst/>
              <a:gdLst>
                <a:gd name="connsiteX0" fmla="*/ 276033 w 994682"/>
                <a:gd name="connsiteY0" fmla="*/ 651613 h 1005574"/>
                <a:gd name="connsiteX1" fmla="*/ 342553 w 994682"/>
                <a:gd name="connsiteY1" fmla="*/ 718133 h 1005574"/>
                <a:gd name="connsiteX2" fmla="*/ 276033 w 994682"/>
                <a:gd name="connsiteY2" fmla="*/ 784652 h 1005574"/>
                <a:gd name="connsiteX3" fmla="*/ 209513 w 994682"/>
                <a:gd name="connsiteY3" fmla="*/ 718133 h 1005574"/>
                <a:gd name="connsiteX4" fmla="*/ 276033 w 994682"/>
                <a:gd name="connsiteY4" fmla="*/ 651613 h 1005574"/>
                <a:gd name="connsiteX5" fmla="*/ 709700 w 994682"/>
                <a:gd name="connsiteY5" fmla="*/ 651613 h 1005574"/>
                <a:gd name="connsiteX6" fmla="*/ 776220 w 994682"/>
                <a:gd name="connsiteY6" fmla="*/ 718133 h 1005574"/>
                <a:gd name="connsiteX7" fmla="*/ 709701 w 994682"/>
                <a:gd name="connsiteY7" fmla="*/ 784653 h 1005574"/>
                <a:gd name="connsiteX8" fmla="*/ 643180 w 994682"/>
                <a:gd name="connsiteY8" fmla="*/ 718132 h 1005574"/>
                <a:gd name="connsiteX9" fmla="*/ 709700 w 994682"/>
                <a:gd name="connsiteY9" fmla="*/ 651613 h 1005574"/>
                <a:gd name="connsiteX10" fmla="*/ 724811 w 994682"/>
                <a:gd name="connsiteY10" fmla="*/ 214441 h 1005574"/>
                <a:gd name="connsiteX11" fmla="*/ 791331 w 994682"/>
                <a:gd name="connsiteY11" fmla="*/ 280960 h 1005574"/>
                <a:gd name="connsiteX12" fmla="*/ 724811 w 994682"/>
                <a:gd name="connsiteY12" fmla="*/ 347481 h 1005574"/>
                <a:gd name="connsiteX13" fmla="*/ 658291 w 994682"/>
                <a:gd name="connsiteY13" fmla="*/ 280960 h 1005574"/>
                <a:gd name="connsiteX14" fmla="*/ 724811 w 994682"/>
                <a:gd name="connsiteY14" fmla="*/ 214441 h 1005574"/>
                <a:gd name="connsiteX15" fmla="*/ 276034 w 994682"/>
                <a:gd name="connsiteY15" fmla="*/ 214441 h 1005574"/>
                <a:gd name="connsiteX16" fmla="*/ 342553 w 994682"/>
                <a:gd name="connsiteY16" fmla="*/ 280961 h 1005574"/>
                <a:gd name="connsiteX17" fmla="*/ 276033 w 994682"/>
                <a:gd name="connsiteY17" fmla="*/ 347480 h 1005574"/>
                <a:gd name="connsiteX18" fmla="*/ 209513 w 994682"/>
                <a:gd name="connsiteY18" fmla="*/ 280961 h 1005574"/>
                <a:gd name="connsiteX19" fmla="*/ 276034 w 994682"/>
                <a:gd name="connsiteY19" fmla="*/ 214441 h 1005574"/>
                <a:gd name="connsiteX20" fmla="*/ 724811 w 994682"/>
                <a:gd name="connsiteY20" fmla="*/ 159516 h 1005574"/>
                <a:gd name="connsiteX21" fmla="*/ 603366 w 994682"/>
                <a:gd name="connsiteY21" fmla="*/ 280961 h 1005574"/>
                <a:gd name="connsiteX22" fmla="*/ 612911 w 994682"/>
                <a:gd name="connsiteY22" fmla="*/ 328232 h 1005574"/>
                <a:gd name="connsiteX23" fmla="*/ 626516 w 994682"/>
                <a:gd name="connsiteY23" fmla="*/ 348413 h 1005574"/>
                <a:gd name="connsiteX24" fmla="*/ 350950 w 994682"/>
                <a:gd name="connsiteY24" fmla="*/ 624870 h 1005574"/>
                <a:gd name="connsiteX25" fmla="*/ 323305 w 994682"/>
                <a:gd name="connsiteY25" fmla="*/ 606231 h 1005574"/>
                <a:gd name="connsiteX26" fmla="*/ 276034 w 994682"/>
                <a:gd name="connsiteY26" fmla="*/ 596688 h 1005574"/>
                <a:gd name="connsiteX27" fmla="*/ 154589 w 994682"/>
                <a:gd name="connsiteY27" fmla="*/ 718133 h 1005574"/>
                <a:gd name="connsiteX28" fmla="*/ 276033 w 994682"/>
                <a:gd name="connsiteY28" fmla="*/ 839577 h 1005574"/>
                <a:gd name="connsiteX29" fmla="*/ 397479 w 994682"/>
                <a:gd name="connsiteY29" fmla="*/ 718133 h 1005574"/>
                <a:gd name="connsiteX30" fmla="*/ 387935 w 994682"/>
                <a:gd name="connsiteY30" fmla="*/ 670861 h 1005574"/>
                <a:gd name="connsiteX31" fmla="*/ 380561 w 994682"/>
                <a:gd name="connsiteY31" fmla="*/ 659925 h 1005574"/>
                <a:gd name="connsiteX32" fmla="*/ 659133 w 994682"/>
                <a:gd name="connsiteY32" fmla="*/ 380452 h 1005574"/>
                <a:gd name="connsiteX33" fmla="*/ 677539 w 994682"/>
                <a:gd name="connsiteY33" fmla="*/ 392862 h 1005574"/>
                <a:gd name="connsiteX34" fmla="*/ 724812 w 994682"/>
                <a:gd name="connsiteY34" fmla="*/ 402406 h 1005574"/>
                <a:gd name="connsiteX35" fmla="*/ 846257 w 994682"/>
                <a:gd name="connsiteY35" fmla="*/ 280961 h 1005574"/>
                <a:gd name="connsiteX36" fmla="*/ 724811 w 994682"/>
                <a:gd name="connsiteY36" fmla="*/ 159516 h 1005574"/>
                <a:gd name="connsiteX37" fmla="*/ 66037 w 994682"/>
                <a:gd name="connsiteY37" fmla="*/ 0 h 1005574"/>
                <a:gd name="connsiteX38" fmla="*/ 521220 w 994682"/>
                <a:gd name="connsiteY38" fmla="*/ 0 h 1005574"/>
                <a:gd name="connsiteX39" fmla="*/ 340889 w 994682"/>
                <a:gd name="connsiteY39" fmla="*/ 180915 h 1005574"/>
                <a:gd name="connsiteX40" fmla="*/ 323305 w 994682"/>
                <a:gd name="connsiteY40" fmla="*/ 169059 h 1005574"/>
                <a:gd name="connsiteX41" fmla="*/ 276033 w 994682"/>
                <a:gd name="connsiteY41" fmla="*/ 159515 h 1005574"/>
                <a:gd name="connsiteX42" fmla="*/ 154588 w 994682"/>
                <a:gd name="connsiteY42" fmla="*/ 280961 h 1005574"/>
                <a:gd name="connsiteX43" fmla="*/ 276033 w 994682"/>
                <a:gd name="connsiteY43" fmla="*/ 402406 h 1005574"/>
                <a:gd name="connsiteX44" fmla="*/ 397478 w 994682"/>
                <a:gd name="connsiteY44" fmla="*/ 280960 h 1005574"/>
                <a:gd name="connsiteX45" fmla="*/ 387934 w 994682"/>
                <a:gd name="connsiteY45" fmla="*/ 233689 h 1005574"/>
                <a:gd name="connsiteX46" fmla="*/ 373773 w 994682"/>
                <a:gd name="connsiteY46" fmla="*/ 212685 h 1005574"/>
                <a:gd name="connsiteX47" fmla="*/ 585773 w 994682"/>
                <a:gd name="connsiteY47" fmla="*/ 0 h 1005574"/>
                <a:gd name="connsiteX48" fmla="*/ 928645 w 994682"/>
                <a:gd name="connsiteY48" fmla="*/ 0 h 1005574"/>
                <a:gd name="connsiteX49" fmla="*/ 994682 w 994682"/>
                <a:gd name="connsiteY49" fmla="*/ 66037 h 1005574"/>
                <a:gd name="connsiteX50" fmla="*/ 994682 w 994682"/>
                <a:gd name="connsiteY50" fmla="*/ 939537 h 1005574"/>
                <a:gd name="connsiteX51" fmla="*/ 990451 w 994682"/>
                <a:gd name="connsiteY51" fmla="*/ 960496 h 1005574"/>
                <a:gd name="connsiteX52" fmla="*/ 811266 w 994682"/>
                <a:gd name="connsiteY52" fmla="*/ 780733 h 1005574"/>
                <a:gd name="connsiteX53" fmla="*/ 821601 w 994682"/>
                <a:gd name="connsiteY53" fmla="*/ 765404 h 1005574"/>
                <a:gd name="connsiteX54" fmla="*/ 831145 w 994682"/>
                <a:gd name="connsiteY54" fmla="*/ 718133 h 1005574"/>
                <a:gd name="connsiteX55" fmla="*/ 709700 w 994682"/>
                <a:gd name="connsiteY55" fmla="*/ 596688 h 1005574"/>
                <a:gd name="connsiteX56" fmla="*/ 588255 w 994682"/>
                <a:gd name="connsiteY56" fmla="*/ 718133 h 1005574"/>
                <a:gd name="connsiteX57" fmla="*/ 709700 w 994682"/>
                <a:gd name="connsiteY57" fmla="*/ 839578 h 1005574"/>
                <a:gd name="connsiteX58" fmla="*/ 756972 w 994682"/>
                <a:gd name="connsiteY58" fmla="*/ 830034 h 1005574"/>
                <a:gd name="connsiteX59" fmla="*/ 780228 w 994682"/>
                <a:gd name="connsiteY59" fmla="*/ 814355 h 1005574"/>
                <a:gd name="connsiteX60" fmla="*/ 961113 w 994682"/>
                <a:gd name="connsiteY60" fmla="*/ 995825 h 1005574"/>
                <a:gd name="connsiteX61" fmla="*/ 954350 w 994682"/>
                <a:gd name="connsiteY61" fmla="*/ 1000385 h 1005574"/>
                <a:gd name="connsiteX62" fmla="*/ 928645 w 994682"/>
                <a:gd name="connsiteY62" fmla="*/ 1005574 h 1005574"/>
                <a:gd name="connsiteX63" fmla="*/ 66037 w 994682"/>
                <a:gd name="connsiteY63" fmla="*/ 1005574 h 1005574"/>
                <a:gd name="connsiteX64" fmla="*/ 0 w 994682"/>
                <a:gd name="connsiteY64" fmla="*/ 939537 h 1005574"/>
                <a:gd name="connsiteX65" fmla="*/ 0 w 994682"/>
                <a:gd name="connsiteY65" fmla="*/ 66037 h 1005574"/>
                <a:gd name="connsiteX66" fmla="*/ 66037 w 994682"/>
                <a:gd name="connsiteY66" fmla="*/ 0 h 100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994682" h="1005574">
                  <a:moveTo>
                    <a:pt x="276033" y="651613"/>
                  </a:moveTo>
                  <a:cubicBezTo>
                    <a:pt x="312771" y="651612"/>
                    <a:pt x="342553" y="681394"/>
                    <a:pt x="342553" y="718133"/>
                  </a:cubicBezTo>
                  <a:cubicBezTo>
                    <a:pt x="342554" y="754871"/>
                    <a:pt x="312772" y="784653"/>
                    <a:pt x="276033" y="784652"/>
                  </a:cubicBezTo>
                  <a:cubicBezTo>
                    <a:pt x="239295" y="784653"/>
                    <a:pt x="209513" y="754871"/>
                    <a:pt x="209513" y="718133"/>
                  </a:cubicBezTo>
                  <a:cubicBezTo>
                    <a:pt x="209513" y="681395"/>
                    <a:pt x="239295" y="651613"/>
                    <a:pt x="276033" y="651613"/>
                  </a:cubicBezTo>
                  <a:close/>
                  <a:moveTo>
                    <a:pt x="709700" y="651613"/>
                  </a:moveTo>
                  <a:cubicBezTo>
                    <a:pt x="746438" y="651612"/>
                    <a:pt x="776221" y="681395"/>
                    <a:pt x="776220" y="718133"/>
                  </a:cubicBezTo>
                  <a:cubicBezTo>
                    <a:pt x="776221" y="754870"/>
                    <a:pt x="746439" y="784652"/>
                    <a:pt x="709701" y="784653"/>
                  </a:cubicBezTo>
                  <a:cubicBezTo>
                    <a:pt x="672962" y="784653"/>
                    <a:pt x="643180" y="754871"/>
                    <a:pt x="643180" y="718132"/>
                  </a:cubicBezTo>
                  <a:cubicBezTo>
                    <a:pt x="643180" y="681394"/>
                    <a:pt x="672962" y="651613"/>
                    <a:pt x="709700" y="651613"/>
                  </a:cubicBezTo>
                  <a:close/>
                  <a:moveTo>
                    <a:pt x="724811" y="214441"/>
                  </a:moveTo>
                  <a:cubicBezTo>
                    <a:pt x="761549" y="214441"/>
                    <a:pt x="791331" y="244223"/>
                    <a:pt x="791331" y="280960"/>
                  </a:cubicBezTo>
                  <a:cubicBezTo>
                    <a:pt x="791331" y="317699"/>
                    <a:pt x="761549" y="347480"/>
                    <a:pt x="724811" y="347481"/>
                  </a:cubicBezTo>
                  <a:cubicBezTo>
                    <a:pt x="688074" y="347480"/>
                    <a:pt x="658291" y="317699"/>
                    <a:pt x="658291" y="280960"/>
                  </a:cubicBezTo>
                  <a:cubicBezTo>
                    <a:pt x="658292" y="244223"/>
                    <a:pt x="688073" y="214440"/>
                    <a:pt x="724811" y="214441"/>
                  </a:cubicBezTo>
                  <a:close/>
                  <a:moveTo>
                    <a:pt x="276034" y="214441"/>
                  </a:moveTo>
                  <a:cubicBezTo>
                    <a:pt x="312772" y="214440"/>
                    <a:pt x="342553" y="244222"/>
                    <a:pt x="342553" y="280961"/>
                  </a:cubicBezTo>
                  <a:cubicBezTo>
                    <a:pt x="342553" y="317699"/>
                    <a:pt x="312771" y="347481"/>
                    <a:pt x="276033" y="347480"/>
                  </a:cubicBezTo>
                  <a:cubicBezTo>
                    <a:pt x="239296" y="347481"/>
                    <a:pt x="209514" y="317699"/>
                    <a:pt x="209513" y="280961"/>
                  </a:cubicBezTo>
                  <a:cubicBezTo>
                    <a:pt x="209513" y="244223"/>
                    <a:pt x="239295" y="214441"/>
                    <a:pt x="276034" y="214441"/>
                  </a:cubicBezTo>
                  <a:close/>
                  <a:moveTo>
                    <a:pt x="724811" y="159516"/>
                  </a:moveTo>
                  <a:cubicBezTo>
                    <a:pt x="657739" y="159516"/>
                    <a:pt x="603366" y="213889"/>
                    <a:pt x="603366" y="280961"/>
                  </a:cubicBezTo>
                  <a:cubicBezTo>
                    <a:pt x="603366" y="297728"/>
                    <a:pt x="606765" y="313703"/>
                    <a:pt x="612911" y="328232"/>
                  </a:cubicBezTo>
                  <a:lnTo>
                    <a:pt x="626516" y="348413"/>
                  </a:lnTo>
                  <a:lnTo>
                    <a:pt x="350950" y="624870"/>
                  </a:lnTo>
                  <a:lnTo>
                    <a:pt x="323305" y="606231"/>
                  </a:lnTo>
                  <a:cubicBezTo>
                    <a:pt x="308776" y="600086"/>
                    <a:pt x="292801" y="596687"/>
                    <a:pt x="276034" y="596688"/>
                  </a:cubicBezTo>
                  <a:cubicBezTo>
                    <a:pt x="208961" y="596688"/>
                    <a:pt x="154588" y="651061"/>
                    <a:pt x="154589" y="718133"/>
                  </a:cubicBezTo>
                  <a:cubicBezTo>
                    <a:pt x="154588" y="785205"/>
                    <a:pt x="208961" y="839578"/>
                    <a:pt x="276033" y="839577"/>
                  </a:cubicBezTo>
                  <a:cubicBezTo>
                    <a:pt x="343105" y="839578"/>
                    <a:pt x="397478" y="785205"/>
                    <a:pt x="397479" y="718133"/>
                  </a:cubicBezTo>
                  <a:cubicBezTo>
                    <a:pt x="397478" y="701365"/>
                    <a:pt x="394080" y="685391"/>
                    <a:pt x="387935" y="670861"/>
                  </a:cubicBezTo>
                  <a:lnTo>
                    <a:pt x="380561" y="659925"/>
                  </a:lnTo>
                  <a:lnTo>
                    <a:pt x="659133" y="380452"/>
                  </a:lnTo>
                  <a:lnTo>
                    <a:pt x="677539" y="392862"/>
                  </a:lnTo>
                  <a:cubicBezTo>
                    <a:pt x="692069" y="399007"/>
                    <a:pt x="708043" y="402406"/>
                    <a:pt x="724812" y="402406"/>
                  </a:cubicBezTo>
                  <a:cubicBezTo>
                    <a:pt x="791883" y="402406"/>
                    <a:pt x="846256" y="348033"/>
                    <a:pt x="846257" y="280961"/>
                  </a:cubicBezTo>
                  <a:cubicBezTo>
                    <a:pt x="846256" y="213889"/>
                    <a:pt x="791883" y="159516"/>
                    <a:pt x="724811" y="159516"/>
                  </a:cubicBezTo>
                  <a:close/>
                  <a:moveTo>
                    <a:pt x="66037" y="0"/>
                  </a:moveTo>
                  <a:lnTo>
                    <a:pt x="521220" y="0"/>
                  </a:lnTo>
                  <a:lnTo>
                    <a:pt x="340889" y="180915"/>
                  </a:lnTo>
                  <a:lnTo>
                    <a:pt x="323305" y="169059"/>
                  </a:lnTo>
                  <a:cubicBezTo>
                    <a:pt x="308775" y="162914"/>
                    <a:pt x="292801" y="159515"/>
                    <a:pt x="276033" y="159515"/>
                  </a:cubicBezTo>
                  <a:cubicBezTo>
                    <a:pt x="208962" y="159515"/>
                    <a:pt x="154589" y="213889"/>
                    <a:pt x="154588" y="280961"/>
                  </a:cubicBezTo>
                  <a:cubicBezTo>
                    <a:pt x="154589" y="348033"/>
                    <a:pt x="208962" y="402406"/>
                    <a:pt x="276033" y="402406"/>
                  </a:cubicBezTo>
                  <a:cubicBezTo>
                    <a:pt x="343106" y="402406"/>
                    <a:pt x="397479" y="348032"/>
                    <a:pt x="397478" y="280960"/>
                  </a:cubicBezTo>
                  <a:cubicBezTo>
                    <a:pt x="397478" y="264193"/>
                    <a:pt x="394080" y="248218"/>
                    <a:pt x="387934" y="233689"/>
                  </a:cubicBezTo>
                  <a:lnTo>
                    <a:pt x="373773" y="212685"/>
                  </a:lnTo>
                  <a:lnTo>
                    <a:pt x="585773" y="0"/>
                  </a:lnTo>
                  <a:lnTo>
                    <a:pt x="928645" y="0"/>
                  </a:lnTo>
                  <a:cubicBezTo>
                    <a:pt x="965116" y="0"/>
                    <a:pt x="994682" y="29566"/>
                    <a:pt x="994682" y="66037"/>
                  </a:cubicBezTo>
                  <a:lnTo>
                    <a:pt x="994682" y="939537"/>
                  </a:lnTo>
                  <a:lnTo>
                    <a:pt x="990451" y="960496"/>
                  </a:lnTo>
                  <a:lnTo>
                    <a:pt x="811266" y="780733"/>
                  </a:lnTo>
                  <a:lnTo>
                    <a:pt x="821601" y="765404"/>
                  </a:lnTo>
                  <a:cubicBezTo>
                    <a:pt x="827747" y="750875"/>
                    <a:pt x="831145" y="734901"/>
                    <a:pt x="831145" y="718133"/>
                  </a:cubicBezTo>
                  <a:cubicBezTo>
                    <a:pt x="831145" y="651060"/>
                    <a:pt x="776772" y="596687"/>
                    <a:pt x="709700" y="596688"/>
                  </a:cubicBezTo>
                  <a:cubicBezTo>
                    <a:pt x="642628" y="596687"/>
                    <a:pt x="588255" y="651060"/>
                    <a:pt x="588255" y="718133"/>
                  </a:cubicBezTo>
                  <a:cubicBezTo>
                    <a:pt x="588255" y="785204"/>
                    <a:pt x="642628" y="839577"/>
                    <a:pt x="709700" y="839578"/>
                  </a:cubicBezTo>
                  <a:cubicBezTo>
                    <a:pt x="726469" y="839578"/>
                    <a:pt x="742442" y="836179"/>
                    <a:pt x="756972" y="830034"/>
                  </a:cubicBezTo>
                  <a:lnTo>
                    <a:pt x="780228" y="814355"/>
                  </a:lnTo>
                  <a:lnTo>
                    <a:pt x="961113" y="995825"/>
                  </a:lnTo>
                  <a:lnTo>
                    <a:pt x="954350" y="1000385"/>
                  </a:lnTo>
                  <a:cubicBezTo>
                    <a:pt x="946449" y="1003726"/>
                    <a:pt x="937763" y="1005574"/>
                    <a:pt x="928645" y="1005574"/>
                  </a:cubicBezTo>
                  <a:lnTo>
                    <a:pt x="66037" y="1005574"/>
                  </a:lnTo>
                  <a:cubicBezTo>
                    <a:pt x="29566" y="1005574"/>
                    <a:pt x="0" y="976008"/>
                    <a:pt x="0" y="939537"/>
                  </a:cubicBezTo>
                  <a:lnTo>
                    <a:pt x="0" y="66037"/>
                  </a:lnTo>
                  <a:cubicBezTo>
                    <a:pt x="0" y="29566"/>
                    <a:pt x="29566" y="0"/>
                    <a:pt x="66037"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62" name="device"/>
            <p:cNvSpPr>
              <a:spLocks noChangeAspect="1"/>
            </p:cNvSpPr>
            <p:nvPr/>
          </p:nvSpPr>
          <p:spPr bwMode="auto">
            <a:xfrm>
              <a:off x="1275268" y="4420256"/>
              <a:ext cx="293765" cy="296982"/>
            </a:xfrm>
            <a:custGeom>
              <a:avLst/>
              <a:gdLst>
                <a:gd name="connsiteX0" fmla="*/ 276033 w 994682"/>
                <a:gd name="connsiteY0" fmla="*/ 651613 h 1005574"/>
                <a:gd name="connsiteX1" fmla="*/ 342553 w 994682"/>
                <a:gd name="connsiteY1" fmla="*/ 718133 h 1005574"/>
                <a:gd name="connsiteX2" fmla="*/ 276033 w 994682"/>
                <a:gd name="connsiteY2" fmla="*/ 784652 h 1005574"/>
                <a:gd name="connsiteX3" fmla="*/ 209513 w 994682"/>
                <a:gd name="connsiteY3" fmla="*/ 718133 h 1005574"/>
                <a:gd name="connsiteX4" fmla="*/ 276033 w 994682"/>
                <a:gd name="connsiteY4" fmla="*/ 651613 h 1005574"/>
                <a:gd name="connsiteX5" fmla="*/ 709700 w 994682"/>
                <a:gd name="connsiteY5" fmla="*/ 651613 h 1005574"/>
                <a:gd name="connsiteX6" fmla="*/ 776220 w 994682"/>
                <a:gd name="connsiteY6" fmla="*/ 718133 h 1005574"/>
                <a:gd name="connsiteX7" fmla="*/ 709701 w 994682"/>
                <a:gd name="connsiteY7" fmla="*/ 784653 h 1005574"/>
                <a:gd name="connsiteX8" fmla="*/ 643180 w 994682"/>
                <a:gd name="connsiteY8" fmla="*/ 718132 h 1005574"/>
                <a:gd name="connsiteX9" fmla="*/ 709700 w 994682"/>
                <a:gd name="connsiteY9" fmla="*/ 651613 h 1005574"/>
                <a:gd name="connsiteX10" fmla="*/ 724811 w 994682"/>
                <a:gd name="connsiteY10" fmla="*/ 214441 h 1005574"/>
                <a:gd name="connsiteX11" fmla="*/ 791331 w 994682"/>
                <a:gd name="connsiteY11" fmla="*/ 280960 h 1005574"/>
                <a:gd name="connsiteX12" fmla="*/ 724811 w 994682"/>
                <a:gd name="connsiteY12" fmla="*/ 347481 h 1005574"/>
                <a:gd name="connsiteX13" fmla="*/ 658291 w 994682"/>
                <a:gd name="connsiteY13" fmla="*/ 280960 h 1005574"/>
                <a:gd name="connsiteX14" fmla="*/ 724811 w 994682"/>
                <a:gd name="connsiteY14" fmla="*/ 214441 h 1005574"/>
                <a:gd name="connsiteX15" fmla="*/ 276034 w 994682"/>
                <a:gd name="connsiteY15" fmla="*/ 214441 h 1005574"/>
                <a:gd name="connsiteX16" fmla="*/ 342553 w 994682"/>
                <a:gd name="connsiteY16" fmla="*/ 280961 h 1005574"/>
                <a:gd name="connsiteX17" fmla="*/ 276033 w 994682"/>
                <a:gd name="connsiteY17" fmla="*/ 347480 h 1005574"/>
                <a:gd name="connsiteX18" fmla="*/ 209513 w 994682"/>
                <a:gd name="connsiteY18" fmla="*/ 280961 h 1005574"/>
                <a:gd name="connsiteX19" fmla="*/ 276034 w 994682"/>
                <a:gd name="connsiteY19" fmla="*/ 214441 h 1005574"/>
                <a:gd name="connsiteX20" fmla="*/ 724811 w 994682"/>
                <a:gd name="connsiteY20" fmla="*/ 159516 h 1005574"/>
                <a:gd name="connsiteX21" fmla="*/ 603366 w 994682"/>
                <a:gd name="connsiteY21" fmla="*/ 280961 h 1005574"/>
                <a:gd name="connsiteX22" fmla="*/ 612911 w 994682"/>
                <a:gd name="connsiteY22" fmla="*/ 328232 h 1005574"/>
                <a:gd name="connsiteX23" fmla="*/ 626516 w 994682"/>
                <a:gd name="connsiteY23" fmla="*/ 348413 h 1005574"/>
                <a:gd name="connsiteX24" fmla="*/ 350950 w 994682"/>
                <a:gd name="connsiteY24" fmla="*/ 624870 h 1005574"/>
                <a:gd name="connsiteX25" fmla="*/ 323305 w 994682"/>
                <a:gd name="connsiteY25" fmla="*/ 606231 h 1005574"/>
                <a:gd name="connsiteX26" fmla="*/ 276034 w 994682"/>
                <a:gd name="connsiteY26" fmla="*/ 596688 h 1005574"/>
                <a:gd name="connsiteX27" fmla="*/ 154589 w 994682"/>
                <a:gd name="connsiteY27" fmla="*/ 718133 h 1005574"/>
                <a:gd name="connsiteX28" fmla="*/ 276033 w 994682"/>
                <a:gd name="connsiteY28" fmla="*/ 839577 h 1005574"/>
                <a:gd name="connsiteX29" fmla="*/ 397479 w 994682"/>
                <a:gd name="connsiteY29" fmla="*/ 718133 h 1005574"/>
                <a:gd name="connsiteX30" fmla="*/ 387935 w 994682"/>
                <a:gd name="connsiteY30" fmla="*/ 670861 h 1005574"/>
                <a:gd name="connsiteX31" fmla="*/ 380561 w 994682"/>
                <a:gd name="connsiteY31" fmla="*/ 659925 h 1005574"/>
                <a:gd name="connsiteX32" fmla="*/ 659133 w 994682"/>
                <a:gd name="connsiteY32" fmla="*/ 380452 h 1005574"/>
                <a:gd name="connsiteX33" fmla="*/ 677539 w 994682"/>
                <a:gd name="connsiteY33" fmla="*/ 392862 h 1005574"/>
                <a:gd name="connsiteX34" fmla="*/ 724812 w 994682"/>
                <a:gd name="connsiteY34" fmla="*/ 402406 h 1005574"/>
                <a:gd name="connsiteX35" fmla="*/ 846257 w 994682"/>
                <a:gd name="connsiteY35" fmla="*/ 280961 h 1005574"/>
                <a:gd name="connsiteX36" fmla="*/ 724811 w 994682"/>
                <a:gd name="connsiteY36" fmla="*/ 159516 h 1005574"/>
                <a:gd name="connsiteX37" fmla="*/ 66037 w 994682"/>
                <a:gd name="connsiteY37" fmla="*/ 0 h 1005574"/>
                <a:gd name="connsiteX38" fmla="*/ 521220 w 994682"/>
                <a:gd name="connsiteY38" fmla="*/ 0 h 1005574"/>
                <a:gd name="connsiteX39" fmla="*/ 340889 w 994682"/>
                <a:gd name="connsiteY39" fmla="*/ 180915 h 1005574"/>
                <a:gd name="connsiteX40" fmla="*/ 323305 w 994682"/>
                <a:gd name="connsiteY40" fmla="*/ 169059 h 1005574"/>
                <a:gd name="connsiteX41" fmla="*/ 276033 w 994682"/>
                <a:gd name="connsiteY41" fmla="*/ 159515 h 1005574"/>
                <a:gd name="connsiteX42" fmla="*/ 154588 w 994682"/>
                <a:gd name="connsiteY42" fmla="*/ 280961 h 1005574"/>
                <a:gd name="connsiteX43" fmla="*/ 276033 w 994682"/>
                <a:gd name="connsiteY43" fmla="*/ 402406 h 1005574"/>
                <a:gd name="connsiteX44" fmla="*/ 397478 w 994682"/>
                <a:gd name="connsiteY44" fmla="*/ 280960 h 1005574"/>
                <a:gd name="connsiteX45" fmla="*/ 387934 w 994682"/>
                <a:gd name="connsiteY45" fmla="*/ 233689 h 1005574"/>
                <a:gd name="connsiteX46" fmla="*/ 373773 w 994682"/>
                <a:gd name="connsiteY46" fmla="*/ 212685 h 1005574"/>
                <a:gd name="connsiteX47" fmla="*/ 585773 w 994682"/>
                <a:gd name="connsiteY47" fmla="*/ 0 h 1005574"/>
                <a:gd name="connsiteX48" fmla="*/ 928645 w 994682"/>
                <a:gd name="connsiteY48" fmla="*/ 0 h 1005574"/>
                <a:gd name="connsiteX49" fmla="*/ 994682 w 994682"/>
                <a:gd name="connsiteY49" fmla="*/ 66037 h 1005574"/>
                <a:gd name="connsiteX50" fmla="*/ 994682 w 994682"/>
                <a:gd name="connsiteY50" fmla="*/ 939537 h 1005574"/>
                <a:gd name="connsiteX51" fmla="*/ 990451 w 994682"/>
                <a:gd name="connsiteY51" fmla="*/ 960496 h 1005574"/>
                <a:gd name="connsiteX52" fmla="*/ 811266 w 994682"/>
                <a:gd name="connsiteY52" fmla="*/ 780733 h 1005574"/>
                <a:gd name="connsiteX53" fmla="*/ 821601 w 994682"/>
                <a:gd name="connsiteY53" fmla="*/ 765404 h 1005574"/>
                <a:gd name="connsiteX54" fmla="*/ 831145 w 994682"/>
                <a:gd name="connsiteY54" fmla="*/ 718133 h 1005574"/>
                <a:gd name="connsiteX55" fmla="*/ 709700 w 994682"/>
                <a:gd name="connsiteY55" fmla="*/ 596688 h 1005574"/>
                <a:gd name="connsiteX56" fmla="*/ 588255 w 994682"/>
                <a:gd name="connsiteY56" fmla="*/ 718133 h 1005574"/>
                <a:gd name="connsiteX57" fmla="*/ 709700 w 994682"/>
                <a:gd name="connsiteY57" fmla="*/ 839578 h 1005574"/>
                <a:gd name="connsiteX58" fmla="*/ 756972 w 994682"/>
                <a:gd name="connsiteY58" fmla="*/ 830034 h 1005574"/>
                <a:gd name="connsiteX59" fmla="*/ 780228 w 994682"/>
                <a:gd name="connsiteY59" fmla="*/ 814355 h 1005574"/>
                <a:gd name="connsiteX60" fmla="*/ 961113 w 994682"/>
                <a:gd name="connsiteY60" fmla="*/ 995825 h 1005574"/>
                <a:gd name="connsiteX61" fmla="*/ 954350 w 994682"/>
                <a:gd name="connsiteY61" fmla="*/ 1000385 h 1005574"/>
                <a:gd name="connsiteX62" fmla="*/ 928645 w 994682"/>
                <a:gd name="connsiteY62" fmla="*/ 1005574 h 1005574"/>
                <a:gd name="connsiteX63" fmla="*/ 66037 w 994682"/>
                <a:gd name="connsiteY63" fmla="*/ 1005574 h 1005574"/>
                <a:gd name="connsiteX64" fmla="*/ 0 w 994682"/>
                <a:gd name="connsiteY64" fmla="*/ 939537 h 1005574"/>
                <a:gd name="connsiteX65" fmla="*/ 0 w 994682"/>
                <a:gd name="connsiteY65" fmla="*/ 66037 h 1005574"/>
                <a:gd name="connsiteX66" fmla="*/ 66037 w 994682"/>
                <a:gd name="connsiteY66" fmla="*/ 0 h 100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994682" h="1005574">
                  <a:moveTo>
                    <a:pt x="276033" y="651613"/>
                  </a:moveTo>
                  <a:cubicBezTo>
                    <a:pt x="312771" y="651612"/>
                    <a:pt x="342553" y="681394"/>
                    <a:pt x="342553" y="718133"/>
                  </a:cubicBezTo>
                  <a:cubicBezTo>
                    <a:pt x="342554" y="754871"/>
                    <a:pt x="312772" y="784653"/>
                    <a:pt x="276033" y="784652"/>
                  </a:cubicBezTo>
                  <a:cubicBezTo>
                    <a:pt x="239295" y="784653"/>
                    <a:pt x="209513" y="754871"/>
                    <a:pt x="209513" y="718133"/>
                  </a:cubicBezTo>
                  <a:cubicBezTo>
                    <a:pt x="209513" y="681395"/>
                    <a:pt x="239295" y="651613"/>
                    <a:pt x="276033" y="651613"/>
                  </a:cubicBezTo>
                  <a:close/>
                  <a:moveTo>
                    <a:pt x="709700" y="651613"/>
                  </a:moveTo>
                  <a:cubicBezTo>
                    <a:pt x="746438" y="651612"/>
                    <a:pt x="776221" y="681395"/>
                    <a:pt x="776220" y="718133"/>
                  </a:cubicBezTo>
                  <a:cubicBezTo>
                    <a:pt x="776221" y="754870"/>
                    <a:pt x="746439" y="784652"/>
                    <a:pt x="709701" y="784653"/>
                  </a:cubicBezTo>
                  <a:cubicBezTo>
                    <a:pt x="672962" y="784653"/>
                    <a:pt x="643180" y="754871"/>
                    <a:pt x="643180" y="718132"/>
                  </a:cubicBezTo>
                  <a:cubicBezTo>
                    <a:pt x="643180" y="681394"/>
                    <a:pt x="672962" y="651613"/>
                    <a:pt x="709700" y="651613"/>
                  </a:cubicBezTo>
                  <a:close/>
                  <a:moveTo>
                    <a:pt x="724811" y="214441"/>
                  </a:moveTo>
                  <a:cubicBezTo>
                    <a:pt x="761549" y="214441"/>
                    <a:pt x="791331" y="244223"/>
                    <a:pt x="791331" y="280960"/>
                  </a:cubicBezTo>
                  <a:cubicBezTo>
                    <a:pt x="791331" y="317699"/>
                    <a:pt x="761549" y="347480"/>
                    <a:pt x="724811" y="347481"/>
                  </a:cubicBezTo>
                  <a:cubicBezTo>
                    <a:pt x="688074" y="347480"/>
                    <a:pt x="658291" y="317699"/>
                    <a:pt x="658291" y="280960"/>
                  </a:cubicBezTo>
                  <a:cubicBezTo>
                    <a:pt x="658292" y="244223"/>
                    <a:pt x="688073" y="214440"/>
                    <a:pt x="724811" y="214441"/>
                  </a:cubicBezTo>
                  <a:close/>
                  <a:moveTo>
                    <a:pt x="276034" y="214441"/>
                  </a:moveTo>
                  <a:cubicBezTo>
                    <a:pt x="312772" y="214440"/>
                    <a:pt x="342553" y="244222"/>
                    <a:pt x="342553" y="280961"/>
                  </a:cubicBezTo>
                  <a:cubicBezTo>
                    <a:pt x="342553" y="317699"/>
                    <a:pt x="312771" y="347481"/>
                    <a:pt x="276033" y="347480"/>
                  </a:cubicBezTo>
                  <a:cubicBezTo>
                    <a:pt x="239296" y="347481"/>
                    <a:pt x="209514" y="317699"/>
                    <a:pt x="209513" y="280961"/>
                  </a:cubicBezTo>
                  <a:cubicBezTo>
                    <a:pt x="209513" y="244223"/>
                    <a:pt x="239295" y="214441"/>
                    <a:pt x="276034" y="214441"/>
                  </a:cubicBezTo>
                  <a:close/>
                  <a:moveTo>
                    <a:pt x="724811" y="159516"/>
                  </a:moveTo>
                  <a:cubicBezTo>
                    <a:pt x="657739" y="159516"/>
                    <a:pt x="603366" y="213889"/>
                    <a:pt x="603366" y="280961"/>
                  </a:cubicBezTo>
                  <a:cubicBezTo>
                    <a:pt x="603366" y="297728"/>
                    <a:pt x="606765" y="313703"/>
                    <a:pt x="612911" y="328232"/>
                  </a:cubicBezTo>
                  <a:lnTo>
                    <a:pt x="626516" y="348413"/>
                  </a:lnTo>
                  <a:lnTo>
                    <a:pt x="350950" y="624870"/>
                  </a:lnTo>
                  <a:lnTo>
                    <a:pt x="323305" y="606231"/>
                  </a:lnTo>
                  <a:cubicBezTo>
                    <a:pt x="308776" y="600086"/>
                    <a:pt x="292801" y="596687"/>
                    <a:pt x="276034" y="596688"/>
                  </a:cubicBezTo>
                  <a:cubicBezTo>
                    <a:pt x="208961" y="596688"/>
                    <a:pt x="154588" y="651061"/>
                    <a:pt x="154589" y="718133"/>
                  </a:cubicBezTo>
                  <a:cubicBezTo>
                    <a:pt x="154588" y="785205"/>
                    <a:pt x="208961" y="839578"/>
                    <a:pt x="276033" y="839577"/>
                  </a:cubicBezTo>
                  <a:cubicBezTo>
                    <a:pt x="343105" y="839578"/>
                    <a:pt x="397478" y="785205"/>
                    <a:pt x="397479" y="718133"/>
                  </a:cubicBezTo>
                  <a:cubicBezTo>
                    <a:pt x="397478" y="701365"/>
                    <a:pt x="394080" y="685391"/>
                    <a:pt x="387935" y="670861"/>
                  </a:cubicBezTo>
                  <a:lnTo>
                    <a:pt x="380561" y="659925"/>
                  </a:lnTo>
                  <a:lnTo>
                    <a:pt x="659133" y="380452"/>
                  </a:lnTo>
                  <a:lnTo>
                    <a:pt x="677539" y="392862"/>
                  </a:lnTo>
                  <a:cubicBezTo>
                    <a:pt x="692069" y="399007"/>
                    <a:pt x="708043" y="402406"/>
                    <a:pt x="724812" y="402406"/>
                  </a:cubicBezTo>
                  <a:cubicBezTo>
                    <a:pt x="791883" y="402406"/>
                    <a:pt x="846256" y="348033"/>
                    <a:pt x="846257" y="280961"/>
                  </a:cubicBezTo>
                  <a:cubicBezTo>
                    <a:pt x="846256" y="213889"/>
                    <a:pt x="791883" y="159516"/>
                    <a:pt x="724811" y="159516"/>
                  </a:cubicBezTo>
                  <a:close/>
                  <a:moveTo>
                    <a:pt x="66037" y="0"/>
                  </a:moveTo>
                  <a:lnTo>
                    <a:pt x="521220" y="0"/>
                  </a:lnTo>
                  <a:lnTo>
                    <a:pt x="340889" y="180915"/>
                  </a:lnTo>
                  <a:lnTo>
                    <a:pt x="323305" y="169059"/>
                  </a:lnTo>
                  <a:cubicBezTo>
                    <a:pt x="308775" y="162914"/>
                    <a:pt x="292801" y="159515"/>
                    <a:pt x="276033" y="159515"/>
                  </a:cubicBezTo>
                  <a:cubicBezTo>
                    <a:pt x="208962" y="159515"/>
                    <a:pt x="154589" y="213889"/>
                    <a:pt x="154588" y="280961"/>
                  </a:cubicBezTo>
                  <a:cubicBezTo>
                    <a:pt x="154589" y="348033"/>
                    <a:pt x="208962" y="402406"/>
                    <a:pt x="276033" y="402406"/>
                  </a:cubicBezTo>
                  <a:cubicBezTo>
                    <a:pt x="343106" y="402406"/>
                    <a:pt x="397479" y="348032"/>
                    <a:pt x="397478" y="280960"/>
                  </a:cubicBezTo>
                  <a:cubicBezTo>
                    <a:pt x="397478" y="264193"/>
                    <a:pt x="394080" y="248218"/>
                    <a:pt x="387934" y="233689"/>
                  </a:cubicBezTo>
                  <a:lnTo>
                    <a:pt x="373773" y="212685"/>
                  </a:lnTo>
                  <a:lnTo>
                    <a:pt x="585773" y="0"/>
                  </a:lnTo>
                  <a:lnTo>
                    <a:pt x="928645" y="0"/>
                  </a:lnTo>
                  <a:cubicBezTo>
                    <a:pt x="965116" y="0"/>
                    <a:pt x="994682" y="29566"/>
                    <a:pt x="994682" y="66037"/>
                  </a:cubicBezTo>
                  <a:lnTo>
                    <a:pt x="994682" y="939537"/>
                  </a:lnTo>
                  <a:lnTo>
                    <a:pt x="990451" y="960496"/>
                  </a:lnTo>
                  <a:lnTo>
                    <a:pt x="811266" y="780733"/>
                  </a:lnTo>
                  <a:lnTo>
                    <a:pt x="821601" y="765404"/>
                  </a:lnTo>
                  <a:cubicBezTo>
                    <a:pt x="827747" y="750875"/>
                    <a:pt x="831145" y="734901"/>
                    <a:pt x="831145" y="718133"/>
                  </a:cubicBezTo>
                  <a:cubicBezTo>
                    <a:pt x="831145" y="651060"/>
                    <a:pt x="776772" y="596687"/>
                    <a:pt x="709700" y="596688"/>
                  </a:cubicBezTo>
                  <a:cubicBezTo>
                    <a:pt x="642628" y="596687"/>
                    <a:pt x="588255" y="651060"/>
                    <a:pt x="588255" y="718133"/>
                  </a:cubicBezTo>
                  <a:cubicBezTo>
                    <a:pt x="588255" y="785204"/>
                    <a:pt x="642628" y="839577"/>
                    <a:pt x="709700" y="839578"/>
                  </a:cubicBezTo>
                  <a:cubicBezTo>
                    <a:pt x="726469" y="839578"/>
                    <a:pt x="742442" y="836179"/>
                    <a:pt x="756972" y="830034"/>
                  </a:cubicBezTo>
                  <a:lnTo>
                    <a:pt x="780228" y="814355"/>
                  </a:lnTo>
                  <a:lnTo>
                    <a:pt x="961113" y="995825"/>
                  </a:lnTo>
                  <a:lnTo>
                    <a:pt x="954350" y="1000385"/>
                  </a:lnTo>
                  <a:cubicBezTo>
                    <a:pt x="946449" y="1003726"/>
                    <a:pt x="937763" y="1005574"/>
                    <a:pt x="928645" y="1005574"/>
                  </a:cubicBezTo>
                  <a:lnTo>
                    <a:pt x="66037" y="1005574"/>
                  </a:lnTo>
                  <a:cubicBezTo>
                    <a:pt x="29566" y="1005574"/>
                    <a:pt x="0" y="976008"/>
                    <a:pt x="0" y="939537"/>
                  </a:cubicBezTo>
                  <a:lnTo>
                    <a:pt x="0" y="66037"/>
                  </a:lnTo>
                  <a:cubicBezTo>
                    <a:pt x="0" y="29566"/>
                    <a:pt x="29566" y="0"/>
                    <a:pt x="66037"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63" name="device"/>
            <p:cNvSpPr>
              <a:spLocks noChangeAspect="1"/>
            </p:cNvSpPr>
            <p:nvPr/>
          </p:nvSpPr>
          <p:spPr bwMode="auto">
            <a:xfrm>
              <a:off x="1275268" y="4784699"/>
              <a:ext cx="293765" cy="296982"/>
            </a:xfrm>
            <a:custGeom>
              <a:avLst/>
              <a:gdLst>
                <a:gd name="connsiteX0" fmla="*/ 276033 w 994682"/>
                <a:gd name="connsiteY0" fmla="*/ 651613 h 1005574"/>
                <a:gd name="connsiteX1" fmla="*/ 342553 w 994682"/>
                <a:gd name="connsiteY1" fmla="*/ 718133 h 1005574"/>
                <a:gd name="connsiteX2" fmla="*/ 276033 w 994682"/>
                <a:gd name="connsiteY2" fmla="*/ 784652 h 1005574"/>
                <a:gd name="connsiteX3" fmla="*/ 209513 w 994682"/>
                <a:gd name="connsiteY3" fmla="*/ 718133 h 1005574"/>
                <a:gd name="connsiteX4" fmla="*/ 276033 w 994682"/>
                <a:gd name="connsiteY4" fmla="*/ 651613 h 1005574"/>
                <a:gd name="connsiteX5" fmla="*/ 709700 w 994682"/>
                <a:gd name="connsiteY5" fmla="*/ 651613 h 1005574"/>
                <a:gd name="connsiteX6" fmla="*/ 776220 w 994682"/>
                <a:gd name="connsiteY6" fmla="*/ 718133 h 1005574"/>
                <a:gd name="connsiteX7" fmla="*/ 709701 w 994682"/>
                <a:gd name="connsiteY7" fmla="*/ 784653 h 1005574"/>
                <a:gd name="connsiteX8" fmla="*/ 643180 w 994682"/>
                <a:gd name="connsiteY8" fmla="*/ 718132 h 1005574"/>
                <a:gd name="connsiteX9" fmla="*/ 709700 w 994682"/>
                <a:gd name="connsiteY9" fmla="*/ 651613 h 1005574"/>
                <a:gd name="connsiteX10" fmla="*/ 724811 w 994682"/>
                <a:gd name="connsiteY10" fmla="*/ 214441 h 1005574"/>
                <a:gd name="connsiteX11" fmla="*/ 791331 w 994682"/>
                <a:gd name="connsiteY11" fmla="*/ 280960 h 1005574"/>
                <a:gd name="connsiteX12" fmla="*/ 724811 w 994682"/>
                <a:gd name="connsiteY12" fmla="*/ 347481 h 1005574"/>
                <a:gd name="connsiteX13" fmla="*/ 658291 w 994682"/>
                <a:gd name="connsiteY13" fmla="*/ 280960 h 1005574"/>
                <a:gd name="connsiteX14" fmla="*/ 724811 w 994682"/>
                <a:gd name="connsiteY14" fmla="*/ 214441 h 1005574"/>
                <a:gd name="connsiteX15" fmla="*/ 276034 w 994682"/>
                <a:gd name="connsiteY15" fmla="*/ 214441 h 1005574"/>
                <a:gd name="connsiteX16" fmla="*/ 342553 w 994682"/>
                <a:gd name="connsiteY16" fmla="*/ 280961 h 1005574"/>
                <a:gd name="connsiteX17" fmla="*/ 276033 w 994682"/>
                <a:gd name="connsiteY17" fmla="*/ 347480 h 1005574"/>
                <a:gd name="connsiteX18" fmla="*/ 209513 w 994682"/>
                <a:gd name="connsiteY18" fmla="*/ 280961 h 1005574"/>
                <a:gd name="connsiteX19" fmla="*/ 276034 w 994682"/>
                <a:gd name="connsiteY19" fmla="*/ 214441 h 1005574"/>
                <a:gd name="connsiteX20" fmla="*/ 724811 w 994682"/>
                <a:gd name="connsiteY20" fmla="*/ 159516 h 1005574"/>
                <a:gd name="connsiteX21" fmla="*/ 603366 w 994682"/>
                <a:gd name="connsiteY21" fmla="*/ 280961 h 1005574"/>
                <a:gd name="connsiteX22" fmla="*/ 612911 w 994682"/>
                <a:gd name="connsiteY22" fmla="*/ 328232 h 1005574"/>
                <a:gd name="connsiteX23" fmla="*/ 626516 w 994682"/>
                <a:gd name="connsiteY23" fmla="*/ 348413 h 1005574"/>
                <a:gd name="connsiteX24" fmla="*/ 350950 w 994682"/>
                <a:gd name="connsiteY24" fmla="*/ 624870 h 1005574"/>
                <a:gd name="connsiteX25" fmla="*/ 323305 w 994682"/>
                <a:gd name="connsiteY25" fmla="*/ 606231 h 1005574"/>
                <a:gd name="connsiteX26" fmla="*/ 276034 w 994682"/>
                <a:gd name="connsiteY26" fmla="*/ 596688 h 1005574"/>
                <a:gd name="connsiteX27" fmla="*/ 154589 w 994682"/>
                <a:gd name="connsiteY27" fmla="*/ 718133 h 1005574"/>
                <a:gd name="connsiteX28" fmla="*/ 276033 w 994682"/>
                <a:gd name="connsiteY28" fmla="*/ 839577 h 1005574"/>
                <a:gd name="connsiteX29" fmla="*/ 397479 w 994682"/>
                <a:gd name="connsiteY29" fmla="*/ 718133 h 1005574"/>
                <a:gd name="connsiteX30" fmla="*/ 387935 w 994682"/>
                <a:gd name="connsiteY30" fmla="*/ 670861 h 1005574"/>
                <a:gd name="connsiteX31" fmla="*/ 380561 w 994682"/>
                <a:gd name="connsiteY31" fmla="*/ 659925 h 1005574"/>
                <a:gd name="connsiteX32" fmla="*/ 659133 w 994682"/>
                <a:gd name="connsiteY32" fmla="*/ 380452 h 1005574"/>
                <a:gd name="connsiteX33" fmla="*/ 677539 w 994682"/>
                <a:gd name="connsiteY33" fmla="*/ 392862 h 1005574"/>
                <a:gd name="connsiteX34" fmla="*/ 724812 w 994682"/>
                <a:gd name="connsiteY34" fmla="*/ 402406 h 1005574"/>
                <a:gd name="connsiteX35" fmla="*/ 846257 w 994682"/>
                <a:gd name="connsiteY35" fmla="*/ 280961 h 1005574"/>
                <a:gd name="connsiteX36" fmla="*/ 724811 w 994682"/>
                <a:gd name="connsiteY36" fmla="*/ 159516 h 1005574"/>
                <a:gd name="connsiteX37" fmla="*/ 66037 w 994682"/>
                <a:gd name="connsiteY37" fmla="*/ 0 h 1005574"/>
                <a:gd name="connsiteX38" fmla="*/ 521220 w 994682"/>
                <a:gd name="connsiteY38" fmla="*/ 0 h 1005574"/>
                <a:gd name="connsiteX39" fmla="*/ 340889 w 994682"/>
                <a:gd name="connsiteY39" fmla="*/ 180915 h 1005574"/>
                <a:gd name="connsiteX40" fmla="*/ 323305 w 994682"/>
                <a:gd name="connsiteY40" fmla="*/ 169059 h 1005574"/>
                <a:gd name="connsiteX41" fmla="*/ 276033 w 994682"/>
                <a:gd name="connsiteY41" fmla="*/ 159515 h 1005574"/>
                <a:gd name="connsiteX42" fmla="*/ 154588 w 994682"/>
                <a:gd name="connsiteY42" fmla="*/ 280961 h 1005574"/>
                <a:gd name="connsiteX43" fmla="*/ 276033 w 994682"/>
                <a:gd name="connsiteY43" fmla="*/ 402406 h 1005574"/>
                <a:gd name="connsiteX44" fmla="*/ 397478 w 994682"/>
                <a:gd name="connsiteY44" fmla="*/ 280960 h 1005574"/>
                <a:gd name="connsiteX45" fmla="*/ 387934 w 994682"/>
                <a:gd name="connsiteY45" fmla="*/ 233689 h 1005574"/>
                <a:gd name="connsiteX46" fmla="*/ 373773 w 994682"/>
                <a:gd name="connsiteY46" fmla="*/ 212685 h 1005574"/>
                <a:gd name="connsiteX47" fmla="*/ 585773 w 994682"/>
                <a:gd name="connsiteY47" fmla="*/ 0 h 1005574"/>
                <a:gd name="connsiteX48" fmla="*/ 928645 w 994682"/>
                <a:gd name="connsiteY48" fmla="*/ 0 h 1005574"/>
                <a:gd name="connsiteX49" fmla="*/ 994682 w 994682"/>
                <a:gd name="connsiteY49" fmla="*/ 66037 h 1005574"/>
                <a:gd name="connsiteX50" fmla="*/ 994682 w 994682"/>
                <a:gd name="connsiteY50" fmla="*/ 939537 h 1005574"/>
                <a:gd name="connsiteX51" fmla="*/ 990451 w 994682"/>
                <a:gd name="connsiteY51" fmla="*/ 960496 h 1005574"/>
                <a:gd name="connsiteX52" fmla="*/ 811266 w 994682"/>
                <a:gd name="connsiteY52" fmla="*/ 780733 h 1005574"/>
                <a:gd name="connsiteX53" fmla="*/ 821601 w 994682"/>
                <a:gd name="connsiteY53" fmla="*/ 765404 h 1005574"/>
                <a:gd name="connsiteX54" fmla="*/ 831145 w 994682"/>
                <a:gd name="connsiteY54" fmla="*/ 718133 h 1005574"/>
                <a:gd name="connsiteX55" fmla="*/ 709700 w 994682"/>
                <a:gd name="connsiteY55" fmla="*/ 596688 h 1005574"/>
                <a:gd name="connsiteX56" fmla="*/ 588255 w 994682"/>
                <a:gd name="connsiteY56" fmla="*/ 718133 h 1005574"/>
                <a:gd name="connsiteX57" fmla="*/ 709700 w 994682"/>
                <a:gd name="connsiteY57" fmla="*/ 839578 h 1005574"/>
                <a:gd name="connsiteX58" fmla="*/ 756972 w 994682"/>
                <a:gd name="connsiteY58" fmla="*/ 830034 h 1005574"/>
                <a:gd name="connsiteX59" fmla="*/ 780228 w 994682"/>
                <a:gd name="connsiteY59" fmla="*/ 814355 h 1005574"/>
                <a:gd name="connsiteX60" fmla="*/ 961113 w 994682"/>
                <a:gd name="connsiteY60" fmla="*/ 995825 h 1005574"/>
                <a:gd name="connsiteX61" fmla="*/ 954350 w 994682"/>
                <a:gd name="connsiteY61" fmla="*/ 1000385 h 1005574"/>
                <a:gd name="connsiteX62" fmla="*/ 928645 w 994682"/>
                <a:gd name="connsiteY62" fmla="*/ 1005574 h 1005574"/>
                <a:gd name="connsiteX63" fmla="*/ 66037 w 994682"/>
                <a:gd name="connsiteY63" fmla="*/ 1005574 h 1005574"/>
                <a:gd name="connsiteX64" fmla="*/ 0 w 994682"/>
                <a:gd name="connsiteY64" fmla="*/ 939537 h 1005574"/>
                <a:gd name="connsiteX65" fmla="*/ 0 w 994682"/>
                <a:gd name="connsiteY65" fmla="*/ 66037 h 1005574"/>
                <a:gd name="connsiteX66" fmla="*/ 66037 w 994682"/>
                <a:gd name="connsiteY66" fmla="*/ 0 h 100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994682" h="1005574">
                  <a:moveTo>
                    <a:pt x="276033" y="651613"/>
                  </a:moveTo>
                  <a:cubicBezTo>
                    <a:pt x="312771" y="651612"/>
                    <a:pt x="342553" y="681394"/>
                    <a:pt x="342553" y="718133"/>
                  </a:cubicBezTo>
                  <a:cubicBezTo>
                    <a:pt x="342554" y="754871"/>
                    <a:pt x="312772" y="784653"/>
                    <a:pt x="276033" y="784652"/>
                  </a:cubicBezTo>
                  <a:cubicBezTo>
                    <a:pt x="239295" y="784653"/>
                    <a:pt x="209513" y="754871"/>
                    <a:pt x="209513" y="718133"/>
                  </a:cubicBezTo>
                  <a:cubicBezTo>
                    <a:pt x="209513" y="681395"/>
                    <a:pt x="239295" y="651613"/>
                    <a:pt x="276033" y="651613"/>
                  </a:cubicBezTo>
                  <a:close/>
                  <a:moveTo>
                    <a:pt x="709700" y="651613"/>
                  </a:moveTo>
                  <a:cubicBezTo>
                    <a:pt x="746438" y="651612"/>
                    <a:pt x="776221" y="681395"/>
                    <a:pt x="776220" y="718133"/>
                  </a:cubicBezTo>
                  <a:cubicBezTo>
                    <a:pt x="776221" y="754870"/>
                    <a:pt x="746439" y="784652"/>
                    <a:pt x="709701" y="784653"/>
                  </a:cubicBezTo>
                  <a:cubicBezTo>
                    <a:pt x="672962" y="784653"/>
                    <a:pt x="643180" y="754871"/>
                    <a:pt x="643180" y="718132"/>
                  </a:cubicBezTo>
                  <a:cubicBezTo>
                    <a:pt x="643180" y="681394"/>
                    <a:pt x="672962" y="651613"/>
                    <a:pt x="709700" y="651613"/>
                  </a:cubicBezTo>
                  <a:close/>
                  <a:moveTo>
                    <a:pt x="724811" y="214441"/>
                  </a:moveTo>
                  <a:cubicBezTo>
                    <a:pt x="761549" y="214441"/>
                    <a:pt x="791331" y="244223"/>
                    <a:pt x="791331" y="280960"/>
                  </a:cubicBezTo>
                  <a:cubicBezTo>
                    <a:pt x="791331" y="317699"/>
                    <a:pt x="761549" y="347480"/>
                    <a:pt x="724811" y="347481"/>
                  </a:cubicBezTo>
                  <a:cubicBezTo>
                    <a:pt x="688074" y="347480"/>
                    <a:pt x="658291" y="317699"/>
                    <a:pt x="658291" y="280960"/>
                  </a:cubicBezTo>
                  <a:cubicBezTo>
                    <a:pt x="658292" y="244223"/>
                    <a:pt x="688073" y="214440"/>
                    <a:pt x="724811" y="214441"/>
                  </a:cubicBezTo>
                  <a:close/>
                  <a:moveTo>
                    <a:pt x="276034" y="214441"/>
                  </a:moveTo>
                  <a:cubicBezTo>
                    <a:pt x="312772" y="214440"/>
                    <a:pt x="342553" y="244222"/>
                    <a:pt x="342553" y="280961"/>
                  </a:cubicBezTo>
                  <a:cubicBezTo>
                    <a:pt x="342553" y="317699"/>
                    <a:pt x="312771" y="347481"/>
                    <a:pt x="276033" y="347480"/>
                  </a:cubicBezTo>
                  <a:cubicBezTo>
                    <a:pt x="239296" y="347481"/>
                    <a:pt x="209514" y="317699"/>
                    <a:pt x="209513" y="280961"/>
                  </a:cubicBezTo>
                  <a:cubicBezTo>
                    <a:pt x="209513" y="244223"/>
                    <a:pt x="239295" y="214441"/>
                    <a:pt x="276034" y="214441"/>
                  </a:cubicBezTo>
                  <a:close/>
                  <a:moveTo>
                    <a:pt x="724811" y="159516"/>
                  </a:moveTo>
                  <a:cubicBezTo>
                    <a:pt x="657739" y="159516"/>
                    <a:pt x="603366" y="213889"/>
                    <a:pt x="603366" y="280961"/>
                  </a:cubicBezTo>
                  <a:cubicBezTo>
                    <a:pt x="603366" y="297728"/>
                    <a:pt x="606765" y="313703"/>
                    <a:pt x="612911" y="328232"/>
                  </a:cubicBezTo>
                  <a:lnTo>
                    <a:pt x="626516" y="348413"/>
                  </a:lnTo>
                  <a:lnTo>
                    <a:pt x="350950" y="624870"/>
                  </a:lnTo>
                  <a:lnTo>
                    <a:pt x="323305" y="606231"/>
                  </a:lnTo>
                  <a:cubicBezTo>
                    <a:pt x="308776" y="600086"/>
                    <a:pt x="292801" y="596687"/>
                    <a:pt x="276034" y="596688"/>
                  </a:cubicBezTo>
                  <a:cubicBezTo>
                    <a:pt x="208961" y="596688"/>
                    <a:pt x="154588" y="651061"/>
                    <a:pt x="154589" y="718133"/>
                  </a:cubicBezTo>
                  <a:cubicBezTo>
                    <a:pt x="154588" y="785205"/>
                    <a:pt x="208961" y="839578"/>
                    <a:pt x="276033" y="839577"/>
                  </a:cubicBezTo>
                  <a:cubicBezTo>
                    <a:pt x="343105" y="839578"/>
                    <a:pt x="397478" y="785205"/>
                    <a:pt x="397479" y="718133"/>
                  </a:cubicBezTo>
                  <a:cubicBezTo>
                    <a:pt x="397478" y="701365"/>
                    <a:pt x="394080" y="685391"/>
                    <a:pt x="387935" y="670861"/>
                  </a:cubicBezTo>
                  <a:lnTo>
                    <a:pt x="380561" y="659925"/>
                  </a:lnTo>
                  <a:lnTo>
                    <a:pt x="659133" y="380452"/>
                  </a:lnTo>
                  <a:lnTo>
                    <a:pt x="677539" y="392862"/>
                  </a:lnTo>
                  <a:cubicBezTo>
                    <a:pt x="692069" y="399007"/>
                    <a:pt x="708043" y="402406"/>
                    <a:pt x="724812" y="402406"/>
                  </a:cubicBezTo>
                  <a:cubicBezTo>
                    <a:pt x="791883" y="402406"/>
                    <a:pt x="846256" y="348033"/>
                    <a:pt x="846257" y="280961"/>
                  </a:cubicBezTo>
                  <a:cubicBezTo>
                    <a:pt x="846256" y="213889"/>
                    <a:pt x="791883" y="159516"/>
                    <a:pt x="724811" y="159516"/>
                  </a:cubicBezTo>
                  <a:close/>
                  <a:moveTo>
                    <a:pt x="66037" y="0"/>
                  </a:moveTo>
                  <a:lnTo>
                    <a:pt x="521220" y="0"/>
                  </a:lnTo>
                  <a:lnTo>
                    <a:pt x="340889" y="180915"/>
                  </a:lnTo>
                  <a:lnTo>
                    <a:pt x="323305" y="169059"/>
                  </a:lnTo>
                  <a:cubicBezTo>
                    <a:pt x="308775" y="162914"/>
                    <a:pt x="292801" y="159515"/>
                    <a:pt x="276033" y="159515"/>
                  </a:cubicBezTo>
                  <a:cubicBezTo>
                    <a:pt x="208962" y="159515"/>
                    <a:pt x="154589" y="213889"/>
                    <a:pt x="154588" y="280961"/>
                  </a:cubicBezTo>
                  <a:cubicBezTo>
                    <a:pt x="154589" y="348033"/>
                    <a:pt x="208962" y="402406"/>
                    <a:pt x="276033" y="402406"/>
                  </a:cubicBezTo>
                  <a:cubicBezTo>
                    <a:pt x="343106" y="402406"/>
                    <a:pt x="397479" y="348032"/>
                    <a:pt x="397478" y="280960"/>
                  </a:cubicBezTo>
                  <a:cubicBezTo>
                    <a:pt x="397478" y="264193"/>
                    <a:pt x="394080" y="248218"/>
                    <a:pt x="387934" y="233689"/>
                  </a:cubicBezTo>
                  <a:lnTo>
                    <a:pt x="373773" y="212685"/>
                  </a:lnTo>
                  <a:lnTo>
                    <a:pt x="585773" y="0"/>
                  </a:lnTo>
                  <a:lnTo>
                    <a:pt x="928645" y="0"/>
                  </a:lnTo>
                  <a:cubicBezTo>
                    <a:pt x="965116" y="0"/>
                    <a:pt x="994682" y="29566"/>
                    <a:pt x="994682" y="66037"/>
                  </a:cubicBezTo>
                  <a:lnTo>
                    <a:pt x="994682" y="939537"/>
                  </a:lnTo>
                  <a:lnTo>
                    <a:pt x="990451" y="960496"/>
                  </a:lnTo>
                  <a:lnTo>
                    <a:pt x="811266" y="780733"/>
                  </a:lnTo>
                  <a:lnTo>
                    <a:pt x="821601" y="765404"/>
                  </a:lnTo>
                  <a:cubicBezTo>
                    <a:pt x="827747" y="750875"/>
                    <a:pt x="831145" y="734901"/>
                    <a:pt x="831145" y="718133"/>
                  </a:cubicBezTo>
                  <a:cubicBezTo>
                    <a:pt x="831145" y="651060"/>
                    <a:pt x="776772" y="596687"/>
                    <a:pt x="709700" y="596688"/>
                  </a:cubicBezTo>
                  <a:cubicBezTo>
                    <a:pt x="642628" y="596687"/>
                    <a:pt x="588255" y="651060"/>
                    <a:pt x="588255" y="718133"/>
                  </a:cubicBezTo>
                  <a:cubicBezTo>
                    <a:pt x="588255" y="785204"/>
                    <a:pt x="642628" y="839577"/>
                    <a:pt x="709700" y="839578"/>
                  </a:cubicBezTo>
                  <a:cubicBezTo>
                    <a:pt x="726469" y="839578"/>
                    <a:pt x="742442" y="836179"/>
                    <a:pt x="756972" y="830034"/>
                  </a:cubicBezTo>
                  <a:lnTo>
                    <a:pt x="780228" y="814355"/>
                  </a:lnTo>
                  <a:lnTo>
                    <a:pt x="961113" y="995825"/>
                  </a:lnTo>
                  <a:lnTo>
                    <a:pt x="954350" y="1000385"/>
                  </a:lnTo>
                  <a:cubicBezTo>
                    <a:pt x="946449" y="1003726"/>
                    <a:pt x="937763" y="1005574"/>
                    <a:pt x="928645" y="1005574"/>
                  </a:cubicBezTo>
                  <a:lnTo>
                    <a:pt x="66037" y="1005574"/>
                  </a:lnTo>
                  <a:cubicBezTo>
                    <a:pt x="29566" y="1005574"/>
                    <a:pt x="0" y="976008"/>
                    <a:pt x="0" y="939537"/>
                  </a:cubicBezTo>
                  <a:lnTo>
                    <a:pt x="0" y="66037"/>
                  </a:lnTo>
                  <a:cubicBezTo>
                    <a:pt x="0" y="29566"/>
                    <a:pt x="29566" y="0"/>
                    <a:pt x="66037"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64" name="device"/>
            <p:cNvSpPr>
              <a:spLocks noChangeAspect="1"/>
            </p:cNvSpPr>
            <p:nvPr/>
          </p:nvSpPr>
          <p:spPr bwMode="auto">
            <a:xfrm>
              <a:off x="1275268" y="5149142"/>
              <a:ext cx="293765" cy="296982"/>
            </a:xfrm>
            <a:custGeom>
              <a:avLst/>
              <a:gdLst>
                <a:gd name="connsiteX0" fmla="*/ 276033 w 994682"/>
                <a:gd name="connsiteY0" fmla="*/ 651613 h 1005574"/>
                <a:gd name="connsiteX1" fmla="*/ 342553 w 994682"/>
                <a:gd name="connsiteY1" fmla="*/ 718133 h 1005574"/>
                <a:gd name="connsiteX2" fmla="*/ 276033 w 994682"/>
                <a:gd name="connsiteY2" fmla="*/ 784652 h 1005574"/>
                <a:gd name="connsiteX3" fmla="*/ 209513 w 994682"/>
                <a:gd name="connsiteY3" fmla="*/ 718133 h 1005574"/>
                <a:gd name="connsiteX4" fmla="*/ 276033 w 994682"/>
                <a:gd name="connsiteY4" fmla="*/ 651613 h 1005574"/>
                <a:gd name="connsiteX5" fmla="*/ 709700 w 994682"/>
                <a:gd name="connsiteY5" fmla="*/ 651613 h 1005574"/>
                <a:gd name="connsiteX6" fmla="*/ 776220 w 994682"/>
                <a:gd name="connsiteY6" fmla="*/ 718133 h 1005574"/>
                <a:gd name="connsiteX7" fmla="*/ 709701 w 994682"/>
                <a:gd name="connsiteY7" fmla="*/ 784653 h 1005574"/>
                <a:gd name="connsiteX8" fmla="*/ 643180 w 994682"/>
                <a:gd name="connsiteY8" fmla="*/ 718132 h 1005574"/>
                <a:gd name="connsiteX9" fmla="*/ 709700 w 994682"/>
                <a:gd name="connsiteY9" fmla="*/ 651613 h 1005574"/>
                <a:gd name="connsiteX10" fmla="*/ 724811 w 994682"/>
                <a:gd name="connsiteY10" fmla="*/ 214441 h 1005574"/>
                <a:gd name="connsiteX11" fmla="*/ 791331 w 994682"/>
                <a:gd name="connsiteY11" fmla="*/ 280960 h 1005574"/>
                <a:gd name="connsiteX12" fmla="*/ 724811 w 994682"/>
                <a:gd name="connsiteY12" fmla="*/ 347481 h 1005574"/>
                <a:gd name="connsiteX13" fmla="*/ 658291 w 994682"/>
                <a:gd name="connsiteY13" fmla="*/ 280960 h 1005574"/>
                <a:gd name="connsiteX14" fmla="*/ 724811 w 994682"/>
                <a:gd name="connsiteY14" fmla="*/ 214441 h 1005574"/>
                <a:gd name="connsiteX15" fmla="*/ 276034 w 994682"/>
                <a:gd name="connsiteY15" fmla="*/ 214441 h 1005574"/>
                <a:gd name="connsiteX16" fmla="*/ 342553 w 994682"/>
                <a:gd name="connsiteY16" fmla="*/ 280961 h 1005574"/>
                <a:gd name="connsiteX17" fmla="*/ 276033 w 994682"/>
                <a:gd name="connsiteY17" fmla="*/ 347480 h 1005574"/>
                <a:gd name="connsiteX18" fmla="*/ 209513 w 994682"/>
                <a:gd name="connsiteY18" fmla="*/ 280961 h 1005574"/>
                <a:gd name="connsiteX19" fmla="*/ 276034 w 994682"/>
                <a:gd name="connsiteY19" fmla="*/ 214441 h 1005574"/>
                <a:gd name="connsiteX20" fmla="*/ 724811 w 994682"/>
                <a:gd name="connsiteY20" fmla="*/ 159516 h 1005574"/>
                <a:gd name="connsiteX21" fmla="*/ 603366 w 994682"/>
                <a:gd name="connsiteY21" fmla="*/ 280961 h 1005574"/>
                <a:gd name="connsiteX22" fmla="*/ 612911 w 994682"/>
                <a:gd name="connsiteY22" fmla="*/ 328232 h 1005574"/>
                <a:gd name="connsiteX23" fmla="*/ 626516 w 994682"/>
                <a:gd name="connsiteY23" fmla="*/ 348413 h 1005574"/>
                <a:gd name="connsiteX24" fmla="*/ 350950 w 994682"/>
                <a:gd name="connsiteY24" fmla="*/ 624870 h 1005574"/>
                <a:gd name="connsiteX25" fmla="*/ 323305 w 994682"/>
                <a:gd name="connsiteY25" fmla="*/ 606231 h 1005574"/>
                <a:gd name="connsiteX26" fmla="*/ 276034 w 994682"/>
                <a:gd name="connsiteY26" fmla="*/ 596688 h 1005574"/>
                <a:gd name="connsiteX27" fmla="*/ 154589 w 994682"/>
                <a:gd name="connsiteY27" fmla="*/ 718133 h 1005574"/>
                <a:gd name="connsiteX28" fmla="*/ 276033 w 994682"/>
                <a:gd name="connsiteY28" fmla="*/ 839577 h 1005574"/>
                <a:gd name="connsiteX29" fmla="*/ 397479 w 994682"/>
                <a:gd name="connsiteY29" fmla="*/ 718133 h 1005574"/>
                <a:gd name="connsiteX30" fmla="*/ 387935 w 994682"/>
                <a:gd name="connsiteY30" fmla="*/ 670861 h 1005574"/>
                <a:gd name="connsiteX31" fmla="*/ 380561 w 994682"/>
                <a:gd name="connsiteY31" fmla="*/ 659925 h 1005574"/>
                <a:gd name="connsiteX32" fmla="*/ 659133 w 994682"/>
                <a:gd name="connsiteY32" fmla="*/ 380452 h 1005574"/>
                <a:gd name="connsiteX33" fmla="*/ 677539 w 994682"/>
                <a:gd name="connsiteY33" fmla="*/ 392862 h 1005574"/>
                <a:gd name="connsiteX34" fmla="*/ 724812 w 994682"/>
                <a:gd name="connsiteY34" fmla="*/ 402406 h 1005574"/>
                <a:gd name="connsiteX35" fmla="*/ 846257 w 994682"/>
                <a:gd name="connsiteY35" fmla="*/ 280961 h 1005574"/>
                <a:gd name="connsiteX36" fmla="*/ 724811 w 994682"/>
                <a:gd name="connsiteY36" fmla="*/ 159516 h 1005574"/>
                <a:gd name="connsiteX37" fmla="*/ 66037 w 994682"/>
                <a:gd name="connsiteY37" fmla="*/ 0 h 1005574"/>
                <a:gd name="connsiteX38" fmla="*/ 521220 w 994682"/>
                <a:gd name="connsiteY38" fmla="*/ 0 h 1005574"/>
                <a:gd name="connsiteX39" fmla="*/ 340889 w 994682"/>
                <a:gd name="connsiteY39" fmla="*/ 180915 h 1005574"/>
                <a:gd name="connsiteX40" fmla="*/ 323305 w 994682"/>
                <a:gd name="connsiteY40" fmla="*/ 169059 h 1005574"/>
                <a:gd name="connsiteX41" fmla="*/ 276033 w 994682"/>
                <a:gd name="connsiteY41" fmla="*/ 159515 h 1005574"/>
                <a:gd name="connsiteX42" fmla="*/ 154588 w 994682"/>
                <a:gd name="connsiteY42" fmla="*/ 280961 h 1005574"/>
                <a:gd name="connsiteX43" fmla="*/ 276033 w 994682"/>
                <a:gd name="connsiteY43" fmla="*/ 402406 h 1005574"/>
                <a:gd name="connsiteX44" fmla="*/ 397478 w 994682"/>
                <a:gd name="connsiteY44" fmla="*/ 280960 h 1005574"/>
                <a:gd name="connsiteX45" fmla="*/ 387934 w 994682"/>
                <a:gd name="connsiteY45" fmla="*/ 233689 h 1005574"/>
                <a:gd name="connsiteX46" fmla="*/ 373773 w 994682"/>
                <a:gd name="connsiteY46" fmla="*/ 212685 h 1005574"/>
                <a:gd name="connsiteX47" fmla="*/ 585773 w 994682"/>
                <a:gd name="connsiteY47" fmla="*/ 0 h 1005574"/>
                <a:gd name="connsiteX48" fmla="*/ 928645 w 994682"/>
                <a:gd name="connsiteY48" fmla="*/ 0 h 1005574"/>
                <a:gd name="connsiteX49" fmla="*/ 994682 w 994682"/>
                <a:gd name="connsiteY49" fmla="*/ 66037 h 1005574"/>
                <a:gd name="connsiteX50" fmla="*/ 994682 w 994682"/>
                <a:gd name="connsiteY50" fmla="*/ 939537 h 1005574"/>
                <a:gd name="connsiteX51" fmla="*/ 990451 w 994682"/>
                <a:gd name="connsiteY51" fmla="*/ 960496 h 1005574"/>
                <a:gd name="connsiteX52" fmla="*/ 811266 w 994682"/>
                <a:gd name="connsiteY52" fmla="*/ 780733 h 1005574"/>
                <a:gd name="connsiteX53" fmla="*/ 821601 w 994682"/>
                <a:gd name="connsiteY53" fmla="*/ 765404 h 1005574"/>
                <a:gd name="connsiteX54" fmla="*/ 831145 w 994682"/>
                <a:gd name="connsiteY54" fmla="*/ 718133 h 1005574"/>
                <a:gd name="connsiteX55" fmla="*/ 709700 w 994682"/>
                <a:gd name="connsiteY55" fmla="*/ 596688 h 1005574"/>
                <a:gd name="connsiteX56" fmla="*/ 588255 w 994682"/>
                <a:gd name="connsiteY56" fmla="*/ 718133 h 1005574"/>
                <a:gd name="connsiteX57" fmla="*/ 709700 w 994682"/>
                <a:gd name="connsiteY57" fmla="*/ 839578 h 1005574"/>
                <a:gd name="connsiteX58" fmla="*/ 756972 w 994682"/>
                <a:gd name="connsiteY58" fmla="*/ 830034 h 1005574"/>
                <a:gd name="connsiteX59" fmla="*/ 780228 w 994682"/>
                <a:gd name="connsiteY59" fmla="*/ 814355 h 1005574"/>
                <a:gd name="connsiteX60" fmla="*/ 961113 w 994682"/>
                <a:gd name="connsiteY60" fmla="*/ 995825 h 1005574"/>
                <a:gd name="connsiteX61" fmla="*/ 954350 w 994682"/>
                <a:gd name="connsiteY61" fmla="*/ 1000385 h 1005574"/>
                <a:gd name="connsiteX62" fmla="*/ 928645 w 994682"/>
                <a:gd name="connsiteY62" fmla="*/ 1005574 h 1005574"/>
                <a:gd name="connsiteX63" fmla="*/ 66037 w 994682"/>
                <a:gd name="connsiteY63" fmla="*/ 1005574 h 1005574"/>
                <a:gd name="connsiteX64" fmla="*/ 0 w 994682"/>
                <a:gd name="connsiteY64" fmla="*/ 939537 h 1005574"/>
                <a:gd name="connsiteX65" fmla="*/ 0 w 994682"/>
                <a:gd name="connsiteY65" fmla="*/ 66037 h 1005574"/>
                <a:gd name="connsiteX66" fmla="*/ 66037 w 994682"/>
                <a:gd name="connsiteY66" fmla="*/ 0 h 100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994682" h="1005574">
                  <a:moveTo>
                    <a:pt x="276033" y="651613"/>
                  </a:moveTo>
                  <a:cubicBezTo>
                    <a:pt x="312771" y="651612"/>
                    <a:pt x="342553" y="681394"/>
                    <a:pt x="342553" y="718133"/>
                  </a:cubicBezTo>
                  <a:cubicBezTo>
                    <a:pt x="342554" y="754871"/>
                    <a:pt x="312772" y="784653"/>
                    <a:pt x="276033" y="784652"/>
                  </a:cubicBezTo>
                  <a:cubicBezTo>
                    <a:pt x="239295" y="784653"/>
                    <a:pt x="209513" y="754871"/>
                    <a:pt x="209513" y="718133"/>
                  </a:cubicBezTo>
                  <a:cubicBezTo>
                    <a:pt x="209513" y="681395"/>
                    <a:pt x="239295" y="651613"/>
                    <a:pt x="276033" y="651613"/>
                  </a:cubicBezTo>
                  <a:close/>
                  <a:moveTo>
                    <a:pt x="709700" y="651613"/>
                  </a:moveTo>
                  <a:cubicBezTo>
                    <a:pt x="746438" y="651612"/>
                    <a:pt x="776221" y="681395"/>
                    <a:pt x="776220" y="718133"/>
                  </a:cubicBezTo>
                  <a:cubicBezTo>
                    <a:pt x="776221" y="754870"/>
                    <a:pt x="746439" y="784652"/>
                    <a:pt x="709701" y="784653"/>
                  </a:cubicBezTo>
                  <a:cubicBezTo>
                    <a:pt x="672962" y="784653"/>
                    <a:pt x="643180" y="754871"/>
                    <a:pt x="643180" y="718132"/>
                  </a:cubicBezTo>
                  <a:cubicBezTo>
                    <a:pt x="643180" y="681394"/>
                    <a:pt x="672962" y="651613"/>
                    <a:pt x="709700" y="651613"/>
                  </a:cubicBezTo>
                  <a:close/>
                  <a:moveTo>
                    <a:pt x="724811" y="214441"/>
                  </a:moveTo>
                  <a:cubicBezTo>
                    <a:pt x="761549" y="214441"/>
                    <a:pt x="791331" y="244223"/>
                    <a:pt x="791331" y="280960"/>
                  </a:cubicBezTo>
                  <a:cubicBezTo>
                    <a:pt x="791331" y="317699"/>
                    <a:pt x="761549" y="347480"/>
                    <a:pt x="724811" y="347481"/>
                  </a:cubicBezTo>
                  <a:cubicBezTo>
                    <a:pt x="688074" y="347480"/>
                    <a:pt x="658291" y="317699"/>
                    <a:pt x="658291" y="280960"/>
                  </a:cubicBezTo>
                  <a:cubicBezTo>
                    <a:pt x="658292" y="244223"/>
                    <a:pt x="688073" y="214440"/>
                    <a:pt x="724811" y="214441"/>
                  </a:cubicBezTo>
                  <a:close/>
                  <a:moveTo>
                    <a:pt x="276034" y="214441"/>
                  </a:moveTo>
                  <a:cubicBezTo>
                    <a:pt x="312772" y="214440"/>
                    <a:pt x="342553" y="244222"/>
                    <a:pt x="342553" y="280961"/>
                  </a:cubicBezTo>
                  <a:cubicBezTo>
                    <a:pt x="342553" y="317699"/>
                    <a:pt x="312771" y="347481"/>
                    <a:pt x="276033" y="347480"/>
                  </a:cubicBezTo>
                  <a:cubicBezTo>
                    <a:pt x="239296" y="347481"/>
                    <a:pt x="209514" y="317699"/>
                    <a:pt x="209513" y="280961"/>
                  </a:cubicBezTo>
                  <a:cubicBezTo>
                    <a:pt x="209513" y="244223"/>
                    <a:pt x="239295" y="214441"/>
                    <a:pt x="276034" y="214441"/>
                  </a:cubicBezTo>
                  <a:close/>
                  <a:moveTo>
                    <a:pt x="724811" y="159516"/>
                  </a:moveTo>
                  <a:cubicBezTo>
                    <a:pt x="657739" y="159516"/>
                    <a:pt x="603366" y="213889"/>
                    <a:pt x="603366" y="280961"/>
                  </a:cubicBezTo>
                  <a:cubicBezTo>
                    <a:pt x="603366" y="297728"/>
                    <a:pt x="606765" y="313703"/>
                    <a:pt x="612911" y="328232"/>
                  </a:cubicBezTo>
                  <a:lnTo>
                    <a:pt x="626516" y="348413"/>
                  </a:lnTo>
                  <a:lnTo>
                    <a:pt x="350950" y="624870"/>
                  </a:lnTo>
                  <a:lnTo>
                    <a:pt x="323305" y="606231"/>
                  </a:lnTo>
                  <a:cubicBezTo>
                    <a:pt x="308776" y="600086"/>
                    <a:pt x="292801" y="596687"/>
                    <a:pt x="276034" y="596688"/>
                  </a:cubicBezTo>
                  <a:cubicBezTo>
                    <a:pt x="208961" y="596688"/>
                    <a:pt x="154588" y="651061"/>
                    <a:pt x="154589" y="718133"/>
                  </a:cubicBezTo>
                  <a:cubicBezTo>
                    <a:pt x="154588" y="785205"/>
                    <a:pt x="208961" y="839578"/>
                    <a:pt x="276033" y="839577"/>
                  </a:cubicBezTo>
                  <a:cubicBezTo>
                    <a:pt x="343105" y="839578"/>
                    <a:pt x="397478" y="785205"/>
                    <a:pt x="397479" y="718133"/>
                  </a:cubicBezTo>
                  <a:cubicBezTo>
                    <a:pt x="397478" y="701365"/>
                    <a:pt x="394080" y="685391"/>
                    <a:pt x="387935" y="670861"/>
                  </a:cubicBezTo>
                  <a:lnTo>
                    <a:pt x="380561" y="659925"/>
                  </a:lnTo>
                  <a:lnTo>
                    <a:pt x="659133" y="380452"/>
                  </a:lnTo>
                  <a:lnTo>
                    <a:pt x="677539" y="392862"/>
                  </a:lnTo>
                  <a:cubicBezTo>
                    <a:pt x="692069" y="399007"/>
                    <a:pt x="708043" y="402406"/>
                    <a:pt x="724812" y="402406"/>
                  </a:cubicBezTo>
                  <a:cubicBezTo>
                    <a:pt x="791883" y="402406"/>
                    <a:pt x="846256" y="348033"/>
                    <a:pt x="846257" y="280961"/>
                  </a:cubicBezTo>
                  <a:cubicBezTo>
                    <a:pt x="846256" y="213889"/>
                    <a:pt x="791883" y="159516"/>
                    <a:pt x="724811" y="159516"/>
                  </a:cubicBezTo>
                  <a:close/>
                  <a:moveTo>
                    <a:pt x="66037" y="0"/>
                  </a:moveTo>
                  <a:lnTo>
                    <a:pt x="521220" y="0"/>
                  </a:lnTo>
                  <a:lnTo>
                    <a:pt x="340889" y="180915"/>
                  </a:lnTo>
                  <a:lnTo>
                    <a:pt x="323305" y="169059"/>
                  </a:lnTo>
                  <a:cubicBezTo>
                    <a:pt x="308775" y="162914"/>
                    <a:pt x="292801" y="159515"/>
                    <a:pt x="276033" y="159515"/>
                  </a:cubicBezTo>
                  <a:cubicBezTo>
                    <a:pt x="208962" y="159515"/>
                    <a:pt x="154589" y="213889"/>
                    <a:pt x="154588" y="280961"/>
                  </a:cubicBezTo>
                  <a:cubicBezTo>
                    <a:pt x="154589" y="348033"/>
                    <a:pt x="208962" y="402406"/>
                    <a:pt x="276033" y="402406"/>
                  </a:cubicBezTo>
                  <a:cubicBezTo>
                    <a:pt x="343106" y="402406"/>
                    <a:pt x="397479" y="348032"/>
                    <a:pt x="397478" y="280960"/>
                  </a:cubicBezTo>
                  <a:cubicBezTo>
                    <a:pt x="397478" y="264193"/>
                    <a:pt x="394080" y="248218"/>
                    <a:pt x="387934" y="233689"/>
                  </a:cubicBezTo>
                  <a:lnTo>
                    <a:pt x="373773" y="212685"/>
                  </a:lnTo>
                  <a:lnTo>
                    <a:pt x="585773" y="0"/>
                  </a:lnTo>
                  <a:lnTo>
                    <a:pt x="928645" y="0"/>
                  </a:lnTo>
                  <a:cubicBezTo>
                    <a:pt x="965116" y="0"/>
                    <a:pt x="994682" y="29566"/>
                    <a:pt x="994682" y="66037"/>
                  </a:cubicBezTo>
                  <a:lnTo>
                    <a:pt x="994682" y="939537"/>
                  </a:lnTo>
                  <a:lnTo>
                    <a:pt x="990451" y="960496"/>
                  </a:lnTo>
                  <a:lnTo>
                    <a:pt x="811266" y="780733"/>
                  </a:lnTo>
                  <a:lnTo>
                    <a:pt x="821601" y="765404"/>
                  </a:lnTo>
                  <a:cubicBezTo>
                    <a:pt x="827747" y="750875"/>
                    <a:pt x="831145" y="734901"/>
                    <a:pt x="831145" y="718133"/>
                  </a:cubicBezTo>
                  <a:cubicBezTo>
                    <a:pt x="831145" y="651060"/>
                    <a:pt x="776772" y="596687"/>
                    <a:pt x="709700" y="596688"/>
                  </a:cubicBezTo>
                  <a:cubicBezTo>
                    <a:pt x="642628" y="596687"/>
                    <a:pt x="588255" y="651060"/>
                    <a:pt x="588255" y="718133"/>
                  </a:cubicBezTo>
                  <a:cubicBezTo>
                    <a:pt x="588255" y="785204"/>
                    <a:pt x="642628" y="839577"/>
                    <a:pt x="709700" y="839578"/>
                  </a:cubicBezTo>
                  <a:cubicBezTo>
                    <a:pt x="726469" y="839578"/>
                    <a:pt x="742442" y="836179"/>
                    <a:pt x="756972" y="830034"/>
                  </a:cubicBezTo>
                  <a:lnTo>
                    <a:pt x="780228" y="814355"/>
                  </a:lnTo>
                  <a:lnTo>
                    <a:pt x="961113" y="995825"/>
                  </a:lnTo>
                  <a:lnTo>
                    <a:pt x="954350" y="1000385"/>
                  </a:lnTo>
                  <a:cubicBezTo>
                    <a:pt x="946449" y="1003726"/>
                    <a:pt x="937763" y="1005574"/>
                    <a:pt x="928645" y="1005574"/>
                  </a:cubicBezTo>
                  <a:lnTo>
                    <a:pt x="66037" y="1005574"/>
                  </a:lnTo>
                  <a:cubicBezTo>
                    <a:pt x="29566" y="1005574"/>
                    <a:pt x="0" y="976008"/>
                    <a:pt x="0" y="939537"/>
                  </a:cubicBezTo>
                  <a:lnTo>
                    <a:pt x="0" y="66037"/>
                  </a:lnTo>
                  <a:cubicBezTo>
                    <a:pt x="0" y="29566"/>
                    <a:pt x="29566" y="0"/>
                    <a:pt x="66037"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65" name="device"/>
            <p:cNvSpPr>
              <a:spLocks noChangeAspect="1"/>
            </p:cNvSpPr>
            <p:nvPr/>
          </p:nvSpPr>
          <p:spPr bwMode="auto">
            <a:xfrm>
              <a:off x="1275268" y="5513585"/>
              <a:ext cx="293765" cy="296982"/>
            </a:xfrm>
            <a:custGeom>
              <a:avLst/>
              <a:gdLst>
                <a:gd name="connsiteX0" fmla="*/ 276033 w 994682"/>
                <a:gd name="connsiteY0" fmla="*/ 651613 h 1005574"/>
                <a:gd name="connsiteX1" fmla="*/ 342553 w 994682"/>
                <a:gd name="connsiteY1" fmla="*/ 718133 h 1005574"/>
                <a:gd name="connsiteX2" fmla="*/ 276033 w 994682"/>
                <a:gd name="connsiteY2" fmla="*/ 784652 h 1005574"/>
                <a:gd name="connsiteX3" fmla="*/ 209513 w 994682"/>
                <a:gd name="connsiteY3" fmla="*/ 718133 h 1005574"/>
                <a:gd name="connsiteX4" fmla="*/ 276033 w 994682"/>
                <a:gd name="connsiteY4" fmla="*/ 651613 h 1005574"/>
                <a:gd name="connsiteX5" fmla="*/ 709700 w 994682"/>
                <a:gd name="connsiteY5" fmla="*/ 651613 h 1005574"/>
                <a:gd name="connsiteX6" fmla="*/ 776220 w 994682"/>
                <a:gd name="connsiteY6" fmla="*/ 718133 h 1005574"/>
                <a:gd name="connsiteX7" fmla="*/ 709701 w 994682"/>
                <a:gd name="connsiteY7" fmla="*/ 784653 h 1005574"/>
                <a:gd name="connsiteX8" fmla="*/ 643180 w 994682"/>
                <a:gd name="connsiteY8" fmla="*/ 718132 h 1005574"/>
                <a:gd name="connsiteX9" fmla="*/ 709700 w 994682"/>
                <a:gd name="connsiteY9" fmla="*/ 651613 h 1005574"/>
                <a:gd name="connsiteX10" fmla="*/ 724811 w 994682"/>
                <a:gd name="connsiteY10" fmla="*/ 214441 h 1005574"/>
                <a:gd name="connsiteX11" fmla="*/ 791331 w 994682"/>
                <a:gd name="connsiteY11" fmla="*/ 280960 h 1005574"/>
                <a:gd name="connsiteX12" fmla="*/ 724811 w 994682"/>
                <a:gd name="connsiteY12" fmla="*/ 347481 h 1005574"/>
                <a:gd name="connsiteX13" fmla="*/ 658291 w 994682"/>
                <a:gd name="connsiteY13" fmla="*/ 280960 h 1005574"/>
                <a:gd name="connsiteX14" fmla="*/ 724811 w 994682"/>
                <a:gd name="connsiteY14" fmla="*/ 214441 h 1005574"/>
                <a:gd name="connsiteX15" fmla="*/ 276034 w 994682"/>
                <a:gd name="connsiteY15" fmla="*/ 214441 h 1005574"/>
                <a:gd name="connsiteX16" fmla="*/ 342553 w 994682"/>
                <a:gd name="connsiteY16" fmla="*/ 280961 h 1005574"/>
                <a:gd name="connsiteX17" fmla="*/ 276033 w 994682"/>
                <a:gd name="connsiteY17" fmla="*/ 347480 h 1005574"/>
                <a:gd name="connsiteX18" fmla="*/ 209513 w 994682"/>
                <a:gd name="connsiteY18" fmla="*/ 280961 h 1005574"/>
                <a:gd name="connsiteX19" fmla="*/ 276034 w 994682"/>
                <a:gd name="connsiteY19" fmla="*/ 214441 h 1005574"/>
                <a:gd name="connsiteX20" fmla="*/ 724811 w 994682"/>
                <a:gd name="connsiteY20" fmla="*/ 159516 h 1005574"/>
                <a:gd name="connsiteX21" fmla="*/ 603366 w 994682"/>
                <a:gd name="connsiteY21" fmla="*/ 280961 h 1005574"/>
                <a:gd name="connsiteX22" fmla="*/ 612911 w 994682"/>
                <a:gd name="connsiteY22" fmla="*/ 328232 h 1005574"/>
                <a:gd name="connsiteX23" fmla="*/ 626516 w 994682"/>
                <a:gd name="connsiteY23" fmla="*/ 348413 h 1005574"/>
                <a:gd name="connsiteX24" fmla="*/ 350950 w 994682"/>
                <a:gd name="connsiteY24" fmla="*/ 624870 h 1005574"/>
                <a:gd name="connsiteX25" fmla="*/ 323305 w 994682"/>
                <a:gd name="connsiteY25" fmla="*/ 606231 h 1005574"/>
                <a:gd name="connsiteX26" fmla="*/ 276034 w 994682"/>
                <a:gd name="connsiteY26" fmla="*/ 596688 h 1005574"/>
                <a:gd name="connsiteX27" fmla="*/ 154589 w 994682"/>
                <a:gd name="connsiteY27" fmla="*/ 718133 h 1005574"/>
                <a:gd name="connsiteX28" fmla="*/ 276033 w 994682"/>
                <a:gd name="connsiteY28" fmla="*/ 839577 h 1005574"/>
                <a:gd name="connsiteX29" fmla="*/ 397479 w 994682"/>
                <a:gd name="connsiteY29" fmla="*/ 718133 h 1005574"/>
                <a:gd name="connsiteX30" fmla="*/ 387935 w 994682"/>
                <a:gd name="connsiteY30" fmla="*/ 670861 h 1005574"/>
                <a:gd name="connsiteX31" fmla="*/ 380561 w 994682"/>
                <a:gd name="connsiteY31" fmla="*/ 659925 h 1005574"/>
                <a:gd name="connsiteX32" fmla="*/ 659133 w 994682"/>
                <a:gd name="connsiteY32" fmla="*/ 380452 h 1005574"/>
                <a:gd name="connsiteX33" fmla="*/ 677539 w 994682"/>
                <a:gd name="connsiteY33" fmla="*/ 392862 h 1005574"/>
                <a:gd name="connsiteX34" fmla="*/ 724812 w 994682"/>
                <a:gd name="connsiteY34" fmla="*/ 402406 h 1005574"/>
                <a:gd name="connsiteX35" fmla="*/ 846257 w 994682"/>
                <a:gd name="connsiteY35" fmla="*/ 280961 h 1005574"/>
                <a:gd name="connsiteX36" fmla="*/ 724811 w 994682"/>
                <a:gd name="connsiteY36" fmla="*/ 159516 h 1005574"/>
                <a:gd name="connsiteX37" fmla="*/ 66037 w 994682"/>
                <a:gd name="connsiteY37" fmla="*/ 0 h 1005574"/>
                <a:gd name="connsiteX38" fmla="*/ 521220 w 994682"/>
                <a:gd name="connsiteY38" fmla="*/ 0 h 1005574"/>
                <a:gd name="connsiteX39" fmla="*/ 340889 w 994682"/>
                <a:gd name="connsiteY39" fmla="*/ 180915 h 1005574"/>
                <a:gd name="connsiteX40" fmla="*/ 323305 w 994682"/>
                <a:gd name="connsiteY40" fmla="*/ 169059 h 1005574"/>
                <a:gd name="connsiteX41" fmla="*/ 276033 w 994682"/>
                <a:gd name="connsiteY41" fmla="*/ 159515 h 1005574"/>
                <a:gd name="connsiteX42" fmla="*/ 154588 w 994682"/>
                <a:gd name="connsiteY42" fmla="*/ 280961 h 1005574"/>
                <a:gd name="connsiteX43" fmla="*/ 276033 w 994682"/>
                <a:gd name="connsiteY43" fmla="*/ 402406 h 1005574"/>
                <a:gd name="connsiteX44" fmla="*/ 397478 w 994682"/>
                <a:gd name="connsiteY44" fmla="*/ 280960 h 1005574"/>
                <a:gd name="connsiteX45" fmla="*/ 387934 w 994682"/>
                <a:gd name="connsiteY45" fmla="*/ 233689 h 1005574"/>
                <a:gd name="connsiteX46" fmla="*/ 373773 w 994682"/>
                <a:gd name="connsiteY46" fmla="*/ 212685 h 1005574"/>
                <a:gd name="connsiteX47" fmla="*/ 585773 w 994682"/>
                <a:gd name="connsiteY47" fmla="*/ 0 h 1005574"/>
                <a:gd name="connsiteX48" fmla="*/ 928645 w 994682"/>
                <a:gd name="connsiteY48" fmla="*/ 0 h 1005574"/>
                <a:gd name="connsiteX49" fmla="*/ 994682 w 994682"/>
                <a:gd name="connsiteY49" fmla="*/ 66037 h 1005574"/>
                <a:gd name="connsiteX50" fmla="*/ 994682 w 994682"/>
                <a:gd name="connsiteY50" fmla="*/ 939537 h 1005574"/>
                <a:gd name="connsiteX51" fmla="*/ 990451 w 994682"/>
                <a:gd name="connsiteY51" fmla="*/ 960496 h 1005574"/>
                <a:gd name="connsiteX52" fmla="*/ 811266 w 994682"/>
                <a:gd name="connsiteY52" fmla="*/ 780733 h 1005574"/>
                <a:gd name="connsiteX53" fmla="*/ 821601 w 994682"/>
                <a:gd name="connsiteY53" fmla="*/ 765404 h 1005574"/>
                <a:gd name="connsiteX54" fmla="*/ 831145 w 994682"/>
                <a:gd name="connsiteY54" fmla="*/ 718133 h 1005574"/>
                <a:gd name="connsiteX55" fmla="*/ 709700 w 994682"/>
                <a:gd name="connsiteY55" fmla="*/ 596688 h 1005574"/>
                <a:gd name="connsiteX56" fmla="*/ 588255 w 994682"/>
                <a:gd name="connsiteY56" fmla="*/ 718133 h 1005574"/>
                <a:gd name="connsiteX57" fmla="*/ 709700 w 994682"/>
                <a:gd name="connsiteY57" fmla="*/ 839578 h 1005574"/>
                <a:gd name="connsiteX58" fmla="*/ 756972 w 994682"/>
                <a:gd name="connsiteY58" fmla="*/ 830034 h 1005574"/>
                <a:gd name="connsiteX59" fmla="*/ 780228 w 994682"/>
                <a:gd name="connsiteY59" fmla="*/ 814355 h 1005574"/>
                <a:gd name="connsiteX60" fmla="*/ 961113 w 994682"/>
                <a:gd name="connsiteY60" fmla="*/ 995825 h 1005574"/>
                <a:gd name="connsiteX61" fmla="*/ 954350 w 994682"/>
                <a:gd name="connsiteY61" fmla="*/ 1000385 h 1005574"/>
                <a:gd name="connsiteX62" fmla="*/ 928645 w 994682"/>
                <a:gd name="connsiteY62" fmla="*/ 1005574 h 1005574"/>
                <a:gd name="connsiteX63" fmla="*/ 66037 w 994682"/>
                <a:gd name="connsiteY63" fmla="*/ 1005574 h 1005574"/>
                <a:gd name="connsiteX64" fmla="*/ 0 w 994682"/>
                <a:gd name="connsiteY64" fmla="*/ 939537 h 1005574"/>
                <a:gd name="connsiteX65" fmla="*/ 0 w 994682"/>
                <a:gd name="connsiteY65" fmla="*/ 66037 h 1005574"/>
                <a:gd name="connsiteX66" fmla="*/ 66037 w 994682"/>
                <a:gd name="connsiteY66" fmla="*/ 0 h 100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994682" h="1005574">
                  <a:moveTo>
                    <a:pt x="276033" y="651613"/>
                  </a:moveTo>
                  <a:cubicBezTo>
                    <a:pt x="312771" y="651612"/>
                    <a:pt x="342553" y="681394"/>
                    <a:pt x="342553" y="718133"/>
                  </a:cubicBezTo>
                  <a:cubicBezTo>
                    <a:pt x="342554" y="754871"/>
                    <a:pt x="312772" y="784653"/>
                    <a:pt x="276033" y="784652"/>
                  </a:cubicBezTo>
                  <a:cubicBezTo>
                    <a:pt x="239295" y="784653"/>
                    <a:pt x="209513" y="754871"/>
                    <a:pt x="209513" y="718133"/>
                  </a:cubicBezTo>
                  <a:cubicBezTo>
                    <a:pt x="209513" y="681395"/>
                    <a:pt x="239295" y="651613"/>
                    <a:pt x="276033" y="651613"/>
                  </a:cubicBezTo>
                  <a:close/>
                  <a:moveTo>
                    <a:pt x="709700" y="651613"/>
                  </a:moveTo>
                  <a:cubicBezTo>
                    <a:pt x="746438" y="651612"/>
                    <a:pt x="776221" y="681395"/>
                    <a:pt x="776220" y="718133"/>
                  </a:cubicBezTo>
                  <a:cubicBezTo>
                    <a:pt x="776221" y="754870"/>
                    <a:pt x="746439" y="784652"/>
                    <a:pt x="709701" y="784653"/>
                  </a:cubicBezTo>
                  <a:cubicBezTo>
                    <a:pt x="672962" y="784653"/>
                    <a:pt x="643180" y="754871"/>
                    <a:pt x="643180" y="718132"/>
                  </a:cubicBezTo>
                  <a:cubicBezTo>
                    <a:pt x="643180" y="681394"/>
                    <a:pt x="672962" y="651613"/>
                    <a:pt x="709700" y="651613"/>
                  </a:cubicBezTo>
                  <a:close/>
                  <a:moveTo>
                    <a:pt x="724811" y="214441"/>
                  </a:moveTo>
                  <a:cubicBezTo>
                    <a:pt x="761549" y="214441"/>
                    <a:pt x="791331" y="244223"/>
                    <a:pt x="791331" y="280960"/>
                  </a:cubicBezTo>
                  <a:cubicBezTo>
                    <a:pt x="791331" y="317699"/>
                    <a:pt x="761549" y="347480"/>
                    <a:pt x="724811" y="347481"/>
                  </a:cubicBezTo>
                  <a:cubicBezTo>
                    <a:pt x="688074" y="347480"/>
                    <a:pt x="658291" y="317699"/>
                    <a:pt x="658291" y="280960"/>
                  </a:cubicBezTo>
                  <a:cubicBezTo>
                    <a:pt x="658292" y="244223"/>
                    <a:pt x="688073" y="214440"/>
                    <a:pt x="724811" y="214441"/>
                  </a:cubicBezTo>
                  <a:close/>
                  <a:moveTo>
                    <a:pt x="276034" y="214441"/>
                  </a:moveTo>
                  <a:cubicBezTo>
                    <a:pt x="312772" y="214440"/>
                    <a:pt x="342553" y="244222"/>
                    <a:pt x="342553" y="280961"/>
                  </a:cubicBezTo>
                  <a:cubicBezTo>
                    <a:pt x="342553" y="317699"/>
                    <a:pt x="312771" y="347481"/>
                    <a:pt x="276033" y="347480"/>
                  </a:cubicBezTo>
                  <a:cubicBezTo>
                    <a:pt x="239296" y="347481"/>
                    <a:pt x="209514" y="317699"/>
                    <a:pt x="209513" y="280961"/>
                  </a:cubicBezTo>
                  <a:cubicBezTo>
                    <a:pt x="209513" y="244223"/>
                    <a:pt x="239295" y="214441"/>
                    <a:pt x="276034" y="214441"/>
                  </a:cubicBezTo>
                  <a:close/>
                  <a:moveTo>
                    <a:pt x="724811" y="159516"/>
                  </a:moveTo>
                  <a:cubicBezTo>
                    <a:pt x="657739" y="159516"/>
                    <a:pt x="603366" y="213889"/>
                    <a:pt x="603366" y="280961"/>
                  </a:cubicBezTo>
                  <a:cubicBezTo>
                    <a:pt x="603366" y="297728"/>
                    <a:pt x="606765" y="313703"/>
                    <a:pt x="612911" y="328232"/>
                  </a:cubicBezTo>
                  <a:lnTo>
                    <a:pt x="626516" y="348413"/>
                  </a:lnTo>
                  <a:lnTo>
                    <a:pt x="350950" y="624870"/>
                  </a:lnTo>
                  <a:lnTo>
                    <a:pt x="323305" y="606231"/>
                  </a:lnTo>
                  <a:cubicBezTo>
                    <a:pt x="308776" y="600086"/>
                    <a:pt x="292801" y="596687"/>
                    <a:pt x="276034" y="596688"/>
                  </a:cubicBezTo>
                  <a:cubicBezTo>
                    <a:pt x="208961" y="596688"/>
                    <a:pt x="154588" y="651061"/>
                    <a:pt x="154589" y="718133"/>
                  </a:cubicBezTo>
                  <a:cubicBezTo>
                    <a:pt x="154588" y="785205"/>
                    <a:pt x="208961" y="839578"/>
                    <a:pt x="276033" y="839577"/>
                  </a:cubicBezTo>
                  <a:cubicBezTo>
                    <a:pt x="343105" y="839578"/>
                    <a:pt x="397478" y="785205"/>
                    <a:pt x="397479" y="718133"/>
                  </a:cubicBezTo>
                  <a:cubicBezTo>
                    <a:pt x="397478" y="701365"/>
                    <a:pt x="394080" y="685391"/>
                    <a:pt x="387935" y="670861"/>
                  </a:cubicBezTo>
                  <a:lnTo>
                    <a:pt x="380561" y="659925"/>
                  </a:lnTo>
                  <a:lnTo>
                    <a:pt x="659133" y="380452"/>
                  </a:lnTo>
                  <a:lnTo>
                    <a:pt x="677539" y="392862"/>
                  </a:lnTo>
                  <a:cubicBezTo>
                    <a:pt x="692069" y="399007"/>
                    <a:pt x="708043" y="402406"/>
                    <a:pt x="724812" y="402406"/>
                  </a:cubicBezTo>
                  <a:cubicBezTo>
                    <a:pt x="791883" y="402406"/>
                    <a:pt x="846256" y="348033"/>
                    <a:pt x="846257" y="280961"/>
                  </a:cubicBezTo>
                  <a:cubicBezTo>
                    <a:pt x="846256" y="213889"/>
                    <a:pt x="791883" y="159516"/>
                    <a:pt x="724811" y="159516"/>
                  </a:cubicBezTo>
                  <a:close/>
                  <a:moveTo>
                    <a:pt x="66037" y="0"/>
                  </a:moveTo>
                  <a:lnTo>
                    <a:pt x="521220" y="0"/>
                  </a:lnTo>
                  <a:lnTo>
                    <a:pt x="340889" y="180915"/>
                  </a:lnTo>
                  <a:lnTo>
                    <a:pt x="323305" y="169059"/>
                  </a:lnTo>
                  <a:cubicBezTo>
                    <a:pt x="308775" y="162914"/>
                    <a:pt x="292801" y="159515"/>
                    <a:pt x="276033" y="159515"/>
                  </a:cubicBezTo>
                  <a:cubicBezTo>
                    <a:pt x="208962" y="159515"/>
                    <a:pt x="154589" y="213889"/>
                    <a:pt x="154588" y="280961"/>
                  </a:cubicBezTo>
                  <a:cubicBezTo>
                    <a:pt x="154589" y="348033"/>
                    <a:pt x="208962" y="402406"/>
                    <a:pt x="276033" y="402406"/>
                  </a:cubicBezTo>
                  <a:cubicBezTo>
                    <a:pt x="343106" y="402406"/>
                    <a:pt x="397479" y="348032"/>
                    <a:pt x="397478" y="280960"/>
                  </a:cubicBezTo>
                  <a:cubicBezTo>
                    <a:pt x="397478" y="264193"/>
                    <a:pt x="394080" y="248218"/>
                    <a:pt x="387934" y="233689"/>
                  </a:cubicBezTo>
                  <a:lnTo>
                    <a:pt x="373773" y="212685"/>
                  </a:lnTo>
                  <a:lnTo>
                    <a:pt x="585773" y="0"/>
                  </a:lnTo>
                  <a:lnTo>
                    <a:pt x="928645" y="0"/>
                  </a:lnTo>
                  <a:cubicBezTo>
                    <a:pt x="965116" y="0"/>
                    <a:pt x="994682" y="29566"/>
                    <a:pt x="994682" y="66037"/>
                  </a:cubicBezTo>
                  <a:lnTo>
                    <a:pt x="994682" y="939537"/>
                  </a:lnTo>
                  <a:lnTo>
                    <a:pt x="990451" y="960496"/>
                  </a:lnTo>
                  <a:lnTo>
                    <a:pt x="811266" y="780733"/>
                  </a:lnTo>
                  <a:lnTo>
                    <a:pt x="821601" y="765404"/>
                  </a:lnTo>
                  <a:cubicBezTo>
                    <a:pt x="827747" y="750875"/>
                    <a:pt x="831145" y="734901"/>
                    <a:pt x="831145" y="718133"/>
                  </a:cubicBezTo>
                  <a:cubicBezTo>
                    <a:pt x="831145" y="651060"/>
                    <a:pt x="776772" y="596687"/>
                    <a:pt x="709700" y="596688"/>
                  </a:cubicBezTo>
                  <a:cubicBezTo>
                    <a:pt x="642628" y="596687"/>
                    <a:pt x="588255" y="651060"/>
                    <a:pt x="588255" y="718133"/>
                  </a:cubicBezTo>
                  <a:cubicBezTo>
                    <a:pt x="588255" y="785204"/>
                    <a:pt x="642628" y="839577"/>
                    <a:pt x="709700" y="839578"/>
                  </a:cubicBezTo>
                  <a:cubicBezTo>
                    <a:pt x="726469" y="839578"/>
                    <a:pt x="742442" y="836179"/>
                    <a:pt x="756972" y="830034"/>
                  </a:cubicBezTo>
                  <a:lnTo>
                    <a:pt x="780228" y="814355"/>
                  </a:lnTo>
                  <a:lnTo>
                    <a:pt x="961113" y="995825"/>
                  </a:lnTo>
                  <a:lnTo>
                    <a:pt x="954350" y="1000385"/>
                  </a:lnTo>
                  <a:cubicBezTo>
                    <a:pt x="946449" y="1003726"/>
                    <a:pt x="937763" y="1005574"/>
                    <a:pt x="928645" y="1005574"/>
                  </a:cubicBezTo>
                  <a:lnTo>
                    <a:pt x="66037" y="1005574"/>
                  </a:lnTo>
                  <a:cubicBezTo>
                    <a:pt x="29566" y="1005574"/>
                    <a:pt x="0" y="976008"/>
                    <a:pt x="0" y="939537"/>
                  </a:cubicBezTo>
                  <a:lnTo>
                    <a:pt x="0" y="66037"/>
                  </a:lnTo>
                  <a:cubicBezTo>
                    <a:pt x="0" y="29566"/>
                    <a:pt x="29566" y="0"/>
                    <a:pt x="66037"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66" name="device"/>
            <p:cNvSpPr>
              <a:spLocks noChangeAspect="1"/>
            </p:cNvSpPr>
            <p:nvPr/>
          </p:nvSpPr>
          <p:spPr bwMode="auto">
            <a:xfrm>
              <a:off x="1275268" y="5878026"/>
              <a:ext cx="293765" cy="296982"/>
            </a:xfrm>
            <a:custGeom>
              <a:avLst/>
              <a:gdLst>
                <a:gd name="connsiteX0" fmla="*/ 276033 w 994682"/>
                <a:gd name="connsiteY0" fmla="*/ 651613 h 1005574"/>
                <a:gd name="connsiteX1" fmla="*/ 342553 w 994682"/>
                <a:gd name="connsiteY1" fmla="*/ 718133 h 1005574"/>
                <a:gd name="connsiteX2" fmla="*/ 276033 w 994682"/>
                <a:gd name="connsiteY2" fmla="*/ 784652 h 1005574"/>
                <a:gd name="connsiteX3" fmla="*/ 209513 w 994682"/>
                <a:gd name="connsiteY3" fmla="*/ 718133 h 1005574"/>
                <a:gd name="connsiteX4" fmla="*/ 276033 w 994682"/>
                <a:gd name="connsiteY4" fmla="*/ 651613 h 1005574"/>
                <a:gd name="connsiteX5" fmla="*/ 709700 w 994682"/>
                <a:gd name="connsiteY5" fmla="*/ 651613 h 1005574"/>
                <a:gd name="connsiteX6" fmla="*/ 776220 w 994682"/>
                <a:gd name="connsiteY6" fmla="*/ 718133 h 1005574"/>
                <a:gd name="connsiteX7" fmla="*/ 709701 w 994682"/>
                <a:gd name="connsiteY7" fmla="*/ 784653 h 1005574"/>
                <a:gd name="connsiteX8" fmla="*/ 643180 w 994682"/>
                <a:gd name="connsiteY8" fmla="*/ 718132 h 1005574"/>
                <a:gd name="connsiteX9" fmla="*/ 709700 w 994682"/>
                <a:gd name="connsiteY9" fmla="*/ 651613 h 1005574"/>
                <a:gd name="connsiteX10" fmla="*/ 724811 w 994682"/>
                <a:gd name="connsiteY10" fmla="*/ 214441 h 1005574"/>
                <a:gd name="connsiteX11" fmla="*/ 791331 w 994682"/>
                <a:gd name="connsiteY11" fmla="*/ 280960 h 1005574"/>
                <a:gd name="connsiteX12" fmla="*/ 724811 w 994682"/>
                <a:gd name="connsiteY12" fmla="*/ 347481 h 1005574"/>
                <a:gd name="connsiteX13" fmla="*/ 658291 w 994682"/>
                <a:gd name="connsiteY13" fmla="*/ 280960 h 1005574"/>
                <a:gd name="connsiteX14" fmla="*/ 724811 w 994682"/>
                <a:gd name="connsiteY14" fmla="*/ 214441 h 1005574"/>
                <a:gd name="connsiteX15" fmla="*/ 276034 w 994682"/>
                <a:gd name="connsiteY15" fmla="*/ 214441 h 1005574"/>
                <a:gd name="connsiteX16" fmla="*/ 342553 w 994682"/>
                <a:gd name="connsiteY16" fmla="*/ 280961 h 1005574"/>
                <a:gd name="connsiteX17" fmla="*/ 276033 w 994682"/>
                <a:gd name="connsiteY17" fmla="*/ 347480 h 1005574"/>
                <a:gd name="connsiteX18" fmla="*/ 209513 w 994682"/>
                <a:gd name="connsiteY18" fmla="*/ 280961 h 1005574"/>
                <a:gd name="connsiteX19" fmla="*/ 276034 w 994682"/>
                <a:gd name="connsiteY19" fmla="*/ 214441 h 1005574"/>
                <a:gd name="connsiteX20" fmla="*/ 724811 w 994682"/>
                <a:gd name="connsiteY20" fmla="*/ 159516 h 1005574"/>
                <a:gd name="connsiteX21" fmla="*/ 603366 w 994682"/>
                <a:gd name="connsiteY21" fmla="*/ 280961 h 1005574"/>
                <a:gd name="connsiteX22" fmla="*/ 612911 w 994682"/>
                <a:gd name="connsiteY22" fmla="*/ 328232 h 1005574"/>
                <a:gd name="connsiteX23" fmla="*/ 626516 w 994682"/>
                <a:gd name="connsiteY23" fmla="*/ 348413 h 1005574"/>
                <a:gd name="connsiteX24" fmla="*/ 350950 w 994682"/>
                <a:gd name="connsiteY24" fmla="*/ 624870 h 1005574"/>
                <a:gd name="connsiteX25" fmla="*/ 323305 w 994682"/>
                <a:gd name="connsiteY25" fmla="*/ 606231 h 1005574"/>
                <a:gd name="connsiteX26" fmla="*/ 276034 w 994682"/>
                <a:gd name="connsiteY26" fmla="*/ 596688 h 1005574"/>
                <a:gd name="connsiteX27" fmla="*/ 154589 w 994682"/>
                <a:gd name="connsiteY27" fmla="*/ 718133 h 1005574"/>
                <a:gd name="connsiteX28" fmla="*/ 276033 w 994682"/>
                <a:gd name="connsiteY28" fmla="*/ 839577 h 1005574"/>
                <a:gd name="connsiteX29" fmla="*/ 397479 w 994682"/>
                <a:gd name="connsiteY29" fmla="*/ 718133 h 1005574"/>
                <a:gd name="connsiteX30" fmla="*/ 387935 w 994682"/>
                <a:gd name="connsiteY30" fmla="*/ 670861 h 1005574"/>
                <a:gd name="connsiteX31" fmla="*/ 380561 w 994682"/>
                <a:gd name="connsiteY31" fmla="*/ 659925 h 1005574"/>
                <a:gd name="connsiteX32" fmla="*/ 659133 w 994682"/>
                <a:gd name="connsiteY32" fmla="*/ 380452 h 1005574"/>
                <a:gd name="connsiteX33" fmla="*/ 677539 w 994682"/>
                <a:gd name="connsiteY33" fmla="*/ 392862 h 1005574"/>
                <a:gd name="connsiteX34" fmla="*/ 724812 w 994682"/>
                <a:gd name="connsiteY34" fmla="*/ 402406 h 1005574"/>
                <a:gd name="connsiteX35" fmla="*/ 846257 w 994682"/>
                <a:gd name="connsiteY35" fmla="*/ 280961 h 1005574"/>
                <a:gd name="connsiteX36" fmla="*/ 724811 w 994682"/>
                <a:gd name="connsiteY36" fmla="*/ 159516 h 1005574"/>
                <a:gd name="connsiteX37" fmla="*/ 66037 w 994682"/>
                <a:gd name="connsiteY37" fmla="*/ 0 h 1005574"/>
                <a:gd name="connsiteX38" fmla="*/ 521220 w 994682"/>
                <a:gd name="connsiteY38" fmla="*/ 0 h 1005574"/>
                <a:gd name="connsiteX39" fmla="*/ 340889 w 994682"/>
                <a:gd name="connsiteY39" fmla="*/ 180915 h 1005574"/>
                <a:gd name="connsiteX40" fmla="*/ 323305 w 994682"/>
                <a:gd name="connsiteY40" fmla="*/ 169059 h 1005574"/>
                <a:gd name="connsiteX41" fmla="*/ 276033 w 994682"/>
                <a:gd name="connsiteY41" fmla="*/ 159515 h 1005574"/>
                <a:gd name="connsiteX42" fmla="*/ 154588 w 994682"/>
                <a:gd name="connsiteY42" fmla="*/ 280961 h 1005574"/>
                <a:gd name="connsiteX43" fmla="*/ 276033 w 994682"/>
                <a:gd name="connsiteY43" fmla="*/ 402406 h 1005574"/>
                <a:gd name="connsiteX44" fmla="*/ 397478 w 994682"/>
                <a:gd name="connsiteY44" fmla="*/ 280960 h 1005574"/>
                <a:gd name="connsiteX45" fmla="*/ 387934 w 994682"/>
                <a:gd name="connsiteY45" fmla="*/ 233689 h 1005574"/>
                <a:gd name="connsiteX46" fmla="*/ 373773 w 994682"/>
                <a:gd name="connsiteY46" fmla="*/ 212685 h 1005574"/>
                <a:gd name="connsiteX47" fmla="*/ 585773 w 994682"/>
                <a:gd name="connsiteY47" fmla="*/ 0 h 1005574"/>
                <a:gd name="connsiteX48" fmla="*/ 928645 w 994682"/>
                <a:gd name="connsiteY48" fmla="*/ 0 h 1005574"/>
                <a:gd name="connsiteX49" fmla="*/ 994682 w 994682"/>
                <a:gd name="connsiteY49" fmla="*/ 66037 h 1005574"/>
                <a:gd name="connsiteX50" fmla="*/ 994682 w 994682"/>
                <a:gd name="connsiteY50" fmla="*/ 939537 h 1005574"/>
                <a:gd name="connsiteX51" fmla="*/ 990451 w 994682"/>
                <a:gd name="connsiteY51" fmla="*/ 960496 h 1005574"/>
                <a:gd name="connsiteX52" fmla="*/ 811266 w 994682"/>
                <a:gd name="connsiteY52" fmla="*/ 780733 h 1005574"/>
                <a:gd name="connsiteX53" fmla="*/ 821601 w 994682"/>
                <a:gd name="connsiteY53" fmla="*/ 765404 h 1005574"/>
                <a:gd name="connsiteX54" fmla="*/ 831145 w 994682"/>
                <a:gd name="connsiteY54" fmla="*/ 718133 h 1005574"/>
                <a:gd name="connsiteX55" fmla="*/ 709700 w 994682"/>
                <a:gd name="connsiteY55" fmla="*/ 596688 h 1005574"/>
                <a:gd name="connsiteX56" fmla="*/ 588255 w 994682"/>
                <a:gd name="connsiteY56" fmla="*/ 718133 h 1005574"/>
                <a:gd name="connsiteX57" fmla="*/ 709700 w 994682"/>
                <a:gd name="connsiteY57" fmla="*/ 839578 h 1005574"/>
                <a:gd name="connsiteX58" fmla="*/ 756972 w 994682"/>
                <a:gd name="connsiteY58" fmla="*/ 830034 h 1005574"/>
                <a:gd name="connsiteX59" fmla="*/ 780228 w 994682"/>
                <a:gd name="connsiteY59" fmla="*/ 814355 h 1005574"/>
                <a:gd name="connsiteX60" fmla="*/ 961113 w 994682"/>
                <a:gd name="connsiteY60" fmla="*/ 995825 h 1005574"/>
                <a:gd name="connsiteX61" fmla="*/ 954350 w 994682"/>
                <a:gd name="connsiteY61" fmla="*/ 1000385 h 1005574"/>
                <a:gd name="connsiteX62" fmla="*/ 928645 w 994682"/>
                <a:gd name="connsiteY62" fmla="*/ 1005574 h 1005574"/>
                <a:gd name="connsiteX63" fmla="*/ 66037 w 994682"/>
                <a:gd name="connsiteY63" fmla="*/ 1005574 h 1005574"/>
                <a:gd name="connsiteX64" fmla="*/ 0 w 994682"/>
                <a:gd name="connsiteY64" fmla="*/ 939537 h 1005574"/>
                <a:gd name="connsiteX65" fmla="*/ 0 w 994682"/>
                <a:gd name="connsiteY65" fmla="*/ 66037 h 1005574"/>
                <a:gd name="connsiteX66" fmla="*/ 66037 w 994682"/>
                <a:gd name="connsiteY66" fmla="*/ 0 h 100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994682" h="1005574">
                  <a:moveTo>
                    <a:pt x="276033" y="651613"/>
                  </a:moveTo>
                  <a:cubicBezTo>
                    <a:pt x="312771" y="651612"/>
                    <a:pt x="342553" y="681394"/>
                    <a:pt x="342553" y="718133"/>
                  </a:cubicBezTo>
                  <a:cubicBezTo>
                    <a:pt x="342554" y="754871"/>
                    <a:pt x="312772" y="784653"/>
                    <a:pt x="276033" y="784652"/>
                  </a:cubicBezTo>
                  <a:cubicBezTo>
                    <a:pt x="239295" y="784653"/>
                    <a:pt x="209513" y="754871"/>
                    <a:pt x="209513" y="718133"/>
                  </a:cubicBezTo>
                  <a:cubicBezTo>
                    <a:pt x="209513" y="681395"/>
                    <a:pt x="239295" y="651613"/>
                    <a:pt x="276033" y="651613"/>
                  </a:cubicBezTo>
                  <a:close/>
                  <a:moveTo>
                    <a:pt x="709700" y="651613"/>
                  </a:moveTo>
                  <a:cubicBezTo>
                    <a:pt x="746438" y="651612"/>
                    <a:pt x="776221" y="681395"/>
                    <a:pt x="776220" y="718133"/>
                  </a:cubicBezTo>
                  <a:cubicBezTo>
                    <a:pt x="776221" y="754870"/>
                    <a:pt x="746439" y="784652"/>
                    <a:pt x="709701" y="784653"/>
                  </a:cubicBezTo>
                  <a:cubicBezTo>
                    <a:pt x="672962" y="784653"/>
                    <a:pt x="643180" y="754871"/>
                    <a:pt x="643180" y="718132"/>
                  </a:cubicBezTo>
                  <a:cubicBezTo>
                    <a:pt x="643180" y="681394"/>
                    <a:pt x="672962" y="651613"/>
                    <a:pt x="709700" y="651613"/>
                  </a:cubicBezTo>
                  <a:close/>
                  <a:moveTo>
                    <a:pt x="724811" y="214441"/>
                  </a:moveTo>
                  <a:cubicBezTo>
                    <a:pt x="761549" y="214441"/>
                    <a:pt x="791331" y="244223"/>
                    <a:pt x="791331" y="280960"/>
                  </a:cubicBezTo>
                  <a:cubicBezTo>
                    <a:pt x="791331" y="317699"/>
                    <a:pt x="761549" y="347480"/>
                    <a:pt x="724811" y="347481"/>
                  </a:cubicBezTo>
                  <a:cubicBezTo>
                    <a:pt x="688074" y="347480"/>
                    <a:pt x="658291" y="317699"/>
                    <a:pt x="658291" y="280960"/>
                  </a:cubicBezTo>
                  <a:cubicBezTo>
                    <a:pt x="658292" y="244223"/>
                    <a:pt x="688073" y="214440"/>
                    <a:pt x="724811" y="214441"/>
                  </a:cubicBezTo>
                  <a:close/>
                  <a:moveTo>
                    <a:pt x="276034" y="214441"/>
                  </a:moveTo>
                  <a:cubicBezTo>
                    <a:pt x="312772" y="214440"/>
                    <a:pt x="342553" y="244222"/>
                    <a:pt x="342553" y="280961"/>
                  </a:cubicBezTo>
                  <a:cubicBezTo>
                    <a:pt x="342553" y="317699"/>
                    <a:pt x="312771" y="347481"/>
                    <a:pt x="276033" y="347480"/>
                  </a:cubicBezTo>
                  <a:cubicBezTo>
                    <a:pt x="239296" y="347481"/>
                    <a:pt x="209514" y="317699"/>
                    <a:pt x="209513" y="280961"/>
                  </a:cubicBezTo>
                  <a:cubicBezTo>
                    <a:pt x="209513" y="244223"/>
                    <a:pt x="239295" y="214441"/>
                    <a:pt x="276034" y="214441"/>
                  </a:cubicBezTo>
                  <a:close/>
                  <a:moveTo>
                    <a:pt x="724811" y="159516"/>
                  </a:moveTo>
                  <a:cubicBezTo>
                    <a:pt x="657739" y="159516"/>
                    <a:pt x="603366" y="213889"/>
                    <a:pt x="603366" y="280961"/>
                  </a:cubicBezTo>
                  <a:cubicBezTo>
                    <a:pt x="603366" y="297728"/>
                    <a:pt x="606765" y="313703"/>
                    <a:pt x="612911" y="328232"/>
                  </a:cubicBezTo>
                  <a:lnTo>
                    <a:pt x="626516" y="348413"/>
                  </a:lnTo>
                  <a:lnTo>
                    <a:pt x="350950" y="624870"/>
                  </a:lnTo>
                  <a:lnTo>
                    <a:pt x="323305" y="606231"/>
                  </a:lnTo>
                  <a:cubicBezTo>
                    <a:pt x="308776" y="600086"/>
                    <a:pt x="292801" y="596687"/>
                    <a:pt x="276034" y="596688"/>
                  </a:cubicBezTo>
                  <a:cubicBezTo>
                    <a:pt x="208961" y="596688"/>
                    <a:pt x="154588" y="651061"/>
                    <a:pt x="154589" y="718133"/>
                  </a:cubicBezTo>
                  <a:cubicBezTo>
                    <a:pt x="154588" y="785205"/>
                    <a:pt x="208961" y="839578"/>
                    <a:pt x="276033" y="839577"/>
                  </a:cubicBezTo>
                  <a:cubicBezTo>
                    <a:pt x="343105" y="839578"/>
                    <a:pt x="397478" y="785205"/>
                    <a:pt x="397479" y="718133"/>
                  </a:cubicBezTo>
                  <a:cubicBezTo>
                    <a:pt x="397478" y="701365"/>
                    <a:pt x="394080" y="685391"/>
                    <a:pt x="387935" y="670861"/>
                  </a:cubicBezTo>
                  <a:lnTo>
                    <a:pt x="380561" y="659925"/>
                  </a:lnTo>
                  <a:lnTo>
                    <a:pt x="659133" y="380452"/>
                  </a:lnTo>
                  <a:lnTo>
                    <a:pt x="677539" y="392862"/>
                  </a:lnTo>
                  <a:cubicBezTo>
                    <a:pt x="692069" y="399007"/>
                    <a:pt x="708043" y="402406"/>
                    <a:pt x="724812" y="402406"/>
                  </a:cubicBezTo>
                  <a:cubicBezTo>
                    <a:pt x="791883" y="402406"/>
                    <a:pt x="846256" y="348033"/>
                    <a:pt x="846257" y="280961"/>
                  </a:cubicBezTo>
                  <a:cubicBezTo>
                    <a:pt x="846256" y="213889"/>
                    <a:pt x="791883" y="159516"/>
                    <a:pt x="724811" y="159516"/>
                  </a:cubicBezTo>
                  <a:close/>
                  <a:moveTo>
                    <a:pt x="66037" y="0"/>
                  </a:moveTo>
                  <a:lnTo>
                    <a:pt x="521220" y="0"/>
                  </a:lnTo>
                  <a:lnTo>
                    <a:pt x="340889" y="180915"/>
                  </a:lnTo>
                  <a:lnTo>
                    <a:pt x="323305" y="169059"/>
                  </a:lnTo>
                  <a:cubicBezTo>
                    <a:pt x="308775" y="162914"/>
                    <a:pt x="292801" y="159515"/>
                    <a:pt x="276033" y="159515"/>
                  </a:cubicBezTo>
                  <a:cubicBezTo>
                    <a:pt x="208962" y="159515"/>
                    <a:pt x="154589" y="213889"/>
                    <a:pt x="154588" y="280961"/>
                  </a:cubicBezTo>
                  <a:cubicBezTo>
                    <a:pt x="154589" y="348033"/>
                    <a:pt x="208962" y="402406"/>
                    <a:pt x="276033" y="402406"/>
                  </a:cubicBezTo>
                  <a:cubicBezTo>
                    <a:pt x="343106" y="402406"/>
                    <a:pt x="397479" y="348032"/>
                    <a:pt x="397478" y="280960"/>
                  </a:cubicBezTo>
                  <a:cubicBezTo>
                    <a:pt x="397478" y="264193"/>
                    <a:pt x="394080" y="248218"/>
                    <a:pt x="387934" y="233689"/>
                  </a:cubicBezTo>
                  <a:lnTo>
                    <a:pt x="373773" y="212685"/>
                  </a:lnTo>
                  <a:lnTo>
                    <a:pt x="585773" y="0"/>
                  </a:lnTo>
                  <a:lnTo>
                    <a:pt x="928645" y="0"/>
                  </a:lnTo>
                  <a:cubicBezTo>
                    <a:pt x="965116" y="0"/>
                    <a:pt x="994682" y="29566"/>
                    <a:pt x="994682" y="66037"/>
                  </a:cubicBezTo>
                  <a:lnTo>
                    <a:pt x="994682" y="939537"/>
                  </a:lnTo>
                  <a:lnTo>
                    <a:pt x="990451" y="960496"/>
                  </a:lnTo>
                  <a:lnTo>
                    <a:pt x="811266" y="780733"/>
                  </a:lnTo>
                  <a:lnTo>
                    <a:pt x="821601" y="765404"/>
                  </a:lnTo>
                  <a:cubicBezTo>
                    <a:pt x="827747" y="750875"/>
                    <a:pt x="831145" y="734901"/>
                    <a:pt x="831145" y="718133"/>
                  </a:cubicBezTo>
                  <a:cubicBezTo>
                    <a:pt x="831145" y="651060"/>
                    <a:pt x="776772" y="596687"/>
                    <a:pt x="709700" y="596688"/>
                  </a:cubicBezTo>
                  <a:cubicBezTo>
                    <a:pt x="642628" y="596687"/>
                    <a:pt x="588255" y="651060"/>
                    <a:pt x="588255" y="718133"/>
                  </a:cubicBezTo>
                  <a:cubicBezTo>
                    <a:pt x="588255" y="785204"/>
                    <a:pt x="642628" y="839577"/>
                    <a:pt x="709700" y="839578"/>
                  </a:cubicBezTo>
                  <a:cubicBezTo>
                    <a:pt x="726469" y="839578"/>
                    <a:pt x="742442" y="836179"/>
                    <a:pt x="756972" y="830034"/>
                  </a:cubicBezTo>
                  <a:lnTo>
                    <a:pt x="780228" y="814355"/>
                  </a:lnTo>
                  <a:lnTo>
                    <a:pt x="961113" y="995825"/>
                  </a:lnTo>
                  <a:lnTo>
                    <a:pt x="954350" y="1000385"/>
                  </a:lnTo>
                  <a:cubicBezTo>
                    <a:pt x="946449" y="1003726"/>
                    <a:pt x="937763" y="1005574"/>
                    <a:pt x="928645" y="1005574"/>
                  </a:cubicBezTo>
                  <a:lnTo>
                    <a:pt x="66037" y="1005574"/>
                  </a:lnTo>
                  <a:cubicBezTo>
                    <a:pt x="29566" y="1005574"/>
                    <a:pt x="0" y="976008"/>
                    <a:pt x="0" y="939537"/>
                  </a:cubicBezTo>
                  <a:lnTo>
                    <a:pt x="0" y="66037"/>
                  </a:lnTo>
                  <a:cubicBezTo>
                    <a:pt x="0" y="29566"/>
                    <a:pt x="29566" y="0"/>
                    <a:pt x="66037"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67" name="Rectangle 66"/>
          <p:cNvSpPr/>
          <p:nvPr/>
        </p:nvSpPr>
        <p:spPr>
          <a:xfrm>
            <a:off x="1925830" y="4972123"/>
            <a:ext cx="864635" cy="226294"/>
          </a:xfrm>
          <a:prstGeom prst="rect">
            <a:avLst/>
          </a:prstGeom>
        </p:spPr>
        <p:txBody>
          <a:bodyPr wrap="none">
            <a:spAutoFit/>
          </a:bodyPr>
          <a:lstStyle/>
          <a:p>
            <a:pPr defTabSz="895403" fontAlgn="base">
              <a:lnSpc>
                <a:spcPct val="90000"/>
              </a:lnSpc>
              <a:spcBef>
                <a:spcPct val="0"/>
              </a:spcBef>
            </a:pPr>
            <a:r>
              <a:rPr lang="en-US" sz="980" kern="0" err="1">
                <a:solidFill>
                  <a:srgbClr val="404040">
                    <a:lumMod val="50000"/>
                  </a:srgbClr>
                </a:solidFill>
                <a:ea typeface="Segoe UI Black" panose="020B0A02040204020203" pitchFamily="34" charset="0"/>
                <a:cs typeface="Segoe UI Black" panose="020B0A02040204020203" pitchFamily="34" charset="0"/>
              </a:rPr>
              <a:t>IoT</a:t>
            </a:r>
            <a:r>
              <a:rPr lang="en-US" sz="980" kern="0">
                <a:solidFill>
                  <a:srgbClr val="404040">
                    <a:lumMod val="50000"/>
                  </a:srgbClr>
                </a:solidFill>
                <a:ea typeface="Segoe UI Black" panose="020B0A02040204020203" pitchFamily="34" charset="0"/>
                <a:cs typeface="Segoe UI Black" panose="020B0A02040204020203" pitchFamily="34" charset="0"/>
              </a:rPr>
              <a:t> Gateway</a:t>
            </a:r>
          </a:p>
        </p:txBody>
      </p:sp>
      <p:grpSp>
        <p:nvGrpSpPr>
          <p:cNvPr id="70" name="Group 69"/>
          <p:cNvGrpSpPr/>
          <p:nvPr/>
        </p:nvGrpSpPr>
        <p:grpSpPr>
          <a:xfrm>
            <a:off x="2066409" y="4365017"/>
            <a:ext cx="583477" cy="580941"/>
            <a:chOff x="10991702" y="1437287"/>
            <a:chExt cx="1173924" cy="1168822"/>
          </a:xfrm>
        </p:grpSpPr>
        <p:sp>
          <p:nvSpPr>
            <p:cNvPr id="71" name="Freeform: Shape 70"/>
            <p:cNvSpPr/>
            <p:nvPr/>
          </p:nvSpPr>
          <p:spPr bwMode="auto">
            <a:xfrm>
              <a:off x="10991702" y="1437287"/>
              <a:ext cx="1173924" cy="1168822"/>
            </a:xfrm>
            <a:custGeom>
              <a:avLst/>
              <a:gdLst>
                <a:gd name="connsiteX0" fmla="*/ 591418 w 1173924"/>
                <a:gd name="connsiteY0" fmla="*/ 0 h 1168822"/>
                <a:gd name="connsiteX1" fmla="*/ 632097 w 1173924"/>
                <a:gd name="connsiteY1" fmla="*/ 8269 h 1168822"/>
                <a:gd name="connsiteX2" fmla="*/ 664108 w 1173924"/>
                <a:gd name="connsiteY2" fmla="*/ 28356 h 1168822"/>
                <a:gd name="connsiteX3" fmla="*/ 664108 w 1173924"/>
                <a:gd name="connsiteY3" fmla="*/ 26828 h 1168822"/>
                <a:gd name="connsiteX4" fmla="*/ 744053 w 1173924"/>
                <a:gd name="connsiteY4" fmla="*/ 105359 h 1168822"/>
                <a:gd name="connsiteX5" fmla="*/ 1024934 w 1173924"/>
                <a:gd name="connsiteY5" fmla="*/ 388506 h 1168822"/>
                <a:gd name="connsiteX6" fmla="*/ 1050698 w 1173924"/>
                <a:gd name="connsiteY6" fmla="*/ 416210 h 1168822"/>
                <a:gd name="connsiteX7" fmla="*/ 1143837 w 1173924"/>
                <a:gd name="connsiteY7" fmla="*/ 509816 h 1168822"/>
                <a:gd name="connsiteX8" fmla="*/ 1139293 w 1173924"/>
                <a:gd name="connsiteY8" fmla="*/ 509816 h 1168822"/>
                <a:gd name="connsiteX9" fmla="*/ 1155359 w 1173924"/>
                <a:gd name="connsiteY9" fmla="*/ 526386 h 1168822"/>
                <a:gd name="connsiteX10" fmla="*/ 1173924 w 1173924"/>
                <a:gd name="connsiteY10" fmla="*/ 586701 h 1168822"/>
                <a:gd name="connsiteX11" fmla="*/ 1084715 w 1173924"/>
                <a:gd name="connsiteY11" fmla="*/ 720615 h 1168822"/>
                <a:gd name="connsiteX12" fmla="*/ 987203 w 1173924"/>
                <a:gd name="connsiteY12" fmla="*/ 817640 h 1168822"/>
                <a:gd name="connsiteX13" fmla="*/ 962816 w 1173924"/>
                <a:gd name="connsiteY13" fmla="*/ 842209 h 1168822"/>
                <a:gd name="connsiteX14" fmla="*/ 866120 w 1173924"/>
                <a:gd name="connsiteY14" fmla="*/ 938267 h 1168822"/>
                <a:gd name="connsiteX15" fmla="*/ 859784 w 1173924"/>
                <a:gd name="connsiteY15" fmla="*/ 944422 h 1168822"/>
                <a:gd name="connsiteX16" fmla="*/ 664108 w 1173924"/>
                <a:gd name="connsiteY16" fmla="*/ 1139120 h 1168822"/>
                <a:gd name="connsiteX17" fmla="*/ 664108 w 1173924"/>
                <a:gd name="connsiteY17" fmla="*/ 1131031 h 1168822"/>
                <a:gd name="connsiteX18" fmla="*/ 644279 w 1173924"/>
                <a:gd name="connsiteY18" fmla="*/ 1150257 h 1168822"/>
                <a:gd name="connsiteX19" fmla="*/ 583964 w 1173924"/>
                <a:gd name="connsiteY19" fmla="*/ 1168822 h 1168822"/>
                <a:gd name="connsiteX20" fmla="*/ 543285 w 1173924"/>
                <a:gd name="connsiteY20" fmla="*/ 1160553 h 1168822"/>
                <a:gd name="connsiteX21" fmla="*/ 509816 w 1173924"/>
                <a:gd name="connsiteY21" fmla="*/ 1139551 h 1168822"/>
                <a:gd name="connsiteX22" fmla="*/ 509816 w 1173924"/>
                <a:gd name="connsiteY22" fmla="*/ 1145934 h 1168822"/>
                <a:gd name="connsiteX23" fmla="*/ 429871 w 1173924"/>
                <a:gd name="connsiteY23" fmla="*/ 1067403 h 1168822"/>
                <a:gd name="connsiteX24" fmla="*/ 89209 w 1173924"/>
                <a:gd name="connsiteY24" fmla="*/ 719975 h 1168822"/>
                <a:gd name="connsiteX25" fmla="*/ 0 w 1173924"/>
                <a:gd name="connsiteY25" fmla="*/ 586061 h 1168822"/>
                <a:gd name="connsiteX26" fmla="*/ 58260 w 1173924"/>
                <a:gd name="connsiteY26" fmla="*/ 481531 h 1168822"/>
                <a:gd name="connsiteX27" fmla="*/ 74144 w 1173924"/>
                <a:gd name="connsiteY27" fmla="*/ 466450 h 1168822"/>
                <a:gd name="connsiteX28" fmla="*/ 110076 w 1173924"/>
                <a:gd name="connsiteY28" fmla="*/ 429871 h 1168822"/>
                <a:gd name="connsiteX29" fmla="*/ 393223 w 1173924"/>
                <a:gd name="connsiteY29" fmla="*/ 148990 h 1168822"/>
                <a:gd name="connsiteX30" fmla="*/ 403416 w 1173924"/>
                <a:gd name="connsiteY30" fmla="*/ 139510 h 1168822"/>
                <a:gd name="connsiteX31" fmla="*/ 509816 w 1173924"/>
                <a:gd name="connsiteY31" fmla="*/ 33642 h 1168822"/>
                <a:gd name="connsiteX32" fmla="*/ 509816 w 1173924"/>
                <a:gd name="connsiteY32" fmla="*/ 39204 h 1168822"/>
                <a:gd name="connsiteX33" fmla="*/ 531103 w 1173924"/>
                <a:gd name="connsiteY33" fmla="*/ 18565 h 1168822"/>
                <a:gd name="connsiteX34" fmla="*/ 591418 w 1173924"/>
                <a:gd name="connsiteY34" fmla="*/ 0 h 116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73924" h="1168822">
                  <a:moveTo>
                    <a:pt x="591418" y="0"/>
                  </a:moveTo>
                  <a:cubicBezTo>
                    <a:pt x="606468" y="0"/>
                    <a:pt x="619855" y="3055"/>
                    <a:pt x="632097" y="8269"/>
                  </a:cubicBezTo>
                  <a:lnTo>
                    <a:pt x="664108" y="28356"/>
                  </a:lnTo>
                  <a:lnTo>
                    <a:pt x="664108" y="26828"/>
                  </a:lnTo>
                  <a:lnTo>
                    <a:pt x="744053" y="105359"/>
                  </a:lnTo>
                  <a:cubicBezTo>
                    <a:pt x="848481" y="208431"/>
                    <a:pt x="953046" y="313228"/>
                    <a:pt x="1024934" y="388506"/>
                  </a:cubicBezTo>
                  <a:lnTo>
                    <a:pt x="1050698" y="416210"/>
                  </a:lnTo>
                  <a:lnTo>
                    <a:pt x="1143837" y="509816"/>
                  </a:lnTo>
                  <a:lnTo>
                    <a:pt x="1139293" y="509816"/>
                  </a:lnTo>
                  <a:lnTo>
                    <a:pt x="1155359" y="526386"/>
                  </a:lnTo>
                  <a:cubicBezTo>
                    <a:pt x="1168981" y="542601"/>
                    <a:pt x="1173924" y="556602"/>
                    <a:pt x="1173924" y="586701"/>
                  </a:cubicBezTo>
                  <a:cubicBezTo>
                    <a:pt x="1173924" y="646900"/>
                    <a:pt x="1125036" y="680496"/>
                    <a:pt x="1084715" y="720615"/>
                  </a:cubicBezTo>
                  <a:lnTo>
                    <a:pt x="987203" y="817640"/>
                  </a:lnTo>
                  <a:lnTo>
                    <a:pt x="962816" y="842209"/>
                  </a:lnTo>
                  <a:cubicBezTo>
                    <a:pt x="929233" y="875834"/>
                    <a:pt x="896615" y="908258"/>
                    <a:pt x="866120" y="938267"/>
                  </a:cubicBezTo>
                  <a:lnTo>
                    <a:pt x="859784" y="944422"/>
                  </a:lnTo>
                  <a:lnTo>
                    <a:pt x="664108" y="1139120"/>
                  </a:lnTo>
                  <a:lnTo>
                    <a:pt x="664108" y="1131031"/>
                  </a:lnTo>
                  <a:lnTo>
                    <a:pt x="644279" y="1150257"/>
                  </a:lnTo>
                  <a:cubicBezTo>
                    <a:pt x="628064" y="1163879"/>
                    <a:pt x="614064" y="1168822"/>
                    <a:pt x="583964" y="1168822"/>
                  </a:cubicBezTo>
                  <a:cubicBezTo>
                    <a:pt x="568914" y="1168822"/>
                    <a:pt x="555527" y="1165767"/>
                    <a:pt x="543285" y="1160553"/>
                  </a:cubicBezTo>
                  <a:lnTo>
                    <a:pt x="509816" y="1139551"/>
                  </a:lnTo>
                  <a:lnTo>
                    <a:pt x="509816" y="1145934"/>
                  </a:lnTo>
                  <a:lnTo>
                    <a:pt x="429871" y="1067403"/>
                  </a:lnTo>
                  <a:cubicBezTo>
                    <a:pt x="290634" y="929974"/>
                    <a:pt x="151153" y="789478"/>
                    <a:pt x="89209" y="719975"/>
                  </a:cubicBezTo>
                  <a:cubicBezTo>
                    <a:pt x="19771" y="642063"/>
                    <a:pt x="0" y="646260"/>
                    <a:pt x="0" y="586061"/>
                  </a:cubicBezTo>
                  <a:cubicBezTo>
                    <a:pt x="0" y="540912"/>
                    <a:pt x="27500" y="510727"/>
                    <a:pt x="58260" y="481531"/>
                  </a:cubicBezTo>
                  <a:lnTo>
                    <a:pt x="74144" y="466450"/>
                  </a:lnTo>
                  <a:lnTo>
                    <a:pt x="110076" y="429871"/>
                  </a:lnTo>
                  <a:cubicBezTo>
                    <a:pt x="213148" y="325443"/>
                    <a:pt x="317945" y="220878"/>
                    <a:pt x="393223" y="148990"/>
                  </a:cubicBezTo>
                  <a:lnTo>
                    <a:pt x="403416" y="139510"/>
                  </a:lnTo>
                  <a:lnTo>
                    <a:pt x="509816" y="33642"/>
                  </a:lnTo>
                  <a:lnTo>
                    <a:pt x="509816" y="39204"/>
                  </a:lnTo>
                  <a:lnTo>
                    <a:pt x="531103" y="18565"/>
                  </a:lnTo>
                  <a:cubicBezTo>
                    <a:pt x="547318" y="4943"/>
                    <a:pt x="561319" y="0"/>
                    <a:pt x="591418"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a:solidFill>
                  <a:srgbClr val="0072C6"/>
                </a:solidFill>
                <a:latin typeface="Segoe UI"/>
                <a:ea typeface="Segoe UI" pitchFamily="34" charset="0"/>
                <a:cs typeface="Segoe UI" pitchFamily="34" charset="0"/>
              </a:endParaRPr>
            </a:p>
          </p:txBody>
        </p:sp>
        <p:grpSp>
          <p:nvGrpSpPr>
            <p:cNvPr id="72" name="Group 71"/>
            <p:cNvGrpSpPr/>
            <p:nvPr/>
          </p:nvGrpSpPr>
          <p:grpSpPr>
            <a:xfrm>
              <a:off x="11204849" y="1626446"/>
              <a:ext cx="738456" cy="820578"/>
              <a:chOff x="8933984" y="853153"/>
              <a:chExt cx="618201" cy="686950"/>
            </a:xfrm>
          </p:grpSpPr>
          <p:sp>
            <p:nvSpPr>
              <p:cNvPr id="73" name="Arrow: Up 72"/>
              <p:cNvSpPr/>
              <p:nvPr/>
            </p:nvSpPr>
            <p:spPr bwMode="auto">
              <a:xfrm>
                <a:off x="9114016" y="853153"/>
                <a:ext cx="269142" cy="275638"/>
              </a:xfrm>
              <a:prstGeom prst="upArrow">
                <a:avLst>
                  <a:gd name="adj1" fmla="val 41823"/>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a:solidFill>
                    <a:srgbClr val="0072C6"/>
                  </a:solidFill>
                  <a:latin typeface="Segoe UI"/>
                  <a:ea typeface="Segoe UI" pitchFamily="34" charset="0"/>
                  <a:cs typeface="Segoe UI" pitchFamily="34" charset="0"/>
                </a:endParaRPr>
              </a:p>
            </p:txBody>
          </p:sp>
          <p:sp>
            <p:nvSpPr>
              <p:cNvPr id="74" name="Arrow: Up 73"/>
              <p:cNvSpPr/>
              <p:nvPr/>
            </p:nvSpPr>
            <p:spPr bwMode="auto">
              <a:xfrm flipH="1" flipV="1">
                <a:off x="9114016" y="1264465"/>
                <a:ext cx="269142" cy="275638"/>
              </a:xfrm>
              <a:prstGeom prst="upArrow">
                <a:avLst>
                  <a:gd name="adj1" fmla="val 41823"/>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a:solidFill>
                    <a:srgbClr val="0072C6"/>
                  </a:solidFill>
                  <a:latin typeface="Segoe UI"/>
                  <a:ea typeface="Segoe UI" pitchFamily="34" charset="0"/>
                  <a:cs typeface="Segoe UI" pitchFamily="34" charset="0"/>
                </a:endParaRPr>
              </a:p>
            </p:txBody>
          </p:sp>
          <p:sp>
            <p:nvSpPr>
              <p:cNvPr id="75" name="Arrow: Up 74"/>
              <p:cNvSpPr/>
              <p:nvPr/>
            </p:nvSpPr>
            <p:spPr bwMode="auto">
              <a:xfrm rot="5400000">
                <a:off x="8937232" y="1046358"/>
                <a:ext cx="269142" cy="275638"/>
              </a:xfrm>
              <a:prstGeom prst="upArrow">
                <a:avLst>
                  <a:gd name="adj1" fmla="val 41823"/>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a:solidFill>
                    <a:srgbClr val="0072C6"/>
                  </a:solidFill>
                  <a:latin typeface="Segoe UI"/>
                  <a:ea typeface="Segoe UI" pitchFamily="34" charset="0"/>
                  <a:cs typeface="Segoe UI" pitchFamily="34" charset="0"/>
                </a:endParaRPr>
              </a:p>
            </p:txBody>
          </p:sp>
          <p:sp>
            <p:nvSpPr>
              <p:cNvPr id="76" name="Arrow: Up 75"/>
              <p:cNvSpPr/>
              <p:nvPr/>
            </p:nvSpPr>
            <p:spPr bwMode="auto">
              <a:xfrm rot="5400000" flipH="1" flipV="1">
                <a:off x="9279795" y="1056874"/>
                <a:ext cx="269142" cy="275638"/>
              </a:xfrm>
              <a:prstGeom prst="upArrow">
                <a:avLst>
                  <a:gd name="adj1" fmla="val 41823"/>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a:solidFill>
                    <a:srgbClr val="0072C6"/>
                  </a:solidFill>
                  <a:latin typeface="Segoe UI"/>
                  <a:ea typeface="Segoe UI" pitchFamily="34" charset="0"/>
                  <a:cs typeface="Segoe UI" pitchFamily="34" charset="0"/>
                </a:endParaRPr>
              </a:p>
            </p:txBody>
          </p:sp>
        </p:grpSp>
      </p:grpSp>
      <p:cxnSp>
        <p:nvCxnSpPr>
          <p:cNvPr id="12" name="Straight Arrow Connector 11"/>
          <p:cNvCxnSpPr/>
          <p:nvPr/>
        </p:nvCxnSpPr>
        <p:spPr>
          <a:xfrm>
            <a:off x="1493985" y="4197783"/>
            <a:ext cx="594271" cy="268441"/>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a:off x="1482319" y="4513146"/>
            <a:ext cx="540208" cy="108811"/>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V="1">
            <a:off x="1461252" y="4719822"/>
            <a:ext cx="561869" cy="159995"/>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V="1">
            <a:off x="1480744" y="4795346"/>
            <a:ext cx="566396" cy="457104"/>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1493985" y="4879817"/>
            <a:ext cx="612405" cy="713720"/>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1864928" y="3908040"/>
            <a:ext cx="2659903" cy="479549"/>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1765075" y="3429825"/>
            <a:ext cx="1160075" cy="226294"/>
          </a:xfrm>
          <a:prstGeom prst="rect">
            <a:avLst/>
          </a:prstGeom>
        </p:spPr>
        <p:txBody>
          <a:bodyPr wrap="none">
            <a:spAutoFit/>
          </a:bodyPr>
          <a:lstStyle/>
          <a:p>
            <a:pPr defTabSz="895403" fontAlgn="base">
              <a:lnSpc>
                <a:spcPct val="90000"/>
              </a:lnSpc>
              <a:spcBef>
                <a:spcPct val="0"/>
              </a:spcBef>
            </a:pPr>
            <a:r>
              <a:rPr lang="en-US" sz="980" kern="0">
                <a:solidFill>
                  <a:srgbClr val="0072C6"/>
                </a:solidFill>
                <a:ea typeface="Segoe UI Black" panose="020B0A02040204020203" pitchFamily="34" charset="0"/>
                <a:cs typeface="Segoe UI Black" panose="020B0A02040204020203" pitchFamily="34" charset="0"/>
              </a:rPr>
              <a:t>Edge of the cloud</a:t>
            </a:r>
          </a:p>
        </p:txBody>
      </p:sp>
      <p:cxnSp>
        <p:nvCxnSpPr>
          <p:cNvPr id="90" name="Straight Arrow Connector 89"/>
          <p:cNvCxnSpPr/>
          <p:nvPr/>
        </p:nvCxnSpPr>
        <p:spPr>
          <a:xfrm>
            <a:off x="1767604" y="3677763"/>
            <a:ext cx="1163338"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a:off x="795250" y="3373918"/>
            <a:ext cx="2129899"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4092529" y="3373918"/>
            <a:ext cx="2281654"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4" name="Rectangle 93"/>
          <p:cNvSpPr/>
          <p:nvPr/>
        </p:nvSpPr>
        <p:spPr>
          <a:xfrm>
            <a:off x="3026236" y="4991608"/>
            <a:ext cx="1185219" cy="497848"/>
          </a:xfrm>
          <a:prstGeom prst="rect">
            <a:avLst/>
          </a:prstGeom>
        </p:spPr>
        <p:txBody>
          <a:bodyPr wrap="none">
            <a:spAutoFit/>
          </a:bodyPr>
          <a:lstStyle/>
          <a:p>
            <a:pPr defTabSz="895403" fontAlgn="base">
              <a:lnSpc>
                <a:spcPct val="90000"/>
              </a:lnSpc>
              <a:spcBef>
                <a:spcPct val="0"/>
              </a:spcBef>
            </a:pPr>
            <a:r>
              <a:rPr lang="en-US" sz="980" kern="0">
                <a:solidFill>
                  <a:srgbClr val="0072C6"/>
                </a:solidFill>
                <a:ea typeface="Segoe UI Black" panose="020B0A02040204020203" pitchFamily="34" charset="0"/>
                <a:cs typeface="Segoe UI Black" panose="020B0A02040204020203" pitchFamily="34" charset="0"/>
              </a:rPr>
              <a:t>Commands</a:t>
            </a:r>
          </a:p>
          <a:p>
            <a:pPr defTabSz="895403" fontAlgn="base">
              <a:lnSpc>
                <a:spcPct val="90000"/>
              </a:lnSpc>
              <a:spcBef>
                <a:spcPct val="0"/>
              </a:spcBef>
            </a:pPr>
            <a:r>
              <a:rPr lang="en-US" sz="980" kern="0">
                <a:solidFill>
                  <a:srgbClr val="0072C6"/>
                </a:solidFill>
                <a:ea typeface="Segoe UI Black" panose="020B0A02040204020203" pitchFamily="34" charset="0"/>
                <a:cs typeface="Segoe UI Black" panose="020B0A02040204020203" pitchFamily="34" charset="0"/>
              </a:rPr>
              <a:t>Firmware Updates</a:t>
            </a:r>
          </a:p>
          <a:p>
            <a:pPr defTabSz="895403" fontAlgn="base">
              <a:lnSpc>
                <a:spcPct val="90000"/>
              </a:lnSpc>
              <a:spcBef>
                <a:spcPct val="0"/>
              </a:spcBef>
            </a:pPr>
            <a:r>
              <a:rPr lang="en-US" sz="980" kern="0">
                <a:solidFill>
                  <a:srgbClr val="0072C6"/>
                </a:solidFill>
                <a:ea typeface="Segoe UI Black" panose="020B0A02040204020203" pitchFamily="34" charset="0"/>
                <a:cs typeface="Segoe UI Black" panose="020B0A02040204020203" pitchFamily="34" charset="0"/>
              </a:rPr>
              <a:t>Device twins</a:t>
            </a:r>
          </a:p>
        </p:txBody>
      </p:sp>
      <p:sp>
        <p:nvSpPr>
          <p:cNvPr id="96" name="Rectangle 95"/>
          <p:cNvSpPr/>
          <p:nvPr/>
        </p:nvSpPr>
        <p:spPr>
          <a:xfrm>
            <a:off x="2995313" y="4483996"/>
            <a:ext cx="1097216" cy="362072"/>
          </a:xfrm>
          <a:prstGeom prst="rect">
            <a:avLst/>
          </a:prstGeom>
        </p:spPr>
        <p:txBody>
          <a:bodyPr wrap="none">
            <a:spAutoFit/>
          </a:bodyPr>
          <a:lstStyle/>
          <a:p>
            <a:pPr algn="r" defTabSz="895403" fontAlgn="base">
              <a:lnSpc>
                <a:spcPct val="90000"/>
              </a:lnSpc>
              <a:spcBef>
                <a:spcPct val="0"/>
              </a:spcBef>
            </a:pPr>
            <a:r>
              <a:rPr lang="en-US" sz="980" kern="0">
                <a:solidFill>
                  <a:srgbClr val="0072C6"/>
                </a:solidFill>
                <a:ea typeface="Segoe UI Black" panose="020B0A02040204020203" pitchFamily="34" charset="0"/>
                <a:cs typeface="Segoe UI Black" panose="020B0A02040204020203" pitchFamily="34" charset="0"/>
              </a:rPr>
              <a:t>Events </a:t>
            </a:r>
          </a:p>
          <a:p>
            <a:pPr algn="r" defTabSz="895403" fontAlgn="base">
              <a:lnSpc>
                <a:spcPct val="90000"/>
              </a:lnSpc>
              <a:spcBef>
                <a:spcPct val="0"/>
              </a:spcBef>
            </a:pPr>
            <a:r>
              <a:rPr lang="en-US" sz="980" kern="0">
                <a:solidFill>
                  <a:srgbClr val="0072C6"/>
                </a:solidFill>
                <a:ea typeface="Segoe UI Black" panose="020B0A02040204020203" pitchFamily="34" charset="0"/>
                <a:cs typeface="Segoe UI Black" panose="020B0A02040204020203" pitchFamily="34" charset="0"/>
              </a:rPr>
              <a:t>Monitoring Data</a:t>
            </a:r>
          </a:p>
        </p:txBody>
      </p:sp>
      <p:cxnSp>
        <p:nvCxnSpPr>
          <p:cNvPr id="99" name="Straight Arrow Connector 98"/>
          <p:cNvCxnSpPr/>
          <p:nvPr/>
        </p:nvCxnSpPr>
        <p:spPr>
          <a:xfrm>
            <a:off x="3045371" y="4437479"/>
            <a:ext cx="918414"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p:nvPr/>
        </p:nvCxnSpPr>
        <p:spPr>
          <a:xfrm flipH="1">
            <a:off x="3045372" y="4895199"/>
            <a:ext cx="924438"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a:off x="4738119" y="4646168"/>
            <a:ext cx="406192" cy="0"/>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5" name="Rectangle 104"/>
          <p:cNvSpPr/>
          <p:nvPr/>
        </p:nvSpPr>
        <p:spPr>
          <a:xfrm>
            <a:off x="5846289" y="4502738"/>
            <a:ext cx="1190269" cy="135776"/>
          </a:xfrm>
          <a:prstGeom prst="rect">
            <a:avLst/>
          </a:prstGeom>
        </p:spPr>
        <p:txBody>
          <a:bodyPr wrap="square" lIns="0" tIns="0" rIns="0" bIns="0" anchor="ctr">
            <a:spAutoFit/>
          </a:bodyPr>
          <a:lstStyle/>
          <a:p>
            <a:pPr algn="ctr" defTabSz="895403" fontAlgn="base">
              <a:lnSpc>
                <a:spcPct val="90000"/>
              </a:lnSpc>
              <a:spcBef>
                <a:spcPct val="0"/>
              </a:spcBef>
            </a:pPr>
            <a:r>
              <a:rPr lang="en-US" sz="980" kern="0">
                <a:solidFill>
                  <a:srgbClr val="404040">
                    <a:lumMod val="50000"/>
                  </a:srgbClr>
                </a:solidFill>
                <a:ea typeface="Segoe UI Black" panose="020B0A02040204020203" pitchFamily="34" charset="0"/>
                <a:cs typeface="Segoe UI Black" panose="020B0A02040204020203" pitchFamily="34" charset="0"/>
              </a:rPr>
              <a:t>. . .</a:t>
            </a:r>
          </a:p>
        </p:txBody>
      </p:sp>
      <p:grpSp>
        <p:nvGrpSpPr>
          <p:cNvPr id="118" name="Group 117"/>
          <p:cNvGrpSpPr/>
          <p:nvPr/>
        </p:nvGrpSpPr>
        <p:grpSpPr>
          <a:xfrm>
            <a:off x="5237122" y="3563359"/>
            <a:ext cx="451208" cy="490388"/>
            <a:chOff x="8396468" y="4661183"/>
            <a:chExt cx="600186" cy="624851"/>
          </a:xfrm>
        </p:grpSpPr>
        <p:grpSp>
          <p:nvGrpSpPr>
            <p:cNvPr id="106" name="Group 105"/>
            <p:cNvGrpSpPr/>
            <p:nvPr/>
          </p:nvGrpSpPr>
          <p:grpSpPr>
            <a:xfrm>
              <a:off x="8396468" y="4661183"/>
              <a:ext cx="444772" cy="577004"/>
              <a:chOff x="16010325" y="4761280"/>
              <a:chExt cx="936164" cy="1214488"/>
            </a:xfrm>
          </p:grpSpPr>
          <p:grpSp>
            <p:nvGrpSpPr>
              <p:cNvPr id="107" name="Group 106"/>
              <p:cNvGrpSpPr/>
              <p:nvPr/>
            </p:nvGrpSpPr>
            <p:grpSpPr>
              <a:xfrm>
                <a:off x="16010325" y="4761280"/>
                <a:ext cx="936164" cy="1214488"/>
                <a:chOff x="6117910" y="5312532"/>
                <a:chExt cx="212972" cy="282005"/>
              </a:xfrm>
            </p:grpSpPr>
            <p:sp>
              <p:nvSpPr>
                <p:cNvPr id="112" name="Freeform 6"/>
                <p:cNvSpPr>
                  <a:spLocks/>
                </p:cNvSpPr>
                <p:nvPr/>
              </p:nvSpPr>
              <p:spPr bwMode="auto">
                <a:xfrm>
                  <a:off x="6117910" y="5350720"/>
                  <a:ext cx="212971" cy="243817"/>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rgbClr val="0072C6"/>
                </a:solidFill>
                <a:ln w="0">
                  <a:solidFill>
                    <a:srgbClr val="3999C6"/>
                  </a:solidFill>
                  <a:prstDash val="solid"/>
                  <a:round/>
                  <a:headEnd/>
                  <a:tailEnd/>
                </a:ln>
              </p:spPr>
              <p:txBody>
                <a:bodyPr vert="horz" wrap="square" lIns="89642" tIns="44821" rIns="89642" bIns="44821" numCol="1" anchor="t" anchorCtr="0" compatLnSpc="1">
                  <a:prstTxWarp prst="textNoShape">
                    <a:avLst/>
                  </a:prstTxWarp>
                </a:bodyPr>
                <a:lstStyle/>
                <a:p>
                  <a:endParaRPr lang="en-US" sz="3137">
                    <a:solidFill>
                      <a:prstClr val="black"/>
                    </a:solidFill>
                  </a:endParaRPr>
                </a:p>
              </p:txBody>
            </p:sp>
            <p:sp>
              <p:nvSpPr>
                <p:cNvPr id="113" name="Freeform 7"/>
                <p:cNvSpPr>
                  <a:spLocks/>
                </p:cNvSpPr>
                <p:nvPr/>
              </p:nvSpPr>
              <p:spPr bwMode="auto">
                <a:xfrm>
                  <a:off x="6222928" y="5350720"/>
                  <a:ext cx="107954" cy="243817"/>
                </a:xfrm>
                <a:custGeom>
                  <a:avLst/>
                  <a:gdLst>
                    <a:gd name="T0" fmla="*/ 0 w 1321"/>
                    <a:gd name="T1" fmla="*/ 0 h 2984"/>
                    <a:gd name="T2" fmla="*/ 1321 w 1321"/>
                    <a:gd name="T3" fmla="*/ 0 h 2984"/>
                    <a:gd name="T4" fmla="*/ 1321 w 1321"/>
                    <a:gd name="T5" fmla="*/ 2512 h 2984"/>
                    <a:gd name="T6" fmla="*/ 1318 w 1321"/>
                    <a:gd name="T7" fmla="*/ 2547 h 2984"/>
                    <a:gd name="T8" fmla="*/ 1308 w 1321"/>
                    <a:gd name="T9" fmla="*/ 2582 h 2984"/>
                    <a:gd name="T10" fmla="*/ 1290 w 1321"/>
                    <a:gd name="T11" fmla="*/ 2615 h 2984"/>
                    <a:gd name="T12" fmla="*/ 1266 w 1321"/>
                    <a:gd name="T13" fmla="*/ 2648 h 2984"/>
                    <a:gd name="T14" fmla="*/ 1236 w 1321"/>
                    <a:gd name="T15" fmla="*/ 2680 h 2984"/>
                    <a:gd name="T16" fmla="*/ 1200 w 1321"/>
                    <a:gd name="T17" fmla="*/ 2711 h 2984"/>
                    <a:gd name="T18" fmla="*/ 1159 w 1321"/>
                    <a:gd name="T19" fmla="*/ 2740 h 2984"/>
                    <a:gd name="T20" fmla="*/ 1112 w 1321"/>
                    <a:gd name="T21" fmla="*/ 2769 h 2984"/>
                    <a:gd name="T22" fmla="*/ 1058 w 1321"/>
                    <a:gd name="T23" fmla="*/ 2795 h 2984"/>
                    <a:gd name="T24" fmla="*/ 1002 w 1321"/>
                    <a:gd name="T25" fmla="*/ 2822 h 2984"/>
                    <a:gd name="T26" fmla="*/ 939 w 1321"/>
                    <a:gd name="T27" fmla="*/ 2846 h 2984"/>
                    <a:gd name="T28" fmla="*/ 873 w 1321"/>
                    <a:gd name="T29" fmla="*/ 2868 h 2984"/>
                    <a:gd name="T30" fmla="*/ 802 w 1321"/>
                    <a:gd name="T31" fmla="*/ 2889 h 2984"/>
                    <a:gd name="T32" fmla="*/ 727 w 1321"/>
                    <a:gd name="T33" fmla="*/ 2908 h 2984"/>
                    <a:gd name="T34" fmla="*/ 649 w 1321"/>
                    <a:gd name="T35" fmla="*/ 2925 h 2984"/>
                    <a:gd name="T36" fmla="*/ 567 w 1321"/>
                    <a:gd name="T37" fmla="*/ 2940 h 2984"/>
                    <a:gd name="T38" fmla="*/ 482 w 1321"/>
                    <a:gd name="T39" fmla="*/ 2953 h 2984"/>
                    <a:gd name="T40" fmla="*/ 394 w 1321"/>
                    <a:gd name="T41" fmla="*/ 2964 h 2984"/>
                    <a:gd name="T42" fmla="*/ 303 w 1321"/>
                    <a:gd name="T43" fmla="*/ 2972 h 2984"/>
                    <a:gd name="T44" fmla="*/ 210 w 1321"/>
                    <a:gd name="T45" fmla="*/ 2979 h 2984"/>
                    <a:gd name="T46" fmla="*/ 115 w 1321"/>
                    <a:gd name="T47" fmla="*/ 2983 h 2984"/>
                    <a:gd name="T48" fmla="*/ 17 w 1321"/>
                    <a:gd name="T49" fmla="*/ 2984 h 2984"/>
                    <a:gd name="T50" fmla="*/ 0 w 1321"/>
                    <a:gd name="T51" fmla="*/ 2984 h 2984"/>
                    <a:gd name="T52" fmla="*/ 0 w 1321"/>
                    <a:gd name="T5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1" h="2984">
                      <a:moveTo>
                        <a:pt x="0" y="0"/>
                      </a:moveTo>
                      <a:lnTo>
                        <a:pt x="1321" y="0"/>
                      </a:lnTo>
                      <a:lnTo>
                        <a:pt x="1321" y="2512"/>
                      </a:lnTo>
                      <a:lnTo>
                        <a:pt x="1318" y="2547"/>
                      </a:lnTo>
                      <a:lnTo>
                        <a:pt x="1308" y="2582"/>
                      </a:lnTo>
                      <a:lnTo>
                        <a:pt x="1290" y="2615"/>
                      </a:lnTo>
                      <a:lnTo>
                        <a:pt x="1266" y="2648"/>
                      </a:lnTo>
                      <a:lnTo>
                        <a:pt x="1236" y="2680"/>
                      </a:lnTo>
                      <a:lnTo>
                        <a:pt x="1200" y="2711"/>
                      </a:lnTo>
                      <a:lnTo>
                        <a:pt x="1159" y="2740"/>
                      </a:lnTo>
                      <a:lnTo>
                        <a:pt x="1112" y="2769"/>
                      </a:lnTo>
                      <a:lnTo>
                        <a:pt x="1058" y="2795"/>
                      </a:lnTo>
                      <a:lnTo>
                        <a:pt x="1002" y="2822"/>
                      </a:lnTo>
                      <a:lnTo>
                        <a:pt x="939" y="2846"/>
                      </a:lnTo>
                      <a:lnTo>
                        <a:pt x="873" y="2868"/>
                      </a:lnTo>
                      <a:lnTo>
                        <a:pt x="802" y="2889"/>
                      </a:lnTo>
                      <a:lnTo>
                        <a:pt x="727" y="2908"/>
                      </a:lnTo>
                      <a:lnTo>
                        <a:pt x="649" y="2925"/>
                      </a:lnTo>
                      <a:lnTo>
                        <a:pt x="567" y="2940"/>
                      </a:lnTo>
                      <a:lnTo>
                        <a:pt x="482" y="2953"/>
                      </a:lnTo>
                      <a:lnTo>
                        <a:pt x="394" y="2964"/>
                      </a:lnTo>
                      <a:lnTo>
                        <a:pt x="303" y="2972"/>
                      </a:lnTo>
                      <a:lnTo>
                        <a:pt x="210" y="2979"/>
                      </a:lnTo>
                      <a:lnTo>
                        <a:pt x="115" y="2983"/>
                      </a:lnTo>
                      <a:lnTo>
                        <a:pt x="17" y="2984"/>
                      </a:lnTo>
                      <a:lnTo>
                        <a:pt x="0" y="2984"/>
                      </a:lnTo>
                      <a:lnTo>
                        <a:pt x="0" y="0"/>
                      </a:lnTo>
                      <a:close/>
                    </a:path>
                  </a:pathLst>
                </a:custGeom>
                <a:solidFill>
                  <a:srgbClr val="2687CE"/>
                </a:solidFill>
                <a:ln w="0">
                  <a:solidFill>
                    <a:srgbClr val="3999C6"/>
                  </a:solidFill>
                  <a:prstDash val="solid"/>
                  <a:round/>
                  <a:headEnd/>
                  <a:tailEnd/>
                </a:ln>
              </p:spPr>
              <p:txBody>
                <a:bodyPr vert="horz" wrap="square" lIns="89642" tIns="44821" rIns="89642" bIns="44821" numCol="1" anchor="t" anchorCtr="0" compatLnSpc="1">
                  <a:prstTxWarp prst="textNoShape">
                    <a:avLst/>
                  </a:prstTxWarp>
                </a:bodyPr>
                <a:lstStyle/>
                <a:p>
                  <a:endParaRPr lang="en-US" sz="3137">
                    <a:solidFill>
                      <a:prstClr val="black"/>
                    </a:solidFill>
                  </a:endParaRPr>
                </a:p>
              </p:txBody>
            </p:sp>
            <p:sp>
              <p:nvSpPr>
                <p:cNvPr id="114" name="Freeform 8"/>
                <p:cNvSpPr>
                  <a:spLocks/>
                </p:cNvSpPr>
                <p:nvPr/>
              </p:nvSpPr>
              <p:spPr bwMode="auto">
                <a:xfrm>
                  <a:off x="6117911" y="5312532"/>
                  <a:ext cx="212971" cy="77111"/>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solidFill>
                    <a:srgbClr val="FFFFFF"/>
                  </a:solidFill>
                  <a:prstDash val="solid"/>
                  <a:round/>
                  <a:headEnd/>
                  <a:tailEnd/>
                </a:ln>
              </p:spPr>
              <p:txBody>
                <a:bodyPr vert="horz" wrap="square" lIns="89642" tIns="44821" rIns="89642" bIns="44821" numCol="1" anchor="t" anchorCtr="0" compatLnSpc="1">
                  <a:prstTxWarp prst="textNoShape">
                    <a:avLst/>
                  </a:prstTxWarp>
                </a:bodyPr>
                <a:lstStyle/>
                <a:p>
                  <a:endParaRPr lang="en-US" sz="3137">
                    <a:solidFill>
                      <a:prstClr val="black"/>
                    </a:solidFill>
                  </a:endParaRPr>
                </a:p>
              </p:txBody>
            </p:sp>
            <p:sp>
              <p:nvSpPr>
                <p:cNvPr id="115" name="Freeform 9"/>
                <p:cNvSpPr>
                  <a:spLocks/>
                </p:cNvSpPr>
                <p:nvPr/>
              </p:nvSpPr>
              <p:spPr bwMode="auto">
                <a:xfrm>
                  <a:off x="6139942" y="5323548"/>
                  <a:ext cx="168908" cy="50673"/>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8BBF0B"/>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3137">
                    <a:solidFill>
                      <a:prstClr val="black"/>
                    </a:solidFill>
                  </a:endParaRPr>
                </a:p>
              </p:txBody>
            </p:sp>
            <p:sp>
              <p:nvSpPr>
                <p:cNvPr id="116" name="Freeform 10"/>
                <p:cNvSpPr>
                  <a:spLocks/>
                </p:cNvSpPr>
                <p:nvPr/>
              </p:nvSpPr>
              <p:spPr bwMode="auto">
                <a:xfrm>
                  <a:off x="6139942" y="5323548"/>
                  <a:ext cx="168908" cy="41126"/>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B2D123"/>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3137">
                    <a:solidFill>
                      <a:prstClr val="black"/>
                    </a:solidFill>
                  </a:endParaRPr>
                </a:p>
              </p:txBody>
            </p:sp>
          </p:grpSp>
          <p:grpSp>
            <p:nvGrpSpPr>
              <p:cNvPr id="108" name="Group 107"/>
              <p:cNvGrpSpPr/>
              <p:nvPr/>
            </p:nvGrpSpPr>
            <p:grpSpPr>
              <a:xfrm>
                <a:off x="16237254" y="5244814"/>
                <a:ext cx="486844" cy="222680"/>
                <a:chOff x="15683757" y="3806778"/>
                <a:chExt cx="486844" cy="222680"/>
              </a:xfrm>
            </p:grpSpPr>
            <p:sp>
              <p:nvSpPr>
                <p:cNvPr id="109" name="Freeform: Shape 108"/>
                <p:cNvSpPr/>
                <p:nvPr/>
              </p:nvSpPr>
              <p:spPr>
                <a:xfrm>
                  <a:off x="15683757" y="3806778"/>
                  <a:ext cx="132717" cy="200023"/>
                </a:xfrm>
                <a:custGeom>
                  <a:avLst/>
                  <a:gdLst/>
                  <a:ahLst/>
                  <a:cxnLst/>
                  <a:rect l="l" t="t" r="r" b="b"/>
                  <a:pathLst>
                    <a:path w="132717" h="200020">
                      <a:moveTo>
                        <a:pt x="75934" y="0"/>
                      </a:moveTo>
                      <a:cubicBezTo>
                        <a:pt x="86005" y="0"/>
                        <a:pt x="94929" y="607"/>
                        <a:pt x="102707" y="1820"/>
                      </a:cubicBezTo>
                      <a:cubicBezTo>
                        <a:pt x="110485" y="3034"/>
                        <a:pt x="117656" y="4900"/>
                        <a:pt x="124220" y="7418"/>
                      </a:cubicBezTo>
                      <a:lnTo>
                        <a:pt x="124220" y="47746"/>
                      </a:lnTo>
                      <a:cubicBezTo>
                        <a:pt x="120983" y="45498"/>
                        <a:pt x="117454" y="43519"/>
                        <a:pt x="113632" y="41811"/>
                      </a:cubicBezTo>
                      <a:cubicBezTo>
                        <a:pt x="109811" y="40103"/>
                        <a:pt x="105877" y="38686"/>
                        <a:pt x="101831" y="37562"/>
                      </a:cubicBezTo>
                      <a:cubicBezTo>
                        <a:pt x="97784" y="36439"/>
                        <a:pt x="93761" y="35607"/>
                        <a:pt x="89759" y="35067"/>
                      </a:cubicBezTo>
                      <a:cubicBezTo>
                        <a:pt x="85758" y="34528"/>
                        <a:pt x="81959" y="34258"/>
                        <a:pt x="78362" y="34258"/>
                      </a:cubicBezTo>
                      <a:cubicBezTo>
                        <a:pt x="73417" y="34258"/>
                        <a:pt x="68921" y="34730"/>
                        <a:pt x="64875" y="35674"/>
                      </a:cubicBezTo>
                      <a:cubicBezTo>
                        <a:pt x="60828" y="36618"/>
                        <a:pt x="57412" y="37945"/>
                        <a:pt x="54624" y="39653"/>
                      </a:cubicBezTo>
                      <a:cubicBezTo>
                        <a:pt x="51837" y="41361"/>
                        <a:pt x="49679" y="43407"/>
                        <a:pt x="48150" y="45790"/>
                      </a:cubicBezTo>
                      <a:cubicBezTo>
                        <a:pt x="46622" y="48173"/>
                        <a:pt x="45857" y="50848"/>
                        <a:pt x="45857" y="53815"/>
                      </a:cubicBezTo>
                      <a:cubicBezTo>
                        <a:pt x="45857" y="57052"/>
                        <a:pt x="46711" y="59952"/>
                        <a:pt x="48420" y="62514"/>
                      </a:cubicBezTo>
                      <a:cubicBezTo>
                        <a:pt x="50128" y="65077"/>
                        <a:pt x="52556" y="67505"/>
                        <a:pt x="55703" y="69798"/>
                      </a:cubicBezTo>
                      <a:cubicBezTo>
                        <a:pt x="58850" y="72091"/>
                        <a:pt x="62672" y="74339"/>
                        <a:pt x="67168" y="76542"/>
                      </a:cubicBezTo>
                      <a:cubicBezTo>
                        <a:pt x="71663" y="78744"/>
                        <a:pt x="76744" y="81015"/>
                        <a:pt x="82408" y="83353"/>
                      </a:cubicBezTo>
                      <a:cubicBezTo>
                        <a:pt x="90141" y="86590"/>
                        <a:pt x="97087" y="90029"/>
                        <a:pt x="103247" y="93671"/>
                      </a:cubicBezTo>
                      <a:cubicBezTo>
                        <a:pt x="109406" y="97312"/>
                        <a:pt x="114689" y="101426"/>
                        <a:pt x="119095" y="106012"/>
                      </a:cubicBezTo>
                      <a:cubicBezTo>
                        <a:pt x="123501" y="110598"/>
                        <a:pt x="126872" y="115835"/>
                        <a:pt x="129210" y="121725"/>
                      </a:cubicBezTo>
                      <a:cubicBezTo>
                        <a:pt x="131548" y="127614"/>
                        <a:pt x="132717" y="134471"/>
                        <a:pt x="132717" y="142293"/>
                      </a:cubicBezTo>
                      <a:cubicBezTo>
                        <a:pt x="132717" y="153083"/>
                        <a:pt x="130671" y="162142"/>
                        <a:pt x="126580" y="169471"/>
                      </a:cubicBezTo>
                      <a:cubicBezTo>
                        <a:pt x="122489" y="176799"/>
                        <a:pt x="116937" y="182734"/>
                        <a:pt x="109923" y="187274"/>
                      </a:cubicBezTo>
                      <a:cubicBezTo>
                        <a:pt x="102910" y="191815"/>
                        <a:pt x="94750" y="195075"/>
                        <a:pt x="85443" y="197053"/>
                      </a:cubicBezTo>
                      <a:cubicBezTo>
                        <a:pt x="76137" y="199031"/>
                        <a:pt x="66313" y="200020"/>
                        <a:pt x="55973" y="200020"/>
                      </a:cubicBezTo>
                      <a:cubicBezTo>
                        <a:pt x="45363" y="200020"/>
                        <a:pt x="35269" y="199121"/>
                        <a:pt x="25693" y="197323"/>
                      </a:cubicBezTo>
                      <a:cubicBezTo>
                        <a:pt x="16117" y="195524"/>
                        <a:pt x="7822" y="192827"/>
                        <a:pt x="809" y="189230"/>
                      </a:cubicBezTo>
                      <a:lnTo>
                        <a:pt x="809" y="146070"/>
                      </a:lnTo>
                      <a:cubicBezTo>
                        <a:pt x="8632" y="152634"/>
                        <a:pt x="17129" y="157557"/>
                        <a:pt x="26300" y="160839"/>
                      </a:cubicBezTo>
                      <a:cubicBezTo>
                        <a:pt x="35472" y="164121"/>
                        <a:pt x="44733" y="165762"/>
                        <a:pt x="54085" y="165762"/>
                      </a:cubicBezTo>
                      <a:cubicBezTo>
                        <a:pt x="59570" y="165762"/>
                        <a:pt x="64358" y="165267"/>
                        <a:pt x="68449" y="164278"/>
                      </a:cubicBezTo>
                      <a:cubicBezTo>
                        <a:pt x="72540" y="163289"/>
                        <a:pt x="75957" y="161918"/>
                        <a:pt x="78699" y="160164"/>
                      </a:cubicBezTo>
                      <a:cubicBezTo>
                        <a:pt x="81442" y="158411"/>
                        <a:pt x="83487" y="156343"/>
                        <a:pt x="84836" y="153960"/>
                      </a:cubicBezTo>
                      <a:cubicBezTo>
                        <a:pt x="86185" y="151577"/>
                        <a:pt x="86859" y="148992"/>
                        <a:pt x="86859" y="146205"/>
                      </a:cubicBezTo>
                      <a:cubicBezTo>
                        <a:pt x="86859" y="142428"/>
                        <a:pt x="85780" y="139056"/>
                        <a:pt x="83622" y="136089"/>
                      </a:cubicBezTo>
                      <a:cubicBezTo>
                        <a:pt x="81464" y="133122"/>
                        <a:pt x="78520" y="130379"/>
                        <a:pt x="74788" y="127862"/>
                      </a:cubicBezTo>
                      <a:cubicBezTo>
                        <a:pt x="71056" y="125344"/>
                        <a:pt x="66628" y="122916"/>
                        <a:pt x="61503" y="120578"/>
                      </a:cubicBezTo>
                      <a:cubicBezTo>
                        <a:pt x="56377" y="118241"/>
                        <a:pt x="50848" y="115858"/>
                        <a:pt x="44913" y="113430"/>
                      </a:cubicBezTo>
                      <a:cubicBezTo>
                        <a:pt x="29807" y="107136"/>
                        <a:pt x="18545" y="99448"/>
                        <a:pt x="11127" y="90366"/>
                      </a:cubicBezTo>
                      <a:cubicBezTo>
                        <a:pt x="3709" y="81285"/>
                        <a:pt x="0" y="70315"/>
                        <a:pt x="0" y="57457"/>
                      </a:cubicBezTo>
                      <a:cubicBezTo>
                        <a:pt x="0" y="47386"/>
                        <a:pt x="2023" y="38731"/>
                        <a:pt x="6069" y="31493"/>
                      </a:cubicBezTo>
                      <a:cubicBezTo>
                        <a:pt x="10115" y="24255"/>
                        <a:pt x="15623" y="18298"/>
                        <a:pt x="22591" y="13622"/>
                      </a:cubicBezTo>
                      <a:cubicBezTo>
                        <a:pt x="29560" y="8946"/>
                        <a:pt x="37630" y="5507"/>
                        <a:pt x="46801" y="3304"/>
                      </a:cubicBezTo>
                      <a:cubicBezTo>
                        <a:pt x="55973" y="1101"/>
                        <a:pt x="65684" y="0"/>
                        <a:pt x="75934" y="0"/>
                      </a:cubicBez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sp>
              <p:nvSpPr>
                <p:cNvPr id="110" name="Freeform: Shape 109"/>
                <p:cNvSpPr/>
                <p:nvPr/>
              </p:nvSpPr>
              <p:spPr>
                <a:xfrm>
                  <a:off x="15833727" y="3806778"/>
                  <a:ext cx="208381" cy="222680"/>
                </a:xfrm>
                <a:custGeom>
                  <a:avLst/>
                  <a:gdLst/>
                  <a:ahLst/>
                  <a:cxnLst/>
                  <a:rect l="l" t="t" r="r" b="b"/>
                  <a:pathLst>
                    <a:path w="208382" h="222679">
                      <a:moveTo>
                        <a:pt x="96975" y="0"/>
                      </a:moveTo>
                      <a:cubicBezTo>
                        <a:pt x="124580" y="0"/>
                        <a:pt x="146879" y="9036"/>
                        <a:pt x="163873" y="27110"/>
                      </a:cubicBezTo>
                      <a:cubicBezTo>
                        <a:pt x="180958" y="45093"/>
                        <a:pt x="189500" y="68921"/>
                        <a:pt x="189500" y="98594"/>
                      </a:cubicBezTo>
                      <a:cubicBezTo>
                        <a:pt x="189500" y="128896"/>
                        <a:pt x="180643" y="153398"/>
                        <a:pt x="162929" y="172101"/>
                      </a:cubicBezTo>
                      <a:cubicBezTo>
                        <a:pt x="162300" y="172730"/>
                        <a:pt x="161715" y="173337"/>
                        <a:pt x="161176" y="173922"/>
                      </a:cubicBezTo>
                      <a:cubicBezTo>
                        <a:pt x="160636" y="174506"/>
                        <a:pt x="160052" y="175068"/>
                        <a:pt x="159423" y="175608"/>
                      </a:cubicBezTo>
                      <a:lnTo>
                        <a:pt x="208382" y="222679"/>
                      </a:lnTo>
                      <a:lnTo>
                        <a:pt x="147419" y="222679"/>
                      </a:lnTo>
                      <a:lnTo>
                        <a:pt x="121792" y="196648"/>
                      </a:lnTo>
                      <a:cubicBezTo>
                        <a:pt x="113340" y="198896"/>
                        <a:pt x="104034" y="200020"/>
                        <a:pt x="93873" y="200020"/>
                      </a:cubicBezTo>
                      <a:cubicBezTo>
                        <a:pt x="66179" y="200020"/>
                        <a:pt x="43610" y="191028"/>
                        <a:pt x="26166" y="173045"/>
                      </a:cubicBezTo>
                      <a:cubicBezTo>
                        <a:pt x="8722" y="154882"/>
                        <a:pt x="0" y="131368"/>
                        <a:pt x="0" y="102505"/>
                      </a:cubicBezTo>
                      <a:cubicBezTo>
                        <a:pt x="0" y="72023"/>
                        <a:pt x="8857" y="47296"/>
                        <a:pt x="26570" y="28324"/>
                      </a:cubicBezTo>
                      <a:cubicBezTo>
                        <a:pt x="44194" y="9441"/>
                        <a:pt x="67662" y="0"/>
                        <a:pt x="96975" y="0"/>
                      </a:cubicBezTo>
                      <a:close/>
                      <a:moveTo>
                        <a:pt x="95761" y="37495"/>
                      </a:moveTo>
                      <a:cubicBezTo>
                        <a:pt x="80565" y="37495"/>
                        <a:pt x="68427" y="43250"/>
                        <a:pt x="59345" y="54759"/>
                      </a:cubicBezTo>
                      <a:cubicBezTo>
                        <a:pt x="50353" y="66179"/>
                        <a:pt x="45857" y="81330"/>
                        <a:pt x="45857" y="100212"/>
                      </a:cubicBezTo>
                      <a:cubicBezTo>
                        <a:pt x="45857" y="119364"/>
                        <a:pt x="50353" y="134515"/>
                        <a:pt x="59345" y="145665"/>
                      </a:cubicBezTo>
                      <a:cubicBezTo>
                        <a:pt x="68337" y="156815"/>
                        <a:pt x="80116" y="162390"/>
                        <a:pt x="94682" y="162390"/>
                      </a:cubicBezTo>
                      <a:cubicBezTo>
                        <a:pt x="109699" y="162390"/>
                        <a:pt x="121613" y="156995"/>
                        <a:pt x="130424" y="146205"/>
                      </a:cubicBezTo>
                      <a:cubicBezTo>
                        <a:pt x="139236" y="135235"/>
                        <a:pt x="143642" y="120174"/>
                        <a:pt x="143642" y="101021"/>
                      </a:cubicBezTo>
                      <a:cubicBezTo>
                        <a:pt x="143642" y="81060"/>
                        <a:pt x="139371" y="65459"/>
                        <a:pt x="130829" y="54220"/>
                      </a:cubicBezTo>
                      <a:cubicBezTo>
                        <a:pt x="122377" y="43070"/>
                        <a:pt x="110688" y="37495"/>
                        <a:pt x="95761" y="37495"/>
                      </a:cubicBez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sp>
              <p:nvSpPr>
                <p:cNvPr id="111" name="Freeform: Shape 110"/>
                <p:cNvSpPr/>
                <p:nvPr/>
              </p:nvSpPr>
              <p:spPr>
                <a:xfrm>
                  <a:off x="16055417" y="3810017"/>
                  <a:ext cx="115184" cy="193412"/>
                </a:xfrm>
                <a:custGeom>
                  <a:avLst/>
                  <a:gdLst/>
                  <a:ahLst/>
                  <a:cxnLst/>
                  <a:rect l="l" t="t" r="r" b="b"/>
                  <a:pathLst>
                    <a:path w="115183" h="193411">
                      <a:moveTo>
                        <a:pt x="0" y="0"/>
                      </a:moveTo>
                      <a:lnTo>
                        <a:pt x="43564" y="0"/>
                      </a:lnTo>
                      <a:lnTo>
                        <a:pt x="43564" y="158074"/>
                      </a:lnTo>
                      <a:lnTo>
                        <a:pt x="115183" y="158074"/>
                      </a:lnTo>
                      <a:lnTo>
                        <a:pt x="115183" y="193411"/>
                      </a:lnTo>
                      <a:lnTo>
                        <a:pt x="0" y="193411"/>
                      </a:lnTo>
                      <a:lnTo>
                        <a:pt x="0" y="0"/>
                      </a:ln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grpSp>
        </p:grpSp>
        <p:sp>
          <p:nvSpPr>
            <p:cNvPr id="117" name="Freeform: Shape 116"/>
            <p:cNvSpPr>
              <a:spLocks noChangeAspect="1"/>
            </p:cNvSpPr>
            <p:nvPr/>
          </p:nvSpPr>
          <p:spPr bwMode="auto">
            <a:xfrm>
              <a:off x="8554219" y="5003294"/>
              <a:ext cx="442435" cy="282740"/>
            </a:xfrm>
            <a:custGeom>
              <a:avLst/>
              <a:gdLst>
                <a:gd name="connsiteX0" fmla="*/ 1087792 w 1758183"/>
                <a:gd name="connsiteY0" fmla="*/ 0 h 1123573"/>
                <a:gd name="connsiteX1" fmla="*/ 1089412 w 1758183"/>
                <a:gd name="connsiteY1" fmla="*/ 0 h 1123573"/>
                <a:gd name="connsiteX2" fmla="*/ 1525090 w 1758183"/>
                <a:gd name="connsiteY2" fmla="*/ 435678 h 1123573"/>
                <a:gd name="connsiteX3" fmla="*/ 1522340 w 1758183"/>
                <a:gd name="connsiteY3" fmla="*/ 462957 h 1123573"/>
                <a:gd name="connsiteX4" fmla="*/ 1551026 w 1758183"/>
                <a:gd name="connsiteY4" fmla="*/ 471862 h 1123573"/>
                <a:gd name="connsiteX5" fmla="*/ 1758183 w 1758183"/>
                <a:gd name="connsiteY5" fmla="*/ 784390 h 1123573"/>
                <a:gd name="connsiteX6" fmla="*/ 1419000 w 1758183"/>
                <a:gd name="connsiteY6" fmla="*/ 1123573 h 1123573"/>
                <a:gd name="connsiteX7" fmla="*/ 339183 w 1758183"/>
                <a:gd name="connsiteY7" fmla="*/ 1123573 h 1123573"/>
                <a:gd name="connsiteX8" fmla="*/ 0 w 1758183"/>
                <a:gd name="connsiteY8" fmla="*/ 784390 h 1123573"/>
                <a:gd name="connsiteX9" fmla="*/ 149542 w 1758183"/>
                <a:gd name="connsiteY9" fmla="*/ 503134 h 1123573"/>
                <a:gd name="connsiteX10" fmla="*/ 189470 w 1758183"/>
                <a:gd name="connsiteY10" fmla="*/ 481462 h 1123573"/>
                <a:gd name="connsiteX11" fmla="*/ 187855 w 1758183"/>
                <a:gd name="connsiteY11" fmla="*/ 465438 h 1123573"/>
                <a:gd name="connsiteX12" fmla="*/ 527038 w 1758183"/>
                <a:gd name="connsiteY12" fmla="*/ 126255 h 1123573"/>
                <a:gd name="connsiteX13" fmla="*/ 528299 w 1758183"/>
                <a:gd name="connsiteY13" fmla="*/ 126255 h 1123573"/>
                <a:gd name="connsiteX14" fmla="*/ 717940 w 1758183"/>
                <a:gd name="connsiteY14" fmla="*/ 184182 h 1123573"/>
                <a:gd name="connsiteX15" fmla="*/ 726926 w 1758183"/>
                <a:gd name="connsiteY15" fmla="*/ 191596 h 1123573"/>
                <a:gd name="connsiteX16" fmla="*/ 779721 w 1758183"/>
                <a:gd name="connsiteY16" fmla="*/ 127608 h 1123573"/>
                <a:gd name="connsiteX17" fmla="*/ 1087792 w 1758183"/>
                <a:gd name="connsiteY17" fmla="*/ 0 h 112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58183" h="1123573">
                  <a:moveTo>
                    <a:pt x="1087792" y="0"/>
                  </a:moveTo>
                  <a:lnTo>
                    <a:pt x="1089412" y="0"/>
                  </a:lnTo>
                  <a:cubicBezTo>
                    <a:pt x="1330030" y="0"/>
                    <a:pt x="1525090" y="195060"/>
                    <a:pt x="1525090" y="435678"/>
                  </a:cubicBezTo>
                  <a:lnTo>
                    <a:pt x="1522340" y="462957"/>
                  </a:lnTo>
                  <a:lnTo>
                    <a:pt x="1551026" y="471862"/>
                  </a:lnTo>
                  <a:cubicBezTo>
                    <a:pt x="1672763" y="523353"/>
                    <a:pt x="1758183" y="643896"/>
                    <a:pt x="1758183" y="784390"/>
                  </a:cubicBezTo>
                  <a:cubicBezTo>
                    <a:pt x="1758183" y="971716"/>
                    <a:pt x="1606326" y="1123573"/>
                    <a:pt x="1419000" y="1123573"/>
                  </a:cubicBezTo>
                  <a:lnTo>
                    <a:pt x="339183" y="1123573"/>
                  </a:lnTo>
                  <a:cubicBezTo>
                    <a:pt x="151857" y="1123573"/>
                    <a:pt x="0" y="971716"/>
                    <a:pt x="0" y="784390"/>
                  </a:cubicBezTo>
                  <a:cubicBezTo>
                    <a:pt x="0" y="667312"/>
                    <a:pt x="59319" y="564088"/>
                    <a:pt x="149542" y="503134"/>
                  </a:cubicBezTo>
                  <a:lnTo>
                    <a:pt x="189470" y="481462"/>
                  </a:lnTo>
                  <a:lnTo>
                    <a:pt x="187855" y="465438"/>
                  </a:lnTo>
                  <a:cubicBezTo>
                    <a:pt x="187855" y="278112"/>
                    <a:pt x="339712" y="126255"/>
                    <a:pt x="527038" y="126255"/>
                  </a:cubicBezTo>
                  <a:lnTo>
                    <a:pt x="528299" y="126255"/>
                  </a:lnTo>
                  <a:cubicBezTo>
                    <a:pt x="598546" y="126255"/>
                    <a:pt x="663806" y="147610"/>
                    <a:pt x="717940" y="184182"/>
                  </a:cubicBezTo>
                  <a:lnTo>
                    <a:pt x="726926" y="191596"/>
                  </a:lnTo>
                  <a:lnTo>
                    <a:pt x="779721" y="127608"/>
                  </a:lnTo>
                  <a:cubicBezTo>
                    <a:pt x="858564" y="48765"/>
                    <a:pt x="967483" y="0"/>
                    <a:pt x="1087792" y="0"/>
                  </a:cubicBezTo>
                  <a:close/>
                </a:path>
              </a:pathLst>
            </a:custGeom>
            <a:solidFill>
              <a:srgbClr val="7AC3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882">
                <a:gradFill>
                  <a:gsLst>
                    <a:gs pos="0">
                      <a:srgbClr val="FFFFFF"/>
                    </a:gs>
                    <a:gs pos="100000">
                      <a:srgbClr val="FFFFFF"/>
                    </a:gs>
                  </a:gsLst>
                  <a:lin ang="5400000" scaled="0"/>
                </a:gradFill>
                <a:ea typeface="Segoe UI" pitchFamily="34" charset="0"/>
                <a:cs typeface="Segoe UI" pitchFamily="34" charset="0"/>
              </a:endParaRPr>
            </a:p>
          </p:txBody>
        </p:sp>
      </p:grpSp>
      <p:sp>
        <p:nvSpPr>
          <p:cNvPr id="119" name="Freeform: Shape 118"/>
          <p:cNvSpPr>
            <a:spLocks noChangeAspect="1"/>
          </p:cNvSpPr>
          <p:nvPr/>
        </p:nvSpPr>
        <p:spPr bwMode="auto">
          <a:xfrm>
            <a:off x="5083424" y="2857246"/>
            <a:ext cx="739191" cy="472383"/>
          </a:xfrm>
          <a:custGeom>
            <a:avLst/>
            <a:gdLst>
              <a:gd name="connsiteX0" fmla="*/ 1087792 w 1758183"/>
              <a:gd name="connsiteY0" fmla="*/ 0 h 1123573"/>
              <a:gd name="connsiteX1" fmla="*/ 1089412 w 1758183"/>
              <a:gd name="connsiteY1" fmla="*/ 0 h 1123573"/>
              <a:gd name="connsiteX2" fmla="*/ 1525090 w 1758183"/>
              <a:gd name="connsiteY2" fmla="*/ 435678 h 1123573"/>
              <a:gd name="connsiteX3" fmla="*/ 1522340 w 1758183"/>
              <a:gd name="connsiteY3" fmla="*/ 462957 h 1123573"/>
              <a:gd name="connsiteX4" fmla="*/ 1551026 w 1758183"/>
              <a:gd name="connsiteY4" fmla="*/ 471862 h 1123573"/>
              <a:gd name="connsiteX5" fmla="*/ 1758183 w 1758183"/>
              <a:gd name="connsiteY5" fmla="*/ 784390 h 1123573"/>
              <a:gd name="connsiteX6" fmla="*/ 1419000 w 1758183"/>
              <a:gd name="connsiteY6" fmla="*/ 1123573 h 1123573"/>
              <a:gd name="connsiteX7" fmla="*/ 339183 w 1758183"/>
              <a:gd name="connsiteY7" fmla="*/ 1123573 h 1123573"/>
              <a:gd name="connsiteX8" fmla="*/ 0 w 1758183"/>
              <a:gd name="connsiteY8" fmla="*/ 784390 h 1123573"/>
              <a:gd name="connsiteX9" fmla="*/ 149542 w 1758183"/>
              <a:gd name="connsiteY9" fmla="*/ 503134 h 1123573"/>
              <a:gd name="connsiteX10" fmla="*/ 189470 w 1758183"/>
              <a:gd name="connsiteY10" fmla="*/ 481462 h 1123573"/>
              <a:gd name="connsiteX11" fmla="*/ 187855 w 1758183"/>
              <a:gd name="connsiteY11" fmla="*/ 465438 h 1123573"/>
              <a:gd name="connsiteX12" fmla="*/ 527038 w 1758183"/>
              <a:gd name="connsiteY12" fmla="*/ 126255 h 1123573"/>
              <a:gd name="connsiteX13" fmla="*/ 528299 w 1758183"/>
              <a:gd name="connsiteY13" fmla="*/ 126255 h 1123573"/>
              <a:gd name="connsiteX14" fmla="*/ 717940 w 1758183"/>
              <a:gd name="connsiteY14" fmla="*/ 184182 h 1123573"/>
              <a:gd name="connsiteX15" fmla="*/ 726926 w 1758183"/>
              <a:gd name="connsiteY15" fmla="*/ 191596 h 1123573"/>
              <a:gd name="connsiteX16" fmla="*/ 779721 w 1758183"/>
              <a:gd name="connsiteY16" fmla="*/ 127608 h 1123573"/>
              <a:gd name="connsiteX17" fmla="*/ 1087792 w 1758183"/>
              <a:gd name="connsiteY17" fmla="*/ 0 h 112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58183" h="1123573">
                <a:moveTo>
                  <a:pt x="1087792" y="0"/>
                </a:moveTo>
                <a:lnTo>
                  <a:pt x="1089412" y="0"/>
                </a:lnTo>
                <a:cubicBezTo>
                  <a:pt x="1330030" y="0"/>
                  <a:pt x="1525090" y="195060"/>
                  <a:pt x="1525090" y="435678"/>
                </a:cubicBezTo>
                <a:lnTo>
                  <a:pt x="1522340" y="462957"/>
                </a:lnTo>
                <a:lnTo>
                  <a:pt x="1551026" y="471862"/>
                </a:lnTo>
                <a:cubicBezTo>
                  <a:pt x="1672763" y="523353"/>
                  <a:pt x="1758183" y="643896"/>
                  <a:pt x="1758183" y="784390"/>
                </a:cubicBezTo>
                <a:cubicBezTo>
                  <a:pt x="1758183" y="971716"/>
                  <a:pt x="1606326" y="1123573"/>
                  <a:pt x="1419000" y="1123573"/>
                </a:cubicBezTo>
                <a:lnTo>
                  <a:pt x="339183" y="1123573"/>
                </a:lnTo>
                <a:cubicBezTo>
                  <a:pt x="151857" y="1123573"/>
                  <a:pt x="0" y="971716"/>
                  <a:pt x="0" y="784390"/>
                </a:cubicBezTo>
                <a:cubicBezTo>
                  <a:pt x="0" y="667312"/>
                  <a:pt x="59319" y="564088"/>
                  <a:pt x="149542" y="503134"/>
                </a:cubicBezTo>
                <a:lnTo>
                  <a:pt x="189470" y="481462"/>
                </a:lnTo>
                <a:lnTo>
                  <a:pt x="187855" y="465438"/>
                </a:lnTo>
                <a:cubicBezTo>
                  <a:pt x="187855" y="278112"/>
                  <a:pt x="339712" y="126255"/>
                  <a:pt x="527038" y="126255"/>
                </a:cubicBezTo>
                <a:lnTo>
                  <a:pt x="528299" y="126255"/>
                </a:lnTo>
                <a:cubicBezTo>
                  <a:pt x="598546" y="126255"/>
                  <a:pt x="663806" y="147610"/>
                  <a:pt x="717940" y="184182"/>
                </a:cubicBezTo>
                <a:lnTo>
                  <a:pt x="726926" y="191596"/>
                </a:lnTo>
                <a:lnTo>
                  <a:pt x="779721" y="127608"/>
                </a:lnTo>
                <a:cubicBezTo>
                  <a:pt x="858564" y="48765"/>
                  <a:pt x="967483" y="0"/>
                  <a:pt x="1087792" y="0"/>
                </a:cubicBezTo>
                <a:close/>
              </a:path>
            </a:pathLst>
          </a:custGeom>
          <a:solidFill>
            <a:srgbClr val="7AC3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882" b="1">
                <a:gradFill>
                  <a:gsLst>
                    <a:gs pos="0">
                      <a:srgbClr val="FFFFFF"/>
                    </a:gs>
                    <a:gs pos="100000">
                      <a:srgbClr val="FFFFFF"/>
                    </a:gs>
                  </a:gsLst>
                  <a:lin ang="5400000" scaled="0"/>
                </a:gradFill>
                <a:ea typeface="Segoe UI" pitchFamily="34" charset="0"/>
                <a:cs typeface="Segoe UI" pitchFamily="34" charset="0"/>
              </a:rPr>
              <a:t>Cloud</a:t>
            </a:r>
          </a:p>
        </p:txBody>
      </p:sp>
      <p:grpSp>
        <p:nvGrpSpPr>
          <p:cNvPr id="132" name="Group 131"/>
          <p:cNvGrpSpPr/>
          <p:nvPr/>
        </p:nvGrpSpPr>
        <p:grpSpPr>
          <a:xfrm>
            <a:off x="1166815" y="2733010"/>
            <a:ext cx="1640062" cy="612746"/>
            <a:chOff x="1147365" y="3104653"/>
            <a:chExt cx="1672949" cy="625033"/>
          </a:xfrm>
        </p:grpSpPr>
        <p:sp>
          <p:nvSpPr>
            <p:cNvPr id="131" name="Rectangle 130"/>
            <p:cNvSpPr/>
            <p:nvPr/>
          </p:nvSpPr>
          <p:spPr bwMode="auto">
            <a:xfrm>
              <a:off x="1147365" y="3527431"/>
              <a:ext cx="1659867" cy="2022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89642"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b="1">
                  <a:solidFill>
                    <a:srgbClr val="0072C6"/>
                  </a:solidFill>
                  <a:ea typeface="Segoe UI" pitchFamily="34" charset="0"/>
                  <a:cs typeface="Segoe UI" pitchFamily="34" charset="0"/>
                </a:rPr>
                <a:t>Premises and </a:t>
              </a:r>
              <a:r>
                <a:rPr lang="en-US" sz="784" b="1" err="1">
                  <a:solidFill>
                    <a:srgbClr val="0072C6"/>
                  </a:solidFill>
                  <a:ea typeface="Segoe UI" pitchFamily="34" charset="0"/>
                  <a:cs typeface="Segoe UI" pitchFamily="34" charset="0"/>
                </a:rPr>
                <a:t>IoT</a:t>
              </a:r>
              <a:endParaRPr lang="en-US" sz="784" b="1">
                <a:solidFill>
                  <a:srgbClr val="0072C6"/>
                </a:solidFill>
                <a:ea typeface="Segoe UI" pitchFamily="34" charset="0"/>
                <a:cs typeface="Segoe UI" pitchFamily="34" charset="0"/>
              </a:endParaRPr>
            </a:p>
          </p:txBody>
        </p:sp>
        <p:grpSp>
          <p:nvGrpSpPr>
            <p:cNvPr id="130" name="Group 129"/>
            <p:cNvGrpSpPr/>
            <p:nvPr/>
          </p:nvGrpSpPr>
          <p:grpSpPr>
            <a:xfrm>
              <a:off x="1147365" y="3104653"/>
              <a:ext cx="1672949" cy="607478"/>
              <a:chOff x="-6625428" y="4345215"/>
              <a:chExt cx="7819989" cy="2839579"/>
            </a:xfrm>
          </p:grpSpPr>
          <p:sp>
            <p:nvSpPr>
              <p:cNvPr id="127" name="Freeform 507"/>
              <p:cNvSpPr/>
              <p:nvPr/>
            </p:nvSpPr>
            <p:spPr>
              <a:xfrm>
                <a:off x="-5847406" y="5367496"/>
                <a:ext cx="839279" cy="1817298"/>
              </a:xfrm>
              <a:custGeom>
                <a:avLst/>
                <a:gdLst>
                  <a:gd name="connsiteX0" fmla="*/ 106957 w 839281"/>
                  <a:gd name="connsiteY0" fmla="*/ 1365980 h 1817299"/>
                  <a:gd name="connsiteX1" fmla="*/ 106957 w 839281"/>
                  <a:gd name="connsiteY1" fmla="*/ 1620623 h 1817299"/>
                  <a:gd name="connsiteX2" fmla="*/ 369854 w 839281"/>
                  <a:gd name="connsiteY2" fmla="*/ 1620623 h 1817299"/>
                  <a:gd name="connsiteX3" fmla="*/ 369854 w 839281"/>
                  <a:gd name="connsiteY3" fmla="*/ 1365980 h 1817299"/>
                  <a:gd name="connsiteX4" fmla="*/ 469427 w 839281"/>
                  <a:gd name="connsiteY4" fmla="*/ 1079344 h 1817299"/>
                  <a:gd name="connsiteX5" fmla="*/ 469427 w 839281"/>
                  <a:gd name="connsiteY5" fmla="*/ 1333987 h 1817299"/>
                  <a:gd name="connsiteX6" fmla="*/ 732324 w 839281"/>
                  <a:gd name="connsiteY6" fmla="*/ 1333987 h 1817299"/>
                  <a:gd name="connsiteX7" fmla="*/ 732324 w 839281"/>
                  <a:gd name="connsiteY7" fmla="*/ 1079344 h 1817299"/>
                  <a:gd name="connsiteX8" fmla="*/ 106957 w 839281"/>
                  <a:gd name="connsiteY8" fmla="*/ 774587 h 1817299"/>
                  <a:gd name="connsiteX9" fmla="*/ 106957 w 839281"/>
                  <a:gd name="connsiteY9" fmla="*/ 1029230 h 1817299"/>
                  <a:gd name="connsiteX10" fmla="*/ 369854 w 839281"/>
                  <a:gd name="connsiteY10" fmla="*/ 1029230 h 1817299"/>
                  <a:gd name="connsiteX11" fmla="*/ 369854 w 839281"/>
                  <a:gd name="connsiteY11" fmla="*/ 774587 h 1817299"/>
                  <a:gd name="connsiteX12" fmla="*/ 469427 w 839281"/>
                  <a:gd name="connsiteY12" fmla="*/ 469830 h 1817299"/>
                  <a:gd name="connsiteX13" fmla="*/ 469427 w 839281"/>
                  <a:gd name="connsiteY13" fmla="*/ 724473 h 1817299"/>
                  <a:gd name="connsiteX14" fmla="*/ 732324 w 839281"/>
                  <a:gd name="connsiteY14" fmla="*/ 724473 h 1817299"/>
                  <a:gd name="connsiteX15" fmla="*/ 732324 w 839281"/>
                  <a:gd name="connsiteY15" fmla="*/ 469830 h 1817299"/>
                  <a:gd name="connsiteX16" fmla="*/ 469427 w 839281"/>
                  <a:gd name="connsiteY16" fmla="*/ 165073 h 1817299"/>
                  <a:gd name="connsiteX17" fmla="*/ 469427 w 839281"/>
                  <a:gd name="connsiteY17" fmla="*/ 419716 h 1817299"/>
                  <a:gd name="connsiteX18" fmla="*/ 732324 w 839281"/>
                  <a:gd name="connsiteY18" fmla="*/ 419716 h 1817299"/>
                  <a:gd name="connsiteX19" fmla="*/ 732324 w 839281"/>
                  <a:gd name="connsiteY19" fmla="*/ 165073 h 1817299"/>
                  <a:gd name="connsiteX20" fmla="*/ 106957 w 839281"/>
                  <a:gd name="connsiteY20" fmla="*/ 165073 h 1817299"/>
                  <a:gd name="connsiteX21" fmla="*/ 106957 w 839281"/>
                  <a:gd name="connsiteY21" fmla="*/ 419716 h 1817299"/>
                  <a:gd name="connsiteX22" fmla="*/ 369854 w 839281"/>
                  <a:gd name="connsiteY22" fmla="*/ 419716 h 1817299"/>
                  <a:gd name="connsiteX23" fmla="*/ 369854 w 839281"/>
                  <a:gd name="connsiteY23" fmla="*/ 165073 h 1817299"/>
                  <a:gd name="connsiteX24" fmla="*/ 0 w 839281"/>
                  <a:gd name="connsiteY24" fmla="*/ 0 h 1817299"/>
                  <a:gd name="connsiteX25" fmla="*/ 839281 w 839281"/>
                  <a:gd name="connsiteY25" fmla="*/ 0 h 1817299"/>
                  <a:gd name="connsiteX26" fmla="*/ 839281 w 839281"/>
                  <a:gd name="connsiteY26" fmla="*/ 1817299 h 1817299"/>
                  <a:gd name="connsiteX27" fmla="*/ 0 w 839281"/>
                  <a:gd name="connsiteY27" fmla="*/ 1817299 h 181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39281" h="1817299">
                    <a:moveTo>
                      <a:pt x="106957" y="1365980"/>
                    </a:moveTo>
                    <a:lnTo>
                      <a:pt x="106957" y="1620623"/>
                    </a:lnTo>
                    <a:lnTo>
                      <a:pt x="369854" y="1620623"/>
                    </a:lnTo>
                    <a:lnTo>
                      <a:pt x="369854" y="1365980"/>
                    </a:lnTo>
                    <a:close/>
                    <a:moveTo>
                      <a:pt x="469427" y="1079344"/>
                    </a:moveTo>
                    <a:lnTo>
                      <a:pt x="469427" y="1333987"/>
                    </a:lnTo>
                    <a:lnTo>
                      <a:pt x="732324" y="1333987"/>
                    </a:lnTo>
                    <a:lnTo>
                      <a:pt x="732324" y="1079344"/>
                    </a:lnTo>
                    <a:close/>
                    <a:moveTo>
                      <a:pt x="106957" y="774587"/>
                    </a:moveTo>
                    <a:lnTo>
                      <a:pt x="106957" y="1029230"/>
                    </a:lnTo>
                    <a:lnTo>
                      <a:pt x="369854" y="1029230"/>
                    </a:lnTo>
                    <a:lnTo>
                      <a:pt x="369854" y="774587"/>
                    </a:lnTo>
                    <a:close/>
                    <a:moveTo>
                      <a:pt x="469427" y="469830"/>
                    </a:moveTo>
                    <a:lnTo>
                      <a:pt x="469427" y="724473"/>
                    </a:lnTo>
                    <a:lnTo>
                      <a:pt x="732324" y="724473"/>
                    </a:lnTo>
                    <a:lnTo>
                      <a:pt x="732324" y="469830"/>
                    </a:lnTo>
                    <a:close/>
                    <a:moveTo>
                      <a:pt x="469427" y="165073"/>
                    </a:moveTo>
                    <a:lnTo>
                      <a:pt x="469427" y="419716"/>
                    </a:lnTo>
                    <a:lnTo>
                      <a:pt x="732324" y="419716"/>
                    </a:lnTo>
                    <a:lnTo>
                      <a:pt x="732324" y="165073"/>
                    </a:lnTo>
                    <a:close/>
                    <a:moveTo>
                      <a:pt x="106957" y="165073"/>
                    </a:moveTo>
                    <a:lnTo>
                      <a:pt x="106957" y="419716"/>
                    </a:lnTo>
                    <a:lnTo>
                      <a:pt x="369854" y="419716"/>
                    </a:lnTo>
                    <a:lnTo>
                      <a:pt x="369854" y="165073"/>
                    </a:lnTo>
                    <a:close/>
                    <a:moveTo>
                      <a:pt x="0" y="0"/>
                    </a:moveTo>
                    <a:lnTo>
                      <a:pt x="839281" y="0"/>
                    </a:lnTo>
                    <a:lnTo>
                      <a:pt x="839281" y="1817299"/>
                    </a:lnTo>
                    <a:lnTo>
                      <a:pt x="0" y="1817299"/>
                    </a:ln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b="1">
                  <a:gradFill>
                    <a:gsLst>
                      <a:gs pos="0">
                        <a:srgbClr val="FFFFFF"/>
                      </a:gs>
                      <a:gs pos="100000">
                        <a:srgbClr val="FFFFFF"/>
                      </a:gs>
                    </a:gsLst>
                    <a:lin ang="5400000" scaled="0"/>
                  </a:gradFill>
                  <a:ea typeface="Segoe UI" pitchFamily="34" charset="0"/>
                  <a:cs typeface="Segoe UI" pitchFamily="34" charset="0"/>
                </a:endParaRPr>
              </a:p>
            </p:txBody>
          </p:sp>
          <p:sp>
            <p:nvSpPr>
              <p:cNvPr id="128" name="Freeform 508"/>
              <p:cNvSpPr/>
              <p:nvPr/>
            </p:nvSpPr>
            <p:spPr>
              <a:xfrm>
                <a:off x="-208154" y="4595289"/>
                <a:ext cx="839279" cy="2589505"/>
              </a:xfrm>
              <a:custGeom>
                <a:avLst/>
                <a:gdLst>
                  <a:gd name="connsiteX0" fmla="*/ 124723 w 839281"/>
                  <a:gd name="connsiteY0" fmla="*/ 2138188 h 2589506"/>
                  <a:gd name="connsiteX1" fmla="*/ 124723 w 839281"/>
                  <a:gd name="connsiteY1" fmla="*/ 2392831 h 2589506"/>
                  <a:gd name="connsiteX2" fmla="*/ 387620 w 839281"/>
                  <a:gd name="connsiteY2" fmla="*/ 2392831 h 2589506"/>
                  <a:gd name="connsiteX3" fmla="*/ 387620 w 839281"/>
                  <a:gd name="connsiteY3" fmla="*/ 2138188 h 2589506"/>
                  <a:gd name="connsiteX4" fmla="*/ 451660 w 839281"/>
                  <a:gd name="connsiteY4" fmla="*/ 1851552 h 2589506"/>
                  <a:gd name="connsiteX5" fmla="*/ 451660 w 839281"/>
                  <a:gd name="connsiteY5" fmla="*/ 2106195 h 2589506"/>
                  <a:gd name="connsiteX6" fmla="*/ 714557 w 839281"/>
                  <a:gd name="connsiteY6" fmla="*/ 2106195 h 2589506"/>
                  <a:gd name="connsiteX7" fmla="*/ 714557 w 839281"/>
                  <a:gd name="connsiteY7" fmla="*/ 1851552 h 2589506"/>
                  <a:gd name="connsiteX8" fmla="*/ 451660 w 839281"/>
                  <a:gd name="connsiteY8" fmla="*/ 1546795 h 2589506"/>
                  <a:gd name="connsiteX9" fmla="*/ 451660 w 839281"/>
                  <a:gd name="connsiteY9" fmla="*/ 1801438 h 2589506"/>
                  <a:gd name="connsiteX10" fmla="*/ 714557 w 839281"/>
                  <a:gd name="connsiteY10" fmla="*/ 1801438 h 2589506"/>
                  <a:gd name="connsiteX11" fmla="*/ 714557 w 839281"/>
                  <a:gd name="connsiteY11" fmla="*/ 1546795 h 2589506"/>
                  <a:gd name="connsiteX12" fmla="*/ 124723 w 839281"/>
                  <a:gd name="connsiteY12" fmla="*/ 1546795 h 2589506"/>
                  <a:gd name="connsiteX13" fmla="*/ 124723 w 839281"/>
                  <a:gd name="connsiteY13" fmla="*/ 1801438 h 2589506"/>
                  <a:gd name="connsiteX14" fmla="*/ 387620 w 839281"/>
                  <a:gd name="connsiteY14" fmla="*/ 1801438 h 2589506"/>
                  <a:gd name="connsiteX15" fmla="*/ 387620 w 839281"/>
                  <a:gd name="connsiteY15" fmla="*/ 1546795 h 2589506"/>
                  <a:gd name="connsiteX16" fmla="*/ 451660 w 839281"/>
                  <a:gd name="connsiteY16" fmla="*/ 1242038 h 2589506"/>
                  <a:gd name="connsiteX17" fmla="*/ 451660 w 839281"/>
                  <a:gd name="connsiteY17" fmla="*/ 1496681 h 2589506"/>
                  <a:gd name="connsiteX18" fmla="*/ 714557 w 839281"/>
                  <a:gd name="connsiteY18" fmla="*/ 1496681 h 2589506"/>
                  <a:gd name="connsiteX19" fmla="*/ 714557 w 839281"/>
                  <a:gd name="connsiteY19" fmla="*/ 1242038 h 2589506"/>
                  <a:gd name="connsiteX20" fmla="*/ 124723 w 839281"/>
                  <a:gd name="connsiteY20" fmla="*/ 1242038 h 2589506"/>
                  <a:gd name="connsiteX21" fmla="*/ 124723 w 839281"/>
                  <a:gd name="connsiteY21" fmla="*/ 1496681 h 2589506"/>
                  <a:gd name="connsiteX22" fmla="*/ 387620 w 839281"/>
                  <a:gd name="connsiteY22" fmla="*/ 1496681 h 2589506"/>
                  <a:gd name="connsiteX23" fmla="*/ 387620 w 839281"/>
                  <a:gd name="connsiteY23" fmla="*/ 1242038 h 2589506"/>
                  <a:gd name="connsiteX24" fmla="*/ 451660 w 839281"/>
                  <a:gd name="connsiteY24" fmla="*/ 937281 h 2589506"/>
                  <a:gd name="connsiteX25" fmla="*/ 451660 w 839281"/>
                  <a:gd name="connsiteY25" fmla="*/ 1191924 h 2589506"/>
                  <a:gd name="connsiteX26" fmla="*/ 714557 w 839281"/>
                  <a:gd name="connsiteY26" fmla="*/ 1191924 h 2589506"/>
                  <a:gd name="connsiteX27" fmla="*/ 714557 w 839281"/>
                  <a:gd name="connsiteY27" fmla="*/ 937281 h 2589506"/>
                  <a:gd name="connsiteX28" fmla="*/ 124723 w 839281"/>
                  <a:gd name="connsiteY28" fmla="*/ 937281 h 2589506"/>
                  <a:gd name="connsiteX29" fmla="*/ 124723 w 839281"/>
                  <a:gd name="connsiteY29" fmla="*/ 1191924 h 2589506"/>
                  <a:gd name="connsiteX30" fmla="*/ 387620 w 839281"/>
                  <a:gd name="connsiteY30" fmla="*/ 1191924 h 2589506"/>
                  <a:gd name="connsiteX31" fmla="*/ 387620 w 839281"/>
                  <a:gd name="connsiteY31" fmla="*/ 937281 h 2589506"/>
                  <a:gd name="connsiteX32" fmla="*/ 0 w 839281"/>
                  <a:gd name="connsiteY32" fmla="*/ 0 h 2589506"/>
                  <a:gd name="connsiteX33" fmla="*/ 342634 w 839281"/>
                  <a:gd name="connsiteY33" fmla="*/ 1587 h 2589506"/>
                  <a:gd name="connsiteX34" fmla="*/ 679797 w 839281"/>
                  <a:gd name="connsiteY34" fmla="*/ 339795 h 2589506"/>
                  <a:gd name="connsiteX35" fmla="*/ 679797 w 839281"/>
                  <a:gd name="connsiteY35" fmla="*/ 558043 h 2589506"/>
                  <a:gd name="connsiteX36" fmla="*/ 839281 w 839281"/>
                  <a:gd name="connsiteY36" fmla="*/ 558043 h 2589506"/>
                  <a:gd name="connsiteX37" fmla="*/ 839281 w 839281"/>
                  <a:gd name="connsiteY37" fmla="*/ 2589506 h 2589506"/>
                  <a:gd name="connsiteX38" fmla="*/ 0 w 839281"/>
                  <a:gd name="connsiteY38" fmla="*/ 2589506 h 2589506"/>
                  <a:gd name="connsiteX39" fmla="*/ 0 w 839281"/>
                  <a:gd name="connsiteY39" fmla="*/ 679590 h 2589506"/>
                  <a:gd name="connsiteX40" fmla="*/ 0 w 839281"/>
                  <a:gd name="connsiteY40" fmla="*/ 558043 h 2589506"/>
                  <a:gd name="connsiteX41" fmla="*/ 0 w 839281"/>
                  <a:gd name="connsiteY41" fmla="*/ 339795 h 2589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39281" h="2589506">
                    <a:moveTo>
                      <a:pt x="124723" y="2138188"/>
                    </a:moveTo>
                    <a:lnTo>
                      <a:pt x="124723" y="2392831"/>
                    </a:lnTo>
                    <a:lnTo>
                      <a:pt x="387620" y="2392831"/>
                    </a:lnTo>
                    <a:lnTo>
                      <a:pt x="387620" y="2138188"/>
                    </a:lnTo>
                    <a:close/>
                    <a:moveTo>
                      <a:pt x="451660" y="1851552"/>
                    </a:moveTo>
                    <a:lnTo>
                      <a:pt x="451660" y="2106195"/>
                    </a:lnTo>
                    <a:lnTo>
                      <a:pt x="714557" y="2106195"/>
                    </a:lnTo>
                    <a:lnTo>
                      <a:pt x="714557" y="1851552"/>
                    </a:lnTo>
                    <a:close/>
                    <a:moveTo>
                      <a:pt x="451660" y="1546795"/>
                    </a:moveTo>
                    <a:lnTo>
                      <a:pt x="451660" y="1801438"/>
                    </a:lnTo>
                    <a:lnTo>
                      <a:pt x="714557" y="1801438"/>
                    </a:lnTo>
                    <a:lnTo>
                      <a:pt x="714557" y="1546795"/>
                    </a:lnTo>
                    <a:close/>
                    <a:moveTo>
                      <a:pt x="124723" y="1546795"/>
                    </a:moveTo>
                    <a:lnTo>
                      <a:pt x="124723" y="1801438"/>
                    </a:lnTo>
                    <a:lnTo>
                      <a:pt x="387620" y="1801438"/>
                    </a:lnTo>
                    <a:lnTo>
                      <a:pt x="387620" y="1546795"/>
                    </a:lnTo>
                    <a:close/>
                    <a:moveTo>
                      <a:pt x="451660" y="1242038"/>
                    </a:moveTo>
                    <a:lnTo>
                      <a:pt x="451660" y="1496681"/>
                    </a:lnTo>
                    <a:lnTo>
                      <a:pt x="714557" y="1496681"/>
                    </a:lnTo>
                    <a:lnTo>
                      <a:pt x="714557" y="1242038"/>
                    </a:lnTo>
                    <a:close/>
                    <a:moveTo>
                      <a:pt x="124723" y="1242038"/>
                    </a:moveTo>
                    <a:lnTo>
                      <a:pt x="124723" y="1496681"/>
                    </a:lnTo>
                    <a:lnTo>
                      <a:pt x="387620" y="1496681"/>
                    </a:lnTo>
                    <a:lnTo>
                      <a:pt x="387620" y="1242038"/>
                    </a:lnTo>
                    <a:close/>
                    <a:moveTo>
                      <a:pt x="451660" y="937281"/>
                    </a:moveTo>
                    <a:lnTo>
                      <a:pt x="451660" y="1191924"/>
                    </a:lnTo>
                    <a:lnTo>
                      <a:pt x="714557" y="1191924"/>
                    </a:lnTo>
                    <a:lnTo>
                      <a:pt x="714557" y="937281"/>
                    </a:lnTo>
                    <a:close/>
                    <a:moveTo>
                      <a:pt x="124723" y="937281"/>
                    </a:moveTo>
                    <a:lnTo>
                      <a:pt x="124723" y="1191924"/>
                    </a:lnTo>
                    <a:lnTo>
                      <a:pt x="387620" y="1191924"/>
                    </a:lnTo>
                    <a:lnTo>
                      <a:pt x="387620" y="937281"/>
                    </a:lnTo>
                    <a:close/>
                    <a:moveTo>
                      <a:pt x="0" y="0"/>
                    </a:moveTo>
                    <a:lnTo>
                      <a:pt x="342634" y="1587"/>
                    </a:lnTo>
                    <a:lnTo>
                      <a:pt x="679797" y="339795"/>
                    </a:lnTo>
                    <a:lnTo>
                      <a:pt x="679797" y="558043"/>
                    </a:lnTo>
                    <a:lnTo>
                      <a:pt x="839281" y="558043"/>
                    </a:lnTo>
                    <a:lnTo>
                      <a:pt x="839281" y="2589506"/>
                    </a:lnTo>
                    <a:lnTo>
                      <a:pt x="0" y="2589506"/>
                    </a:lnTo>
                    <a:lnTo>
                      <a:pt x="0" y="679590"/>
                    </a:lnTo>
                    <a:lnTo>
                      <a:pt x="0" y="558043"/>
                    </a:lnTo>
                    <a:lnTo>
                      <a:pt x="0" y="339795"/>
                    </a:ln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b="1">
                  <a:gradFill>
                    <a:gsLst>
                      <a:gs pos="0">
                        <a:srgbClr val="FFFFFF"/>
                      </a:gs>
                      <a:gs pos="100000">
                        <a:srgbClr val="FFFFFF"/>
                      </a:gs>
                    </a:gsLst>
                    <a:lin ang="5400000" scaled="0"/>
                  </a:gradFill>
                  <a:ea typeface="Segoe UI" pitchFamily="34" charset="0"/>
                  <a:cs typeface="Segoe UI" pitchFamily="34" charset="0"/>
                </a:endParaRPr>
              </a:p>
            </p:txBody>
          </p:sp>
          <p:sp>
            <p:nvSpPr>
              <p:cNvPr id="129" name="Freeform 509"/>
              <p:cNvSpPr/>
              <p:nvPr/>
            </p:nvSpPr>
            <p:spPr>
              <a:xfrm>
                <a:off x="-6625428" y="4345215"/>
                <a:ext cx="731867" cy="2839579"/>
              </a:xfrm>
              <a:custGeom>
                <a:avLst/>
                <a:gdLst>
                  <a:gd name="connsiteX0" fmla="*/ 103420 w 731868"/>
                  <a:gd name="connsiteY0" fmla="*/ 1679862 h 2839579"/>
                  <a:gd name="connsiteX1" fmla="*/ 103420 w 731868"/>
                  <a:gd name="connsiteY1" fmla="*/ 1934505 h 2839579"/>
                  <a:gd name="connsiteX2" fmla="*/ 366317 w 731868"/>
                  <a:gd name="connsiteY2" fmla="*/ 1934505 h 2839579"/>
                  <a:gd name="connsiteX3" fmla="*/ 366317 w 731868"/>
                  <a:gd name="connsiteY3" fmla="*/ 1679862 h 2839579"/>
                  <a:gd name="connsiteX4" fmla="*/ 365551 w 731868"/>
                  <a:gd name="connsiteY4" fmla="*/ 1349399 h 2839579"/>
                  <a:gd name="connsiteX5" fmla="*/ 365551 w 731868"/>
                  <a:gd name="connsiteY5" fmla="*/ 1604042 h 2839579"/>
                  <a:gd name="connsiteX6" fmla="*/ 628448 w 731868"/>
                  <a:gd name="connsiteY6" fmla="*/ 1604042 h 2839579"/>
                  <a:gd name="connsiteX7" fmla="*/ 628448 w 731868"/>
                  <a:gd name="connsiteY7" fmla="*/ 1349399 h 2839579"/>
                  <a:gd name="connsiteX8" fmla="*/ 103420 w 731868"/>
                  <a:gd name="connsiteY8" fmla="*/ 1018937 h 2839579"/>
                  <a:gd name="connsiteX9" fmla="*/ 103420 w 731868"/>
                  <a:gd name="connsiteY9" fmla="*/ 1273580 h 2839579"/>
                  <a:gd name="connsiteX10" fmla="*/ 366317 w 731868"/>
                  <a:gd name="connsiteY10" fmla="*/ 1273580 h 2839579"/>
                  <a:gd name="connsiteX11" fmla="*/ 366317 w 731868"/>
                  <a:gd name="connsiteY11" fmla="*/ 1018937 h 2839579"/>
                  <a:gd name="connsiteX12" fmla="*/ 304202 w 731868"/>
                  <a:gd name="connsiteY12" fmla="*/ 0 h 2839579"/>
                  <a:gd name="connsiteX13" fmla="*/ 427666 w 731868"/>
                  <a:gd name="connsiteY13" fmla="*/ 0 h 2839579"/>
                  <a:gd name="connsiteX14" fmla="*/ 427666 w 731868"/>
                  <a:gd name="connsiteY14" fmla="*/ 246119 h 2839579"/>
                  <a:gd name="connsiteX15" fmla="*/ 469185 w 731868"/>
                  <a:gd name="connsiteY15" fmla="*/ 246119 h 2839579"/>
                  <a:gd name="connsiteX16" fmla="*/ 469185 w 731868"/>
                  <a:gd name="connsiteY16" fmla="*/ 467400 h 2839579"/>
                  <a:gd name="connsiteX17" fmla="*/ 611545 w 731868"/>
                  <a:gd name="connsiteY17" fmla="*/ 467400 h 2839579"/>
                  <a:gd name="connsiteX18" fmla="*/ 611545 w 731868"/>
                  <a:gd name="connsiteY18" fmla="*/ 783586 h 2839579"/>
                  <a:gd name="connsiteX19" fmla="*/ 731868 w 731868"/>
                  <a:gd name="connsiteY19" fmla="*/ 783586 h 2839579"/>
                  <a:gd name="connsiteX20" fmla="*/ 731868 w 731868"/>
                  <a:gd name="connsiteY20" fmla="*/ 2839579 h 2839579"/>
                  <a:gd name="connsiteX21" fmla="*/ 0 w 731868"/>
                  <a:gd name="connsiteY21" fmla="*/ 2839579 h 2839579"/>
                  <a:gd name="connsiteX22" fmla="*/ 0 w 731868"/>
                  <a:gd name="connsiteY22" fmla="*/ 783586 h 2839579"/>
                  <a:gd name="connsiteX23" fmla="*/ 120324 w 731868"/>
                  <a:gd name="connsiteY23" fmla="*/ 783586 h 2839579"/>
                  <a:gd name="connsiteX24" fmla="*/ 120324 w 731868"/>
                  <a:gd name="connsiteY24" fmla="*/ 467400 h 2839579"/>
                  <a:gd name="connsiteX25" fmla="*/ 262683 w 731868"/>
                  <a:gd name="connsiteY25" fmla="*/ 467400 h 2839579"/>
                  <a:gd name="connsiteX26" fmla="*/ 262683 w 731868"/>
                  <a:gd name="connsiteY26" fmla="*/ 246119 h 2839579"/>
                  <a:gd name="connsiteX27" fmla="*/ 304202 w 731868"/>
                  <a:gd name="connsiteY27" fmla="*/ 246119 h 2839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1868" h="2839579">
                    <a:moveTo>
                      <a:pt x="103420" y="1679862"/>
                    </a:moveTo>
                    <a:lnTo>
                      <a:pt x="103420" y="1934505"/>
                    </a:lnTo>
                    <a:lnTo>
                      <a:pt x="366317" y="1934505"/>
                    </a:lnTo>
                    <a:lnTo>
                      <a:pt x="366317" y="1679862"/>
                    </a:lnTo>
                    <a:close/>
                    <a:moveTo>
                      <a:pt x="365551" y="1349399"/>
                    </a:moveTo>
                    <a:lnTo>
                      <a:pt x="365551" y="1604042"/>
                    </a:lnTo>
                    <a:lnTo>
                      <a:pt x="628448" y="1604042"/>
                    </a:lnTo>
                    <a:lnTo>
                      <a:pt x="628448" y="1349399"/>
                    </a:lnTo>
                    <a:close/>
                    <a:moveTo>
                      <a:pt x="103420" y="1018937"/>
                    </a:moveTo>
                    <a:lnTo>
                      <a:pt x="103420" y="1273580"/>
                    </a:lnTo>
                    <a:lnTo>
                      <a:pt x="366317" y="1273580"/>
                    </a:lnTo>
                    <a:lnTo>
                      <a:pt x="366317" y="1018937"/>
                    </a:lnTo>
                    <a:close/>
                    <a:moveTo>
                      <a:pt x="304202" y="0"/>
                    </a:moveTo>
                    <a:lnTo>
                      <a:pt x="427666" y="0"/>
                    </a:lnTo>
                    <a:lnTo>
                      <a:pt x="427666" y="246119"/>
                    </a:lnTo>
                    <a:lnTo>
                      <a:pt x="469185" y="246119"/>
                    </a:lnTo>
                    <a:lnTo>
                      <a:pt x="469185" y="467400"/>
                    </a:lnTo>
                    <a:lnTo>
                      <a:pt x="611545" y="467400"/>
                    </a:lnTo>
                    <a:lnTo>
                      <a:pt x="611545" y="783586"/>
                    </a:lnTo>
                    <a:lnTo>
                      <a:pt x="731868" y="783586"/>
                    </a:lnTo>
                    <a:lnTo>
                      <a:pt x="731868" y="2839579"/>
                    </a:lnTo>
                    <a:lnTo>
                      <a:pt x="0" y="2839579"/>
                    </a:lnTo>
                    <a:lnTo>
                      <a:pt x="0" y="783586"/>
                    </a:lnTo>
                    <a:lnTo>
                      <a:pt x="120324" y="783586"/>
                    </a:lnTo>
                    <a:lnTo>
                      <a:pt x="120324" y="467400"/>
                    </a:lnTo>
                    <a:lnTo>
                      <a:pt x="262683" y="467400"/>
                    </a:lnTo>
                    <a:lnTo>
                      <a:pt x="262683" y="246119"/>
                    </a:lnTo>
                    <a:lnTo>
                      <a:pt x="304202" y="246119"/>
                    </a:ln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b="1">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507"/>
              <p:cNvSpPr/>
              <p:nvPr/>
            </p:nvSpPr>
            <p:spPr>
              <a:xfrm>
                <a:off x="617210" y="5934647"/>
                <a:ext cx="577351" cy="1250147"/>
              </a:xfrm>
              <a:custGeom>
                <a:avLst/>
                <a:gdLst>
                  <a:gd name="connsiteX0" fmla="*/ 106957 w 839281"/>
                  <a:gd name="connsiteY0" fmla="*/ 1365980 h 1817299"/>
                  <a:gd name="connsiteX1" fmla="*/ 106957 w 839281"/>
                  <a:gd name="connsiteY1" fmla="*/ 1620623 h 1817299"/>
                  <a:gd name="connsiteX2" fmla="*/ 369854 w 839281"/>
                  <a:gd name="connsiteY2" fmla="*/ 1620623 h 1817299"/>
                  <a:gd name="connsiteX3" fmla="*/ 369854 w 839281"/>
                  <a:gd name="connsiteY3" fmla="*/ 1365980 h 1817299"/>
                  <a:gd name="connsiteX4" fmla="*/ 469427 w 839281"/>
                  <a:gd name="connsiteY4" fmla="*/ 1079344 h 1817299"/>
                  <a:gd name="connsiteX5" fmla="*/ 469427 w 839281"/>
                  <a:gd name="connsiteY5" fmla="*/ 1333987 h 1817299"/>
                  <a:gd name="connsiteX6" fmla="*/ 732324 w 839281"/>
                  <a:gd name="connsiteY6" fmla="*/ 1333987 h 1817299"/>
                  <a:gd name="connsiteX7" fmla="*/ 732324 w 839281"/>
                  <a:gd name="connsiteY7" fmla="*/ 1079344 h 1817299"/>
                  <a:gd name="connsiteX8" fmla="*/ 106957 w 839281"/>
                  <a:gd name="connsiteY8" fmla="*/ 774587 h 1817299"/>
                  <a:gd name="connsiteX9" fmla="*/ 106957 w 839281"/>
                  <a:gd name="connsiteY9" fmla="*/ 1029230 h 1817299"/>
                  <a:gd name="connsiteX10" fmla="*/ 369854 w 839281"/>
                  <a:gd name="connsiteY10" fmla="*/ 1029230 h 1817299"/>
                  <a:gd name="connsiteX11" fmla="*/ 369854 w 839281"/>
                  <a:gd name="connsiteY11" fmla="*/ 774587 h 1817299"/>
                  <a:gd name="connsiteX12" fmla="*/ 469427 w 839281"/>
                  <a:gd name="connsiteY12" fmla="*/ 469830 h 1817299"/>
                  <a:gd name="connsiteX13" fmla="*/ 469427 w 839281"/>
                  <a:gd name="connsiteY13" fmla="*/ 724473 h 1817299"/>
                  <a:gd name="connsiteX14" fmla="*/ 732324 w 839281"/>
                  <a:gd name="connsiteY14" fmla="*/ 724473 h 1817299"/>
                  <a:gd name="connsiteX15" fmla="*/ 732324 w 839281"/>
                  <a:gd name="connsiteY15" fmla="*/ 469830 h 1817299"/>
                  <a:gd name="connsiteX16" fmla="*/ 469427 w 839281"/>
                  <a:gd name="connsiteY16" fmla="*/ 165073 h 1817299"/>
                  <a:gd name="connsiteX17" fmla="*/ 469427 w 839281"/>
                  <a:gd name="connsiteY17" fmla="*/ 419716 h 1817299"/>
                  <a:gd name="connsiteX18" fmla="*/ 732324 w 839281"/>
                  <a:gd name="connsiteY18" fmla="*/ 419716 h 1817299"/>
                  <a:gd name="connsiteX19" fmla="*/ 732324 w 839281"/>
                  <a:gd name="connsiteY19" fmla="*/ 165073 h 1817299"/>
                  <a:gd name="connsiteX20" fmla="*/ 106957 w 839281"/>
                  <a:gd name="connsiteY20" fmla="*/ 165073 h 1817299"/>
                  <a:gd name="connsiteX21" fmla="*/ 106957 w 839281"/>
                  <a:gd name="connsiteY21" fmla="*/ 419716 h 1817299"/>
                  <a:gd name="connsiteX22" fmla="*/ 369854 w 839281"/>
                  <a:gd name="connsiteY22" fmla="*/ 419716 h 1817299"/>
                  <a:gd name="connsiteX23" fmla="*/ 369854 w 839281"/>
                  <a:gd name="connsiteY23" fmla="*/ 165073 h 1817299"/>
                  <a:gd name="connsiteX24" fmla="*/ 0 w 839281"/>
                  <a:gd name="connsiteY24" fmla="*/ 0 h 1817299"/>
                  <a:gd name="connsiteX25" fmla="*/ 839281 w 839281"/>
                  <a:gd name="connsiteY25" fmla="*/ 0 h 1817299"/>
                  <a:gd name="connsiteX26" fmla="*/ 839281 w 839281"/>
                  <a:gd name="connsiteY26" fmla="*/ 1817299 h 1817299"/>
                  <a:gd name="connsiteX27" fmla="*/ 0 w 839281"/>
                  <a:gd name="connsiteY27" fmla="*/ 1817299 h 181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39281" h="1817299">
                    <a:moveTo>
                      <a:pt x="106957" y="1365980"/>
                    </a:moveTo>
                    <a:lnTo>
                      <a:pt x="106957" y="1620623"/>
                    </a:lnTo>
                    <a:lnTo>
                      <a:pt x="369854" y="1620623"/>
                    </a:lnTo>
                    <a:lnTo>
                      <a:pt x="369854" y="1365980"/>
                    </a:lnTo>
                    <a:close/>
                    <a:moveTo>
                      <a:pt x="469427" y="1079344"/>
                    </a:moveTo>
                    <a:lnTo>
                      <a:pt x="469427" y="1333987"/>
                    </a:lnTo>
                    <a:lnTo>
                      <a:pt x="732324" y="1333987"/>
                    </a:lnTo>
                    <a:lnTo>
                      <a:pt x="732324" y="1079344"/>
                    </a:lnTo>
                    <a:close/>
                    <a:moveTo>
                      <a:pt x="106957" y="774587"/>
                    </a:moveTo>
                    <a:lnTo>
                      <a:pt x="106957" y="1029230"/>
                    </a:lnTo>
                    <a:lnTo>
                      <a:pt x="369854" y="1029230"/>
                    </a:lnTo>
                    <a:lnTo>
                      <a:pt x="369854" y="774587"/>
                    </a:lnTo>
                    <a:close/>
                    <a:moveTo>
                      <a:pt x="469427" y="469830"/>
                    </a:moveTo>
                    <a:lnTo>
                      <a:pt x="469427" y="724473"/>
                    </a:lnTo>
                    <a:lnTo>
                      <a:pt x="732324" y="724473"/>
                    </a:lnTo>
                    <a:lnTo>
                      <a:pt x="732324" y="469830"/>
                    </a:lnTo>
                    <a:close/>
                    <a:moveTo>
                      <a:pt x="469427" y="165073"/>
                    </a:moveTo>
                    <a:lnTo>
                      <a:pt x="469427" y="419716"/>
                    </a:lnTo>
                    <a:lnTo>
                      <a:pt x="732324" y="419716"/>
                    </a:lnTo>
                    <a:lnTo>
                      <a:pt x="732324" y="165073"/>
                    </a:lnTo>
                    <a:close/>
                    <a:moveTo>
                      <a:pt x="106957" y="165073"/>
                    </a:moveTo>
                    <a:lnTo>
                      <a:pt x="106957" y="419716"/>
                    </a:lnTo>
                    <a:lnTo>
                      <a:pt x="369854" y="419716"/>
                    </a:lnTo>
                    <a:lnTo>
                      <a:pt x="369854" y="165073"/>
                    </a:lnTo>
                    <a:close/>
                    <a:moveTo>
                      <a:pt x="0" y="0"/>
                    </a:moveTo>
                    <a:lnTo>
                      <a:pt x="839281" y="0"/>
                    </a:lnTo>
                    <a:lnTo>
                      <a:pt x="839281" y="1817299"/>
                    </a:lnTo>
                    <a:lnTo>
                      <a:pt x="0" y="1817299"/>
                    </a:ln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b="1">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134" name="Straight Arrow Connector 133"/>
          <p:cNvCxnSpPr/>
          <p:nvPr/>
        </p:nvCxnSpPr>
        <p:spPr>
          <a:xfrm>
            <a:off x="5453018" y="4147813"/>
            <a:ext cx="0" cy="209366"/>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p:nvPr/>
        </p:nvCxnSpPr>
        <p:spPr>
          <a:xfrm>
            <a:off x="5453018" y="5214846"/>
            <a:ext cx="0" cy="209366"/>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7" name="Rectangle 136"/>
          <p:cNvSpPr/>
          <p:nvPr/>
        </p:nvSpPr>
        <p:spPr>
          <a:xfrm>
            <a:off x="5063493" y="4879816"/>
            <a:ext cx="779050" cy="271554"/>
          </a:xfrm>
          <a:prstGeom prst="rect">
            <a:avLst/>
          </a:prstGeom>
        </p:spPr>
        <p:txBody>
          <a:bodyPr wrap="square" lIns="0" tIns="0" rIns="0" bIns="0">
            <a:spAutoFit/>
          </a:bodyPr>
          <a:lstStyle/>
          <a:p>
            <a:pPr algn="ctr" defTabSz="895403" fontAlgn="base">
              <a:lnSpc>
                <a:spcPct val="90000"/>
              </a:lnSpc>
              <a:spcBef>
                <a:spcPct val="0"/>
              </a:spcBef>
            </a:pPr>
            <a:r>
              <a:rPr lang="en-US" sz="980" kern="0">
                <a:solidFill>
                  <a:srgbClr val="404040">
                    <a:lumMod val="50000"/>
                  </a:srgbClr>
                </a:solidFill>
                <a:ea typeface="Segoe UI Black" panose="020B0A02040204020203" pitchFamily="34" charset="0"/>
                <a:cs typeface="Segoe UI Black" panose="020B0A02040204020203" pitchFamily="34" charset="0"/>
              </a:rPr>
              <a:t>Azure Stream Analytics</a:t>
            </a:r>
          </a:p>
        </p:txBody>
      </p:sp>
    </p:spTree>
    <p:extLst>
      <p:ext uri="{BB962C8B-B14F-4D97-AF65-F5344CB8AC3E}">
        <p14:creationId xmlns:p14="http://schemas.microsoft.com/office/powerpoint/2010/main" val="37134164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8B835496-2033-4D56-92BF-B44A62DEDB1B}"/>
              </a:ext>
            </a:extLst>
          </p:cNvPr>
          <p:cNvSpPr/>
          <p:nvPr/>
        </p:nvSpPr>
        <p:spPr>
          <a:xfrm>
            <a:off x="248061" y="4021713"/>
            <a:ext cx="11808823" cy="267153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914377">
              <a:lnSpc>
                <a:spcPct val="90000"/>
              </a:lnSpc>
              <a:spcBef>
                <a:spcPts val="600"/>
              </a:spcBef>
              <a:defRPr/>
            </a:pPr>
            <a:endParaRPr lang="en-US" sz="2000" err="1">
              <a:solidFill>
                <a:srgbClr val="FFFFFF"/>
              </a:solidFill>
              <a:latin typeface="Segoe UI"/>
            </a:endParaRPr>
          </a:p>
        </p:txBody>
      </p:sp>
      <p:sp>
        <p:nvSpPr>
          <p:cNvPr id="14" name="Rectangle 13">
            <a:extLst>
              <a:ext uri="{FF2B5EF4-FFF2-40B4-BE49-F238E27FC236}">
                <a16:creationId xmlns:a16="http://schemas.microsoft.com/office/drawing/2014/main" id="{1933DC88-D9F9-43D0-BE35-A6D23A456517}"/>
              </a:ext>
            </a:extLst>
          </p:cNvPr>
          <p:cNvSpPr/>
          <p:nvPr/>
        </p:nvSpPr>
        <p:spPr>
          <a:xfrm>
            <a:off x="216408" y="1311856"/>
            <a:ext cx="11759184" cy="2008621"/>
          </a:xfrm>
          <a:prstGeom prst="rect">
            <a:avLst/>
          </a:prstGeom>
          <a:noFill/>
          <a:ln w="5080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914377">
              <a:lnSpc>
                <a:spcPct val="90000"/>
              </a:lnSpc>
              <a:spcBef>
                <a:spcPts val="600"/>
              </a:spcBef>
              <a:defRPr/>
            </a:pPr>
            <a:endParaRPr lang="en-US" sz="2000" err="1">
              <a:solidFill>
                <a:srgbClr val="FFFFFF"/>
              </a:solidFill>
              <a:latin typeface="Segoe UI"/>
            </a:endParaRPr>
          </a:p>
        </p:txBody>
      </p:sp>
      <p:sp>
        <p:nvSpPr>
          <p:cNvPr id="61" name="Title 4">
            <a:extLst>
              <a:ext uri="{FF2B5EF4-FFF2-40B4-BE49-F238E27FC236}">
                <a16:creationId xmlns:a16="http://schemas.microsoft.com/office/drawing/2014/main" id="{16A4615D-FEAD-4749-B317-267EC61D6ED5}"/>
              </a:ext>
            </a:extLst>
          </p:cNvPr>
          <p:cNvSpPr>
            <a:spLocks noGrp="1"/>
          </p:cNvSpPr>
          <p:nvPr>
            <p:ph type="title"/>
          </p:nvPr>
        </p:nvSpPr>
        <p:spPr/>
        <p:txBody>
          <a:bodyPr/>
          <a:lstStyle/>
          <a:p>
            <a:r>
              <a:rPr lang="en-US"/>
              <a:t>Comprehensive IoT platform from Microsoft</a:t>
            </a:r>
          </a:p>
        </p:txBody>
      </p:sp>
      <p:pic>
        <p:nvPicPr>
          <p:cNvPr id="36" name="Picture 35">
            <a:extLst>
              <a:ext uri="{FF2B5EF4-FFF2-40B4-BE49-F238E27FC236}">
                <a16:creationId xmlns:a16="http://schemas.microsoft.com/office/drawing/2014/main" id="{27E5AAB8-2608-4D58-8DE2-F2B6BACE0D75}"/>
              </a:ext>
            </a:extLst>
          </p:cNvPr>
          <p:cNvPicPr>
            <a:picLocks noChangeAspect="1"/>
          </p:cNvPicPr>
          <p:nvPr/>
        </p:nvPicPr>
        <p:blipFill rotWithShape="1">
          <a:blip r:embed="rId3"/>
          <a:srcRect r="3475" b="18109"/>
          <a:stretch/>
        </p:blipFill>
        <p:spPr>
          <a:xfrm>
            <a:off x="4888127" y="2472502"/>
            <a:ext cx="2415748" cy="677893"/>
          </a:xfrm>
          <a:prstGeom prst="rect">
            <a:avLst/>
          </a:prstGeom>
        </p:spPr>
      </p:pic>
      <p:sp>
        <p:nvSpPr>
          <p:cNvPr id="32" name="Freeform 13" title="Icon of a cloud">
            <a:extLst>
              <a:ext uri="{FF2B5EF4-FFF2-40B4-BE49-F238E27FC236}">
                <a16:creationId xmlns:a16="http://schemas.microsoft.com/office/drawing/2014/main" id="{B21A0F07-65F6-4F24-9AFC-9F8D7BE4ECFA}"/>
              </a:ext>
            </a:extLst>
          </p:cNvPr>
          <p:cNvSpPr>
            <a:spLocks noChangeAspect="1"/>
          </p:cNvSpPr>
          <p:nvPr/>
        </p:nvSpPr>
        <p:spPr bwMode="auto">
          <a:xfrm>
            <a:off x="5583142" y="2023772"/>
            <a:ext cx="1025719" cy="562669"/>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US">
              <a:gradFill>
                <a:gsLst>
                  <a:gs pos="0">
                    <a:srgbClr val="505050"/>
                  </a:gs>
                  <a:gs pos="100000">
                    <a:srgbClr val="505050"/>
                  </a:gs>
                </a:gsLst>
              </a:gradFill>
              <a:latin typeface="Segoe UI"/>
            </a:endParaRPr>
          </a:p>
        </p:txBody>
      </p:sp>
      <p:sp>
        <p:nvSpPr>
          <p:cNvPr id="203" name="TextBox 202">
            <a:extLst>
              <a:ext uri="{FF2B5EF4-FFF2-40B4-BE49-F238E27FC236}">
                <a16:creationId xmlns:a16="http://schemas.microsoft.com/office/drawing/2014/main" id="{E361AD0D-4AA7-47C4-B48E-588D10A64EFA}"/>
              </a:ext>
            </a:extLst>
          </p:cNvPr>
          <p:cNvSpPr txBox="1"/>
          <p:nvPr/>
        </p:nvSpPr>
        <p:spPr>
          <a:xfrm>
            <a:off x="1692238" y="1597626"/>
            <a:ext cx="978452" cy="523220"/>
          </a:xfrm>
          <a:prstGeom prst="rect">
            <a:avLst/>
          </a:prstGeom>
        </p:spPr>
        <p:txBody>
          <a:bodyPr wrap="square">
            <a:spAutoFit/>
          </a:bodyPr>
          <a:lstStyle>
            <a:defPPr>
              <a:defRPr lang="en-US"/>
            </a:defPPr>
            <a:lvl1pPr algn="ctr" defTabSz="243870">
              <a:spcAft>
                <a:spcPts val="600"/>
              </a:spcAft>
              <a:defRPr b="1">
                <a:solidFill>
                  <a:schemeClr val="tx2"/>
                </a:solidFill>
                <a:latin typeface="Segoe UI Semibold" panose="020B0702040204020203" pitchFamily="34" charset="0"/>
                <a:cs typeface="Segoe UI Semibold" panose="020B0702040204020203" pitchFamily="34" charset="0"/>
              </a:defRPr>
            </a:lvl1pPr>
          </a:lstStyle>
          <a:p>
            <a:pPr algn="l" defTabSz="243865">
              <a:spcAft>
                <a:spcPts val="0"/>
              </a:spcAft>
              <a:defRPr/>
            </a:pPr>
            <a:r>
              <a:rPr lang="en-US" sz="1400">
                <a:solidFill>
                  <a:srgbClr val="2F2F2F"/>
                </a:solidFill>
              </a:rPr>
              <a:t>Azure </a:t>
            </a:r>
          </a:p>
          <a:p>
            <a:pPr algn="l" defTabSz="243865">
              <a:spcAft>
                <a:spcPts val="0"/>
              </a:spcAft>
              <a:defRPr/>
            </a:pPr>
            <a:r>
              <a:rPr lang="en-US" sz="1400">
                <a:solidFill>
                  <a:srgbClr val="2F2F2F"/>
                </a:solidFill>
              </a:rPr>
              <a:t>IoT Hub</a:t>
            </a:r>
          </a:p>
        </p:txBody>
      </p:sp>
      <p:sp>
        <p:nvSpPr>
          <p:cNvPr id="35" name="Rectangle 34">
            <a:extLst>
              <a:ext uri="{FF2B5EF4-FFF2-40B4-BE49-F238E27FC236}">
                <a16:creationId xmlns:a16="http://schemas.microsoft.com/office/drawing/2014/main" id="{B7257C14-FFD9-4E5B-8039-BA46A13A1F9D}"/>
              </a:ext>
            </a:extLst>
          </p:cNvPr>
          <p:cNvSpPr/>
          <p:nvPr/>
        </p:nvSpPr>
        <p:spPr>
          <a:xfrm>
            <a:off x="7625817" y="1597626"/>
            <a:ext cx="1237975" cy="523220"/>
          </a:xfrm>
          <a:prstGeom prst="rect">
            <a:avLst/>
          </a:prstGeom>
        </p:spPr>
        <p:txBody>
          <a:bodyPr wrap="square">
            <a:spAutoFit/>
          </a:bodyPr>
          <a:lstStyle/>
          <a:p>
            <a:pPr defTabSz="243865">
              <a:defRPr/>
            </a:pPr>
            <a:r>
              <a:rPr lang="en-US" sz="1400" b="1">
                <a:solidFill>
                  <a:srgbClr val="2F2F2F"/>
                </a:solidFill>
                <a:latin typeface="Segoe UI Semibold" panose="020B0702040204020203" pitchFamily="34" charset="0"/>
                <a:cs typeface="Segoe UI Semibold" panose="020B0702040204020203" pitchFamily="34" charset="0"/>
              </a:rPr>
              <a:t>Azure </a:t>
            </a:r>
          </a:p>
          <a:p>
            <a:pPr defTabSz="243865">
              <a:defRPr/>
            </a:pPr>
            <a:r>
              <a:rPr lang="en-US" sz="1400" b="1">
                <a:solidFill>
                  <a:srgbClr val="2F2F2F"/>
                </a:solidFill>
                <a:latin typeface="Segoe UI Semibold" panose="020B0702040204020203" pitchFamily="34" charset="0"/>
                <a:cs typeface="Segoe UI Semibold" panose="020B0702040204020203" pitchFamily="34" charset="0"/>
              </a:rPr>
              <a:t>IoT Central</a:t>
            </a:r>
          </a:p>
        </p:txBody>
      </p:sp>
      <p:sp>
        <p:nvSpPr>
          <p:cNvPr id="4" name="Rectangle 3">
            <a:extLst>
              <a:ext uri="{FF2B5EF4-FFF2-40B4-BE49-F238E27FC236}">
                <a16:creationId xmlns:a16="http://schemas.microsoft.com/office/drawing/2014/main" id="{A2805A11-3140-4D92-A8F9-657A7175DC2E}"/>
              </a:ext>
            </a:extLst>
          </p:cNvPr>
          <p:cNvSpPr/>
          <p:nvPr/>
        </p:nvSpPr>
        <p:spPr>
          <a:xfrm>
            <a:off x="4169678" y="1597626"/>
            <a:ext cx="1104969" cy="523220"/>
          </a:xfrm>
          <a:prstGeom prst="rect">
            <a:avLst/>
          </a:prstGeom>
        </p:spPr>
        <p:txBody>
          <a:bodyPr wrap="square">
            <a:spAutoFit/>
          </a:bodyPr>
          <a:lstStyle/>
          <a:p>
            <a:pPr defTabSz="243865">
              <a:defRPr/>
            </a:pPr>
            <a:r>
              <a:rPr lang="en-US" sz="1400" b="1">
                <a:solidFill>
                  <a:srgbClr val="2F2F2F"/>
                </a:solidFill>
                <a:latin typeface="Segoe UI Semibold" panose="020B0702040204020203" pitchFamily="34" charset="0"/>
                <a:cs typeface="Segoe UI Semibold" panose="020B0702040204020203" pitchFamily="34" charset="0"/>
              </a:rPr>
              <a:t>Azure </a:t>
            </a:r>
          </a:p>
          <a:p>
            <a:pPr defTabSz="243865">
              <a:defRPr/>
            </a:pPr>
            <a:r>
              <a:rPr lang="en-US" sz="1400" b="1">
                <a:solidFill>
                  <a:srgbClr val="2F2F2F"/>
                </a:solidFill>
                <a:latin typeface="Segoe UI Semibold" panose="020B0702040204020203" pitchFamily="34" charset="0"/>
                <a:cs typeface="Segoe UI Semibold" panose="020B0702040204020203" pitchFamily="34" charset="0"/>
              </a:rPr>
              <a:t>IoT Edge </a:t>
            </a:r>
          </a:p>
        </p:txBody>
      </p:sp>
      <p:sp>
        <p:nvSpPr>
          <p:cNvPr id="7" name="Rectangle 6">
            <a:extLst>
              <a:ext uri="{FF2B5EF4-FFF2-40B4-BE49-F238E27FC236}">
                <a16:creationId xmlns:a16="http://schemas.microsoft.com/office/drawing/2014/main" id="{F5579EF3-1C5E-4721-B178-59216D4325B4}"/>
              </a:ext>
            </a:extLst>
          </p:cNvPr>
          <p:cNvSpPr/>
          <p:nvPr/>
        </p:nvSpPr>
        <p:spPr>
          <a:xfrm>
            <a:off x="9936234" y="1597626"/>
            <a:ext cx="2154831" cy="523220"/>
          </a:xfrm>
          <a:prstGeom prst="rect">
            <a:avLst/>
          </a:prstGeom>
        </p:spPr>
        <p:txBody>
          <a:bodyPr wrap="square">
            <a:spAutoFit/>
          </a:bodyPr>
          <a:lstStyle/>
          <a:p>
            <a:pPr defTabSz="243865">
              <a:defRPr/>
            </a:pPr>
            <a:r>
              <a:rPr lang="en-US" sz="1400" b="1">
                <a:solidFill>
                  <a:srgbClr val="2F2F2F"/>
                </a:solidFill>
                <a:latin typeface="Segoe UI Semibold" panose="020B0702040204020203" pitchFamily="34" charset="0"/>
                <a:cs typeface="Segoe UI Semibold" panose="020B0702040204020203" pitchFamily="34" charset="0"/>
              </a:rPr>
              <a:t>Azure IoT </a:t>
            </a:r>
          </a:p>
          <a:p>
            <a:pPr defTabSz="243865">
              <a:defRPr/>
            </a:pPr>
            <a:r>
              <a:rPr lang="en-US" sz="1400" b="1">
                <a:solidFill>
                  <a:srgbClr val="2F2F2F"/>
                </a:solidFill>
                <a:latin typeface="Segoe UI Semibold" panose="020B0702040204020203" pitchFamily="34" charset="0"/>
                <a:cs typeface="Segoe UI Semibold" panose="020B0702040204020203" pitchFamily="34" charset="0"/>
              </a:rPr>
              <a:t>solution accelerators</a:t>
            </a:r>
          </a:p>
        </p:txBody>
      </p:sp>
      <p:sp>
        <p:nvSpPr>
          <p:cNvPr id="56" name="Rectangle 55">
            <a:extLst>
              <a:ext uri="{FF2B5EF4-FFF2-40B4-BE49-F238E27FC236}">
                <a16:creationId xmlns:a16="http://schemas.microsoft.com/office/drawing/2014/main" id="{FAD35A72-DF33-447C-A167-80272AA19C34}"/>
              </a:ext>
            </a:extLst>
          </p:cNvPr>
          <p:cNvSpPr/>
          <p:nvPr/>
        </p:nvSpPr>
        <p:spPr bwMode="auto">
          <a:xfrm>
            <a:off x="602551" y="5073119"/>
            <a:ext cx="2377440" cy="822960"/>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243865">
              <a:defRPr/>
            </a:pPr>
            <a:r>
              <a:rPr lang="en-US" sz="1600">
                <a:solidFill>
                  <a:srgbClr val="2F2F2F"/>
                </a:solidFill>
                <a:latin typeface="Segoe UI Semibold"/>
                <a:cs typeface="Segoe UI Semibold"/>
              </a:rPr>
              <a:t>AZURE SPHERE </a:t>
            </a:r>
            <a:endParaRPr lang="en-US" sz="1600">
              <a:solidFill>
                <a:srgbClr val="2F2F2F"/>
              </a:solidFill>
              <a:latin typeface="Segoe UI Semibold" panose="020B0702040204020203" pitchFamily="34" charset="0"/>
              <a:cs typeface="Segoe UI Semibold" panose="020B0702040204020203" pitchFamily="34" charset="0"/>
            </a:endParaRPr>
          </a:p>
          <a:p>
            <a:pPr algn="ctr" defTabSz="895998">
              <a:spcAft>
                <a:spcPts val="200"/>
              </a:spcAft>
              <a:defRPr/>
            </a:pPr>
            <a:endParaRPr lang="en-US" sz="1400" kern="0">
              <a:solidFill>
                <a:srgbClr val="2F2F2F"/>
              </a:solidFill>
              <a:latin typeface="Segoe UI"/>
            </a:endParaRPr>
          </a:p>
          <a:p>
            <a:pPr algn="ctr" defTabSz="895998">
              <a:spcAft>
                <a:spcPts val="200"/>
              </a:spcAft>
              <a:defRPr/>
            </a:pPr>
            <a:r>
              <a:rPr lang="en-US" sz="1400" kern="0">
                <a:solidFill>
                  <a:srgbClr val="2F2F2F"/>
                </a:solidFill>
                <a:latin typeface="Segoe UI"/>
              </a:rPr>
              <a:t>Peerless security for microcontroller-based devices</a:t>
            </a:r>
            <a:endParaRPr lang="en-US" sz="1400" kern="0">
              <a:solidFill>
                <a:srgbClr val="2F2F2F"/>
              </a:solidFill>
              <a:latin typeface="Segoe UI"/>
              <a:cs typeface="Segoe UI"/>
            </a:endParaRPr>
          </a:p>
        </p:txBody>
      </p:sp>
      <p:sp>
        <p:nvSpPr>
          <p:cNvPr id="72" name="Rectangle 71">
            <a:extLst>
              <a:ext uri="{FF2B5EF4-FFF2-40B4-BE49-F238E27FC236}">
                <a16:creationId xmlns:a16="http://schemas.microsoft.com/office/drawing/2014/main" id="{38DBCE97-2828-42D0-830C-BC2F7BD65EE9}"/>
              </a:ext>
            </a:extLst>
          </p:cNvPr>
          <p:cNvSpPr/>
          <p:nvPr/>
        </p:nvSpPr>
        <p:spPr bwMode="auto">
          <a:xfrm>
            <a:off x="3470416" y="5073119"/>
            <a:ext cx="2377440" cy="822960"/>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243865">
              <a:defRPr/>
            </a:pPr>
            <a:r>
              <a:rPr lang="en-US" sz="1600">
                <a:solidFill>
                  <a:srgbClr val="2F2F2F"/>
                </a:solidFill>
                <a:latin typeface="Segoe UI Semibold"/>
                <a:cs typeface="Segoe UI Semibold"/>
              </a:rPr>
              <a:t>WINDOWS 10 IoT</a:t>
            </a:r>
            <a:endParaRPr lang="en-US" sz="1600">
              <a:solidFill>
                <a:srgbClr val="2F2F2F"/>
              </a:solidFill>
              <a:latin typeface="Segoe UI Semibold" panose="020B0702040204020203" pitchFamily="34" charset="0"/>
              <a:cs typeface="Segoe UI Semibold" panose="020B0702040204020203" pitchFamily="34" charset="0"/>
            </a:endParaRPr>
          </a:p>
          <a:p>
            <a:pPr algn="ctr" defTabSz="895998">
              <a:spcAft>
                <a:spcPts val="200"/>
              </a:spcAft>
              <a:defRPr/>
            </a:pPr>
            <a:endParaRPr lang="en-US" sz="1400" kern="0">
              <a:solidFill>
                <a:srgbClr val="2F2F2F"/>
              </a:solidFill>
              <a:latin typeface="Segoe UI"/>
            </a:endParaRPr>
          </a:p>
          <a:p>
            <a:pPr algn="ctr" defTabSz="895998">
              <a:spcAft>
                <a:spcPts val="200"/>
              </a:spcAft>
              <a:defRPr/>
            </a:pPr>
            <a:r>
              <a:rPr lang="en-US" sz="1400" kern="0">
                <a:solidFill>
                  <a:srgbClr val="2F2F2F"/>
                </a:solidFill>
                <a:latin typeface="Segoe UI"/>
              </a:rPr>
              <a:t>The power of Windows: from small footprint to enterprise-grade edge devices</a:t>
            </a:r>
            <a:endParaRPr lang="en-US" sz="1400" kern="0">
              <a:solidFill>
                <a:srgbClr val="2F2F2F"/>
              </a:solidFill>
              <a:latin typeface="Segoe UI"/>
              <a:cs typeface="Segoe UI"/>
            </a:endParaRPr>
          </a:p>
        </p:txBody>
      </p:sp>
      <p:sp>
        <p:nvSpPr>
          <p:cNvPr id="15" name="Rectangle 14">
            <a:extLst>
              <a:ext uri="{FF2B5EF4-FFF2-40B4-BE49-F238E27FC236}">
                <a16:creationId xmlns:a16="http://schemas.microsoft.com/office/drawing/2014/main" id="{BAB5F312-0D70-4D19-BB02-F8D8AF09DE3C}"/>
              </a:ext>
            </a:extLst>
          </p:cNvPr>
          <p:cNvSpPr/>
          <p:nvPr/>
        </p:nvSpPr>
        <p:spPr>
          <a:xfrm>
            <a:off x="1341470" y="4347615"/>
            <a:ext cx="899605" cy="338554"/>
          </a:xfrm>
          <a:prstGeom prst="rect">
            <a:avLst/>
          </a:prstGeom>
        </p:spPr>
        <p:txBody>
          <a:bodyPr wrap="none">
            <a:spAutoFit/>
          </a:bodyPr>
          <a:lstStyle/>
          <a:p>
            <a:pPr defTabSz="914377">
              <a:defRPr/>
            </a:pPr>
            <a:r>
              <a:rPr lang="en-US" sz="1600" kern="0">
                <a:solidFill>
                  <a:sysClr val="windowText" lastClr="000000"/>
                </a:solidFill>
                <a:latin typeface="Segoe UI Semibold"/>
                <a:cs typeface="Segoe UI Semibold"/>
              </a:rPr>
              <a:t>Sensors</a:t>
            </a:r>
            <a:endParaRPr lang="en-US" sz="2000">
              <a:solidFill>
                <a:sysClr val="windowText" lastClr="000000"/>
              </a:solidFill>
              <a:latin typeface="Segoe UI"/>
            </a:endParaRPr>
          </a:p>
        </p:txBody>
      </p:sp>
      <p:sp>
        <p:nvSpPr>
          <p:cNvPr id="74" name="Rectangle 73">
            <a:extLst>
              <a:ext uri="{FF2B5EF4-FFF2-40B4-BE49-F238E27FC236}">
                <a16:creationId xmlns:a16="http://schemas.microsoft.com/office/drawing/2014/main" id="{74C0C961-DF54-4039-8CDD-6F768A028B60}"/>
              </a:ext>
            </a:extLst>
          </p:cNvPr>
          <p:cNvSpPr/>
          <p:nvPr/>
        </p:nvSpPr>
        <p:spPr>
          <a:xfrm>
            <a:off x="4188684" y="4347615"/>
            <a:ext cx="947695" cy="338554"/>
          </a:xfrm>
          <a:prstGeom prst="rect">
            <a:avLst/>
          </a:prstGeom>
        </p:spPr>
        <p:txBody>
          <a:bodyPr wrap="none">
            <a:spAutoFit/>
          </a:bodyPr>
          <a:lstStyle/>
          <a:p>
            <a:pPr defTabSz="914377">
              <a:defRPr/>
            </a:pPr>
            <a:r>
              <a:rPr lang="en-US" sz="1600" kern="0">
                <a:solidFill>
                  <a:sysClr val="windowText" lastClr="000000"/>
                </a:solidFill>
                <a:latin typeface="Segoe UI Semibold"/>
                <a:cs typeface="Segoe UI Semibold"/>
              </a:rPr>
              <a:t>PC-class</a:t>
            </a:r>
            <a:endParaRPr lang="en-US" sz="2000">
              <a:solidFill>
                <a:sysClr val="windowText" lastClr="000000"/>
              </a:solidFill>
              <a:latin typeface="Segoe UI"/>
            </a:endParaRPr>
          </a:p>
        </p:txBody>
      </p:sp>
      <p:sp>
        <p:nvSpPr>
          <p:cNvPr id="76" name="Rectangle 75">
            <a:extLst>
              <a:ext uri="{FF2B5EF4-FFF2-40B4-BE49-F238E27FC236}">
                <a16:creationId xmlns:a16="http://schemas.microsoft.com/office/drawing/2014/main" id="{C1EA0611-097D-4D9B-BABD-5AFED9394D89}"/>
              </a:ext>
            </a:extLst>
          </p:cNvPr>
          <p:cNvSpPr/>
          <p:nvPr/>
        </p:nvSpPr>
        <p:spPr bwMode="auto">
          <a:xfrm>
            <a:off x="6397919" y="5073119"/>
            <a:ext cx="2377440" cy="822960"/>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243865">
              <a:defRPr/>
            </a:pPr>
            <a:r>
              <a:rPr lang="en-US" sz="1600">
                <a:solidFill>
                  <a:srgbClr val="2F2F2F"/>
                </a:solidFill>
                <a:latin typeface="Segoe UI Semibold"/>
                <a:cs typeface="Segoe UI Semibold"/>
              </a:rPr>
              <a:t>WINDOWS SERVER IoT</a:t>
            </a:r>
            <a:endParaRPr lang="en-US" sz="1400" kern="0">
              <a:solidFill>
                <a:srgbClr val="2F2F2F"/>
              </a:solidFill>
              <a:latin typeface="Segoe UI"/>
            </a:endParaRPr>
          </a:p>
          <a:p>
            <a:pPr algn="ctr" defTabSz="895998">
              <a:spcAft>
                <a:spcPts val="200"/>
              </a:spcAft>
              <a:defRPr/>
            </a:pPr>
            <a:endParaRPr lang="en-US" sz="1400" kern="0">
              <a:solidFill>
                <a:srgbClr val="2F2F2F"/>
              </a:solidFill>
              <a:latin typeface="Segoe UI"/>
            </a:endParaRPr>
          </a:p>
          <a:p>
            <a:pPr algn="ctr" defTabSz="895998">
              <a:spcAft>
                <a:spcPts val="200"/>
              </a:spcAft>
              <a:defRPr/>
            </a:pPr>
            <a:r>
              <a:rPr lang="en-US" sz="1400" kern="0">
                <a:solidFill>
                  <a:srgbClr val="2F2F2F"/>
                </a:solidFill>
                <a:latin typeface="Segoe UI"/>
              </a:rPr>
              <a:t>For the most demanding edge computing workloads</a:t>
            </a:r>
            <a:endParaRPr lang="en-US" sz="1400" kern="0">
              <a:solidFill>
                <a:srgbClr val="2F2F2F"/>
              </a:solidFill>
              <a:latin typeface="Segoe UI"/>
              <a:cs typeface="Segoe UI"/>
            </a:endParaRPr>
          </a:p>
        </p:txBody>
      </p:sp>
      <p:sp>
        <p:nvSpPr>
          <p:cNvPr id="78" name="Rectangle 77">
            <a:extLst>
              <a:ext uri="{FF2B5EF4-FFF2-40B4-BE49-F238E27FC236}">
                <a16:creationId xmlns:a16="http://schemas.microsoft.com/office/drawing/2014/main" id="{3B704AFD-7EE7-412C-9CA3-C9357E3C55EB}"/>
              </a:ext>
            </a:extLst>
          </p:cNvPr>
          <p:cNvSpPr/>
          <p:nvPr/>
        </p:nvSpPr>
        <p:spPr>
          <a:xfrm>
            <a:off x="6899524" y="4347615"/>
            <a:ext cx="1284326" cy="338554"/>
          </a:xfrm>
          <a:prstGeom prst="rect">
            <a:avLst/>
          </a:prstGeom>
        </p:spPr>
        <p:txBody>
          <a:bodyPr wrap="none">
            <a:spAutoFit/>
          </a:bodyPr>
          <a:lstStyle/>
          <a:p>
            <a:pPr defTabSz="914377">
              <a:defRPr/>
            </a:pPr>
            <a:r>
              <a:rPr lang="en-US" sz="1600" kern="0">
                <a:solidFill>
                  <a:sysClr val="windowText" lastClr="000000"/>
                </a:solidFill>
                <a:latin typeface="Segoe UI Semibold"/>
                <a:cs typeface="Segoe UI Semibold"/>
              </a:rPr>
              <a:t>Server-class</a:t>
            </a:r>
          </a:p>
        </p:txBody>
      </p:sp>
      <p:sp>
        <p:nvSpPr>
          <p:cNvPr id="80" name="Rectangle 79">
            <a:extLst>
              <a:ext uri="{FF2B5EF4-FFF2-40B4-BE49-F238E27FC236}">
                <a16:creationId xmlns:a16="http://schemas.microsoft.com/office/drawing/2014/main" id="{66969CB1-ECDF-40EB-8EDD-48F81FF447C0}"/>
              </a:ext>
            </a:extLst>
          </p:cNvPr>
          <p:cNvSpPr/>
          <p:nvPr/>
        </p:nvSpPr>
        <p:spPr bwMode="auto">
          <a:xfrm>
            <a:off x="9281583" y="5073119"/>
            <a:ext cx="2377440" cy="822960"/>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243865">
              <a:defRPr/>
            </a:pPr>
            <a:r>
              <a:rPr lang="en-US" sz="1600">
                <a:solidFill>
                  <a:srgbClr val="2F2F2F"/>
                </a:solidFill>
                <a:latin typeface="Segoe UI Semibold" panose="020B0702040204020203" pitchFamily="34" charset="0"/>
                <a:cs typeface="Segoe UI Semibold" panose="020B0702040204020203" pitchFamily="34" charset="0"/>
              </a:rPr>
              <a:t>AZURE STACK</a:t>
            </a:r>
          </a:p>
          <a:p>
            <a:pPr algn="ctr" defTabSz="895998">
              <a:spcAft>
                <a:spcPts val="200"/>
              </a:spcAft>
              <a:defRPr/>
            </a:pPr>
            <a:endParaRPr lang="en-US" sz="1400" kern="0">
              <a:solidFill>
                <a:srgbClr val="2F2F2F"/>
              </a:solidFill>
              <a:latin typeface="Segoe UI"/>
            </a:endParaRPr>
          </a:p>
          <a:p>
            <a:pPr algn="ctr" defTabSz="895998">
              <a:spcAft>
                <a:spcPts val="200"/>
              </a:spcAft>
              <a:defRPr/>
            </a:pPr>
            <a:r>
              <a:rPr lang="en-US" sz="1400" kern="0">
                <a:solidFill>
                  <a:srgbClr val="2F2F2F"/>
                </a:solidFill>
                <a:latin typeface="Segoe UI"/>
              </a:rPr>
              <a:t>An extension of Azure to consistently build and run hybrid applications across cloud boundaries</a:t>
            </a:r>
          </a:p>
        </p:txBody>
      </p:sp>
      <p:sp>
        <p:nvSpPr>
          <p:cNvPr id="82" name="Rectangle 81">
            <a:extLst>
              <a:ext uri="{FF2B5EF4-FFF2-40B4-BE49-F238E27FC236}">
                <a16:creationId xmlns:a16="http://schemas.microsoft.com/office/drawing/2014/main" id="{9A5C976F-D6AD-4ACB-9810-AE057FD1D95F}"/>
              </a:ext>
            </a:extLst>
          </p:cNvPr>
          <p:cNvSpPr/>
          <p:nvPr/>
        </p:nvSpPr>
        <p:spPr>
          <a:xfrm>
            <a:off x="9754403" y="4347615"/>
            <a:ext cx="1431802" cy="338554"/>
          </a:xfrm>
          <a:prstGeom prst="rect">
            <a:avLst/>
          </a:prstGeom>
        </p:spPr>
        <p:txBody>
          <a:bodyPr wrap="none">
            <a:spAutoFit/>
          </a:bodyPr>
          <a:lstStyle/>
          <a:p>
            <a:pPr defTabSz="914377">
              <a:defRPr/>
            </a:pPr>
            <a:r>
              <a:rPr lang="en-US" sz="1600" kern="0">
                <a:solidFill>
                  <a:sysClr val="windowText" lastClr="000000"/>
                </a:solidFill>
                <a:latin typeface="Segoe UI Semibold"/>
                <a:cs typeface="Segoe UI Semibold"/>
              </a:rPr>
              <a:t>Hybrid server</a:t>
            </a:r>
          </a:p>
        </p:txBody>
      </p:sp>
      <p:grpSp>
        <p:nvGrpSpPr>
          <p:cNvPr id="83" name="Group 4">
            <a:extLst>
              <a:ext uri="{FF2B5EF4-FFF2-40B4-BE49-F238E27FC236}">
                <a16:creationId xmlns:a16="http://schemas.microsoft.com/office/drawing/2014/main" id="{11A18D63-BBAA-490B-9E03-E20341F61BA8}"/>
              </a:ext>
            </a:extLst>
          </p:cNvPr>
          <p:cNvGrpSpPr>
            <a:grpSpLocks/>
          </p:cNvGrpSpPr>
          <p:nvPr/>
        </p:nvGrpSpPr>
        <p:grpSpPr bwMode="auto">
          <a:xfrm flipH="1">
            <a:off x="3790332" y="4334011"/>
            <a:ext cx="365760" cy="365760"/>
            <a:chOff x="3794" y="2086"/>
            <a:chExt cx="245" cy="238"/>
          </a:xfrm>
        </p:grpSpPr>
        <p:sp>
          <p:nvSpPr>
            <p:cNvPr id="84" name="Rectangle 83">
              <a:extLst>
                <a:ext uri="{FF2B5EF4-FFF2-40B4-BE49-F238E27FC236}">
                  <a16:creationId xmlns:a16="http://schemas.microsoft.com/office/drawing/2014/main" id="{195799A5-4EE8-4F50-832D-44A91044C398}"/>
                </a:ext>
              </a:extLst>
            </p:cNvPr>
            <p:cNvSpPr>
              <a:spLocks noChangeArrowheads="1"/>
            </p:cNvSpPr>
            <p:nvPr/>
          </p:nvSpPr>
          <p:spPr bwMode="auto">
            <a:xfrm>
              <a:off x="3794" y="2086"/>
              <a:ext cx="245" cy="138"/>
            </a:xfrm>
            <a:prstGeom prst="rect">
              <a:avLst/>
            </a:prstGeom>
            <a:noFill/>
            <a:ln w="19050">
              <a:solidFill>
                <a:schemeClr val="accent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defTabSz="914377">
                <a:defRPr/>
              </a:pPr>
              <a:endParaRPr lang="en-US">
                <a:solidFill>
                  <a:srgbClr val="555555"/>
                </a:solidFill>
                <a:latin typeface="Segoe UI"/>
              </a:endParaRPr>
            </a:p>
          </p:txBody>
        </p:sp>
        <p:sp>
          <p:nvSpPr>
            <p:cNvPr id="85" name="Freeform 6">
              <a:extLst>
                <a:ext uri="{FF2B5EF4-FFF2-40B4-BE49-F238E27FC236}">
                  <a16:creationId xmlns:a16="http://schemas.microsoft.com/office/drawing/2014/main" id="{0CADEB00-9951-4A33-B728-7AA1C604A0AD}"/>
                </a:ext>
              </a:extLst>
            </p:cNvPr>
            <p:cNvSpPr>
              <a:spLocks/>
            </p:cNvSpPr>
            <p:nvPr/>
          </p:nvSpPr>
          <p:spPr bwMode="auto">
            <a:xfrm>
              <a:off x="3801" y="2287"/>
              <a:ext cx="231" cy="37"/>
            </a:xfrm>
            <a:custGeom>
              <a:avLst/>
              <a:gdLst>
                <a:gd name="T0" fmla="*/ 26 w 231"/>
                <a:gd name="T1" fmla="*/ 0 h 37"/>
                <a:gd name="T2" fmla="*/ 205 w 231"/>
                <a:gd name="T3" fmla="*/ 0 h 37"/>
                <a:gd name="T4" fmla="*/ 231 w 231"/>
                <a:gd name="T5" fmla="*/ 37 h 37"/>
                <a:gd name="T6" fmla="*/ 0 w 231"/>
                <a:gd name="T7" fmla="*/ 37 h 37"/>
                <a:gd name="T8" fmla="*/ 26 w 231"/>
                <a:gd name="T9" fmla="*/ 0 h 37"/>
              </a:gdLst>
              <a:ahLst/>
              <a:cxnLst>
                <a:cxn ang="0">
                  <a:pos x="T0" y="T1"/>
                </a:cxn>
                <a:cxn ang="0">
                  <a:pos x="T2" y="T3"/>
                </a:cxn>
                <a:cxn ang="0">
                  <a:pos x="T4" y="T5"/>
                </a:cxn>
                <a:cxn ang="0">
                  <a:pos x="T6" y="T7"/>
                </a:cxn>
                <a:cxn ang="0">
                  <a:pos x="T8" y="T9"/>
                </a:cxn>
              </a:cxnLst>
              <a:rect l="0" t="0" r="r" b="b"/>
              <a:pathLst>
                <a:path w="231" h="37">
                  <a:moveTo>
                    <a:pt x="26" y="0"/>
                  </a:moveTo>
                  <a:lnTo>
                    <a:pt x="205" y="0"/>
                  </a:lnTo>
                  <a:lnTo>
                    <a:pt x="231" y="37"/>
                  </a:lnTo>
                  <a:lnTo>
                    <a:pt x="0" y="37"/>
                  </a:lnTo>
                  <a:lnTo>
                    <a:pt x="26" y="0"/>
                  </a:lnTo>
                  <a:close/>
                </a:path>
              </a:pathLst>
            </a:custGeom>
            <a:noFill/>
            <a:ln w="19050">
              <a:solidFill>
                <a:schemeClr val="accent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defTabSz="914377">
                <a:defRPr/>
              </a:pPr>
              <a:endParaRPr lang="en-US">
                <a:solidFill>
                  <a:srgbClr val="555555"/>
                </a:solidFill>
                <a:latin typeface="Segoe UI"/>
              </a:endParaRPr>
            </a:p>
          </p:txBody>
        </p:sp>
        <p:sp>
          <p:nvSpPr>
            <p:cNvPr id="86" name="Line 7">
              <a:extLst>
                <a:ext uri="{FF2B5EF4-FFF2-40B4-BE49-F238E27FC236}">
                  <a16:creationId xmlns:a16="http://schemas.microsoft.com/office/drawing/2014/main" id="{7DC61684-9F87-482F-A057-09F7147017E7}"/>
                </a:ext>
              </a:extLst>
            </p:cNvPr>
            <p:cNvSpPr>
              <a:spLocks noChangeShapeType="1"/>
            </p:cNvSpPr>
            <p:nvPr/>
          </p:nvSpPr>
          <p:spPr bwMode="auto">
            <a:xfrm>
              <a:off x="3917" y="2224"/>
              <a:ext cx="0" cy="29"/>
            </a:xfrm>
            <a:prstGeom prst="line">
              <a:avLst/>
            </a:prstGeom>
            <a:noFill/>
            <a:ln w="19050">
              <a:solidFill>
                <a:schemeClr val="accent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defTabSz="914377">
                <a:defRPr/>
              </a:pPr>
              <a:endParaRPr lang="en-US">
                <a:solidFill>
                  <a:srgbClr val="555555"/>
                </a:solidFill>
                <a:latin typeface="Segoe UI"/>
              </a:endParaRPr>
            </a:p>
          </p:txBody>
        </p:sp>
        <p:sp>
          <p:nvSpPr>
            <p:cNvPr id="87" name="Line 8">
              <a:extLst>
                <a:ext uri="{FF2B5EF4-FFF2-40B4-BE49-F238E27FC236}">
                  <a16:creationId xmlns:a16="http://schemas.microsoft.com/office/drawing/2014/main" id="{E25254FB-87CB-460E-9769-15549AA1D445}"/>
                </a:ext>
              </a:extLst>
            </p:cNvPr>
            <p:cNvSpPr>
              <a:spLocks noChangeShapeType="1"/>
            </p:cNvSpPr>
            <p:nvPr/>
          </p:nvSpPr>
          <p:spPr bwMode="auto">
            <a:xfrm>
              <a:off x="3873" y="2255"/>
              <a:ext cx="86" cy="0"/>
            </a:xfrm>
            <a:prstGeom prst="line">
              <a:avLst/>
            </a:prstGeom>
            <a:noFill/>
            <a:ln w="19050">
              <a:solidFill>
                <a:schemeClr val="accent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defTabSz="914377">
                <a:defRPr/>
              </a:pPr>
              <a:endParaRPr lang="en-US">
                <a:solidFill>
                  <a:srgbClr val="555555"/>
                </a:solidFill>
                <a:latin typeface="Segoe UI"/>
              </a:endParaRPr>
            </a:p>
          </p:txBody>
        </p:sp>
      </p:grpSp>
      <p:sp>
        <p:nvSpPr>
          <p:cNvPr id="88" name="signal" title="Icon of a communication signal">
            <a:extLst>
              <a:ext uri="{FF2B5EF4-FFF2-40B4-BE49-F238E27FC236}">
                <a16:creationId xmlns:a16="http://schemas.microsoft.com/office/drawing/2014/main" id="{83784AA4-6100-4E15-B643-0BD230EAD5A6}"/>
              </a:ext>
            </a:extLst>
          </p:cNvPr>
          <p:cNvSpPr>
            <a:spLocks noChangeAspect="1" noEditPoints="1"/>
          </p:cNvSpPr>
          <p:nvPr/>
        </p:nvSpPr>
        <p:spPr bwMode="auto">
          <a:xfrm>
            <a:off x="938643" y="4318357"/>
            <a:ext cx="402827" cy="457200"/>
          </a:xfrm>
          <a:custGeom>
            <a:avLst/>
            <a:gdLst>
              <a:gd name="T0" fmla="*/ 105 w 296"/>
              <a:gd name="T1" fmla="*/ 225 h 337"/>
              <a:gd name="T2" fmla="*/ 148 w 296"/>
              <a:gd name="T3" fmla="*/ 182 h 337"/>
              <a:gd name="T4" fmla="*/ 190 w 296"/>
              <a:gd name="T5" fmla="*/ 225 h 337"/>
              <a:gd name="T6" fmla="*/ 148 w 296"/>
              <a:gd name="T7" fmla="*/ 267 h 337"/>
              <a:gd name="T8" fmla="*/ 105 w 296"/>
              <a:gd name="T9" fmla="*/ 225 h 337"/>
              <a:gd name="T10" fmla="*/ 148 w 296"/>
              <a:gd name="T11" fmla="*/ 267 h 337"/>
              <a:gd name="T12" fmla="*/ 148 w 296"/>
              <a:gd name="T13" fmla="*/ 337 h 337"/>
              <a:gd name="T14" fmla="*/ 296 w 296"/>
              <a:gd name="T15" fmla="*/ 61 h 337"/>
              <a:gd name="T16" fmla="*/ 148 w 296"/>
              <a:gd name="T17" fmla="*/ 0 h 337"/>
              <a:gd name="T18" fmla="*/ 0 w 296"/>
              <a:gd name="T19" fmla="*/ 62 h 337"/>
              <a:gd name="T20" fmla="*/ 255 w 296"/>
              <a:gd name="T21" fmla="*/ 104 h 337"/>
              <a:gd name="T22" fmla="*/ 149 w 296"/>
              <a:gd name="T23" fmla="*/ 60 h 337"/>
              <a:gd name="T24" fmla="*/ 41 w 296"/>
              <a:gd name="T25" fmla="*/ 105 h 337"/>
              <a:gd name="T26" fmla="*/ 208 w 296"/>
              <a:gd name="T27" fmla="*/ 150 h 337"/>
              <a:gd name="T28" fmla="*/ 148 w 296"/>
              <a:gd name="T29" fmla="*/ 125 h 337"/>
              <a:gd name="T30" fmla="*/ 88 w 296"/>
              <a:gd name="T31" fmla="*/ 14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337">
                <a:moveTo>
                  <a:pt x="105" y="225"/>
                </a:moveTo>
                <a:cubicBezTo>
                  <a:pt x="105" y="201"/>
                  <a:pt x="124" y="182"/>
                  <a:pt x="148" y="182"/>
                </a:cubicBezTo>
                <a:cubicBezTo>
                  <a:pt x="171" y="182"/>
                  <a:pt x="190" y="201"/>
                  <a:pt x="190" y="225"/>
                </a:cubicBezTo>
                <a:cubicBezTo>
                  <a:pt x="190" y="248"/>
                  <a:pt x="171" y="267"/>
                  <a:pt x="148" y="267"/>
                </a:cubicBezTo>
                <a:cubicBezTo>
                  <a:pt x="124" y="267"/>
                  <a:pt x="105" y="248"/>
                  <a:pt x="105" y="225"/>
                </a:cubicBezTo>
                <a:close/>
                <a:moveTo>
                  <a:pt x="148" y="267"/>
                </a:moveTo>
                <a:cubicBezTo>
                  <a:pt x="148" y="337"/>
                  <a:pt x="148" y="337"/>
                  <a:pt x="148" y="337"/>
                </a:cubicBezTo>
                <a:moveTo>
                  <a:pt x="296" y="61"/>
                </a:moveTo>
                <a:cubicBezTo>
                  <a:pt x="258" y="23"/>
                  <a:pt x="206" y="0"/>
                  <a:pt x="148" y="0"/>
                </a:cubicBezTo>
                <a:cubicBezTo>
                  <a:pt x="90" y="0"/>
                  <a:pt x="38" y="24"/>
                  <a:pt x="0" y="62"/>
                </a:cubicBezTo>
                <a:moveTo>
                  <a:pt x="255" y="104"/>
                </a:moveTo>
                <a:cubicBezTo>
                  <a:pt x="228" y="77"/>
                  <a:pt x="190" y="60"/>
                  <a:pt x="149" y="60"/>
                </a:cubicBezTo>
                <a:cubicBezTo>
                  <a:pt x="106" y="60"/>
                  <a:pt x="68" y="77"/>
                  <a:pt x="41" y="105"/>
                </a:cubicBezTo>
                <a:moveTo>
                  <a:pt x="208" y="150"/>
                </a:moveTo>
                <a:cubicBezTo>
                  <a:pt x="192" y="134"/>
                  <a:pt x="171" y="125"/>
                  <a:pt x="148" y="125"/>
                </a:cubicBezTo>
                <a:cubicBezTo>
                  <a:pt x="124" y="125"/>
                  <a:pt x="103" y="134"/>
                  <a:pt x="88" y="149"/>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1" tIns="44815" rIns="89631" bIns="44815" numCol="1" anchor="t" anchorCtr="0" compatLnSpc="1">
            <a:prstTxWarp prst="textNoShape">
              <a:avLst/>
            </a:prstTxWarp>
          </a:bodyPr>
          <a:lstStyle/>
          <a:p>
            <a:pPr defTabSz="914116">
              <a:defRPr/>
            </a:pPr>
            <a:endParaRPr lang="en-US" sz="2000">
              <a:solidFill>
                <a:prstClr val="black"/>
              </a:solidFill>
              <a:latin typeface="Calibri" panose="020F0502020204030204"/>
            </a:endParaRPr>
          </a:p>
        </p:txBody>
      </p:sp>
      <p:sp>
        <p:nvSpPr>
          <p:cNvPr id="89" name="server" title="Icon of a server tower">
            <a:extLst>
              <a:ext uri="{FF2B5EF4-FFF2-40B4-BE49-F238E27FC236}">
                <a16:creationId xmlns:a16="http://schemas.microsoft.com/office/drawing/2014/main" id="{40CA069B-7B1F-4834-A04B-D61E56DE718D}"/>
              </a:ext>
            </a:extLst>
          </p:cNvPr>
          <p:cNvSpPr>
            <a:spLocks noChangeAspect="1" noEditPoints="1"/>
          </p:cNvSpPr>
          <p:nvPr/>
        </p:nvSpPr>
        <p:spPr bwMode="auto">
          <a:xfrm>
            <a:off x="6635447" y="4353607"/>
            <a:ext cx="240712" cy="45720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US" sz="900">
              <a:gradFill>
                <a:gsLst>
                  <a:gs pos="0">
                    <a:srgbClr val="505050"/>
                  </a:gs>
                  <a:gs pos="100000">
                    <a:srgbClr val="505050"/>
                  </a:gs>
                </a:gsLst>
                <a:lin ang="5400000" scaled="1"/>
              </a:gradFill>
              <a:latin typeface="Segoe UI"/>
            </a:endParaRPr>
          </a:p>
        </p:txBody>
      </p:sp>
      <p:sp>
        <p:nvSpPr>
          <p:cNvPr id="90" name="network_3" title="Icon of a server connected to a network">
            <a:extLst>
              <a:ext uri="{FF2B5EF4-FFF2-40B4-BE49-F238E27FC236}">
                <a16:creationId xmlns:a16="http://schemas.microsoft.com/office/drawing/2014/main" id="{149F2350-6BCC-4EF3-B79F-B979D5F4C49C}"/>
              </a:ext>
            </a:extLst>
          </p:cNvPr>
          <p:cNvSpPr>
            <a:spLocks noChangeAspect="1" noEditPoints="1"/>
          </p:cNvSpPr>
          <p:nvPr/>
        </p:nvSpPr>
        <p:spPr bwMode="auto">
          <a:xfrm>
            <a:off x="9384496" y="4288291"/>
            <a:ext cx="440576" cy="45720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US">
              <a:solidFill>
                <a:srgbClr val="555555"/>
              </a:solidFill>
              <a:latin typeface="Segoe UI"/>
            </a:endParaRPr>
          </a:p>
        </p:txBody>
      </p:sp>
      <p:sp>
        <p:nvSpPr>
          <p:cNvPr id="92" name="IoT_Hub" title="Icon of circles connecting to a center circle surrounded by brackets">
            <a:extLst>
              <a:ext uri="{FF2B5EF4-FFF2-40B4-BE49-F238E27FC236}">
                <a16:creationId xmlns:a16="http://schemas.microsoft.com/office/drawing/2014/main" id="{31C1A45E-5E31-459E-8A7C-48D6B0401DA9}"/>
              </a:ext>
            </a:extLst>
          </p:cNvPr>
          <p:cNvSpPr>
            <a:spLocks noChangeAspect="1" noEditPoints="1"/>
          </p:cNvSpPr>
          <p:nvPr/>
        </p:nvSpPr>
        <p:spPr bwMode="auto">
          <a:xfrm>
            <a:off x="1000349" y="1584915"/>
            <a:ext cx="548640" cy="548640"/>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2700" cap="sq">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US">
              <a:gradFill>
                <a:gsLst>
                  <a:gs pos="0">
                    <a:srgbClr val="505050"/>
                  </a:gs>
                  <a:gs pos="100000">
                    <a:srgbClr val="505050"/>
                  </a:gs>
                </a:gsLst>
              </a:gradFill>
              <a:latin typeface="Segoe UI"/>
            </a:endParaRPr>
          </a:p>
        </p:txBody>
      </p:sp>
      <p:pic>
        <p:nvPicPr>
          <p:cNvPr id="21" name="Graphic 20">
            <a:extLst>
              <a:ext uri="{FF2B5EF4-FFF2-40B4-BE49-F238E27FC236}">
                <a16:creationId xmlns:a16="http://schemas.microsoft.com/office/drawing/2014/main" id="{ED2003CF-7E9A-483C-8E00-5ABF03D378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50114" y="1584915"/>
            <a:ext cx="477079" cy="548640"/>
          </a:xfrm>
          <a:prstGeom prst="rect">
            <a:avLst/>
          </a:prstGeom>
        </p:spPr>
      </p:pic>
      <p:pic>
        <p:nvPicPr>
          <p:cNvPr id="23" name="Graphic 22">
            <a:extLst>
              <a:ext uri="{FF2B5EF4-FFF2-40B4-BE49-F238E27FC236}">
                <a16:creationId xmlns:a16="http://schemas.microsoft.com/office/drawing/2014/main" id="{6DEA6C35-01BC-4CE0-BD6D-E05CC397E15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52932" y="1584915"/>
            <a:ext cx="478601" cy="548640"/>
          </a:xfrm>
          <a:prstGeom prst="rect">
            <a:avLst/>
          </a:prstGeom>
        </p:spPr>
      </p:pic>
      <p:grpSp>
        <p:nvGrpSpPr>
          <p:cNvPr id="24" name="Graphic 18">
            <a:extLst>
              <a:ext uri="{FF2B5EF4-FFF2-40B4-BE49-F238E27FC236}">
                <a16:creationId xmlns:a16="http://schemas.microsoft.com/office/drawing/2014/main" id="{856AA042-92CE-4645-9534-89050CF435DF}"/>
              </a:ext>
            </a:extLst>
          </p:cNvPr>
          <p:cNvGrpSpPr/>
          <p:nvPr/>
        </p:nvGrpSpPr>
        <p:grpSpPr>
          <a:xfrm>
            <a:off x="3439857" y="1589614"/>
            <a:ext cx="598343" cy="539247"/>
            <a:chOff x="4187888" y="2840876"/>
            <a:chExt cx="771525" cy="695325"/>
          </a:xfrm>
        </p:grpSpPr>
        <p:sp>
          <p:nvSpPr>
            <p:cNvPr id="25" name="Freeform: Shape 24">
              <a:extLst>
                <a:ext uri="{FF2B5EF4-FFF2-40B4-BE49-F238E27FC236}">
                  <a16:creationId xmlns:a16="http://schemas.microsoft.com/office/drawing/2014/main" id="{391A4F0E-B752-4FAB-B947-621C501CBB27}"/>
                </a:ext>
              </a:extLst>
            </p:cNvPr>
            <p:cNvSpPr/>
            <p:nvPr/>
          </p:nvSpPr>
          <p:spPr>
            <a:xfrm>
              <a:off x="4206938" y="3324555"/>
              <a:ext cx="723900" cy="209550"/>
            </a:xfrm>
            <a:custGeom>
              <a:avLst/>
              <a:gdLst>
                <a:gd name="connsiteX0" fmla="*/ 732568 w 723900"/>
                <a:gd name="connsiteY0" fmla="*/ 211074 h 209550"/>
                <a:gd name="connsiteX1" fmla="*/ 0 w 723900"/>
                <a:gd name="connsiteY1" fmla="*/ 211074 h 209550"/>
                <a:gd name="connsiteX2" fmla="*/ 0 w 723900"/>
                <a:gd name="connsiteY2" fmla="*/ 0 h 209550"/>
                <a:gd name="connsiteX3" fmla="*/ 732568 w 723900"/>
                <a:gd name="connsiteY3" fmla="*/ 0 h 209550"/>
                <a:gd name="connsiteX4" fmla="*/ 732568 w 723900"/>
                <a:gd name="connsiteY4" fmla="*/ 211074 h 209550"/>
                <a:gd name="connsiteX5" fmla="*/ 605314 w 723900"/>
                <a:gd name="connsiteY5" fmla="*/ 113919 h 209550"/>
                <a:gd name="connsiteX6" fmla="*/ 626459 w 723900"/>
                <a:gd name="connsiteY6" fmla="*/ 89154 h 209550"/>
                <a:gd name="connsiteX7" fmla="*/ 605314 w 723900"/>
                <a:gd name="connsiteY7" fmla="*/ 67913 h 209550"/>
                <a:gd name="connsiteX8" fmla="*/ 584164 w 723900"/>
                <a:gd name="connsiteY8" fmla="*/ 87501 h 209550"/>
                <a:gd name="connsiteX9" fmla="*/ 584168 w 723900"/>
                <a:gd name="connsiteY9" fmla="*/ 89154 h 209550"/>
                <a:gd name="connsiteX10" fmla="*/ 605314 w 723900"/>
                <a:gd name="connsiteY10" fmla="*/ 113919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3900" h="209550">
                  <a:moveTo>
                    <a:pt x="732568" y="211074"/>
                  </a:moveTo>
                  <a:lnTo>
                    <a:pt x="0" y="211074"/>
                  </a:lnTo>
                  <a:lnTo>
                    <a:pt x="0" y="0"/>
                  </a:lnTo>
                  <a:lnTo>
                    <a:pt x="732568" y="0"/>
                  </a:lnTo>
                  <a:lnTo>
                    <a:pt x="732568" y="211074"/>
                  </a:lnTo>
                  <a:close/>
                  <a:moveTo>
                    <a:pt x="605314" y="113919"/>
                  </a:moveTo>
                  <a:cubicBezTo>
                    <a:pt x="617835" y="112617"/>
                    <a:pt x="627136" y="101725"/>
                    <a:pt x="626459" y="89154"/>
                  </a:cubicBezTo>
                  <a:cubicBezTo>
                    <a:pt x="625723" y="77778"/>
                    <a:pt x="616687" y="68700"/>
                    <a:pt x="605314" y="67913"/>
                  </a:cubicBezTo>
                  <a:cubicBezTo>
                    <a:pt x="594065" y="67482"/>
                    <a:pt x="584596" y="76251"/>
                    <a:pt x="584164" y="87501"/>
                  </a:cubicBezTo>
                  <a:cubicBezTo>
                    <a:pt x="584144" y="88052"/>
                    <a:pt x="584144" y="88603"/>
                    <a:pt x="584168" y="89154"/>
                  </a:cubicBezTo>
                  <a:cubicBezTo>
                    <a:pt x="584168" y="103346"/>
                    <a:pt x="591217" y="113919"/>
                    <a:pt x="605314" y="113919"/>
                  </a:cubicBezTo>
                  <a:close/>
                </a:path>
              </a:pathLst>
            </a:custGeom>
            <a:noFill/>
            <a:ln w="12700" cap="flat">
              <a:solidFill>
                <a:schemeClr val="tx2"/>
              </a:solidFill>
              <a:prstDash val="solid"/>
              <a:miter/>
            </a:ln>
          </p:spPr>
          <p:txBody>
            <a:bodyPr rtlCol="0" anchor="ctr"/>
            <a:lstStyle/>
            <a:p>
              <a:pPr defTabSz="914377">
                <a:defRPr/>
              </a:pPr>
              <a:endParaRPr lang="en-US">
                <a:solidFill>
                  <a:srgbClr val="555555"/>
                </a:solidFill>
                <a:latin typeface="Segoe UI"/>
              </a:endParaRPr>
            </a:p>
          </p:txBody>
        </p:sp>
        <p:sp>
          <p:nvSpPr>
            <p:cNvPr id="26" name="Freeform: Shape 25">
              <a:extLst>
                <a:ext uri="{FF2B5EF4-FFF2-40B4-BE49-F238E27FC236}">
                  <a16:creationId xmlns:a16="http://schemas.microsoft.com/office/drawing/2014/main" id="{B8BF40A6-073A-42FF-A680-BB86FB67E190}"/>
                </a:ext>
              </a:extLst>
            </p:cNvPr>
            <p:cNvSpPr/>
            <p:nvPr/>
          </p:nvSpPr>
          <p:spPr>
            <a:xfrm>
              <a:off x="4384559" y="2972757"/>
              <a:ext cx="381000" cy="504825"/>
            </a:xfrm>
            <a:custGeom>
              <a:avLst/>
              <a:gdLst>
                <a:gd name="connsiteX0" fmla="*/ 246718 w 381000"/>
                <a:gd name="connsiteY0" fmla="*/ 206637 h 504825"/>
                <a:gd name="connsiteX1" fmla="*/ 161056 w 381000"/>
                <a:gd name="connsiteY1" fmla="*/ 255741 h 504825"/>
                <a:gd name="connsiteX2" fmla="*/ 111952 w 381000"/>
                <a:gd name="connsiteY2" fmla="*/ 170080 h 504825"/>
                <a:gd name="connsiteX3" fmla="*/ 197378 w 381000"/>
                <a:gd name="connsiteY3" fmla="*/ 120912 h 504825"/>
                <a:gd name="connsiteX4" fmla="*/ 246718 w 381000"/>
                <a:gd name="connsiteY4" fmla="*/ 206637 h 504825"/>
                <a:gd name="connsiteX5" fmla="*/ 47455 w 381000"/>
                <a:gd name="connsiteY5" fmla="*/ 506294 h 504825"/>
                <a:gd name="connsiteX6" fmla="*/ 98604 w 381000"/>
                <a:gd name="connsiteY6" fmla="*/ 476576 h 504825"/>
                <a:gd name="connsiteX7" fmla="*/ 69720 w 381000"/>
                <a:gd name="connsiteY7" fmla="*/ 425904 h 504825"/>
                <a:gd name="connsiteX8" fmla="*/ 69362 w 381000"/>
                <a:gd name="connsiteY8" fmla="*/ 425807 h 504825"/>
                <a:gd name="connsiteX9" fmla="*/ 19157 w 381000"/>
                <a:gd name="connsiteY9" fmla="*/ 453039 h 504825"/>
                <a:gd name="connsiteX10" fmla="*/ 18594 w 381000"/>
                <a:gd name="connsiteY10" fmla="*/ 455144 h 504825"/>
                <a:gd name="connsiteX11" fmla="*/ 46719 w 381000"/>
                <a:gd name="connsiteY11" fmla="*/ 506089 h 504825"/>
                <a:gd name="connsiteX12" fmla="*/ 47455 w 381000"/>
                <a:gd name="connsiteY12" fmla="*/ 506294 h 504825"/>
                <a:gd name="connsiteX13" fmla="*/ 28881 w 381000"/>
                <a:gd name="connsiteY13" fmla="*/ 105291 h 504825"/>
                <a:gd name="connsiteX14" fmla="*/ 80394 w 381000"/>
                <a:gd name="connsiteY14" fmla="*/ 75436 h 504825"/>
                <a:gd name="connsiteX15" fmla="*/ 50979 w 381000"/>
                <a:gd name="connsiteY15" fmla="*/ 24043 h 504825"/>
                <a:gd name="connsiteX16" fmla="*/ 952 w 381000"/>
                <a:gd name="connsiteY16" fmla="*/ 56325 h 504825"/>
                <a:gd name="connsiteX17" fmla="*/ 29262 w 381000"/>
                <a:gd name="connsiteY17" fmla="*/ 105291 h 504825"/>
                <a:gd name="connsiteX18" fmla="*/ 265482 w 381000"/>
                <a:gd name="connsiteY18" fmla="*/ 81574 h 504825"/>
                <a:gd name="connsiteX19" fmla="*/ 316137 w 381000"/>
                <a:gd name="connsiteY19" fmla="*/ 52659 h 504825"/>
                <a:gd name="connsiteX20" fmla="*/ 316250 w 381000"/>
                <a:gd name="connsiteY20" fmla="*/ 52237 h 504825"/>
                <a:gd name="connsiteX21" fmla="*/ 287009 w 381000"/>
                <a:gd name="connsiteY21" fmla="*/ 1469 h 504825"/>
                <a:gd name="connsiteX22" fmla="*/ 236354 w 381000"/>
                <a:gd name="connsiteY22" fmla="*/ 30384 h 504825"/>
                <a:gd name="connsiteX23" fmla="*/ 236240 w 381000"/>
                <a:gd name="connsiteY23" fmla="*/ 30806 h 504825"/>
                <a:gd name="connsiteX24" fmla="*/ 263444 w 381000"/>
                <a:gd name="connsiteY24" fmla="*/ 81025 h 504825"/>
                <a:gd name="connsiteX25" fmla="*/ 265482 w 381000"/>
                <a:gd name="connsiteY25" fmla="*/ 81574 h 504825"/>
                <a:gd name="connsiteX26" fmla="*/ 336729 w 381000"/>
                <a:gd name="connsiteY26" fmla="*/ 245499 h 504825"/>
                <a:gd name="connsiteX27" fmla="*/ 388307 w 381000"/>
                <a:gd name="connsiteY27" fmla="*/ 215734 h 504825"/>
                <a:gd name="connsiteX28" fmla="*/ 358541 w 381000"/>
                <a:gd name="connsiteY28" fmla="*/ 164156 h 504825"/>
                <a:gd name="connsiteX29" fmla="*/ 306964 w 381000"/>
                <a:gd name="connsiteY29" fmla="*/ 193921 h 504825"/>
                <a:gd name="connsiteX30" fmla="*/ 336729 w 381000"/>
                <a:gd name="connsiteY30" fmla="*/ 245499 h 504825"/>
                <a:gd name="connsiteX31" fmla="*/ 140895 w 381000"/>
                <a:gd name="connsiteY31" fmla="*/ 246833 h 504825"/>
                <a:gd name="connsiteX32" fmla="*/ 71553 w 381000"/>
                <a:gd name="connsiteY32" fmla="*/ 419711 h 504825"/>
                <a:gd name="connsiteX33" fmla="*/ 127846 w 381000"/>
                <a:gd name="connsiteY33" fmla="*/ 142820 h 504825"/>
                <a:gd name="connsiteX34" fmla="*/ 71553 w 381000"/>
                <a:gd name="connsiteY34" fmla="*/ 92242 h 504825"/>
                <a:gd name="connsiteX35" fmla="*/ 218143 w 381000"/>
                <a:gd name="connsiteY35" fmla="*/ 130342 h 504825"/>
                <a:gd name="connsiteX36" fmla="*/ 253195 w 381000"/>
                <a:gd name="connsiteY36" fmla="*/ 77192 h 504825"/>
                <a:gd name="connsiteX37" fmla="*/ 305963 w 381000"/>
                <a:gd name="connsiteY37" fmla="*/ 201017 h 504825"/>
                <a:gd name="connsiteX38" fmla="*/ 248813 w 381000"/>
                <a:gd name="connsiteY38" fmla="*/ 195398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81000" h="504825">
                  <a:moveTo>
                    <a:pt x="246718" y="206637"/>
                  </a:moveTo>
                  <a:cubicBezTo>
                    <a:pt x="236623" y="243852"/>
                    <a:pt x="198271" y="265837"/>
                    <a:pt x="161056" y="255741"/>
                  </a:cubicBezTo>
                  <a:cubicBezTo>
                    <a:pt x="123842" y="245647"/>
                    <a:pt x="101857" y="207294"/>
                    <a:pt x="111952" y="170080"/>
                  </a:cubicBezTo>
                  <a:cubicBezTo>
                    <a:pt x="122021" y="132958"/>
                    <a:pt x="160220" y="110972"/>
                    <a:pt x="197378" y="120912"/>
                  </a:cubicBezTo>
                  <a:cubicBezTo>
                    <a:pt x="234377" y="131344"/>
                    <a:pt x="256284" y="169404"/>
                    <a:pt x="246718" y="206637"/>
                  </a:cubicBezTo>
                  <a:close/>
                  <a:moveTo>
                    <a:pt x="47455" y="506294"/>
                  </a:moveTo>
                  <a:cubicBezTo>
                    <a:pt x="69772" y="512109"/>
                    <a:pt x="92603" y="498843"/>
                    <a:pt x="98604" y="476576"/>
                  </a:cubicBezTo>
                  <a:cubicBezTo>
                    <a:pt x="104620" y="454606"/>
                    <a:pt x="91688" y="431920"/>
                    <a:pt x="69720" y="425904"/>
                  </a:cubicBezTo>
                  <a:cubicBezTo>
                    <a:pt x="69601" y="425871"/>
                    <a:pt x="69482" y="425839"/>
                    <a:pt x="69362" y="425807"/>
                  </a:cubicBezTo>
                  <a:cubicBezTo>
                    <a:pt x="47979" y="419464"/>
                    <a:pt x="25502" y="431655"/>
                    <a:pt x="19157" y="453039"/>
                  </a:cubicBezTo>
                  <a:cubicBezTo>
                    <a:pt x="18950" y="453736"/>
                    <a:pt x="18763" y="454438"/>
                    <a:pt x="18594" y="455144"/>
                  </a:cubicBezTo>
                  <a:cubicBezTo>
                    <a:pt x="12292" y="476979"/>
                    <a:pt x="24885" y="499787"/>
                    <a:pt x="46719" y="506089"/>
                  </a:cubicBezTo>
                  <a:cubicBezTo>
                    <a:pt x="46963" y="506159"/>
                    <a:pt x="47209" y="506228"/>
                    <a:pt x="47455" y="506294"/>
                  </a:cubicBezTo>
                  <a:close/>
                  <a:moveTo>
                    <a:pt x="28881" y="105291"/>
                  </a:moveTo>
                  <a:cubicBezTo>
                    <a:pt x="51351" y="111272"/>
                    <a:pt x="74414" y="97905"/>
                    <a:pt x="80394" y="75436"/>
                  </a:cubicBezTo>
                  <a:cubicBezTo>
                    <a:pt x="86328" y="53139"/>
                    <a:pt x="73211" y="30219"/>
                    <a:pt x="50979" y="24043"/>
                  </a:cubicBezTo>
                  <a:cubicBezTo>
                    <a:pt x="28250" y="19142"/>
                    <a:pt x="5852" y="33596"/>
                    <a:pt x="952" y="56325"/>
                  </a:cubicBezTo>
                  <a:cubicBezTo>
                    <a:pt x="-3613" y="77500"/>
                    <a:pt x="8634" y="98683"/>
                    <a:pt x="29262" y="105291"/>
                  </a:cubicBezTo>
                  <a:close/>
                  <a:moveTo>
                    <a:pt x="265482" y="81574"/>
                  </a:moveTo>
                  <a:cubicBezTo>
                    <a:pt x="287455" y="87578"/>
                    <a:pt x="310134" y="74632"/>
                    <a:pt x="316137" y="52659"/>
                  </a:cubicBezTo>
                  <a:cubicBezTo>
                    <a:pt x="316176" y="52519"/>
                    <a:pt x="316213" y="52378"/>
                    <a:pt x="316250" y="52237"/>
                  </a:cubicBezTo>
                  <a:cubicBezTo>
                    <a:pt x="321861" y="30188"/>
                    <a:pt x="308896" y="7679"/>
                    <a:pt x="287009" y="1469"/>
                  </a:cubicBezTo>
                  <a:cubicBezTo>
                    <a:pt x="265036" y="-4535"/>
                    <a:pt x="242357" y="8411"/>
                    <a:pt x="236354" y="30384"/>
                  </a:cubicBezTo>
                  <a:cubicBezTo>
                    <a:pt x="236315" y="30524"/>
                    <a:pt x="236278" y="30665"/>
                    <a:pt x="236240" y="30806"/>
                  </a:cubicBezTo>
                  <a:cubicBezTo>
                    <a:pt x="229884" y="52186"/>
                    <a:pt x="242064" y="74669"/>
                    <a:pt x="263444" y="81025"/>
                  </a:cubicBezTo>
                  <a:cubicBezTo>
                    <a:pt x="264118" y="81226"/>
                    <a:pt x="264798" y="81409"/>
                    <a:pt x="265482" y="81574"/>
                  </a:cubicBezTo>
                  <a:close/>
                  <a:moveTo>
                    <a:pt x="336729" y="245499"/>
                  </a:moveTo>
                  <a:cubicBezTo>
                    <a:pt x="359192" y="251523"/>
                    <a:pt x="382284" y="238196"/>
                    <a:pt x="388307" y="215734"/>
                  </a:cubicBezTo>
                  <a:cubicBezTo>
                    <a:pt x="394331" y="193271"/>
                    <a:pt x="381004" y="170179"/>
                    <a:pt x="358541" y="164156"/>
                  </a:cubicBezTo>
                  <a:cubicBezTo>
                    <a:pt x="336079" y="158132"/>
                    <a:pt x="312987" y="171459"/>
                    <a:pt x="306964" y="193921"/>
                  </a:cubicBezTo>
                  <a:cubicBezTo>
                    <a:pt x="300940" y="216384"/>
                    <a:pt x="314266" y="239476"/>
                    <a:pt x="336729" y="245499"/>
                  </a:cubicBezTo>
                  <a:close/>
                  <a:moveTo>
                    <a:pt x="140895" y="246833"/>
                  </a:moveTo>
                  <a:lnTo>
                    <a:pt x="71553" y="419711"/>
                  </a:lnTo>
                  <a:moveTo>
                    <a:pt x="127846" y="142820"/>
                  </a:moveTo>
                  <a:lnTo>
                    <a:pt x="71553" y="92242"/>
                  </a:lnTo>
                  <a:moveTo>
                    <a:pt x="218143" y="130342"/>
                  </a:moveTo>
                  <a:lnTo>
                    <a:pt x="253195" y="77192"/>
                  </a:lnTo>
                  <a:moveTo>
                    <a:pt x="305963" y="201017"/>
                  </a:moveTo>
                  <a:lnTo>
                    <a:pt x="248813" y="195398"/>
                  </a:lnTo>
                </a:path>
              </a:pathLst>
            </a:custGeom>
            <a:noFill/>
            <a:ln w="12700" cap="flat">
              <a:solidFill>
                <a:schemeClr val="tx2"/>
              </a:solidFill>
              <a:prstDash val="solid"/>
              <a:round/>
            </a:ln>
          </p:spPr>
          <p:txBody>
            <a:bodyPr rtlCol="0" anchor="ctr"/>
            <a:lstStyle/>
            <a:p>
              <a:pPr defTabSz="914377">
                <a:defRPr/>
              </a:pPr>
              <a:endParaRPr lang="en-US">
                <a:solidFill>
                  <a:srgbClr val="555555"/>
                </a:solidFill>
                <a:latin typeface="Segoe UI"/>
              </a:endParaRPr>
            </a:p>
          </p:txBody>
        </p:sp>
        <p:sp>
          <p:nvSpPr>
            <p:cNvPr id="27" name="Freeform: Shape 26">
              <a:extLst>
                <a:ext uri="{FF2B5EF4-FFF2-40B4-BE49-F238E27FC236}">
                  <a16:creationId xmlns:a16="http://schemas.microsoft.com/office/drawing/2014/main" id="{6DC8442F-18F2-4F6D-B674-B7C528294904}"/>
                </a:ext>
              </a:extLst>
            </p:cNvPr>
            <p:cNvSpPr/>
            <p:nvPr/>
          </p:nvSpPr>
          <p:spPr>
            <a:xfrm>
              <a:off x="4192688" y="2845639"/>
              <a:ext cx="752475" cy="419100"/>
            </a:xfrm>
            <a:custGeom>
              <a:avLst/>
              <a:gdLst>
                <a:gd name="connsiteX0" fmla="*/ 374486 w 752475"/>
                <a:gd name="connsiteY0" fmla="*/ 0 h 419100"/>
                <a:gd name="connsiteX1" fmla="*/ 539364 w 752475"/>
                <a:gd name="connsiteY1" fmla="*/ 110109 h 419100"/>
                <a:gd name="connsiteX2" fmla="*/ 541269 w 752475"/>
                <a:gd name="connsiteY2" fmla="*/ 115062 h 419100"/>
                <a:gd name="connsiteX3" fmla="*/ 555270 w 752475"/>
                <a:gd name="connsiteY3" fmla="*/ 110109 h 419100"/>
                <a:gd name="connsiteX4" fmla="*/ 602229 w 752475"/>
                <a:gd name="connsiteY4" fmla="*/ 103061 h 419100"/>
                <a:gd name="connsiteX5" fmla="*/ 761753 w 752475"/>
                <a:gd name="connsiteY5" fmla="*/ 261670 h 419100"/>
                <a:gd name="connsiteX6" fmla="*/ 618231 w 752475"/>
                <a:gd name="connsiteY6" fmla="*/ 420434 h 419100"/>
                <a:gd name="connsiteX7" fmla="*/ 606229 w 752475"/>
                <a:gd name="connsiteY7" fmla="*/ 421386 h 419100"/>
                <a:gd name="connsiteX8" fmla="*/ 88736 w 752475"/>
                <a:gd name="connsiteY8" fmla="*/ 421386 h 419100"/>
                <a:gd name="connsiteX9" fmla="*/ 81687 w 752475"/>
                <a:gd name="connsiteY9" fmla="*/ 422434 h 419100"/>
                <a:gd name="connsiteX10" fmla="*/ 64733 w 752475"/>
                <a:gd name="connsiteY10" fmla="*/ 419386 h 419100"/>
                <a:gd name="connsiteX11" fmla="*/ 3072 w 752475"/>
                <a:gd name="connsiteY11" fmla="*/ 311887 h 419100"/>
                <a:gd name="connsiteX12" fmla="*/ 91689 w 752475"/>
                <a:gd name="connsiteY12" fmla="*/ 247269 h 419100"/>
                <a:gd name="connsiteX13" fmla="*/ 98737 w 752475"/>
                <a:gd name="connsiteY13" fmla="*/ 249269 h 419100"/>
                <a:gd name="connsiteX14" fmla="*/ 96737 w 752475"/>
                <a:gd name="connsiteY14" fmla="*/ 238220 h 419100"/>
                <a:gd name="connsiteX15" fmla="*/ 109500 w 752475"/>
                <a:gd name="connsiteY15" fmla="*/ 179165 h 419100"/>
                <a:gd name="connsiteX16" fmla="*/ 191606 w 752475"/>
                <a:gd name="connsiteY16" fmla="*/ 128588 h 419100"/>
                <a:gd name="connsiteX17" fmla="*/ 203607 w 752475"/>
                <a:gd name="connsiteY17" fmla="*/ 128588 h 419100"/>
                <a:gd name="connsiteX18" fmla="*/ 203607 w 752475"/>
                <a:gd name="connsiteY18" fmla="*/ 127635 h 419100"/>
                <a:gd name="connsiteX19" fmla="*/ 374486 w 752475"/>
                <a:gd name="connsiteY19" fmla="*/ 0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2475" h="419100">
                  <a:moveTo>
                    <a:pt x="374486" y="0"/>
                  </a:moveTo>
                  <a:cubicBezTo>
                    <a:pt x="446526" y="406"/>
                    <a:pt x="511387" y="43722"/>
                    <a:pt x="539364" y="110109"/>
                  </a:cubicBezTo>
                  <a:lnTo>
                    <a:pt x="541269" y="115062"/>
                  </a:lnTo>
                  <a:lnTo>
                    <a:pt x="555270" y="110109"/>
                  </a:lnTo>
                  <a:cubicBezTo>
                    <a:pt x="570441" y="105243"/>
                    <a:pt x="586298" y="102862"/>
                    <a:pt x="602229" y="103061"/>
                  </a:cubicBezTo>
                  <a:cubicBezTo>
                    <a:pt x="690079" y="102808"/>
                    <a:pt x="761500" y="173820"/>
                    <a:pt x="761753" y="261670"/>
                  </a:cubicBezTo>
                  <a:cubicBezTo>
                    <a:pt x="761989" y="343675"/>
                    <a:pt x="699844" y="412420"/>
                    <a:pt x="618231" y="420434"/>
                  </a:cubicBezTo>
                  <a:lnTo>
                    <a:pt x="606229" y="421386"/>
                  </a:lnTo>
                  <a:lnTo>
                    <a:pt x="88736" y="421386"/>
                  </a:lnTo>
                  <a:lnTo>
                    <a:pt x="81687" y="422434"/>
                  </a:lnTo>
                  <a:cubicBezTo>
                    <a:pt x="75782" y="421386"/>
                    <a:pt x="69781" y="420434"/>
                    <a:pt x="64733" y="419386"/>
                  </a:cubicBezTo>
                  <a:cubicBezTo>
                    <a:pt x="18021" y="406728"/>
                    <a:pt x="-9586" y="358599"/>
                    <a:pt x="3072" y="311887"/>
                  </a:cubicBezTo>
                  <a:cubicBezTo>
                    <a:pt x="13815" y="272241"/>
                    <a:pt x="50656" y="245376"/>
                    <a:pt x="91689" y="247269"/>
                  </a:cubicBezTo>
                  <a:lnTo>
                    <a:pt x="98737" y="249269"/>
                  </a:lnTo>
                  <a:lnTo>
                    <a:pt x="96737" y="238220"/>
                  </a:lnTo>
                  <a:cubicBezTo>
                    <a:pt x="95546" y="217742"/>
                    <a:pt x="99958" y="197325"/>
                    <a:pt x="109500" y="179165"/>
                  </a:cubicBezTo>
                  <a:cubicBezTo>
                    <a:pt x="126593" y="149543"/>
                    <a:pt x="157462" y="130529"/>
                    <a:pt x="191606" y="128588"/>
                  </a:cubicBezTo>
                  <a:lnTo>
                    <a:pt x="203607" y="128588"/>
                  </a:lnTo>
                  <a:lnTo>
                    <a:pt x="203607" y="127635"/>
                  </a:lnTo>
                  <a:cubicBezTo>
                    <a:pt x="226335" y="52165"/>
                    <a:pt x="295669" y="377"/>
                    <a:pt x="374486" y="0"/>
                  </a:cubicBezTo>
                  <a:close/>
                </a:path>
              </a:pathLst>
            </a:custGeom>
            <a:noFill/>
            <a:ln w="12700" cap="flat">
              <a:solidFill>
                <a:schemeClr val="tx2"/>
              </a:solidFill>
              <a:prstDash val="solid"/>
              <a:miter/>
            </a:ln>
          </p:spPr>
          <p:txBody>
            <a:bodyPr rtlCol="0" anchor="ctr"/>
            <a:lstStyle/>
            <a:p>
              <a:pPr defTabSz="914377">
                <a:defRPr/>
              </a:pPr>
              <a:endParaRPr lang="en-US">
                <a:solidFill>
                  <a:srgbClr val="555555"/>
                </a:solidFill>
                <a:latin typeface="Segoe UI"/>
              </a:endParaRPr>
            </a:p>
          </p:txBody>
        </p:sp>
      </p:grpSp>
      <p:sp>
        <p:nvSpPr>
          <p:cNvPr id="41" name="TextBox 40">
            <a:extLst>
              <a:ext uri="{FF2B5EF4-FFF2-40B4-BE49-F238E27FC236}">
                <a16:creationId xmlns:a16="http://schemas.microsoft.com/office/drawing/2014/main" id="{DD23FE39-2C0D-423F-82D1-8E855FE612D7}"/>
              </a:ext>
            </a:extLst>
          </p:cNvPr>
          <p:cNvSpPr txBox="1"/>
          <p:nvPr/>
        </p:nvSpPr>
        <p:spPr>
          <a:xfrm>
            <a:off x="281145" y="6271053"/>
            <a:ext cx="2040068" cy="378565"/>
          </a:xfrm>
          <a:prstGeom prst="rect">
            <a:avLst/>
          </a:prstGeom>
          <a:solidFill>
            <a:schemeClr val="tx2"/>
          </a:solidFill>
          <a:ln>
            <a:noFill/>
          </a:ln>
        </p:spPr>
        <p:txBody>
          <a:bodyPr wrap="square" lIns="91440" tIns="91440" rIns="91440" bIns="91440" rtlCol="0">
            <a:spAutoFit/>
          </a:bodyPr>
          <a:lstStyle/>
          <a:p>
            <a:pPr algn="ctr" defTabSz="914377">
              <a:lnSpc>
                <a:spcPct val="90000"/>
              </a:lnSpc>
              <a:spcBef>
                <a:spcPts val="600"/>
              </a:spcBef>
              <a:defRPr/>
            </a:pPr>
            <a:r>
              <a:rPr lang="en-US" sz="1400">
                <a:solidFill>
                  <a:srgbClr val="FFFFFF"/>
                </a:solidFill>
                <a:latin typeface="Segoe UI Semibold" panose="020B0702040204020203" pitchFamily="34" charset="0"/>
                <a:cs typeface="Segoe UI Semibold" panose="020B0702040204020203" pitchFamily="34" charset="0"/>
              </a:rPr>
              <a:t>INTELLIGENT EDGE</a:t>
            </a:r>
          </a:p>
        </p:txBody>
      </p:sp>
      <p:sp>
        <p:nvSpPr>
          <p:cNvPr id="42" name="TextBox 41">
            <a:extLst>
              <a:ext uri="{FF2B5EF4-FFF2-40B4-BE49-F238E27FC236}">
                <a16:creationId xmlns:a16="http://schemas.microsoft.com/office/drawing/2014/main" id="{C2782886-1CC2-4FED-BA72-DF6912A56DD7}"/>
              </a:ext>
            </a:extLst>
          </p:cNvPr>
          <p:cNvSpPr txBox="1"/>
          <p:nvPr/>
        </p:nvSpPr>
        <p:spPr>
          <a:xfrm>
            <a:off x="238535" y="2933305"/>
            <a:ext cx="2034363" cy="378565"/>
          </a:xfrm>
          <a:prstGeom prst="rect">
            <a:avLst/>
          </a:prstGeom>
          <a:solidFill>
            <a:schemeClr val="accent1"/>
          </a:solidFill>
          <a:ln>
            <a:noFill/>
          </a:ln>
        </p:spPr>
        <p:txBody>
          <a:bodyPr wrap="square" lIns="91440" tIns="91440" rIns="91440" bIns="91440" rtlCol="0">
            <a:spAutoFit/>
          </a:bodyPr>
          <a:lstStyle>
            <a:defPPr>
              <a:defRPr lang="en-US"/>
            </a:defPPr>
            <a:lvl1pPr algn="ctr">
              <a:lnSpc>
                <a:spcPct val="90000"/>
              </a:lnSpc>
              <a:spcBef>
                <a:spcPts val="600"/>
              </a:spcBef>
              <a:defRPr sz="1400">
                <a:solidFill>
                  <a:schemeClr val="bg1"/>
                </a:solidFill>
                <a:latin typeface="Segoe UI Semibold" panose="020B0702040204020203" pitchFamily="34" charset="0"/>
                <a:cs typeface="Segoe UI Semibold" panose="020B0702040204020203" pitchFamily="34" charset="0"/>
              </a:defRPr>
            </a:lvl1pPr>
          </a:lstStyle>
          <a:p>
            <a:pPr defTabSz="914377">
              <a:defRPr/>
            </a:pPr>
            <a:r>
              <a:rPr lang="en-US">
                <a:solidFill>
                  <a:srgbClr val="FFFFFF"/>
                </a:solidFill>
              </a:rPr>
              <a:t>INTELLIGENT CLOUD</a:t>
            </a:r>
          </a:p>
        </p:txBody>
      </p:sp>
      <p:cxnSp>
        <p:nvCxnSpPr>
          <p:cNvPr id="3" name="Connector: Elbow 2">
            <a:extLst>
              <a:ext uri="{FF2B5EF4-FFF2-40B4-BE49-F238E27FC236}">
                <a16:creationId xmlns:a16="http://schemas.microsoft.com/office/drawing/2014/main" id="{1FCBD200-3627-4906-97F4-424027D24F4D}"/>
              </a:ext>
            </a:extLst>
          </p:cNvPr>
          <p:cNvCxnSpPr>
            <a:cxnSpLocks/>
            <a:stCxn id="36" idx="2"/>
            <a:endCxn id="15" idx="0"/>
          </p:cNvCxnSpPr>
          <p:nvPr/>
        </p:nvCxnSpPr>
        <p:spPr>
          <a:xfrm rot="5400000">
            <a:off x="3345027" y="1596641"/>
            <a:ext cx="1197220" cy="4304728"/>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070AE035-5622-4AEE-9CD3-183677190D76}"/>
              </a:ext>
            </a:extLst>
          </p:cNvPr>
          <p:cNvCxnSpPr>
            <a:cxnSpLocks/>
            <a:stCxn id="36" idx="2"/>
            <a:endCxn id="74" idx="0"/>
          </p:cNvCxnSpPr>
          <p:nvPr/>
        </p:nvCxnSpPr>
        <p:spPr>
          <a:xfrm rot="5400000">
            <a:off x="4780657" y="3032271"/>
            <a:ext cx="1197220" cy="1433469"/>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4842ED96-8647-4EF5-8F73-FE2D14501B00}"/>
              </a:ext>
            </a:extLst>
          </p:cNvPr>
          <p:cNvCxnSpPr>
            <a:cxnSpLocks/>
            <a:stCxn id="36" idx="2"/>
            <a:endCxn id="78" idx="0"/>
          </p:cNvCxnSpPr>
          <p:nvPr/>
        </p:nvCxnSpPr>
        <p:spPr>
          <a:xfrm rot="16200000" flipH="1">
            <a:off x="6220234" y="3026162"/>
            <a:ext cx="1197220" cy="1445686"/>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27FDC2BA-CEE7-4646-88E0-5C84CF1307CA}"/>
              </a:ext>
            </a:extLst>
          </p:cNvPr>
          <p:cNvCxnSpPr>
            <a:cxnSpLocks/>
            <a:stCxn id="36" idx="2"/>
            <a:endCxn id="82" idx="0"/>
          </p:cNvCxnSpPr>
          <p:nvPr/>
        </p:nvCxnSpPr>
        <p:spPr>
          <a:xfrm rot="16200000" flipH="1">
            <a:off x="7684542" y="1561853"/>
            <a:ext cx="1197220" cy="4374303"/>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40" name="Table 39">
            <a:extLst>
              <a:ext uri="{FF2B5EF4-FFF2-40B4-BE49-F238E27FC236}">
                <a16:creationId xmlns:a16="http://schemas.microsoft.com/office/drawing/2014/main" id="{300B2FF9-EB4F-4D72-9E09-5B04F198F91C}"/>
              </a:ext>
            </a:extLst>
          </p:cNvPr>
          <p:cNvGraphicFramePr>
            <a:graphicFrameLocks noGrp="1"/>
          </p:cNvGraphicFramePr>
          <p:nvPr/>
        </p:nvGraphicFramePr>
        <p:xfrm>
          <a:off x="12370435" y="39665"/>
          <a:ext cx="3032248" cy="2895600"/>
        </p:xfrm>
        <a:graphic>
          <a:graphicData uri="http://schemas.openxmlformats.org/drawingml/2006/table">
            <a:tbl>
              <a:tblPr firstRow="1" bandRow="1"/>
              <a:tblGrid>
                <a:gridCol w="2536063">
                  <a:extLst>
                    <a:ext uri="{9D8B030D-6E8A-4147-A177-3AD203B41FA5}">
                      <a16:colId xmlns:a16="http://schemas.microsoft.com/office/drawing/2014/main" val="2209810524"/>
                    </a:ext>
                  </a:extLst>
                </a:gridCol>
                <a:gridCol w="496185">
                  <a:extLst>
                    <a:ext uri="{9D8B030D-6E8A-4147-A177-3AD203B41FA5}">
                      <a16:colId xmlns:a16="http://schemas.microsoft.com/office/drawing/2014/main" val="1772490998"/>
                    </a:ext>
                  </a:extLst>
                </a:gridCol>
              </a:tblGrid>
              <a:tr h="335280">
                <a:tc>
                  <a:txBody>
                    <a:bodyPr/>
                    <a:lstStyle>
                      <a:lvl1pPr marL="0" algn="l" defTabSz="914377" rtl="0" eaLnBrk="1" latinLnBrk="0" hangingPunct="1">
                        <a:defRPr sz="1867" b="1" kern="1200">
                          <a:solidFill>
                            <a:schemeClr val="lt1"/>
                          </a:solidFill>
                          <a:latin typeface="Segoe UI"/>
                        </a:defRPr>
                      </a:lvl1pPr>
                      <a:lvl2pPr marL="457189" algn="l" defTabSz="914377" rtl="0" eaLnBrk="1" latinLnBrk="0" hangingPunct="1">
                        <a:defRPr sz="1867" b="1" kern="1200">
                          <a:solidFill>
                            <a:schemeClr val="lt1"/>
                          </a:solidFill>
                          <a:latin typeface="Segoe UI"/>
                        </a:defRPr>
                      </a:lvl2pPr>
                      <a:lvl3pPr marL="914377" algn="l" defTabSz="914377" rtl="0" eaLnBrk="1" latinLnBrk="0" hangingPunct="1">
                        <a:defRPr sz="1867" b="1" kern="1200">
                          <a:solidFill>
                            <a:schemeClr val="lt1"/>
                          </a:solidFill>
                          <a:latin typeface="Segoe UI"/>
                        </a:defRPr>
                      </a:lvl3pPr>
                      <a:lvl4pPr marL="1371566" algn="l" defTabSz="914377" rtl="0" eaLnBrk="1" latinLnBrk="0" hangingPunct="1">
                        <a:defRPr sz="1867" b="1" kern="1200">
                          <a:solidFill>
                            <a:schemeClr val="lt1"/>
                          </a:solidFill>
                          <a:latin typeface="Segoe UI"/>
                        </a:defRPr>
                      </a:lvl4pPr>
                      <a:lvl5pPr marL="1828754" algn="l" defTabSz="914377" rtl="0" eaLnBrk="1" latinLnBrk="0" hangingPunct="1">
                        <a:defRPr sz="1867" b="1" kern="1200">
                          <a:solidFill>
                            <a:schemeClr val="lt1"/>
                          </a:solidFill>
                          <a:latin typeface="Segoe UI"/>
                        </a:defRPr>
                      </a:lvl5pPr>
                      <a:lvl6pPr marL="2285943" algn="l" defTabSz="914377" rtl="0" eaLnBrk="1" latinLnBrk="0" hangingPunct="1">
                        <a:defRPr sz="1867" b="1" kern="1200">
                          <a:solidFill>
                            <a:schemeClr val="lt1"/>
                          </a:solidFill>
                          <a:latin typeface="Segoe UI"/>
                        </a:defRPr>
                      </a:lvl6pPr>
                      <a:lvl7pPr marL="2743131" algn="l" defTabSz="914377" rtl="0" eaLnBrk="1" latinLnBrk="0" hangingPunct="1">
                        <a:defRPr sz="1867" b="1" kern="1200">
                          <a:solidFill>
                            <a:schemeClr val="lt1"/>
                          </a:solidFill>
                          <a:latin typeface="Segoe UI"/>
                        </a:defRPr>
                      </a:lvl7pPr>
                      <a:lvl8pPr marL="3200320" algn="l" defTabSz="914377" rtl="0" eaLnBrk="1" latinLnBrk="0" hangingPunct="1">
                        <a:defRPr sz="1867" b="1" kern="1200">
                          <a:solidFill>
                            <a:schemeClr val="lt1"/>
                          </a:solidFill>
                          <a:latin typeface="Segoe UI"/>
                        </a:defRPr>
                      </a:lvl8pPr>
                      <a:lvl9pPr marL="3657509" algn="l" defTabSz="914377" rtl="0" eaLnBrk="1" latinLnBrk="0" hangingPunct="1">
                        <a:defRPr sz="1867" b="1" kern="1200">
                          <a:solidFill>
                            <a:schemeClr val="lt1"/>
                          </a:solidFill>
                          <a:latin typeface="Segoe UI"/>
                        </a:defRPr>
                      </a:lvl9pPr>
                    </a:lstStyle>
                    <a:p>
                      <a:pPr>
                        <a:buNone/>
                      </a:pPr>
                      <a:r>
                        <a:rPr lang="en-US" sz="1400">
                          <a:solidFill>
                            <a:srgbClr val="FFFFFF"/>
                          </a:solidFill>
                        </a:rPr>
                        <a:t>Slide</a:t>
                      </a:r>
                      <a:r>
                        <a:rPr lang="en-US" sz="1400" baseline="0">
                          <a:solidFill>
                            <a:srgbClr val="FFFFFF"/>
                          </a:solidFill>
                        </a:rPr>
                        <a:t> status</a:t>
                      </a:r>
                      <a:endParaRPr lang="en-US" sz="1400">
                        <a:solidFill>
                          <a:srgbClr val="FFFFFF"/>
                        </a:solidFill>
                      </a:endParaRPr>
                    </a:p>
                  </a:txBody>
                  <a:tcPr marL="121920" marR="121920" marT="60960" marB="609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377" rtl="0" eaLnBrk="1" latinLnBrk="0" hangingPunct="1">
                        <a:defRPr sz="1867" b="1" kern="1200">
                          <a:solidFill>
                            <a:schemeClr val="lt1"/>
                          </a:solidFill>
                          <a:latin typeface="Segoe UI"/>
                        </a:defRPr>
                      </a:lvl1pPr>
                      <a:lvl2pPr marL="457189" algn="l" defTabSz="914377" rtl="0" eaLnBrk="1" latinLnBrk="0" hangingPunct="1">
                        <a:defRPr sz="1867" b="1" kern="1200">
                          <a:solidFill>
                            <a:schemeClr val="lt1"/>
                          </a:solidFill>
                          <a:latin typeface="Segoe UI"/>
                        </a:defRPr>
                      </a:lvl2pPr>
                      <a:lvl3pPr marL="914377" algn="l" defTabSz="914377" rtl="0" eaLnBrk="1" latinLnBrk="0" hangingPunct="1">
                        <a:defRPr sz="1867" b="1" kern="1200">
                          <a:solidFill>
                            <a:schemeClr val="lt1"/>
                          </a:solidFill>
                          <a:latin typeface="Segoe UI"/>
                        </a:defRPr>
                      </a:lvl3pPr>
                      <a:lvl4pPr marL="1371566" algn="l" defTabSz="914377" rtl="0" eaLnBrk="1" latinLnBrk="0" hangingPunct="1">
                        <a:defRPr sz="1867" b="1" kern="1200">
                          <a:solidFill>
                            <a:schemeClr val="lt1"/>
                          </a:solidFill>
                          <a:latin typeface="Segoe UI"/>
                        </a:defRPr>
                      </a:lvl4pPr>
                      <a:lvl5pPr marL="1828754" algn="l" defTabSz="914377" rtl="0" eaLnBrk="1" latinLnBrk="0" hangingPunct="1">
                        <a:defRPr sz="1867" b="1" kern="1200">
                          <a:solidFill>
                            <a:schemeClr val="lt1"/>
                          </a:solidFill>
                          <a:latin typeface="Segoe UI"/>
                        </a:defRPr>
                      </a:lvl5pPr>
                      <a:lvl6pPr marL="2285943" algn="l" defTabSz="914377" rtl="0" eaLnBrk="1" latinLnBrk="0" hangingPunct="1">
                        <a:defRPr sz="1867" b="1" kern="1200">
                          <a:solidFill>
                            <a:schemeClr val="lt1"/>
                          </a:solidFill>
                          <a:latin typeface="Segoe UI"/>
                        </a:defRPr>
                      </a:lvl6pPr>
                      <a:lvl7pPr marL="2743131" algn="l" defTabSz="914377" rtl="0" eaLnBrk="1" latinLnBrk="0" hangingPunct="1">
                        <a:defRPr sz="1867" b="1" kern="1200">
                          <a:solidFill>
                            <a:schemeClr val="lt1"/>
                          </a:solidFill>
                          <a:latin typeface="Segoe UI"/>
                        </a:defRPr>
                      </a:lvl7pPr>
                      <a:lvl8pPr marL="3200320" algn="l" defTabSz="914377" rtl="0" eaLnBrk="1" latinLnBrk="0" hangingPunct="1">
                        <a:defRPr sz="1867" b="1" kern="1200">
                          <a:solidFill>
                            <a:schemeClr val="lt1"/>
                          </a:solidFill>
                          <a:latin typeface="Segoe UI"/>
                        </a:defRPr>
                      </a:lvl8pPr>
                      <a:lvl9pPr marL="3657509" algn="l" defTabSz="914377" rtl="0" eaLnBrk="1" latinLnBrk="0" hangingPunct="1">
                        <a:defRPr sz="1867" b="1" kern="1200">
                          <a:solidFill>
                            <a:schemeClr val="lt1"/>
                          </a:solidFill>
                          <a:latin typeface="Segoe UI"/>
                        </a:defRPr>
                      </a:lvl9pPr>
                    </a:lstStyle>
                    <a:p>
                      <a:endParaRPr lang="en-US" sz="1400">
                        <a:solidFill>
                          <a:schemeClr val="bg2"/>
                        </a:solidFill>
                      </a:endParaRPr>
                    </a:p>
                  </a:txBody>
                  <a:tcPr marL="121920" marR="121920" marT="60960" marB="609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649444171"/>
                  </a:ext>
                </a:extLst>
              </a:tr>
              <a:tr h="335280">
                <a:tc>
                  <a:txBody>
                    <a:bodyPr/>
                    <a:lstStyle>
                      <a:lvl1pPr marL="0" algn="l" defTabSz="914377" rtl="0" eaLnBrk="1" latinLnBrk="0" hangingPunct="1">
                        <a:defRPr sz="1867" kern="1200">
                          <a:solidFill>
                            <a:schemeClr val="dk1"/>
                          </a:solidFill>
                          <a:latin typeface="Segoe UI"/>
                        </a:defRPr>
                      </a:lvl1pPr>
                      <a:lvl2pPr marL="457189" algn="l" defTabSz="914377" rtl="0" eaLnBrk="1" latinLnBrk="0" hangingPunct="1">
                        <a:defRPr sz="1867" kern="1200">
                          <a:solidFill>
                            <a:schemeClr val="dk1"/>
                          </a:solidFill>
                          <a:latin typeface="Segoe UI"/>
                        </a:defRPr>
                      </a:lvl2pPr>
                      <a:lvl3pPr marL="914377" algn="l" defTabSz="914377" rtl="0" eaLnBrk="1" latinLnBrk="0" hangingPunct="1">
                        <a:defRPr sz="1867" kern="1200">
                          <a:solidFill>
                            <a:schemeClr val="dk1"/>
                          </a:solidFill>
                          <a:latin typeface="Segoe UI"/>
                        </a:defRPr>
                      </a:lvl3pPr>
                      <a:lvl4pPr marL="1371566" algn="l" defTabSz="914377" rtl="0" eaLnBrk="1" latinLnBrk="0" hangingPunct="1">
                        <a:defRPr sz="1867" kern="1200">
                          <a:solidFill>
                            <a:schemeClr val="dk1"/>
                          </a:solidFill>
                          <a:latin typeface="Segoe UI"/>
                        </a:defRPr>
                      </a:lvl4pPr>
                      <a:lvl5pPr marL="1828754" algn="l" defTabSz="914377" rtl="0" eaLnBrk="1" latinLnBrk="0" hangingPunct="1">
                        <a:defRPr sz="1867" kern="1200">
                          <a:solidFill>
                            <a:schemeClr val="dk1"/>
                          </a:solidFill>
                          <a:latin typeface="Segoe UI"/>
                        </a:defRPr>
                      </a:lvl5pPr>
                      <a:lvl6pPr marL="2285943" algn="l" defTabSz="914377" rtl="0" eaLnBrk="1" latinLnBrk="0" hangingPunct="1">
                        <a:defRPr sz="1867" kern="1200">
                          <a:solidFill>
                            <a:schemeClr val="dk1"/>
                          </a:solidFill>
                          <a:latin typeface="Segoe UI"/>
                        </a:defRPr>
                      </a:lvl6pPr>
                      <a:lvl7pPr marL="2743131" algn="l" defTabSz="914377" rtl="0" eaLnBrk="1" latinLnBrk="0" hangingPunct="1">
                        <a:defRPr sz="1867" kern="1200">
                          <a:solidFill>
                            <a:schemeClr val="dk1"/>
                          </a:solidFill>
                          <a:latin typeface="Segoe UI"/>
                        </a:defRPr>
                      </a:lvl7pPr>
                      <a:lvl8pPr marL="3200320" algn="l" defTabSz="914377" rtl="0" eaLnBrk="1" latinLnBrk="0" hangingPunct="1">
                        <a:defRPr sz="1867" kern="1200">
                          <a:solidFill>
                            <a:schemeClr val="dk1"/>
                          </a:solidFill>
                          <a:latin typeface="Segoe UI"/>
                        </a:defRPr>
                      </a:lvl8pPr>
                      <a:lvl9pPr marL="3657509" algn="l" defTabSz="914377" rtl="0" eaLnBrk="1" latinLnBrk="0" hangingPunct="1">
                        <a:defRPr sz="1867" kern="1200">
                          <a:solidFill>
                            <a:schemeClr val="dk1"/>
                          </a:solidFill>
                          <a:latin typeface="Segoe UI"/>
                        </a:defRPr>
                      </a:lvl9pPr>
                    </a:lstStyle>
                    <a:p>
                      <a:pPr>
                        <a:buNone/>
                      </a:pPr>
                      <a:r>
                        <a:rPr lang="en-US" sz="1400">
                          <a:solidFill>
                            <a:srgbClr val="000000"/>
                          </a:solidFill>
                        </a:rPr>
                        <a:t>Copy done</a:t>
                      </a: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67" kern="1200">
                          <a:solidFill>
                            <a:schemeClr val="dk1"/>
                          </a:solidFill>
                          <a:latin typeface="Segoe UI"/>
                        </a:defRPr>
                      </a:lvl1pPr>
                      <a:lvl2pPr marL="457189" algn="l" defTabSz="914377" rtl="0" eaLnBrk="1" latinLnBrk="0" hangingPunct="1">
                        <a:defRPr sz="1867" kern="1200">
                          <a:solidFill>
                            <a:schemeClr val="dk1"/>
                          </a:solidFill>
                          <a:latin typeface="Segoe UI"/>
                        </a:defRPr>
                      </a:lvl2pPr>
                      <a:lvl3pPr marL="914377" algn="l" defTabSz="914377" rtl="0" eaLnBrk="1" latinLnBrk="0" hangingPunct="1">
                        <a:defRPr sz="1867" kern="1200">
                          <a:solidFill>
                            <a:schemeClr val="dk1"/>
                          </a:solidFill>
                          <a:latin typeface="Segoe UI"/>
                        </a:defRPr>
                      </a:lvl3pPr>
                      <a:lvl4pPr marL="1371566" algn="l" defTabSz="914377" rtl="0" eaLnBrk="1" latinLnBrk="0" hangingPunct="1">
                        <a:defRPr sz="1867" kern="1200">
                          <a:solidFill>
                            <a:schemeClr val="dk1"/>
                          </a:solidFill>
                          <a:latin typeface="Segoe UI"/>
                        </a:defRPr>
                      </a:lvl4pPr>
                      <a:lvl5pPr marL="1828754" algn="l" defTabSz="914377" rtl="0" eaLnBrk="1" latinLnBrk="0" hangingPunct="1">
                        <a:defRPr sz="1867" kern="1200">
                          <a:solidFill>
                            <a:schemeClr val="dk1"/>
                          </a:solidFill>
                          <a:latin typeface="Segoe UI"/>
                        </a:defRPr>
                      </a:lvl5pPr>
                      <a:lvl6pPr marL="2285943" algn="l" defTabSz="914377" rtl="0" eaLnBrk="1" latinLnBrk="0" hangingPunct="1">
                        <a:defRPr sz="1867" kern="1200">
                          <a:solidFill>
                            <a:schemeClr val="dk1"/>
                          </a:solidFill>
                          <a:latin typeface="Segoe UI"/>
                        </a:defRPr>
                      </a:lvl6pPr>
                      <a:lvl7pPr marL="2743131" algn="l" defTabSz="914377" rtl="0" eaLnBrk="1" latinLnBrk="0" hangingPunct="1">
                        <a:defRPr sz="1867" kern="1200">
                          <a:solidFill>
                            <a:schemeClr val="dk1"/>
                          </a:solidFill>
                          <a:latin typeface="Segoe UI"/>
                        </a:defRPr>
                      </a:lvl7pPr>
                      <a:lvl8pPr marL="3200320" algn="l" defTabSz="914377" rtl="0" eaLnBrk="1" latinLnBrk="0" hangingPunct="1">
                        <a:defRPr sz="1867" kern="1200">
                          <a:solidFill>
                            <a:schemeClr val="dk1"/>
                          </a:solidFill>
                          <a:latin typeface="Segoe UI"/>
                        </a:defRPr>
                      </a:lvl8pPr>
                      <a:lvl9pPr marL="3657509" algn="l" defTabSz="914377" rtl="0" eaLnBrk="1" latinLnBrk="0" hangingPunct="1">
                        <a:defRPr sz="1867" kern="1200">
                          <a:solidFill>
                            <a:schemeClr val="dk1"/>
                          </a:solidFill>
                          <a:latin typeface="Segoe UI"/>
                        </a:defRPr>
                      </a:lvl9pPr>
                    </a:lstStyle>
                    <a:p>
                      <a:pPr algn="ctr"/>
                      <a:endParaRPr lang="en-US" sz="1400">
                        <a:solidFill>
                          <a:schemeClr val="bg2"/>
                        </a:solidFill>
                      </a:endParaRP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7755900"/>
                  </a:ext>
                </a:extLst>
              </a:tr>
              <a:tr h="335280">
                <a:tc>
                  <a:txBody>
                    <a:bodyPr/>
                    <a:lstStyle>
                      <a:lvl1pPr marL="0" algn="l" defTabSz="914377" rtl="0" eaLnBrk="1" latinLnBrk="0" hangingPunct="1">
                        <a:defRPr sz="1867" kern="1200">
                          <a:solidFill>
                            <a:schemeClr val="dk1"/>
                          </a:solidFill>
                          <a:latin typeface="Segoe UI"/>
                        </a:defRPr>
                      </a:lvl1pPr>
                      <a:lvl2pPr marL="457189" algn="l" defTabSz="914377" rtl="0" eaLnBrk="1" latinLnBrk="0" hangingPunct="1">
                        <a:defRPr sz="1867" kern="1200">
                          <a:solidFill>
                            <a:schemeClr val="dk1"/>
                          </a:solidFill>
                          <a:latin typeface="Segoe UI"/>
                        </a:defRPr>
                      </a:lvl2pPr>
                      <a:lvl3pPr marL="914377" algn="l" defTabSz="914377" rtl="0" eaLnBrk="1" latinLnBrk="0" hangingPunct="1">
                        <a:defRPr sz="1867" kern="1200">
                          <a:solidFill>
                            <a:schemeClr val="dk1"/>
                          </a:solidFill>
                          <a:latin typeface="Segoe UI"/>
                        </a:defRPr>
                      </a:lvl3pPr>
                      <a:lvl4pPr marL="1371566" algn="l" defTabSz="914377" rtl="0" eaLnBrk="1" latinLnBrk="0" hangingPunct="1">
                        <a:defRPr sz="1867" kern="1200">
                          <a:solidFill>
                            <a:schemeClr val="dk1"/>
                          </a:solidFill>
                          <a:latin typeface="Segoe UI"/>
                        </a:defRPr>
                      </a:lvl4pPr>
                      <a:lvl5pPr marL="1828754" algn="l" defTabSz="914377" rtl="0" eaLnBrk="1" latinLnBrk="0" hangingPunct="1">
                        <a:defRPr sz="1867" kern="1200">
                          <a:solidFill>
                            <a:schemeClr val="dk1"/>
                          </a:solidFill>
                          <a:latin typeface="Segoe UI"/>
                        </a:defRPr>
                      </a:lvl5pPr>
                      <a:lvl6pPr marL="2285943" algn="l" defTabSz="914377" rtl="0" eaLnBrk="1" latinLnBrk="0" hangingPunct="1">
                        <a:defRPr sz="1867" kern="1200">
                          <a:solidFill>
                            <a:schemeClr val="dk1"/>
                          </a:solidFill>
                          <a:latin typeface="Segoe UI"/>
                        </a:defRPr>
                      </a:lvl6pPr>
                      <a:lvl7pPr marL="2743131" algn="l" defTabSz="914377" rtl="0" eaLnBrk="1" latinLnBrk="0" hangingPunct="1">
                        <a:defRPr sz="1867" kern="1200">
                          <a:solidFill>
                            <a:schemeClr val="dk1"/>
                          </a:solidFill>
                          <a:latin typeface="Segoe UI"/>
                        </a:defRPr>
                      </a:lvl7pPr>
                      <a:lvl8pPr marL="3200320" algn="l" defTabSz="914377" rtl="0" eaLnBrk="1" latinLnBrk="0" hangingPunct="1">
                        <a:defRPr sz="1867" kern="1200">
                          <a:solidFill>
                            <a:schemeClr val="dk1"/>
                          </a:solidFill>
                          <a:latin typeface="Segoe UI"/>
                        </a:defRPr>
                      </a:lvl8pPr>
                      <a:lvl9pPr marL="3657509" algn="l" defTabSz="914377" rtl="0" eaLnBrk="1" latinLnBrk="0" hangingPunct="1">
                        <a:defRPr sz="1867" kern="1200">
                          <a:solidFill>
                            <a:schemeClr val="dk1"/>
                          </a:solidFill>
                          <a:latin typeface="Segoe UI"/>
                        </a:defRPr>
                      </a:lvl9pPr>
                    </a:lstStyle>
                    <a:p>
                      <a:pPr>
                        <a:buNone/>
                      </a:pPr>
                      <a:r>
                        <a:rPr lang="en-US" sz="1400">
                          <a:solidFill>
                            <a:srgbClr val="000000"/>
                          </a:solidFill>
                        </a:rPr>
                        <a:t>CELA approved</a:t>
                      </a: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67" kern="1200">
                          <a:solidFill>
                            <a:schemeClr val="dk1"/>
                          </a:solidFill>
                          <a:latin typeface="Segoe UI"/>
                        </a:defRPr>
                      </a:lvl1pPr>
                      <a:lvl2pPr marL="457189" algn="l" defTabSz="914377" rtl="0" eaLnBrk="1" latinLnBrk="0" hangingPunct="1">
                        <a:defRPr sz="1867" kern="1200">
                          <a:solidFill>
                            <a:schemeClr val="dk1"/>
                          </a:solidFill>
                          <a:latin typeface="Segoe UI"/>
                        </a:defRPr>
                      </a:lvl2pPr>
                      <a:lvl3pPr marL="914377" algn="l" defTabSz="914377" rtl="0" eaLnBrk="1" latinLnBrk="0" hangingPunct="1">
                        <a:defRPr sz="1867" kern="1200">
                          <a:solidFill>
                            <a:schemeClr val="dk1"/>
                          </a:solidFill>
                          <a:latin typeface="Segoe UI"/>
                        </a:defRPr>
                      </a:lvl3pPr>
                      <a:lvl4pPr marL="1371566" algn="l" defTabSz="914377" rtl="0" eaLnBrk="1" latinLnBrk="0" hangingPunct="1">
                        <a:defRPr sz="1867" kern="1200">
                          <a:solidFill>
                            <a:schemeClr val="dk1"/>
                          </a:solidFill>
                          <a:latin typeface="Segoe UI"/>
                        </a:defRPr>
                      </a:lvl4pPr>
                      <a:lvl5pPr marL="1828754" algn="l" defTabSz="914377" rtl="0" eaLnBrk="1" latinLnBrk="0" hangingPunct="1">
                        <a:defRPr sz="1867" kern="1200">
                          <a:solidFill>
                            <a:schemeClr val="dk1"/>
                          </a:solidFill>
                          <a:latin typeface="Segoe UI"/>
                        </a:defRPr>
                      </a:lvl5pPr>
                      <a:lvl6pPr marL="2285943" algn="l" defTabSz="914377" rtl="0" eaLnBrk="1" latinLnBrk="0" hangingPunct="1">
                        <a:defRPr sz="1867" kern="1200">
                          <a:solidFill>
                            <a:schemeClr val="dk1"/>
                          </a:solidFill>
                          <a:latin typeface="Segoe UI"/>
                        </a:defRPr>
                      </a:lvl6pPr>
                      <a:lvl7pPr marL="2743131" algn="l" defTabSz="914377" rtl="0" eaLnBrk="1" latinLnBrk="0" hangingPunct="1">
                        <a:defRPr sz="1867" kern="1200">
                          <a:solidFill>
                            <a:schemeClr val="dk1"/>
                          </a:solidFill>
                          <a:latin typeface="Segoe UI"/>
                        </a:defRPr>
                      </a:lvl7pPr>
                      <a:lvl8pPr marL="3200320" algn="l" defTabSz="914377" rtl="0" eaLnBrk="1" latinLnBrk="0" hangingPunct="1">
                        <a:defRPr sz="1867" kern="1200">
                          <a:solidFill>
                            <a:schemeClr val="dk1"/>
                          </a:solidFill>
                          <a:latin typeface="Segoe UI"/>
                        </a:defRPr>
                      </a:lvl8pPr>
                      <a:lvl9pPr marL="3657509" algn="l" defTabSz="914377" rtl="0" eaLnBrk="1" latinLnBrk="0" hangingPunct="1">
                        <a:defRPr sz="1867" kern="1200">
                          <a:solidFill>
                            <a:schemeClr val="dk1"/>
                          </a:solidFill>
                          <a:latin typeface="Segoe UI"/>
                        </a:defRPr>
                      </a:lvl9pPr>
                    </a:lstStyle>
                    <a:p>
                      <a:pPr algn="ctr"/>
                      <a:endParaRPr lang="en-US" sz="1400">
                        <a:solidFill>
                          <a:schemeClr val="bg2"/>
                        </a:solidFill>
                      </a:endParaRP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33917363"/>
                  </a:ext>
                </a:extLst>
              </a:tr>
              <a:tr h="335280">
                <a:tc>
                  <a:txBody>
                    <a:bodyPr/>
                    <a:lstStyle>
                      <a:lvl1pPr marL="0" algn="l" defTabSz="914377" rtl="0" eaLnBrk="1" latinLnBrk="0" hangingPunct="1">
                        <a:defRPr sz="1867" kern="1200">
                          <a:solidFill>
                            <a:schemeClr val="dk1"/>
                          </a:solidFill>
                          <a:latin typeface="Segoe UI"/>
                        </a:defRPr>
                      </a:lvl1pPr>
                      <a:lvl2pPr marL="457189" algn="l" defTabSz="914377" rtl="0" eaLnBrk="1" latinLnBrk="0" hangingPunct="1">
                        <a:defRPr sz="1867" kern="1200">
                          <a:solidFill>
                            <a:schemeClr val="dk1"/>
                          </a:solidFill>
                          <a:latin typeface="Segoe UI"/>
                        </a:defRPr>
                      </a:lvl2pPr>
                      <a:lvl3pPr marL="914377" algn="l" defTabSz="914377" rtl="0" eaLnBrk="1" latinLnBrk="0" hangingPunct="1">
                        <a:defRPr sz="1867" kern="1200">
                          <a:solidFill>
                            <a:schemeClr val="dk1"/>
                          </a:solidFill>
                          <a:latin typeface="Segoe UI"/>
                        </a:defRPr>
                      </a:lvl3pPr>
                      <a:lvl4pPr marL="1371566" algn="l" defTabSz="914377" rtl="0" eaLnBrk="1" latinLnBrk="0" hangingPunct="1">
                        <a:defRPr sz="1867" kern="1200">
                          <a:solidFill>
                            <a:schemeClr val="dk1"/>
                          </a:solidFill>
                          <a:latin typeface="Segoe UI"/>
                        </a:defRPr>
                      </a:lvl4pPr>
                      <a:lvl5pPr marL="1828754" algn="l" defTabSz="914377" rtl="0" eaLnBrk="1" latinLnBrk="0" hangingPunct="1">
                        <a:defRPr sz="1867" kern="1200">
                          <a:solidFill>
                            <a:schemeClr val="dk1"/>
                          </a:solidFill>
                          <a:latin typeface="Segoe UI"/>
                        </a:defRPr>
                      </a:lvl5pPr>
                      <a:lvl6pPr marL="2285943" algn="l" defTabSz="914377" rtl="0" eaLnBrk="1" latinLnBrk="0" hangingPunct="1">
                        <a:defRPr sz="1867" kern="1200">
                          <a:solidFill>
                            <a:schemeClr val="dk1"/>
                          </a:solidFill>
                          <a:latin typeface="Segoe UI"/>
                        </a:defRPr>
                      </a:lvl6pPr>
                      <a:lvl7pPr marL="2743131" algn="l" defTabSz="914377" rtl="0" eaLnBrk="1" latinLnBrk="0" hangingPunct="1">
                        <a:defRPr sz="1867" kern="1200">
                          <a:solidFill>
                            <a:schemeClr val="dk1"/>
                          </a:solidFill>
                          <a:latin typeface="Segoe UI"/>
                        </a:defRPr>
                      </a:lvl7pPr>
                      <a:lvl8pPr marL="3200320" algn="l" defTabSz="914377" rtl="0" eaLnBrk="1" latinLnBrk="0" hangingPunct="1">
                        <a:defRPr sz="1867" kern="1200">
                          <a:solidFill>
                            <a:schemeClr val="dk1"/>
                          </a:solidFill>
                          <a:latin typeface="Segoe UI"/>
                        </a:defRPr>
                      </a:lvl8pPr>
                      <a:lvl9pPr marL="3657509" algn="l" defTabSz="914377" rtl="0" eaLnBrk="1" latinLnBrk="0" hangingPunct="1">
                        <a:defRPr sz="1867" kern="1200">
                          <a:solidFill>
                            <a:schemeClr val="dk1"/>
                          </a:solidFill>
                          <a:latin typeface="Segoe UI"/>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400">
                          <a:solidFill>
                            <a:srgbClr val="000000"/>
                          </a:solidFill>
                        </a:rPr>
                        <a:t>Design done</a:t>
                      </a: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67" kern="1200">
                          <a:solidFill>
                            <a:schemeClr val="dk1"/>
                          </a:solidFill>
                          <a:latin typeface="Segoe UI"/>
                        </a:defRPr>
                      </a:lvl1pPr>
                      <a:lvl2pPr marL="457189" algn="l" defTabSz="914377" rtl="0" eaLnBrk="1" latinLnBrk="0" hangingPunct="1">
                        <a:defRPr sz="1867" kern="1200">
                          <a:solidFill>
                            <a:schemeClr val="dk1"/>
                          </a:solidFill>
                          <a:latin typeface="Segoe UI"/>
                        </a:defRPr>
                      </a:lvl2pPr>
                      <a:lvl3pPr marL="914377" algn="l" defTabSz="914377" rtl="0" eaLnBrk="1" latinLnBrk="0" hangingPunct="1">
                        <a:defRPr sz="1867" kern="1200">
                          <a:solidFill>
                            <a:schemeClr val="dk1"/>
                          </a:solidFill>
                          <a:latin typeface="Segoe UI"/>
                        </a:defRPr>
                      </a:lvl3pPr>
                      <a:lvl4pPr marL="1371566" algn="l" defTabSz="914377" rtl="0" eaLnBrk="1" latinLnBrk="0" hangingPunct="1">
                        <a:defRPr sz="1867" kern="1200">
                          <a:solidFill>
                            <a:schemeClr val="dk1"/>
                          </a:solidFill>
                          <a:latin typeface="Segoe UI"/>
                        </a:defRPr>
                      </a:lvl4pPr>
                      <a:lvl5pPr marL="1828754" algn="l" defTabSz="914377" rtl="0" eaLnBrk="1" latinLnBrk="0" hangingPunct="1">
                        <a:defRPr sz="1867" kern="1200">
                          <a:solidFill>
                            <a:schemeClr val="dk1"/>
                          </a:solidFill>
                          <a:latin typeface="Segoe UI"/>
                        </a:defRPr>
                      </a:lvl5pPr>
                      <a:lvl6pPr marL="2285943" algn="l" defTabSz="914377" rtl="0" eaLnBrk="1" latinLnBrk="0" hangingPunct="1">
                        <a:defRPr sz="1867" kern="1200">
                          <a:solidFill>
                            <a:schemeClr val="dk1"/>
                          </a:solidFill>
                          <a:latin typeface="Segoe UI"/>
                        </a:defRPr>
                      </a:lvl6pPr>
                      <a:lvl7pPr marL="2743131" algn="l" defTabSz="914377" rtl="0" eaLnBrk="1" latinLnBrk="0" hangingPunct="1">
                        <a:defRPr sz="1867" kern="1200">
                          <a:solidFill>
                            <a:schemeClr val="dk1"/>
                          </a:solidFill>
                          <a:latin typeface="Segoe UI"/>
                        </a:defRPr>
                      </a:lvl7pPr>
                      <a:lvl8pPr marL="3200320" algn="l" defTabSz="914377" rtl="0" eaLnBrk="1" latinLnBrk="0" hangingPunct="1">
                        <a:defRPr sz="1867" kern="1200">
                          <a:solidFill>
                            <a:schemeClr val="dk1"/>
                          </a:solidFill>
                          <a:latin typeface="Segoe UI"/>
                        </a:defRPr>
                      </a:lvl8pPr>
                      <a:lvl9pPr marL="3657509" algn="l" defTabSz="914377" rtl="0" eaLnBrk="1" latinLnBrk="0" hangingPunct="1">
                        <a:defRPr sz="1867" kern="1200">
                          <a:solidFill>
                            <a:schemeClr val="dk1"/>
                          </a:solidFill>
                          <a:latin typeface="Segoe UI"/>
                        </a:defRPr>
                      </a:lvl9pPr>
                    </a:lstStyle>
                    <a:p>
                      <a:pPr algn="ctr"/>
                      <a:endParaRPr lang="en-US" sz="1400">
                        <a:solidFill>
                          <a:schemeClr val="bg2"/>
                        </a:solidFill>
                      </a:endParaRP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39656401"/>
                  </a:ext>
                </a:extLst>
              </a:tr>
              <a:tr h="335280">
                <a:tc>
                  <a:txBody>
                    <a:bodyPr/>
                    <a:lstStyle>
                      <a:lvl1pPr marL="0" algn="l" defTabSz="914377" rtl="0" eaLnBrk="1" latinLnBrk="0" hangingPunct="1">
                        <a:defRPr sz="1867" kern="1200">
                          <a:solidFill>
                            <a:schemeClr val="dk1"/>
                          </a:solidFill>
                          <a:latin typeface="Segoe UI"/>
                        </a:defRPr>
                      </a:lvl1pPr>
                      <a:lvl2pPr marL="457189" algn="l" defTabSz="914377" rtl="0" eaLnBrk="1" latinLnBrk="0" hangingPunct="1">
                        <a:defRPr sz="1867" kern="1200">
                          <a:solidFill>
                            <a:schemeClr val="dk1"/>
                          </a:solidFill>
                          <a:latin typeface="Segoe UI"/>
                        </a:defRPr>
                      </a:lvl2pPr>
                      <a:lvl3pPr marL="914377" algn="l" defTabSz="914377" rtl="0" eaLnBrk="1" latinLnBrk="0" hangingPunct="1">
                        <a:defRPr sz="1867" kern="1200">
                          <a:solidFill>
                            <a:schemeClr val="dk1"/>
                          </a:solidFill>
                          <a:latin typeface="Segoe UI"/>
                        </a:defRPr>
                      </a:lvl3pPr>
                      <a:lvl4pPr marL="1371566" algn="l" defTabSz="914377" rtl="0" eaLnBrk="1" latinLnBrk="0" hangingPunct="1">
                        <a:defRPr sz="1867" kern="1200">
                          <a:solidFill>
                            <a:schemeClr val="dk1"/>
                          </a:solidFill>
                          <a:latin typeface="Segoe UI"/>
                        </a:defRPr>
                      </a:lvl4pPr>
                      <a:lvl5pPr marL="1828754" algn="l" defTabSz="914377" rtl="0" eaLnBrk="1" latinLnBrk="0" hangingPunct="1">
                        <a:defRPr sz="1867" kern="1200">
                          <a:solidFill>
                            <a:schemeClr val="dk1"/>
                          </a:solidFill>
                          <a:latin typeface="Segoe UI"/>
                        </a:defRPr>
                      </a:lvl5pPr>
                      <a:lvl6pPr marL="2285943" algn="l" defTabSz="914377" rtl="0" eaLnBrk="1" latinLnBrk="0" hangingPunct="1">
                        <a:defRPr sz="1867" kern="1200">
                          <a:solidFill>
                            <a:schemeClr val="dk1"/>
                          </a:solidFill>
                          <a:latin typeface="Segoe UI"/>
                        </a:defRPr>
                      </a:lvl6pPr>
                      <a:lvl7pPr marL="2743131" algn="l" defTabSz="914377" rtl="0" eaLnBrk="1" latinLnBrk="0" hangingPunct="1">
                        <a:defRPr sz="1867" kern="1200">
                          <a:solidFill>
                            <a:schemeClr val="dk1"/>
                          </a:solidFill>
                          <a:latin typeface="Segoe UI"/>
                        </a:defRPr>
                      </a:lvl7pPr>
                      <a:lvl8pPr marL="3200320" algn="l" defTabSz="914377" rtl="0" eaLnBrk="1" latinLnBrk="0" hangingPunct="1">
                        <a:defRPr sz="1867" kern="1200">
                          <a:solidFill>
                            <a:schemeClr val="dk1"/>
                          </a:solidFill>
                          <a:latin typeface="Segoe UI"/>
                        </a:defRPr>
                      </a:lvl8pPr>
                      <a:lvl9pPr marL="3657509" algn="l" defTabSz="914377" rtl="0" eaLnBrk="1" latinLnBrk="0" hangingPunct="1">
                        <a:defRPr sz="1867" kern="1200">
                          <a:solidFill>
                            <a:schemeClr val="dk1"/>
                          </a:solidFill>
                          <a:latin typeface="Segoe UI"/>
                        </a:defRPr>
                      </a:lvl9pPr>
                    </a:lstStyle>
                    <a:p>
                      <a:pPr>
                        <a:buNone/>
                      </a:pPr>
                      <a:r>
                        <a:rPr lang="en-US" sz="1400">
                          <a:solidFill>
                            <a:srgbClr val="000000"/>
                          </a:solidFill>
                        </a:rPr>
                        <a:t>Engineering signed off</a:t>
                      </a: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67" kern="1200">
                          <a:solidFill>
                            <a:schemeClr val="dk1"/>
                          </a:solidFill>
                          <a:latin typeface="Segoe UI"/>
                        </a:defRPr>
                      </a:lvl1pPr>
                      <a:lvl2pPr marL="457189" algn="l" defTabSz="914377" rtl="0" eaLnBrk="1" latinLnBrk="0" hangingPunct="1">
                        <a:defRPr sz="1867" kern="1200">
                          <a:solidFill>
                            <a:schemeClr val="dk1"/>
                          </a:solidFill>
                          <a:latin typeface="Segoe UI"/>
                        </a:defRPr>
                      </a:lvl2pPr>
                      <a:lvl3pPr marL="914377" algn="l" defTabSz="914377" rtl="0" eaLnBrk="1" latinLnBrk="0" hangingPunct="1">
                        <a:defRPr sz="1867" kern="1200">
                          <a:solidFill>
                            <a:schemeClr val="dk1"/>
                          </a:solidFill>
                          <a:latin typeface="Segoe UI"/>
                        </a:defRPr>
                      </a:lvl3pPr>
                      <a:lvl4pPr marL="1371566" algn="l" defTabSz="914377" rtl="0" eaLnBrk="1" latinLnBrk="0" hangingPunct="1">
                        <a:defRPr sz="1867" kern="1200">
                          <a:solidFill>
                            <a:schemeClr val="dk1"/>
                          </a:solidFill>
                          <a:latin typeface="Segoe UI"/>
                        </a:defRPr>
                      </a:lvl4pPr>
                      <a:lvl5pPr marL="1828754" algn="l" defTabSz="914377" rtl="0" eaLnBrk="1" latinLnBrk="0" hangingPunct="1">
                        <a:defRPr sz="1867" kern="1200">
                          <a:solidFill>
                            <a:schemeClr val="dk1"/>
                          </a:solidFill>
                          <a:latin typeface="Segoe UI"/>
                        </a:defRPr>
                      </a:lvl5pPr>
                      <a:lvl6pPr marL="2285943" algn="l" defTabSz="914377" rtl="0" eaLnBrk="1" latinLnBrk="0" hangingPunct="1">
                        <a:defRPr sz="1867" kern="1200">
                          <a:solidFill>
                            <a:schemeClr val="dk1"/>
                          </a:solidFill>
                          <a:latin typeface="Segoe UI"/>
                        </a:defRPr>
                      </a:lvl6pPr>
                      <a:lvl7pPr marL="2743131" algn="l" defTabSz="914377" rtl="0" eaLnBrk="1" latinLnBrk="0" hangingPunct="1">
                        <a:defRPr sz="1867" kern="1200">
                          <a:solidFill>
                            <a:schemeClr val="dk1"/>
                          </a:solidFill>
                          <a:latin typeface="Segoe UI"/>
                        </a:defRPr>
                      </a:lvl7pPr>
                      <a:lvl8pPr marL="3200320" algn="l" defTabSz="914377" rtl="0" eaLnBrk="1" latinLnBrk="0" hangingPunct="1">
                        <a:defRPr sz="1867" kern="1200">
                          <a:solidFill>
                            <a:schemeClr val="dk1"/>
                          </a:solidFill>
                          <a:latin typeface="Segoe UI"/>
                        </a:defRPr>
                      </a:lvl8pPr>
                      <a:lvl9pPr marL="3657509" algn="l" defTabSz="914377" rtl="0" eaLnBrk="1" latinLnBrk="0" hangingPunct="1">
                        <a:defRPr sz="1867" kern="1200">
                          <a:solidFill>
                            <a:schemeClr val="dk1"/>
                          </a:solidFill>
                          <a:latin typeface="Segoe UI"/>
                        </a:defRPr>
                      </a:lvl9pPr>
                    </a:lstStyle>
                    <a:p>
                      <a:pPr algn="ctr"/>
                      <a:endParaRPr lang="en-US" sz="1400">
                        <a:solidFill>
                          <a:schemeClr val="bg2"/>
                        </a:solidFill>
                      </a:endParaRP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46054016"/>
                  </a:ext>
                </a:extLst>
              </a:tr>
              <a:tr h="335280">
                <a:tc>
                  <a:txBody>
                    <a:bodyPr/>
                    <a:lstStyle>
                      <a:lvl1pPr marL="0" algn="l" defTabSz="914377" rtl="0" eaLnBrk="1" latinLnBrk="0" hangingPunct="1">
                        <a:defRPr sz="1867" kern="1200">
                          <a:solidFill>
                            <a:schemeClr val="dk1"/>
                          </a:solidFill>
                          <a:latin typeface="Segoe UI"/>
                        </a:defRPr>
                      </a:lvl1pPr>
                      <a:lvl2pPr marL="457189" algn="l" defTabSz="914377" rtl="0" eaLnBrk="1" latinLnBrk="0" hangingPunct="1">
                        <a:defRPr sz="1867" kern="1200">
                          <a:solidFill>
                            <a:schemeClr val="dk1"/>
                          </a:solidFill>
                          <a:latin typeface="Segoe UI"/>
                        </a:defRPr>
                      </a:lvl2pPr>
                      <a:lvl3pPr marL="914377" algn="l" defTabSz="914377" rtl="0" eaLnBrk="1" latinLnBrk="0" hangingPunct="1">
                        <a:defRPr sz="1867" kern="1200">
                          <a:solidFill>
                            <a:schemeClr val="dk1"/>
                          </a:solidFill>
                          <a:latin typeface="Segoe UI"/>
                        </a:defRPr>
                      </a:lvl3pPr>
                      <a:lvl4pPr marL="1371566" algn="l" defTabSz="914377" rtl="0" eaLnBrk="1" latinLnBrk="0" hangingPunct="1">
                        <a:defRPr sz="1867" kern="1200">
                          <a:solidFill>
                            <a:schemeClr val="dk1"/>
                          </a:solidFill>
                          <a:latin typeface="Segoe UI"/>
                        </a:defRPr>
                      </a:lvl4pPr>
                      <a:lvl5pPr marL="1828754" algn="l" defTabSz="914377" rtl="0" eaLnBrk="1" latinLnBrk="0" hangingPunct="1">
                        <a:defRPr sz="1867" kern="1200">
                          <a:solidFill>
                            <a:schemeClr val="dk1"/>
                          </a:solidFill>
                          <a:latin typeface="Segoe UI"/>
                        </a:defRPr>
                      </a:lvl5pPr>
                      <a:lvl6pPr marL="2285943" algn="l" defTabSz="914377" rtl="0" eaLnBrk="1" latinLnBrk="0" hangingPunct="1">
                        <a:defRPr sz="1867" kern="1200">
                          <a:solidFill>
                            <a:schemeClr val="dk1"/>
                          </a:solidFill>
                          <a:latin typeface="Segoe UI"/>
                        </a:defRPr>
                      </a:lvl6pPr>
                      <a:lvl7pPr marL="2743131" algn="l" defTabSz="914377" rtl="0" eaLnBrk="1" latinLnBrk="0" hangingPunct="1">
                        <a:defRPr sz="1867" kern="1200">
                          <a:solidFill>
                            <a:schemeClr val="dk1"/>
                          </a:solidFill>
                          <a:latin typeface="Segoe UI"/>
                        </a:defRPr>
                      </a:lvl7pPr>
                      <a:lvl8pPr marL="3200320" algn="l" defTabSz="914377" rtl="0" eaLnBrk="1" latinLnBrk="0" hangingPunct="1">
                        <a:defRPr sz="1867" kern="1200">
                          <a:solidFill>
                            <a:schemeClr val="dk1"/>
                          </a:solidFill>
                          <a:latin typeface="Segoe UI"/>
                        </a:defRPr>
                      </a:lvl8pPr>
                      <a:lvl9pPr marL="3657509" algn="l" defTabSz="914377" rtl="0" eaLnBrk="1" latinLnBrk="0" hangingPunct="1">
                        <a:defRPr sz="1867" kern="1200">
                          <a:solidFill>
                            <a:schemeClr val="dk1"/>
                          </a:solidFill>
                          <a:latin typeface="Segoe UI"/>
                        </a:defRPr>
                      </a:lvl9pPr>
                    </a:lstStyle>
                    <a:p>
                      <a:pPr>
                        <a:buNone/>
                      </a:pPr>
                      <a:r>
                        <a:rPr lang="en-US" sz="1400">
                          <a:solidFill>
                            <a:srgbClr val="000000"/>
                          </a:solidFill>
                        </a:rPr>
                        <a:t>Slide approved/FINAL</a:t>
                      </a: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77" rtl="0" eaLnBrk="1" latinLnBrk="0" hangingPunct="1">
                        <a:defRPr sz="1867" kern="1200">
                          <a:solidFill>
                            <a:schemeClr val="dk1"/>
                          </a:solidFill>
                          <a:latin typeface="Segoe UI"/>
                        </a:defRPr>
                      </a:lvl1pPr>
                      <a:lvl2pPr marL="457189" algn="l" defTabSz="914377" rtl="0" eaLnBrk="1" latinLnBrk="0" hangingPunct="1">
                        <a:defRPr sz="1867" kern="1200">
                          <a:solidFill>
                            <a:schemeClr val="dk1"/>
                          </a:solidFill>
                          <a:latin typeface="Segoe UI"/>
                        </a:defRPr>
                      </a:lvl2pPr>
                      <a:lvl3pPr marL="914377" algn="l" defTabSz="914377" rtl="0" eaLnBrk="1" latinLnBrk="0" hangingPunct="1">
                        <a:defRPr sz="1867" kern="1200">
                          <a:solidFill>
                            <a:schemeClr val="dk1"/>
                          </a:solidFill>
                          <a:latin typeface="Segoe UI"/>
                        </a:defRPr>
                      </a:lvl3pPr>
                      <a:lvl4pPr marL="1371566" algn="l" defTabSz="914377" rtl="0" eaLnBrk="1" latinLnBrk="0" hangingPunct="1">
                        <a:defRPr sz="1867" kern="1200">
                          <a:solidFill>
                            <a:schemeClr val="dk1"/>
                          </a:solidFill>
                          <a:latin typeface="Segoe UI"/>
                        </a:defRPr>
                      </a:lvl4pPr>
                      <a:lvl5pPr marL="1828754" algn="l" defTabSz="914377" rtl="0" eaLnBrk="1" latinLnBrk="0" hangingPunct="1">
                        <a:defRPr sz="1867" kern="1200">
                          <a:solidFill>
                            <a:schemeClr val="dk1"/>
                          </a:solidFill>
                          <a:latin typeface="Segoe UI"/>
                        </a:defRPr>
                      </a:lvl5pPr>
                      <a:lvl6pPr marL="2285943" algn="l" defTabSz="914377" rtl="0" eaLnBrk="1" latinLnBrk="0" hangingPunct="1">
                        <a:defRPr sz="1867" kern="1200">
                          <a:solidFill>
                            <a:schemeClr val="dk1"/>
                          </a:solidFill>
                          <a:latin typeface="Segoe UI"/>
                        </a:defRPr>
                      </a:lvl6pPr>
                      <a:lvl7pPr marL="2743131" algn="l" defTabSz="914377" rtl="0" eaLnBrk="1" latinLnBrk="0" hangingPunct="1">
                        <a:defRPr sz="1867" kern="1200">
                          <a:solidFill>
                            <a:schemeClr val="dk1"/>
                          </a:solidFill>
                          <a:latin typeface="Segoe UI"/>
                        </a:defRPr>
                      </a:lvl7pPr>
                      <a:lvl8pPr marL="3200320" algn="l" defTabSz="914377" rtl="0" eaLnBrk="1" latinLnBrk="0" hangingPunct="1">
                        <a:defRPr sz="1867" kern="1200">
                          <a:solidFill>
                            <a:schemeClr val="dk1"/>
                          </a:solidFill>
                          <a:latin typeface="Segoe UI"/>
                        </a:defRPr>
                      </a:lvl8pPr>
                      <a:lvl9pPr marL="3657509" algn="l" defTabSz="914377" rtl="0" eaLnBrk="1" latinLnBrk="0" hangingPunct="1">
                        <a:defRPr sz="1867" kern="1200">
                          <a:solidFill>
                            <a:schemeClr val="dk1"/>
                          </a:solidFill>
                          <a:latin typeface="Segoe UI"/>
                        </a:defRPr>
                      </a:lvl9pPr>
                    </a:lstStyle>
                    <a:p>
                      <a:pPr algn="ctr"/>
                      <a:endParaRPr lang="en-US" sz="1400">
                        <a:solidFill>
                          <a:schemeClr val="bg2"/>
                        </a:solidFill>
                      </a:endParaRP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2864803"/>
                  </a:ext>
                </a:extLst>
              </a:tr>
              <a:tr h="548640">
                <a:tc gridSpan="2">
                  <a:txBody>
                    <a:bodyPr/>
                    <a:lstStyle/>
                    <a:p>
                      <a:pPr>
                        <a:buNone/>
                      </a:pPr>
                      <a:r>
                        <a:rPr lang="en-US" sz="1400" b="1">
                          <a:solidFill>
                            <a:srgbClr val="000000"/>
                          </a:solidFill>
                        </a:rPr>
                        <a:t>Comments</a:t>
                      </a:r>
                    </a:p>
                    <a:p>
                      <a:pPr>
                        <a:buNone/>
                      </a:pPr>
                      <a:endParaRPr lang="en-US" sz="1400" b="1">
                        <a:solidFill>
                          <a:srgbClr val="000000"/>
                        </a:solidFill>
                      </a:endParaRP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2208783039"/>
                  </a:ext>
                </a:extLst>
              </a:tr>
              <a:tr h="335280">
                <a:tc gridSpan="2">
                  <a:txBody>
                    <a:bodyPr/>
                    <a:lstStyle/>
                    <a:p>
                      <a:endParaRPr lang="en-US" sz="1400">
                        <a:solidFill>
                          <a:schemeClr val="bg2"/>
                        </a:solidFill>
                      </a:endParaRPr>
                    </a:p>
                  </a:txBody>
                  <a:tcPr marL="121920" marR="121920" marT="60960" marB="60960">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4054642781"/>
                  </a:ext>
                </a:extLst>
              </a:tr>
            </a:tbl>
          </a:graphicData>
        </a:graphic>
      </p:graphicFrame>
    </p:spTree>
    <p:extLst>
      <p:ext uri="{BB962C8B-B14F-4D97-AF65-F5344CB8AC3E}">
        <p14:creationId xmlns:p14="http://schemas.microsoft.com/office/powerpoint/2010/main" val="2788303488"/>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bwMode="auto">
          <a:xfrm>
            <a:off x="1119938" y="3252544"/>
            <a:ext cx="6504618" cy="3136597"/>
          </a:xfrm>
          <a:prstGeom prst="rect">
            <a:avLst/>
          </a:prstGeom>
          <a:solidFill>
            <a:schemeClr val="accent1"/>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kern="0">
              <a:gradFill>
                <a:gsLst>
                  <a:gs pos="5439">
                    <a:srgbClr val="F8F8F8"/>
                  </a:gs>
                  <a:gs pos="10000">
                    <a:srgbClr val="F8F8F8"/>
                  </a:gs>
                </a:gsLst>
                <a:lin ang="5400000" scaled="0"/>
              </a:gradFill>
              <a:latin typeface="Segoe UI"/>
            </a:endParaRPr>
          </a:p>
        </p:txBody>
      </p:sp>
      <p:sp>
        <p:nvSpPr>
          <p:cNvPr id="36" name="TextBox 35"/>
          <p:cNvSpPr txBox="1"/>
          <p:nvPr/>
        </p:nvSpPr>
        <p:spPr>
          <a:xfrm>
            <a:off x="3161161" y="3871075"/>
            <a:ext cx="1301436" cy="1451871"/>
          </a:xfrm>
          <a:prstGeom prst="rect">
            <a:avLst/>
          </a:prstGeom>
          <a:solidFill>
            <a:schemeClr val="bg1">
              <a:lumMod val="95000"/>
            </a:schemeClr>
          </a:solidFill>
          <a:ln>
            <a:solidFill>
              <a:schemeClr val="accent1"/>
            </a:solidFill>
          </a:ln>
        </p:spPr>
        <p:txBody>
          <a:bodyPr wrap="square" lIns="89617" tIns="143387" rIns="89617" bIns="143387" rtlCol="0">
            <a:spAutoFit/>
          </a:bodyPr>
          <a:lstStyle/>
          <a:p>
            <a:pPr defTabSz="896042">
              <a:lnSpc>
                <a:spcPct val="90000"/>
              </a:lnSpc>
              <a:defRPr/>
            </a:pPr>
            <a:r>
              <a:rPr lang="en-US" sz="1370" b="1" kern="0">
                <a:solidFill>
                  <a:schemeClr val="accent1"/>
                </a:solidFill>
                <a:latin typeface="Segoe UI"/>
              </a:rPr>
              <a:t>ASA on edge device module</a:t>
            </a:r>
          </a:p>
          <a:p>
            <a:pPr defTabSz="896042">
              <a:lnSpc>
                <a:spcPct val="90000"/>
              </a:lnSpc>
              <a:defRPr/>
            </a:pPr>
            <a:endParaRPr lang="en-US" sz="1370" b="1" kern="0">
              <a:solidFill>
                <a:schemeClr val="accent1"/>
              </a:solidFill>
              <a:latin typeface="Segoe UI"/>
            </a:endParaRPr>
          </a:p>
          <a:p>
            <a:pPr defTabSz="896042">
              <a:lnSpc>
                <a:spcPct val="90000"/>
              </a:lnSpc>
              <a:defRPr/>
            </a:pPr>
            <a:endParaRPr lang="en-US" sz="1370" b="1" kern="0">
              <a:solidFill>
                <a:schemeClr val="accent1"/>
              </a:solidFill>
              <a:latin typeface="Segoe UI"/>
            </a:endParaRPr>
          </a:p>
          <a:p>
            <a:pPr defTabSz="896042">
              <a:lnSpc>
                <a:spcPct val="90000"/>
              </a:lnSpc>
              <a:defRPr/>
            </a:pPr>
            <a:endParaRPr lang="en-US" sz="1370" b="1" kern="0">
              <a:solidFill>
                <a:schemeClr val="accent1"/>
              </a:solidFill>
              <a:latin typeface="Segoe UI"/>
            </a:endParaRPr>
          </a:p>
        </p:txBody>
      </p:sp>
      <p:sp>
        <p:nvSpPr>
          <p:cNvPr id="2" name="Text Placeholder 1"/>
          <p:cNvSpPr>
            <a:spLocks noGrp="1"/>
          </p:cNvSpPr>
          <p:nvPr>
            <p:ph type="body" sz="quarter" idx="10"/>
          </p:nvPr>
        </p:nvSpPr>
        <p:spPr>
          <a:xfrm>
            <a:off x="370410" y="1189496"/>
            <a:ext cx="11552353" cy="1388009"/>
          </a:xfrm>
        </p:spPr>
        <p:txBody>
          <a:bodyPr/>
          <a:lstStyle/>
          <a:p>
            <a:r>
              <a:rPr lang="en-US"/>
              <a:t>Azure Stream Analytics on edge devices is offered as a module in Azure IoT Gateway SDK</a:t>
            </a:r>
          </a:p>
          <a:p>
            <a:r>
              <a:rPr lang="en-US"/>
              <a:t>Mini stream analytics engine (1 to 2 MB memory)</a:t>
            </a:r>
          </a:p>
          <a:p>
            <a:r>
              <a:rPr lang="en-US"/>
              <a:t>Running in </a:t>
            </a:r>
            <a:r>
              <a:rPr lang="en-US" err="1"/>
              <a:t>NodeJS</a:t>
            </a:r>
            <a:endParaRPr lang="en-US"/>
          </a:p>
          <a:p>
            <a:endParaRPr lang="en-US"/>
          </a:p>
        </p:txBody>
      </p:sp>
      <p:sp>
        <p:nvSpPr>
          <p:cNvPr id="3" name="Title 2"/>
          <p:cNvSpPr>
            <a:spLocks noGrp="1"/>
          </p:cNvSpPr>
          <p:nvPr>
            <p:ph type="title"/>
          </p:nvPr>
        </p:nvSpPr>
        <p:spPr/>
        <p:txBody>
          <a:bodyPr/>
          <a:lstStyle/>
          <a:p>
            <a:r>
              <a:rPr lang="en-US"/>
              <a:t>Architecture</a:t>
            </a:r>
          </a:p>
        </p:txBody>
      </p:sp>
      <p:sp>
        <p:nvSpPr>
          <p:cNvPr id="16" name="Freeform 114"/>
          <p:cNvSpPr>
            <a:spLocks noChangeAspect="1" noEditPoints="1"/>
          </p:cNvSpPr>
          <p:nvPr/>
        </p:nvSpPr>
        <p:spPr bwMode="black">
          <a:xfrm>
            <a:off x="282636" y="4049828"/>
            <a:ext cx="341339" cy="341339"/>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solidFill>
              <a:srgbClr val="0070C0"/>
            </a:solidFill>
            <a:prstDash val="solid"/>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750" fontAlgn="base">
              <a:lnSpc>
                <a:spcPct val="90000"/>
              </a:lnSpc>
              <a:spcBef>
                <a:spcPct val="0"/>
              </a:spcBef>
              <a:spcAft>
                <a:spcPct val="0"/>
              </a:spcAft>
              <a:defRPr/>
            </a:pPr>
            <a:endParaRPr lang="en-US" sz="2307" kern="0">
              <a:solidFill>
                <a:srgbClr val="002050">
                  <a:lumMod val="75000"/>
                  <a:lumOff val="25000"/>
                </a:srgbClr>
              </a:solidFill>
              <a:latin typeface="Segoe UI"/>
              <a:ea typeface="Segoe UI" pitchFamily="34" charset="0"/>
              <a:cs typeface="Segoe UI" pitchFamily="34" charset="0"/>
            </a:endParaRPr>
          </a:p>
        </p:txBody>
      </p:sp>
      <p:cxnSp>
        <p:nvCxnSpPr>
          <p:cNvPr id="17" name="Straight Arrow Connector 16"/>
          <p:cNvCxnSpPr/>
          <p:nvPr/>
        </p:nvCxnSpPr>
        <p:spPr>
          <a:xfrm>
            <a:off x="839963" y="4838611"/>
            <a:ext cx="627319" cy="774"/>
          </a:xfrm>
          <a:prstGeom prst="straightConnector1">
            <a:avLst/>
          </a:prstGeom>
          <a:noFill/>
          <a:ln w="9525" cap="flat" cmpd="sng" algn="ctr">
            <a:solidFill>
              <a:srgbClr val="0070C0"/>
            </a:solidFill>
            <a:prstDash val="solid"/>
            <a:headEnd type="triangle" w="med" len="med"/>
            <a:tailEnd type="triangle" w="med" len="med"/>
          </a:ln>
          <a:effectLst/>
        </p:spPr>
      </p:cxnSp>
      <p:sp>
        <p:nvSpPr>
          <p:cNvPr id="18" name="TextBox 17"/>
          <p:cNvSpPr txBox="1"/>
          <p:nvPr/>
        </p:nvSpPr>
        <p:spPr>
          <a:xfrm>
            <a:off x="1788233" y="3866959"/>
            <a:ext cx="1054503" cy="1451871"/>
          </a:xfrm>
          <a:prstGeom prst="rect">
            <a:avLst/>
          </a:prstGeom>
          <a:solidFill>
            <a:schemeClr val="bg1">
              <a:lumMod val="95000"/>
            </a:schemeClr>
          </a:solidFill>
          <a:ln>
            <a:solidFill>
              <a:schemeClr val="accent1"/>
            </a:solidFill>
          </a:ln>
        </p:spPr>
        <p:txBody>
          <a:bodyPr wrap="square" lIns="89617" tIns="143387" rIns="89617" bIns="143387" rtlCol="0">
            <a:spAutoFit/>
          </a:bodyPr>
          <a:lstStyle/>
          <a:p>
            <a:pPr defTabSz="896042">
              <a:lnSpc>
                <a:spcPct val="90000"/>
              </a:lnSpc>
              <a:defRPr/>
            </a:pPr>
            <a:endParaRPr lang="en-US" sz="1370" b="1" kern="0">
              <a:solidFill>
                <a:schemeClr val="accent1"/>
              </a:solidFill>
              <a:latin typeface="Segoe UI"/>
            </a:endParaRPr>
          </a:p>
          <a:p>
            <a:pPr defTabSz="896042">
              <a:lnSpc>
                <a:spcPct val="90000"/>
              </a:lnSpc>
              <a:defRPr/>
            </a:pPr>
            <a:r>
              <a:rPr lang="en-US" sz="1370" b="1" kern="0">
                <a:solidFill>
                  <a:schemeClr val="accent1"/>
                </a:solidFill>
                <a:latin typeface="Segoe UI"/>
              </a:rPr>
              <a:t>Ingestion</a:t>
            </a:r>
          </a:p>
          <a:p>
            <a:pPr defTabSz="896042">
              <a:lnSpc>
                <a:spcPct val="90000"/>
              </a:lnSpc>
              <a:defRPr/>
            </a:pPr>
            <a:endParaRPr lang="en-US" sz="1370" b="1" kern="0">
              <a:solidFill>
                <a:schemeClr val="accent1"/>
              </a:solidFill>
              <a:latin typeface="Segoe UI"/>
            </a:endParaRPr>
          </a:p>
          <a:p>
            <a:pPr defTabSz="896042">
              <a:lnSpc>
                <a:spcPct val="90000"/>
              </a:lnSpc>
              <a:defRPr/>
            </a:pPr>
            <a:endParaRPr lang="en-US" sz="1370" b="1" kern="0">
              <a:solidFill>
                <a:schemeClr val="accent1"/>
              </a:solidFill>
              <a:latin typeface="Segoe UI"/>
            </a:endParaRPr>
          </a:p>
          <a:p>
            <a:pPr defTabSz="896042">
              <a:lnSpc>
                <a:spcPct val="90000"/>
              </a:lnSpc>
              <a:defRPr/>
            </a:pPr>
            <a:endParaRPr lang="en-US" sz="1370" b="1" kern="0">
              <a:solidFill>
                <a:schemeClr val="accent1"/>
              </a:solidFill>
              <a:latin typeface="Segoe UI"/>
            </a:endParaRPr>
          </a:p>
          <a:p>
            <a:pPr defTabSz="896042">
              <a:lnSpc>
                <a:spcPct val="90000"/>
              </a:lnSpc>
              <a:defRPr/>
            </a:pPr>
            <a:endParaRPr lang="en-US" sz="1370" b="1" kern="0">
              <a:solidFill>
                <a:schemeClr val="accent1"/>
              </a:solidFill>
              <a:latin typeface="Segoe UI"/>
            </a:endParaRPr>
          </a:p>
        </p:txBody>
      </p:sp>
      <p:sp>
        <p:nvSpPr>
          <p:cNvPr id="20" name="TextBox 19"/>
          <p:cNvSpPr txBox="1"/>
          <p:nvPr/>
        </p:nvSpPr>
        <p:spPr>
          <a:xfrm>
            <a:off x="6179898" y="3830152"/>
            <a:ext cx="1080449" cy="1451871"/>
          </a:xfrm>
          <a:prstGeom prst="rect">
            <a:avLst/>
          </a:prstGeom>
          <a:solidFill>
            <a:schemeClr val="bg1">
              <a:lumMod val="95000"/>
            </a:schemeClr>
          </a:solidFill>
          <a:ln>
            <a:solidFill>
              <a:schemeClr val="accent1"/>
            </a:solidFill>
          </a:ln>
        </p:spPr>
        <p:txBody>
          <a:bodyPr wrap="square" lIns="89617" tIns="143387" rIns="89617" bIns="143387" rtlCol="0">
            <a:spAutoFit/>
          </a:bodyPr>
          <a:lstStyle/>
          <a:p>
            <a:pPr defTabSz="896042">
              <a:lnSpc>
                <a:spcPct val="90000"/>
              </a:lnSpc>
              <a:defRPr/>
            </a:pPr>
            <a:r>
              <a:rPr lang="en-US" sz="1370" b="1" kern="0">
                <a:solidFill>
                  <a:schemeClr val="accent1"/>
                </a:solidFill>
                <a:latin typeface="Segoe UI"/>
              </a:rPr>
              <a:t>Send to cloud</a:t>
            </a:r>
          </a:p>
          <a:p>
            <a:pPr defTabSz="896042">
              <a:lnSpc>
                <a:spcPct val="90000"/>
              </a:lnSpc>
              <a:defRPr/>
            </a:pPr>
            <a:endParaRPr lang="en-US" sz="1370" b="1" kern="0">
              <a:solidFill>
                <a:schemeClr val="accent1"/>
              </a:solidFill>
              <a:latin typeface="Segoe UI"/>
            </a:endParaRPr>
          </a:p>
          <a:p>
            <a:pPr defTabSz="896042">
              <a:lnSpc>
                <a:spcPct val="90000"/>
              </a:lnSpc>
              <a:defRPr/>
            </a:pPr>
            <a:endParaRPr lang="en-US" sz="1370" b="1" kern="0">
              <a:solidFill>
                <a:schemeClr val="accent1"/>
              </a:solidFill>
              <a:latin typeface="Segoe UI"/>
            </a:endParaRPr>
          </a:p>
          <a:p>
            <a:pPr defTabSz="896042">
              <a:lnSpc>
                <a:spcPct val="90000"/>
              </a:lnSpc>
              <a:defRPr/>
            </a:pPr>
            <a:endParaRPr lang="en-US" sz="1370" b="1" kern="0">
              <a:solidFill>
                <a:schemeClr val="accent1"/>
              </a:solidFill>
              <a:latin typeface="Segoe UI"/>
            </a:endParaRPr>
          </a:p>
          <a:p>
            <a:pPr algn="ctr" defTabSz="896042">
              <a:lnSpc>
                <a:spcPct val="90000"/>
              </a:lnSpc>
              <a:defRPr/>
            </a:pPr>
            <a:endParaRPr lang="en-US" sz="1370" b="1" kern="0">
              <a:solidFill>
                <a:schemeClr val="accent1"/>
              </a:solidFill>
              <a:latin typeface="Segoe UI"/>
            </a:endParaRPr>
          </a:p>
        </p:txBody>
      </p:sp>
      <p:cxnSp>
        <p:nvCxnSpPr>
          <p:cNvPr id="21" name="Straight Arrow Connector 20"/>
          <p:cNvCxnSpPr/>
          <p:nvPr/>
        </p:nvCxnSpPr>
        <p:spPr>
          <a:xfrm>
            <a:off x="7290391" y="4576254"/>
            <a:ext cx="1578117" cy="7319"/>
          </a:xfrm>
          <a:prstGeom prst="straightConnector1">
            <a:avLst/>
          </a:prstGeom>
          <a:noFill/>
          <a:ln w="9525" cap="flat" cmpd="sng" algn="ctr">
            <a:solidFill>
              <a:srgbClr val="0070C0"/>
            </a:solidFill>
            <a:prstDash val="solid"/>
            <a:headEnd type="triangle" w="med" len="med"/>
            <a:tailEnd type="triangle" w="med" len="med"/>
          </a:ln>
          <a:effectLst/>
        </p:spPr>
      </p:cxnSp>
      <p:sp>
        <p:nvSpPr>
          <p:cNvPr id="25" name="Rectangle 24"/>
          <p:cNvSpPr/>
          <p:nvPr/>
        </p:nvSpPr>
        <p:spPr>
          <a:xfrm>
            <a:off x="7716410" y="4682106"/>
            <a:ext cx="1152098" cy="1642163"/>
          </a:xfrm>
          <a:prstGeom prst="rect">
            <a:avLst/>
          </a:prstGeom>
          <a:ln>
            <a:noFill/>
          </a:ln>
        </p:spPr>
        <p:txBody>
          <a:bodyPr wrap="square">
            <a:spAutoFit/>
          </a:bodyPr>
          <a:lstStyle/>
          <a:p>
            <a:pPr defTabSz="896042">
              <a:lnSpc>
                <a:spcPct val="90000"/>
              </a:lnSpc>
              <a:defRPr/>
            </a:pPr>
            <a:r>
              <a:rPr lang="en-US" sz="1567" kern="0">
                <a:solidFill>
                  <a:srgbClr val="002050">
                    <a:lumMod val="75000"/>
                    <a:lumOff val="25000"/>
                  </a:srgbClr>
                </a:solidFill>
                <a:latin typeface="Segoe UI"/>
              </a:rPr>
              <a:t>Internet ready</a:t>
            </a:r>
          </a:p>
          <a:p>
            <a:pPr defTabSz="896042">
              <a:lnSpc>
                <a:spcPct val="90000"/>
              </a:lnSpc>
              <a:defRPr/>
            </a:pPr>
            <a:r>
              <a:rPr lang="en-US" sz="1567" kern="0">
                <a:solidFill>
                  <a:srgbClr val="002050">
                    <a:lumMod val="75000"/>
                    <a:lumOff val="25000"/>
                  </a:srgbClr>
                </a:solidFill>
                <a:latin typeface="Segoe UI"/>
              </a:rPr>
              <a:t>Protocol </a:t>
            </a:r>
            <a:br>
              <a:rPr lang="en-US" sz="1567" kern="0">
                <a:solidFill>
                  <a:srgbClr val="002050">
                    <a:lumMod val="75000"/>
                    <a:lumOff val="25000"/>
                  </a:srgbClr>
                </a:solidFill>
                <a:latin typeface="Segoe UI"/>
              </a:rPr>
            </a:br>
            <a:r>
              <a:rPr lang="en-US" sz="1567" kern="0">
                <a:solidFill>
                  <a:srgbClr val="002050">
                    <a:lumMod val="75000"/>
                    <a:lumOff val="25000"/>
                  </a:srgbClr>
                </a:solidFill>
                <a:latin typeface="Segoe UI"/>
              </a:rPr>
              <a:t>(e.g. </a:t>
            </a:r>
            <a:r>
              <a:rPr lang="en-US" sz="1567" kern="0" err="1">
                <a:solidFill>
                  <a:srgbClr val="002050">
                    <a:lumMod val="75000"/>
                    <a:lumOff val="25000"/>
                  </a:srgbClr>
                </a:solidFill>
                <a:latin typeface="Segoe UI"/>
              </a:rPr>
              <a:t>MQTT</a:t>
            </a:r>
            <a:r>
              <a:rPr lang="en-US" sz="1567" kern="0">
                <a:solidFill>
                  <a:srgbClr val="002050">
                    <a:lumMod val="75000"/>
                    <a:lumOff val="25000"/>
                  </a:srgbClr>
                </a:solidFill>
                <a:latin typeface="Segoe UI"/>
              </a:rPr>
              <a:t>) </a:t>
            </a:r>
          </a:p>
          <a:p>
            <a:pPr defTabSz="896042">
              <a:lnSpc>
                <a:spcPct val="90000"/>
              </a:lnSpc>
              <a:defRPr/>
            </a:pPr>
            <a:endParaRPr lang="en-US" sz="1567" kern="0">
              <a:solidFill>
                <a:srgbClr val="002050">
                  <a:lumMod val="75000"/>
                  <a:lumOff val="25000"/>
                </a:srgbClr>
              </a:solidFill>
              <a:latin typeface="Segoe UI"/>
            </a:endParaRPr>
          </a:p>
          <a:p>
            <a:pPr defTabSz="896042">
              <a:lnSpc>
                <a:spcPct val="90000"/>
              </a:lnSpc>
              <a:defRPr/>
            </a:pPr>
            <a:r>
              <a:rPr lang="en-US" sz="1567" kern="0">
                <a:solidFill>
                  <a:srgbClr val="002050">
                    <a:lumMod val="75000"/>
                    <a:lumOff val="25000"/>
                  </a:srgbClr>
                </a:solidFill>
                <a:latin typeface="Segoe UI"/>
              </a:rPr>
              <a:t>Telemetry</a:t>
            </a:r>
          </a:p>
        </p:txBody>
      </p:sp>
      <p:sp>
        <p:nvSpPr>
          <p:cNvPr id="26" name="Freeform 114"/>
          <p:cNvSpPr>
            <a:spLocks noChangeAspect="1" noEditPoints="1"/>
          </p:cNvSpPr>
          <p:nvPr/>
        </p:nvSpPr>
        <p:spPr bwMode="black">
          <a:xfrm>
            <a:off x="282636" y="4638076"/>
            <a:ext cx="341339" cy="341339"/>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solidFill>
              <a:srgbClr val="0070C0"/>
            </a:solidFill>
            <a:prstDash val="solid"/>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750" fontAlgn="base">
              <a:lnSpc>
                <a:spcPct val="90000"/>
              </a:lnSpc>
              <a:spcBef>
                <a:spcPct val="0"/>
              </a:spcBef>
              <a:spcAft>
                <a:spcPct val="0"/>
              </a:spcAft>
              <a:defRPr/>
            </a:pPr>
            <a:endParaRPr lang="en-US" sz="2307" kern="0">
              <a:solidFill>
                <a:srgbClr val="002050">
                  <a:lumMod val="75000"/>
                  <a:lumOff val="25000"/>
                </a:srgbClr>
              </a:solidFill>
              <a:latin typeface="Segoe UI"/>
              <a:ea typeface="Segoe UI" pitchFamily="34" charset="0"/>
              <a:cs typeface="Segoe UI" pitchFamily="34" charset="0"/>
            </a:endParaRPr>
          </a:p>
        </p:txBody>
      </p:sp>
      <p:sp>
        <p:nvSpPr>
          <p:cNvPr id="27" name="Freeform 114"/>
          <p:cNvSpPr>
            <a:spLocks noChangeAspect="1" noEditPoints="1"/>
          </p:cNvSpPr>
          <p:nvPr/>
        </p:nvSpPr>
        <p:spPr bwMode="black">
          <a:xfrm>
            <a:off x="282636" y="5226324"/>
            <a:ext cx="341339" cy="341339"/>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solidFill>
              <a:srgbClr val="0070C0"/>
            </a:solidFill>
            <a:prstDash val="solid"/>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750" fontAlgn="base">
              <a:lnSpc>
                <a:spcPct val="90000"/>
              </a:lnSpc>
              <a:spcBef>
                <a:spcPct val="0"/>
              </a:spcBef>
              <a:spcAft>
                <a:spcPct val="0"/>
              </a:spcAft>
              <a:defRPr/>
            </a:pPr>
            <a:endParaRPr lang="en-US" sz="2307" kern="0">
              <a:solidFill>
                <a:srgbClr val="002050">
                  <a:lumMod val="75000"/>
                  <a:lumOff val="25000"/>
                </a:srgbClr>
              </a:solidFill>
              <a:latin typeface="Segoe UI"/>
              <a:ea typeface="Segoe UI" pitchFamily="34" charset="0"/>
              <a:cs typeface="Segoe UI" pitchFamily="34" charset="0"/>
            </a:endParaRPr>
          </a:p>
        </p:txBody>
      </p:sp>
      <p:sp>
        <p:nvSpPr>
          <p:cNvPr id="29" name="Rectangle 28"/>
          <p:cNvSpPr/>
          <p:nvPr/>
        </p:nvSpPr>
        <p:spPr>
          <a:xfrm>
            <a:off x="133274" y="5647160"/>
            <a:ext cx="866338" cy="341536"/>
          </a:xfrm>
          <a:prstGeom prst="rect">
            <a:avLst/>
          </a:prstGeom>
          <a:ln>
            <a:noFill/>
          </a:ln>
        </p:spPr>
        <p:txBody>
          <a:bodyPr wrap="none" lIns="0">
            <a:spAutoFit/>
          </a:bodyPr>
          <a:lstStyle/>
          <a:p>
            <a:pPr defTabSz="896042">
              <a:lnSpc>
                <a:spcPct val="90000"/>
              </a:lnSpc>
              <a:defRPr/>
            </a:pPr>
            <a:r>
              <a:rPr lang="en-US" sz="1765" kern="0">
                <a:solidFill>
                  <a:srgbClr val="002060"/>
                </a:solidFill>
                <a:latin typeface="Segoe UI"/>
              </a:rPr>
              <a:t>Devices</a:t>
            </a:r>
          </a:p>
        </p:txBody>
      </p:sp>
      <p:cxnSp>
        <p:nvCxnSpPr>
          <p:cNvPr id="31" name="Straight Arrow Connector 30"/>
          <p:cNvCxnSpPr/>
          <p:nvPr/>
        </p:nvCxnSpPr>
        <p:spPr>
          <a:xfrm flipV="1">
            <a:off x="839963" y="4977672"/>
            <a:ext cx="671715" cy="419323"/>
          </a:xfrm>
          <a:prstGeom prst="straightConnector1">
            <a:avLst/>
          </a:prstGeom>
          <a:noFill/>
          <a:ln w="9525" cap="flat" cmpd="sng" algn="ctr">
            <a:solidFill>
              <a:srgbClr val="0070C0"/>
            </a:solidFill>
            <a:prstDash val="solid"/>
            <a:headEnd type="triangle" w="med" len="med"/>
            <a:tailEnd type="triangle" w="med" len="med"/>
          </a:ln>
          <a:effectLst/>
        </p:spPr>
      </p:cxnSp>
      <p:cxnSp>
        <p:nvCxnSpPr>
          <p:cNvPr id="33" name="Straight Arrow Connector 32"/>
          <p:cNvCxnSpPr/>
          <p:nvPr/>
        </p:nvCxnSpPr>
        <p:spPr>
          <a:xfrm>
            <a:off x="839963" y="4231868"/>
            <a:ext cx="627319" cy="291220"/>
          </a:xfrm>
          <a:prstGeom prst="straightConnector1">
            <a:avLst/>
          </a:prstGeom>
          <a:noFill/>
          <a:ln w="9525" cap="flat" cmpd="sng" algn="ctr">
            <a:solidFill>
              <a:srgbClr val="0070C0"/>
            </a:solidFill>
            <a:prstDash val="solid"/>
            <a:headEnd type="triangle" w="med" len="med"/>
            <a:tailEnd type="triangle" w="med" len="med"/>
          </a:ln>
          <a:effectLst/>
        </p:spPr>
      </p:cxnSp>
      <p:sp>
        <p:nvSpPr>
          <p:cNvPr id="42" name="TextBox 41"/>
          <p:cNvSpPr txBox="1"/>
          <p:nvPr/>
        </p:nvSpPr>
        <p:spPr>
          <a:xfrm>
            <a:off x="1347670" y="5781485"/>
            <a:ext cx="6049151" cy="479608"/>
          </a:xfrm>
          <a:prstGeom prst="rect">
            <a:avLst/>
          </a:prstGeom>
          <a:solidFill>
            <a:schemeClr val="bg1">
              <a:lumMod val="95000"/>
            </a:schemeClr>
          </a:solidFill>
          <a:ln>
            <a:solidFill>
              <a:schemeClr val="accent1"/>
            </a:solidFill>
          </a:ln>
        </p:spPr>
        <p:txBody>
          <a:bodyPr wrap="square" lIns="89617" tIns="143387" rIns="89617" bIns="143387" rtlCol="0">
            <a:spAutoFit/>
          </a:bodyPr>
          <a:lstStyle/>
          <a:p>
            <a:pPr algn="ctr" defTabSz="896042">
              <a:lnSpc>
                <a:spcPct val="90000"/>
              </a:lnSpc>
              <a:defRPr/>
            </a:pPr>
            <a:r>
              <a:rPr lang="en-US" sz="1370" b="1" kern="0">
                <a:solidFill>
                  <a:schemeClr val="accent1"/>
                </a:solidFill>
                <a:latin typeface="Segoe UI"/>
              </a:rPr>
              <a:t>Gateway Message Bus</a:t>
            </a:r>
          </a:p>
        </p:txBody>
      </p:sp>
      <p:cxnSp>
        <p:nvCxnSpPr>
          <p:cNvPr id="46" name="Straight Arrow Connector 45"/>
          <p:cNvCxnSpPr/>
          <p:nvPr/>
        </p:nvCxnSpPr>
        <p:spPr>
          <a:xfrm>
            <a:off x="6678183" y="5412618"/>
            <a:ext cx="2" cy="258585"/>
          </a:xfrm>
          <a:prstGeom prst="straightConnector1">
            <a:avLst/>
          </a:prstGeom>
          <a:noFill/>
          <a:ln w="9525" cap="flat" cmpd="sng" algn="ctr">
            <a:solidFill>
              <a:schemeClr val="bg1"/>
            </a:solidFill>
            <a:prstDash val="solid"/>
            <a:headEnd type="triangle" w="med" len="med"/>
            <a:tailEnd type="triangle" w="med" len="med"/>
          </a:ln>
          <a:effectLst/>
        </p:spPr>
      </p:cxnSp>
      <p:sp>
        <p:nvSpPr>
          <p:cNvPr id="51" name="Rectangle 260"/>
          <p:cNvSpPr>
            <a:spLocks noChangeArrowheads="1"/>
          </p:cNvSpPr>
          <p:nvPr/>
        </p:nvSpPr>
        <p:spPr bwMode="auto">
          <a:xfrm>
            <a:off x="9094476" y="4963902"/>
            <a:ext cx="620740" cy="211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74">
              <a:defRPr/>
            </a:pPr>
            <a:r>
              <a:rPr lang="en-US" altLang="en-US" sz="1372" kern="0" err="1">
                <a:latin typeface="Segoe UI" panose="020B0502040204020203" pitchFamily="34" charset="0"/>
              </a:rPr>
              <a:t>IoT</a:t>
            </a:r>
            <a:r>
              <a:rPr lang="en-US" altLang="en-US" sz="1372" kern="0">
                <a:latin typeface="Segoe UI" panose="020B0502040204020203" pitchFamily="34" charset="0"/>
              </a:rPr>
              <a:t> Hub</a:t>
            </a:r>
            <a:endParaRPr lang="en-US" altLang="en-US" sz="2353" kern="0"/>
          </a:p>
        </p:txBody>
      </p:sp>
      <p:cxnSp>
        <p:nvCxnSpPr>
          <p:cNvPr id="53" name="Straight Arrow Connector 52"/>
          <p:cNvCxnSpPr/>
          <p:nvPr/>
        </p:nvCxnSpPr>
        <p:spPr>
          <a:xfrm>
            <a:off x="9922619" y="4576252"/>
            <a:ext cx="427233" cy="0"/>
          </a:xfrm>
          <a:prstGeom prst="straightConnector1">
            <a:avLst/>
          </a:prstGeom>
          <a:noFill/>
          <a:ln w="9525" cap="flat" cmpd="sng" algn="ctr">
            <a:solidFill>
              <a:srgbClr val="0070C0"/>
            </a:solidFill>
            <a:prstDash val="solid"/>
            <a:headEnd type="triangle" w="med" len="med"/>
            <a:tailEnd type="triangle" w="med" len="med"/>
          </a:ln>
          <a:effectLst/>
        </p:spPr>
      </p:cxnSp>
      <p:cxnSp>
        <p:nvCxnSpPr>
          <p:cNvPr id="56" name="Straight Arrow Connector 55"/>
          <p:cNvCxnSpPr/>
          <p:nvPr/>
        </p:nvCxnSpPr>
        <p:spPr>
          <a:xfrm>
            <a:off x="9922619" y="4918637"/>
            <a:ext cx="427233" cy="307686"/>
          </a:xfrm>
          <a:prstGeom prst="straightConnector1">
            <a:avLst/>
          </a:prstGeom>
          <a:noFill/>
          <a:ln w="9525" cap="flat" cmpd="sng" algn="ctr">
            <a:solidFill>
              <a:srgbClr val="0070C0"/>
            </a:solidFill>
            <a:prstDash val="solid"/>
            <a:headEnd type="triangle" w="med" len="med"/>
            <a:tailEnd type="triangle" w="med" len="med"/>
          </a:ln>
          <a:effectLst/>
        </p:spPr>
      </p:cxnSp>
      <p:sp>
        <p:nvSpPr>
          <p:cNvPr id="60" name="Rectangle 59"/>
          <p:cNvSpPr/>
          <p:nvPr/>
        </p:nvSpPr>
        <p:spPr>
          <a:xfrm>
            <a:off x="10659666" y="5179553"/>
            <a:ext cx="1152098" cy="756532"/>
          </a:xfrm>
          <a:prstGeom prst="rect">
            <a:avLst/>
          </a:prstGeom>
          <a:ln>
            <a:noFill/>
          </a:ln>
        </p:spPr>
        <p:txBody>
          <a:bodyPr wrap="square">
            <a:spAutoFit/>
          </a:bodyPr>
          <a:lstStyle/>
          <a:p>
            <a:pPr defTabSz="896042">
              <a:lnSpc>
                <a:spcPct val="90000"/>
              </a:lnSpc>
              <a:defRPr/>
            </a:pPr>
            <a:r>
              <a:rPr lang="en-US" sz="1567" kern="0">
                <a:latin typeface="Segoe UI"/>
              </a:rPr>
              <a:t>Other azure services</a:t>
            </a:r>
          </a:p>
        </p:txBody>
      </p:sp>
      <p:sp>
        <p:nvSpPr>
          <p:cNvPr id="62" name="Rectangle 61"/>
          <p:cNvSpPr/>
          <p:nvPr/>
        </p:nvSpPr>
        <p:spPr>
          <a:xfrm>
            <a:off x="3028935" y="3308135"/>
            <a:ext cx="2686622" cy="362072"/>
          </a:xfrm>
          <a:prstGeom prst="rect">
            <a:avLst/>
          </a:prstGeom>
          <a:ln>
            <a:noFill/>
          </a:ln>
        </p:spPr>
        <p:txBody>
          <a:bodyPr wrap="none" lIns="0">
            <a:spAutoFit/>
          </a:bodyPr>
          <a:lstStyle/>
          <a:p>
            <a:pPr defTabSz="896042">
              <a:lnSpc>
                <a:spcPct val="90000"/>
              </a:lnSpc>
              <a:defRPr/>
            </a:pPr>
            <a:r>
              <a:rPr lang="en-US" sz="1961" kern="0">
                <a:solidFill>
                  <a:schemeClr val="bg1"/>
                </a:solidFill>
                <a:latin typeface="Segoe UI"/>
              </a:rPr>
              <a:t>Azure </a:t>
            </a:r>
            <a:r>
              <a:rPr lang="en-US" sz="1961" kern="0" err="1">
                <a:solidFill>
                  <a:schemeClr val="bg1"/>
                </a:solidFill>
                <a:latin typeface="Segoe UI"/>
              </a:rPr>
              <a:t>IoT</a:t>
            </a:r>
            <a:r>
              <a:rPr lang="en-US" sz="1961" kern="0">
                <a:solidFill>
                  <a:schemeClr val="bg1"/>
                </a:solidFill>
                <a:latin typeface="Segoe UI"/>
              </a:rPr>
              <a:t> Gateway SDK</a:t>
            </a:r>
          </a:p>
        </p:txBody>
      </p:sp>
      <p:cxnSp>
        <p:nvCxnSpPr>
          <p:cNvPr id="65" name="Straight Connector 64"/>
          <p:cNvCxnSpPr/>
          <p:nvPr/>
        </p:nvCxnSpPr>
        <p:spPr>
          <a:xfrm>
            <a:off x="8922628" y="3068318"/>
            <a:ext cx="0" cy="3837396"/>
          </a:xfrm>
          <a:prstGeom prst="line">
            <a:avLst/>
          </a:prstGeom>
          <a:ln w="31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4781023" y="3862288"/>
            <a:ext cx="1080449" cy="1451871"/>
          </a:xfrm>
          <a:prstGeom prst="rect">
            <a:avLst/>
          </a:prstGeom>
          <a:solidFill>
            <a:schemeClr val="bg1">
              <a:lumMod val="95000"/>
            </a:schemeClr>
          </a:solidFill>
          <a:ln>
            <a:solidFill>
              <a:schemeClr val="accent1"/>
            </a:solidFill>
          </a:ln>
        </p:spPr>
        <p:txBody>
          <a:bodyPr wrap="square" lIns="89617" tIns="143387" rIns="89617" bIns="143387" rtlCol="0">
            <a:spAutoFit/>
          </a:bodyPr>
          <a:lstStyle/>
          <a:p>
            <a:pPr defTabSz="896042">
              <a:lnSpc>
                <a:spcPct val="90000"/>
              </a:lnSpc>
              <a:defRPr/>
            </a:pPr>
            <a:r>
              <a:rPr lang="en-US" sz="1370" b="1" kern="0">
                <a:solidFill>
                  <a:schemeClr val="accent1"/>
                </a:solidFill>
                <a:latin typeface="Segoe UI"/>
              </a:rPr>
              <a:t>Custom module</a:t>
            </a:r>
          </a:p>
          <a:p>
            <a:pPr defTabSz="896042">
              <a:lnSpc>
                <a:spcPct val="90000"/>
              </a:lnSpc>
              <a:defRPr/>
            </a:pPr>
            <a:endParaRPr lang="en-US" sz="1370" b="1" kern="0">
              <a:solidFill>
                <a:schemeClr val="accent1"/>
              </a:solidFill>
              <a:latin typeface="Segoe UI"/>
            </a:endParaRPr>
          </a:p>
          <a:p>
            <a:pPr defTabSz="896042">
              <a:lnSpc>
                <a:spcPct val="90000"/>
              </a:lnSpc>
              <a:defRPr/>
            </a:pPr>
            <a:endParaRPr lang="en-US" sz="1370" b="1" kern="0">
              <a:solidFill>
                <a:schemeClr val="accent1"/>
              </a:solidFill>
              <a:latin typeface="Segoe UI"/>
            </a:endParaRPr>
          </a:p>
          <a:p>
            <a:pPr defTabSz="896042">
              <a:lnSpc>
                <a:spcPct val="90000"/>
              </a:lnSpc>
              <a:defRPr/>
            </a:pPr>
            <a:endParaRPr lang="en-US" sz="1370" b="1" kern="0">
              <a:solidFill>
                <a:schemeClr val="accent1"/>
              </a:solidFill>
              <a:latin typeface="Segoe UI"/>
            </a:endParaRPr>
          </a:p>
          <a:p>
            <a:pPr defTabSz="896042">
              <a:lnSpc>
                <a:spcPct val="90000"/>
              </a:lnSpc>
              <a:defRPr/>
            </a:pPr>
            <a:endParaRPr lang="en-US" sz="1370" b="1" kern="0">
              <a:solidFill>
                <a:schemeClr val="accent1"/>
              </a:solidFill>
              <a:latin typeface="Segoe UI"/>
            </a:endParaRPr>
          </a:p>
        </p:txBody>
      </p:sp>
      <p:grpSp>
        <p:nvGrpSpPr>
          <p:cNvPr id="44" name="Azure Stream Analytics"/>
          <p:cNvGrpSpPr>
            <a:grpSpLocks noChangeAspect="1"/>
          </p:cNvGrpSpPr>
          <p:nvPr/>
        </p:nvGrpSpPr>
        <p:grpSpPr>
          <a:xfrm>
            <a:off x="10525057" y="4265285"/>
            <a:ext cx="781013" cy="606997"/>
            <a:chOff x="-16372125" y="-986193"/>
            <a:chExt cx="11032763" cy="8574577"/>
          </a:xfrm>
        </p:grpSpPr>
        <p:sp>
          <p:nvSpPr>
            <p:cNvPr id="48" name="Freeform: Shape 47"/>
            <p:cNvSpPr/>
            <p:nvPr/>
          </p:nvSpPr>
          <p:spPr>
            <a:xfrm>
              <a:off x="-13161948" y="-986193"/>
              <a:ext cx="7822586" cy="8546326"/>
            </a:xfrm>
            <a:custGeom>
              <a:avLst/>
              <a:gdLst>
                <a:gd name="connsiteX0" fmla="*/ 362857 w 7866743"/>
                <a:gd name="connsiteY0" fmla="*/ 2394857 h 8577943"/>
                <a:gd name="connsiteX1" fmla="*/ 29029 w 7866743"/>
                <a:gd name="connsiteY1" fmla="*/ 1611085 h 8577943"/>
                <a:gd name="connsiteX2" fmla="*/ 740229 w 7866743"/>
                <a:gd name="connsiteY2" fmla="*/ 1016000 h 8577943"/>
                <a:gd name="connsiteX3" fmla="*/ 1857829 w 7866743"/>
                <a:gd name="connsiteY3" fmla="*/ 1494971 h 8577943"/>
                <a:gd name="connsiteX4" fmla="*/ 2554514 w 7866743"/>
                <a:gd name="connsiteY4" fmla="*/ 1262743 h 8577943"/>
                <a:gd name="connsiteX5" fmla="*/ 2960914 w 7866743"/>
                <a:gd name="connsiteY5" fmla="*/ 0 h 8577943"/>
                <a:gd name="connsiteX6" fmla="*/ 3962400 w 7866743"/>
                <a:gd name="connsiteY6" fmla="*/ 72571 h 8577943"/>
                <a:gd name="connsiteX7" fmla="*/ 4397829 w 7866743"/>
                <a:gd name="connsiteY7" fmla="*/ 1291771 h 8577943"/>
                <a:gd name="connsiteX8" fmla="*/ 5065486 w 7866743"/>
                <a:gd name="connsiteY8" fmla="*/ 1553028 h 8577943"/>
                <a:gd name="connsiteX9" fmla="*/ 6183086 w 7866743"/>
                <a:gd name="connsiteY9" fmla="*/ 957943 h 8577943"/>
                <a:gd name="connsiteX10" fmla="*/ 6850743 w 7866743"/>
                <a:gd name="connsiteY10" fmla="*/ 1654628 h 8577943"/>
                <a:gd name="connsiteX11" fmla="*/ 6328229 w 7866743"/>
                <a:gd name="connsiteY11" fmla="*/ 2743200 h 8577943"/>
                <a:gd name="connsiteX12" fmla="*/ 6633029 w 7866743"/>
                <a:gd name="connsiteY12" fmla="*/ 3556000 h 8577943"/>
                <a:gd name="connsiteX13" fmla="*/ 7823200 w 7866743"/>
                <a:gd name="connsiteY13" fmla="*/ 3817257 h 8577943"/>
                <a:gd name="connsiteX14" fmla="*/ 7866743 w 7866743"/>
                <a:gd name="connsiteY14" fmla="*/ 4760685 h 8577943"/>
                <a:gd name="connsiteX15" fmla="*/ 6604000 w 7866743"/>
                <a:gd name="connsiteY15" fmla="*/ 5094514 h 8577943"/>
                <a:gd name="connsiteX16" fmla="*/ 6328229 w 7866743"/>
                <a:gd name="connsiteY16" fmla="*/ 5791200 h 8577943"/>
                <a:gd name="connsiteX17" fmla="*/ 6952343 w 7866743"/>
                <a:gd name="connsiteY17" fmla="*/ 6952343 h 8577943"/>
                <a:gd name="connsiteX18" fmla="*/ 6284686 w 7866743"/>
                <a:gd name="connsiteY18" fmla="*/ 7678057 h 8577943"/>
                <a:gd name="connsiteX19" fmla="*/ 5167086 w 7866743"/>
                <a:gd name="connsiteY19" fmla="*/ 7155543 h 8577943"/>
                <a:gd name="connsiteX20" fmla="*/ 4397829 w 7866743"/>
                <a:gd name="connsiteY20" fmla="*/ 7402285 h 8577943"/>
                <a:gd name="connsiteX21" fmla="*/ 4064000 w 7866743"/>
                <a:gd name="connsiteY21" fmla="*/ 8563428 h 8577943"/>
                <a:gd name="connsiteX22" fmla="*/ 3077029 w 7866743"/>
                <a:gd name="connsiteY22" fmla="*/ 8577943 h 8577943"/>
                <a:gd name="connsiteX23" fmla="*/ 2627086 w 7866743"/>
                <a:gd name="connsiteY23" fmla="*/ 7402285 h 8577943"/>
                <a:gd name="connsiteX24" fmla="*/ 2061029 w 7866743"/>
                <a:gd name="connsiteY24" fmla="*/ 7170057 h 8577943"/>
                <a:gd name="connsiteX25" fmla="*/ 899886 w 7866743"/>
                <a:gd name="connsiteY25" fmla="*/ 7692571 h 8577943"/>
                <a:gd name="connsiteX26" fmla="*/ 203200 w 7866743"/>
                <a:gd name="connsiteY26" fmla="*/ 7053943 h 8577943"/>
                <a:gd name="connsiteX27" fmla="*/ 391886 w 7866743"/>
                <a:gd name="connsiteY27" fmla="*/ 6574971 h 8577943"/>
                <a:gd name="connsiteX28" fmla="*/ 1611086 w 7866743"/>
                <a:gd name="connsiteY28" fmla="*/ 3933371 h 8577943"/>
                <a:gd name="connsiteX29" fmla="*/ 391886 w 7866743"/>
                <a:gd name="connsiteY29" fmla="*/ 2249714 h 8577943"/>
                <a:gd name="connsiteX30" fmla="*/ 0 w 7866743"/>
                <a:gd name="connsiteY30" fmla="*/ 1538514 h 8577943"/>
                <a:gd name="connsiteX0" fmla="*/ 333828 w 7837714"/>
                <a:gd name="connsiteY0" fmla="*/ 2394857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62857 w 7837714"/>
                <a:gd name="connsiteY29" fmla="*/ 2249714 h 8577943"/>
                <a:gd name="connsiteX0" fmla="*/ 333828 w 7837714"/>
                <a:gd name="connsiteY0" fmla="*/ 2394857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37644 w 7837714"/>
                <a:gd name="connsiteY29" fmla="*/ 2387546 h 8577943"/>
                <a:gd name="connsiteX0" fmla="*/ 333828 w 7837714"/>
                <a:gd name="connsiteY0" fmla="*/ 2394857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37644 w 7837714"/>
                <a:gd name="connsiteY29" fmla="*/ 2387546 h 8577943"/>
                <a:gd name="connsiteX30" fmla="*/ 333828 w 7837714"/>
                <a:gd name="connsiteY30" fmla="*/ 2394857 h 8577943"/>
                <a:gd name="connsiteX0" fmla="*/ 337644 w 7837714"/>
                <a:gd name="connsiteY0" fmla="*/ 2387546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37644 w 7837714"/>
                <a:gd name="connsiteY29" fmla="*/ 2387546 h 8577943"/>
                <a:gd name="connsiteX0" fmla="*/ 374623 w 7837714"/>
                <a:gd name="connsiteY0" fmla="*/ 2367376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74623 w 7837714"/>
                <a:gd name="connsiteY29" fmla="*/ 2367376 h 8577943"/>
                <a:gd name="connsiteX0" fmla="*/ 393113 w 7856204"/>
                <a:gd name="connsiteY0" fmla="*/ 2367376 h 8577943"/>
                <a:gd name="connsiteX1" fmla="*/ 0 w 7856204"/>
                <a:gd name="connsiteY1" fmla="*/ 1656469 h 8577943"/>
                <a:gd name="connsiteX2" fmla="*/ 729690 w 7856204"/>
                <a:gd name="connsiteY2" fmla="*/ 1016000 h 8577943"/>
                <a:gd name="connsiteX3" fmla="*/ 1847290 w 7856204"/>
                <a:gd name="connsiteY3" fmla="*/ 1494971 h 8577943"/>
                <a:gd name="connsiteX4" fmla="*/ 2543975 w 7856204"/>
                <a:gd name="connsiteY4" fmla="*/ 1262743 h 8577943"/>
                <a:gd name="connsiteX5" fmla="*/ 2950375 w 7856204"/>
                <a:gd name="connsiteY5" fmla="*/ 0 h 8577943"/>
                <a:gd name="connsiteX6" fmla="*/ 3951861 w 7856204"/>
                <a:gd name="connsiteY6" fmla="*/ 72571 h 8577943"/>
                <a:gd name="connsiteX7" fmla="*/ 4387290 w 7856204"/>
                <a:gd name="connsiteY7" fmla="*/ 1291771 h 8577943"/>
                <a:gd name="connsiteX8" fmla="*/ 5054947 w 7856204"/>
                <a:gd name="connsiteY8" fmla="*/ 1553028 h 8577943"/>
                <a:gd name="connsiteX9" fmla="*/ 6172547 w 7856204"/>
                <a:gd name="connsiteY9" fmla="*/ 957943 h 8577943"/>
                <a:gd name="connsiteX10" fmla="*/ 6840204 w 7856204"/>
                <a:gd name="connsiteY10" fmla="*/ 1654628 h 8577943"/>
                <a:gd name="connsiteX11" fmla="*/ 6317690 w 7856204"/>
                <a:gd name="connsiteY11" fmla="*/ 2743200 h 8577943"/>
                <a:gd name="connsiteX12" fmla="*/ 6622490 w 7856204"/>
                <a:gd name="connsiteY12" fmla="*/ 3556000 h 8577943"/>
                <a:gd name="connsiteX13" fmla="*/ 7812661 w 7856204"/>
                <a:gd name="connsiteY13" fmla="*/ 3817257 h 8577943"/>
                <a:gd name="connsiteX14" fmla="*/ 7856204 w 7856204"/>
                <a:gd name="connsiteY14" fmla="*/ 4760685 h 8577943"/>
                <a:gd name="connsiteX15" fmla="*/ 6593461 w 7856204"/>
                <a:gd name="connsiteY15" fmla="*/ 5094514 h 8577943"/>
                <a:gd name="connsiteX16" fmla="*/ 6317690 w 7856204"/>
                <a:gd name="connsiteY16" fmla="*/ 5791200 h 8577943"/>
                <a:gd name="connsiteX17" fmla="*/ 6941804 w 7856204"/>
                <a:gd name="connsiteY17" fmla="*/ 6952343 h 8577943"/>
                <a:gd name="connsiteX18" fmla="*/ 6274147 w 7856204"/>
                <a:gd name="connsiteY18" fmla="*/ 7678057 h 8577943"/>
                <a:gd name="connsiteX19" fmla="*/ 5156547 w 7856204"/>
                <a:gd name="connsiteY19" fmla="*/ 7155543 h 8577943"/>
                <a:gd name="connsiteX20" fmla="*/ 4387290 w 7856204"/>
                <a:gd name="connsiteY20" fmla="*/ 7402285 h 8577943"/>
                <a:gd name="connsiteX21" fmla="*/ 4053461 w 7856204"/>
                <a:gd name="connsiteY21" fmla="*/ 8563428 h 8577943"/>
                <a:gd name="connsiteX22" fmla="*/ 3066490 w 7856204"/>
                <a:gd name="connsiteY22" fmla="*/ 8577943 h 8577943"/>
                <a:gd name="connsiteX23" fmla="*/ 2616547 w 7856204"/>
                <a:gd name="connsiteY23" fmla="*/ 7402285 h 8577943"/>
                <a:gd name="connsiteX24" fmla="*/ 2050490 w 7856204"/>
                <a:gd name="connsiteY24" fmla="*/ 7170057 h 8577943"/>
                <a:gd name="connsiteX25" fmla="*/ 889347 w 7856204"/>
                <a:gd name="connsiteY25" fmla="*/ 7692571 h 8577943"/>
                <a:gd name="connsiteX26" fmla="*/ 192661 w 7856204"/>
                <a:gd name="connsiteY26" fmla="*/ 7053943 h 8577943"/>
                <a:gd name="connsiteX27" fmla="*/ 381347 w 7856204"/>
                <a:gd name="connsiteY27" fmla="*/ 6574971 h 8577943"/>
                <a:gd name="connsiteX28" fmla="*/ 1600547 w 7856204"/>
                <a:gd name="connsiteY28" fmla="*/ 3933371 h 8577943"/>
                <a:gd name="connsiteX29" fmla="*/ 393113 w 7856204"/>
                <a:gd name="connsiteY29" fmla="*/ 2367376 h 8577943"/>
                <a:gd name="connsiteX0" fmla="*/ 393113 w 7856204"/>
                <a:gd name="connsiteY0" fmla="*/ 2367376 h 8577943"/>
                <a:gd name="connsiteX1" fmla="*/ 0 w 7856204"/>
                <a:gd name="connsiteY1" fmla="*/ 1656469 h 8577943"/>
                <a:gd name="connsiteX2" fmla="*/ 709519 w 7856204"/>
                <a:gd name="connsiteY2" fmla="*/ 977340 h 8577943"/>
                <a:gd name="connsiteX3" fmla="*/ 1847290 w 7856204"/>
                <a:gd name="connsiteY3" fmla="*/ 1494971 h 8577943"/>
                <a:gd name="connsiteX4" fmla="*/ 2543975 w 7856204"/>
                <a:gd name="connsiteY4" fmla="*/ 1262743 h 8577943"/>
                <a:gd name="connsiteX5" fmla="*/ 2950375 w 7856204"/>
                <a:gd name="connsiteY5" fmla="*/ 0 h 8577943"/>
                <a:gd name="connsiteX6" fmla="*/ 3951861 w 7856204"/>
                <a:gd name="connsiteY6" fmla="*/ 72571 h 8577943"/>
                <a:gd name="connsiteX7" fmla="*/ 4387290 w 7856204"/>
                <a:gd name="connsiteY7" fmla="*/ 1291771 h 8577943"/>
                <a:gd name="connsiteX8" fmla="*/ 5054947 w 7856204"/>
                <a:gd name="connsiteY8" fmla="*/ 1553028 h 8577943"/>
                <a:gd name="connsiteX9" fmla="*/ 6172547 w 7856204"/>
                <a:gd name="connsiteY9" fmla="*/ 957943 h 8577943"/>
                <a:gd name="connsiteX10" fmla="*/ 6840204 w 7856204"/>
                <a:gd name="connsiteY10" fmla="*/ 1654628 h 8577943"/>
                <a:gd name="connsiteX11" fmla="*/ 6317690 w 7856204"/>
                <a:gd name="connsiteY11" fmla="*/ 2743200 h 8577943"/>
                <a:gd name="connsiteX12" fmla="*/ 6622490 w 7856204"/>
                <a:gd name="connsiteY12" fmla="*/ 3556000 h 8577943"/>
                <a:gd name="connsiteX13" fmla="*/ 7812661 w 7856204"/>
                <a:gd name="connsiteY13" fmla="*/ 3817257 h 8577943"/>
                <a:gd name="connsiteX14" fmla="*/ 7856204 w 7856204"/>
                <a:gd name="connsiteY14" fmla="*/ 4760685 h 8577943"/>
                <a:gd name="connsiteX15" fmla="*/ 6593461 w 7856204"/>
                <a:gd name="connsiteY15" fmla="*/ 5094514 h 8577943"/>
                <a:gd name="connsiteX16" fmla="*/ 6317690 w 7856204"/>
                <a:gd name="connsiteY16" fmla="*/ 5791200 h 8577943"/>
                <a:gd name="connsiteX17" fmla="*/ 6941804 w 7856204"/>
                <a:gd name="connsiteY17" fmla="*/ 6952343 h 8577943"/>
                <a:gd name="connsiteX18" fmla="*/ 6274147 w 7856204"/>
                <a:gd name="connsiteY18" fmla="*/ 7678057 h 8577943"/>
                <a:gd name="connsiteX19" fmla="*/ 5156547 w 7856204"/>
                <a:gd name="connsiteY19" fmla="*/ 7155543 h 8577943"/>
                <a:gd name="connsiteX20" fmla="*/ 4387290 w 7856204"/>
                <a:gd name="connsiteY20" fmla="*/ 7402285 h 8577943"/>
                <a:gd name="connsiteX21" fmla="*/ 4053461 w 7856204"/>
                <a:gd name="connsiteY21" fmla="*/ 8563428 h 8577943"/>
                <a:gd name="connsiteX22" fmla="*/ 3066490 w 7856204"/>
                <a:gd name="connsiteY22" fmla="*/ 8577943 h 8577943"/>
                <a:gd name="connsiteX23" fmla="*/ 2616547 w 7856204"/>
                <a:gd name="connsiteY23" fmla="*/ 7402285 h 8577943"/>
                <a:gd name="connsiteX24" fmla="*/ 2050490 w 7856204"/>
                <a:gd name="connsiteY24" fmla="*/ 7170057 h 8577943"/>
                <a:gd name="connsiteX25" fmla="*/ 889347 w 7856204"/>
                <a:gd name="connsiteY25" fmla="*/ 7692571 h 8577943"/>
                <a:gd name="connsiteX26" fmla="*/ 192661 w 7856204"/>
                <a:gd name="connsiteY26" fmla="*/ 7053943 h 8577943"/>
                <a:gd name="connsiteX27" fmla="*/ 381347 w 7856204"/>
                <a:gd name="connsiteY27" fmla="*/ 6574971 h 8577943"/>
                <a:gd name="connsiteX28" fmla="*/ 1600547 w 7856204"/>
                <a:gd name="connsiteY28" fmla="*/ 3933371 h 8577943"/>
                <a:gd name="connsiteX29" fmla="*/ 393113 w 7856204"/>
                <a:gd name="connsiteY29" fmla="*/ 2367376 h 8577943"/>
                <a:gd name="connsiteX0" fmla="*/ 393113 w 7856204"/>
                <a:gd name="connsiteY0" fmla="*/ 2367376 h 8577943"/>
                <a:gd name="connsiteX1" fmla="*/ 0 w 7856204"/>
                <a:gd name="connsiteY1" fmla="*/ 1656469 h 8577943"/>
                <a:gd name="connsiteX2" fmla="*/ 709519 w 7856204"/>
                <a:gd name="connsiteY2" fmla="*/ 977340 h 8577943"/>
                <a:gd name="connsiteX3" fmla="*/ 1872504 w 7856204"/>
                <a:gd name="connsiteY3" fmla="*/ 1511780 h 8577943"/>
                <a:gd name="connsiteX4" fmla="*/ 2543975 w 7856204"/>
                <a:gd name="connsiteY4" fmla="*/ 1262743 h 8577943"/>
                <a:gd name="connsiteX5" fmla="*/ 2950375 w 7856204"/>
                <a:gd name="connsiteY5" fmla="*/ 0 h 8577943"/>
                <a:gd name="connsiteX6" fmla="*/ 3951861 w 7856204"/>
                <a:gd name="connsiteY6" fmla="*/ 72571 h 8577943"/>
                <a:gd name="connsiteX7" fmla="*/ 4387290 w 7856204"/>
                <a:gd name="connsiteY7" fmla="*/ 1291771 h 8577943"/>
                <a:gd name="connsiteX8" fmla="*/ 5054947 w 7856204"/>
                <a:gd name="connsiteY8" fmla="*/ 1553028 h 8577943"/>
                <a:gd name="connsiteX9" fmla="*/ 6172547 w 7856204"/>
                <a:gd name="connsiteY9" fmla="*/ 957943 h 8577943"/>
                <a:gd name="connsiteX10" fmla="*/ 6840204 w 7856204"/>
                <a:gd name="connsiteY10" fmla="*/ 1654628 h 8577943"/>
                <a:gd name="connsiteX11" fmla="*/ 6317690 w 7856204"/>
                <a:gd name="connsiteY11" fmla="*/ 2743200 h 8577943"/>
                <a:gd name="connsiteX12" fmla="*/ 6622490 w 7856204"/>
                <a:gd name="connsiteY12" fmla="*/ 3556000 h 8577943"/>
                <a:gd name="connsiteX13" fmla="*/ 7812661 w 7856204"/>
                <a:gd name="connsiteY13" fmla="*/ 3817257 h 8577943"/>
                <a:gd name="connsiteX14" fmla="*/ 7856204 w 7856204"/>
                <a:gd name="connsiteY14" fmla="*/ 4760685 h 8577943"/>
                <a:gd name="connsiteX15" fmla="*/ 6593461 w 7856204"/>
                <a:gd name="connsiteY15" fmla="*/ 5094514 h 8577943"/>
                <a:gd name="connsiteX16" fmla="*/ 6317690 w 7856204"/>
                <a:gd name="connsiteY16" fmla="*/ 5791200 h 8577943"/>
                <a:gd name="connsiteX17" fmla="*/ 6941804 w 7856204"/>
                <a:gd name="connsiteY17" fmla="*/ 6952343 h 8577943"/>
                <a:gd name="connsiteX18" fmla="*/ 6274147 w 7856204"/>
                <a:gd name="connsiteY18" fmla="*/ 7678057 h 8577943"/>
                <a:gd name="connsiteX19" fmla="*/ 5156547 w 7856204"/>
                <a:gd name="connsiteY19" fmla="*/ 7155543 h 8577943"/>
                <a:gd name="connsiteX20" fmla="*/ 4387290 w 7856204"/>
                <a:gd name="connsiteY20" fmla="*/ 7402285 h 8577943"/>
                <a:gd name="connsiteX21" fmla="*/ 4053461 w 7856204"/>
                <a:gd name="connsiteY21" fmla="*/ 8563428 h 8577943"/>
                <a:gd name="connsiteX22" fmla="*/ 3066490 w 7856204"/>
                <a:gd name="connsiteY22" fmla="*/ 8577943 h 8577943"/>
                <a:gd name="connsiteX23" fmla="*/ 2616547 w 7856204"/>
                <a:gd name="connsiteY23" fmla="*/ 7402285 h 8577943"/>
                <a:gd name="connsiteX24" fmla="*/ 2050490 w 7856204"/>
                <a:gd name="connsiteY24" fmla="*/ 7170057 h 8577943"/>
                <a:gd name="connsiteX25" fmla="*/ 889347 w 7856204"/>
                <a:gd name="connsiteY25" fmla="*/ 7692571 h 8577943"/>
                <a:gd name="connsiteX26" fmla="*/ 192661 w 7856204"/>
                <a:gd name="connsiteY26" fmla="*/ 7053943 h 8577943"/>
                <a:gd name="connsiteX27" fmla="*/ 381347 w 7856204"/>
                <a:gd name="connsiteY27" fmla="*/ 6574971 h 8577943"/>
                <a:gd name="connsiteX28" fmla="*/ 1600547 w 7856204"/>
                <a:gd name="connsiteY28" fmla="*/ 3933371 h 8577943"/>
                <a:gd name="connsiteX29" fmla="*/ 393113 w 7856204"/>
                <a:gd name="connsiteY29" fmla="*/ 2367376 h 8577943"/>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87290 w 7856204"/>
                <a:gd name="connsiteY7" fmla="*/ 1219200 h 8505372"/>
                <a:gd name="connsiteX8" fmla="*/ 5054947 w 7856204"/>
                <a:gd name="connsiteY8" fmla="*/ 1480457 h 8505372"/>
                <a:gd name="connsiteX9" fmla="*/ 6172547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54947 w 7856204"/>
                <a:gd name="connsiteY8" fmla="*/ 1480457 h 8505372"/>
                <a:gd name="connsiteX9" fmla="*/ 6172547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112097 w 7856204"/>
                <a:gd name="connsiteY8" fmla="*/ 1468690 h 8505372"/>
                <a:gd name="connsiteX9" fmla="*/ 6172547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78480 w 7856204"/>
                <a:gd name="connsiteY8" fmla="*/ 1480456 h 8505372"/>
                <a:gd name="connsiteX9" fmla="*/ 6172547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78480 w 7856204"/>
                <a:gd name="connsiteY8" fmla="*/ 1480456 h 8505372"/>
                <a:gd name="connsiteX9" fmla="*/ 6212888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78480 w 7856204"/>
                <a:gd name="connsiteY8" fmla="*/ 1480456 h 8505372"/>
                <a:gd name="connsiteX9" fmla="*/ 6212888 w 7856204"/>
                <a:gd name="connsiteY9" fmla="*/ 885372 h 8505372"/>
                <a:gd name="connsiteX10" fmla="*/ 6877184 w 7856204"/>
                <a:gd name="connsiteY10" fmla="*/ 156188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78480 w 7856204"/>
                <a:gd name="connsiteY8" fmla="*/ 1480456 h 8505372"/>
                <a:gd name="connsiteX9" fmla="*/ 6212888 w 7856204"/>
                <a:gd name="connsiteY9" fmla="*/ 885372 h 8505372"/>
                <a:gd name="connsiteX10" fmla="*/ 6877184 w 7856204"/>
                <a:gd name="connsiteY10" fmla="*/ 1561887 h 8505372"/>
                <a:gd name="connsiteX11" fmla="*/ 6317690 w 7856204"/>
                <a:gd name="connsiteY11" fmla="*/ 2670629 h 8505372"/>
                <a:gd name="connsiteX12" fmla="*/ 6595596 w 7856204"/>
                <a:gd name="connsiteY12" fmla="*/ 3396023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93461 w 7822586"/>
                <a:gd name="connsiteY15" fmla="*/ 5021943 h 8505372"/>
                <a:gd name="connsiteX16" fmla="*/ 6317690 w 7822586"/>
                <a:gd name="connsiteY16" fmla="*/ 5718629 h 8505372"/>
                <a:gd name="connsiteX17" fmla="*/ 6941804 w 7822586"/>
                <a:gd name="connsiteY17" fmla="*/ 6879772 h 8505372"/>
                <a:gd name="connsiteX18" fmla="*/ 6274147 w 7822586"/>
                <a:gd name="connsiteY18" fmla="*/ 7605486 h 8505372"/>
                <a:gd name="connsiteX19" fmla="*/ 5156547 w 7822586"/>
                <a:gd name="connsiteY19" fmla="*/ 7082972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317690 w 7822586"/>
                <a:gd name="connsiteY16" fmla="*/ 5718629 h 8505372"/>
                <a:gd name="connsiteX17" fmla="*/ 6941804 w 7822586"/>
                <a:gd name="connsiteY17" fmla="*/ 6879772 h 8505372"/>
                <a:gd name="connsiteX18" fmla="*/ 6274147 w 7822586"/>
                <a:gd name="connsiteY18" fmla="*/ 7605486 h 8505372"/>
                <a:gd name="connsiteX19" fmla="*/ 5156547 w 7822586"/>
                <a:gd name="connsiteY19" fmla="*/ 7082972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297519 w 7822586"/>
                <a:gd name="connsiteY16" fmla="*/ 5750565 h 8505372"/>
                <a:gd name="connsiteX17" fmla="*/ 6941804 w 7822586"/>
                <a:gd name="connsiteY17" fmla="*/ 6879772 h 8505372"/>
                <a:gd name="connsiteX18" fmla="*/ 6274147 w 7822586"/>
                <a:gd name="connsiteY18" fmla="*/ 7605486 h 8505372"/>
                <a:gd name="connsiteX19" fmla="*/ 5156547 w 7822586"/>
                <a:gd name="connsiteY19" fmla="*/ 7082972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297519 w 7822586"/>
                <a:gd name="connsiteY16" fmla="*/ 5750565 h 8505372"/>
                <a:gd name="connsiteX17" fmla="*/ 6923314 w 7822586"/>
                <a:gd name="connsiteY17" fmla="*/ 6896580 h 8505372"/>
                <a:gd name="connsiteX18" fmla="*/ 6274147 w 7822586"/>
                <a:gd name="connsiteY18" fmla="*/ 7605486 h 8505372"/>
                <a:gd name="connsiteX19" fmla="*/ 5156547 w 7822586"/>
                <a:gd name="connsiteY19" fmla="*/ 7082972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297519 w 7822586"/>
                <a:gd name="connsiteY16" fmla="*/ 5750565 h 8505372"/>
                <a:gd name="connsiteX17" fmla="*/ 6923314 w 7822586"/>
                <a:gd name="connsiteY17" fmla="*/ 6896580 h 8505372"/>
                <a:gd name="connsiteX18" fmla="*/ 6274147 w 7822586"/>
                <a:gd name="connsiteY18" fmla="*/ 7605486 h 8505372"/>
                <a:gd name="connsiteX19" fmla="*/ 5117887 w 7822586"/>
                <a:gd name="connsiteY19" fmla="*/ 7077930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297519 w 7822586"/>
                <a:gd name="connsiteY16" fmla="*/ 5750565 h 8505372"/>
                <a:gd name="connsiteX17" fmla="*/ 6923314 w 7822586"/>
                <a:gd name="connsiteY17" fmla="*/ 6896580 h 8505372"/>
                <a:gd name="connsiteX18" fmla="*/ 6274147 w 7822586"/>
                <a:gd name="connsiteY18" fmla="*/ 7605486 h 8505372"/>
                <a:gd name="connsiteX19" fmla="*/ 5117887 w 7822586"/>
                <a:gd name="connsiteY19" fmla="*/ 7077930 h 8505372"/>
                <a:gd name="connsiteX20" fmla="*/ 4402418 w 7822586"/>
                <a:gd name="connsiteY20" fmla="*/ 7351565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66490 w 7822586"/>
                <a:gd name="connsiteY22" fmla="*/ 8505372 h 8546326"/>
                <a:gd name="connsiteX23" fmla="*/ 2616547 w 7822586"/>
                <a:gd name="connsiteY23" fmla="*/ 7329714 h 8546326"/>
                <a:gd name="connsiteX24" fmla="*/ 2050490 w 7822586"/>
                <a:gd name="connsiteY24" fmla="*/ 7097486 h 8546326"/>
                <a:gd name="connsiteX25" fmla="*/ 889347 w 7822586"/>
                <a:gd name="connsiteY25" fmla="*/ 7620000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16547 w 7822586"/>
                <a:gd name="connsiteY23" fmla="*/ 7329714 h 8546326"/>
                <a:gd name="connsiteX24" fmla="*/ 2050490 w 7822586"/>
                <a:gd name="connsiteY24" fmla="*/ 7097486 h 8546326"/>
                <a:gd name="connsiteX25" fmla="*/ 889347 w 7822586"/>
                <a:gd name="connsiteY25" fmla="*/ 7620000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2050490 w 7822586"/>
                <a:gd name="connsiteY24" fmla="*/ 7097486 h 8546326"/>
                <a:gd name="connsiteX25" fmla="*/ 889347 w 7822586"/>
                <a:gd name="connsiteY25" fmla="*/ 7620000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89347 w 7822586"/>
                <a:gd name="connsiteY25" fmla="*/ 7620000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79664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185431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185431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185431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1753180 w 7822586"/>
                <a:gd name="connsiteY29" fmla="*/ 4973717 h 8546326"/>
                <a:gd name="connsiteX30" fmla="*/ 1600547 w 7822586"/>
                <a:gd name="connsiteY30" fmla="*/ 3860800 h 8546326"/>
                <a:gd name="connsiteX31" fmla="*/ 393113 w 7822586"/>
                <a:gd name="connsiteY31"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1600547 w 7822586"/>
                <a:gd name="connsiteY30" fmla="*/ 3860800 h 8546326"/>
                <a:gd name="connsiteX31" fmla="*/ 393113 w 7822586"/>
                <a:gd name="connsiteY31"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1896450 w 7822586"/>
                <a:gd name="connsiteY30" fmla="*/ 4733529 h 8546326"/>
                <a:gd name="connsiteX31" fmla="*/ 1600547 w 7822586"/>
                <a:gd name="connsiteY31" fmla="*/ 3860800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1600547 w 7822586"/>
                <a:gd name="connsiteY31" fmla="*/ 3860800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372611 w 7822586"/>
                <a:gd name="connsiteY29" fmla="*/ 5525728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372611 w 7822586"/>
                <a:gd name="connsiteY29" fmla="*/ 5525728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372611 w 7822586"/>
                <a:gd name="connsiteY29" fmla="*/ 5525728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469529 w 7822586"/>
                <a:gd name="connsiteY29" fmla="*/ 5626860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469529 w 7822586"/>
                <a:gd name="connsiteY29" fmla="*/ 5626860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469529 w 7822586"/>
                <a:gd name="connsiteY29" fmla="*/ 5626860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469529 w 7822586"/>
                <a:gd name="connsiteY29" fmla="*/ 5626860 h 8546326"/>
                <a:gd name="connsiteX30" fmla="*/ 5212730 w 7822586"/>
                <a:gd name="connsiteY30" fmla="*/ 4156235 h 8546326"/>
                <a:gd name="connsiteX31" fmla="*/ 2911047 w 7822586"/>
                <a:gd name="connsiteY31" fmla="*/ 1960365 h 8546326"/>
                <a:gd name="connsiteX32" fmla="*/ 393113 w 7822586"/>
                <a:gd name="connsiteY32" fmla="*/ 2294805 h 854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822586" h="8546326">
                  <a:moveTo>
                    <a:pt x="393113" y="2294805"/>
                  </a:moveTo>
                  <a:lnTo>
                    <a:pt x="0" y="1583898"/>
                  </a:lnTo>
                  <a:lnTo>
                    <a:pt x="709519" y="904769"/>
                  </a:lnTo>
                  <a:lnTo>
                    <a:pt x="1872504" y="1439209"/>
                  </a:lnTo>
                  <a:lnTo>
                    <a:pt x="2543975" y="1190172"/>
                  </a:lnTo>
                  <a:lnTo>
                    <a:pt x="2926843" y="4750"/>
                  </a:lnTo>
                  <a:lnTo>
                    <a:pt x="3951861" y="0"/>
                  </a:lnTo>
                  <a:lnTo>
                    <a:pt x="4368801" y="1153645"/>
                  </a:lnTo>
                  <a:lnTo>
                    <a:pt x="5078480" y="1480456"/>
                  </a:lnTo>
                  <a:lnTo>
                    <a:pt x="6212888" y="885372"/>
                  </a:lnTo>
                  <a:lnTo>
                    <a:pt x="6877184" y="1561887"/>
                  </a:lnTo>
                  <a:lnTo>
                    <a:pt x="6317690" y="2670629"/>
                  </a:lnTo>
                  <a:lnTo>
                    <a:pt x="6595596" y="3396023"/>
                  </a:lnTo>
                  <a:lnTo>
                    <a:pt x="7812661" y="3744686"/>
                  </a:lnTo>
                  <a:lnTo>
                    <a:pt x="7822586" y="4684752"/>
                  </a:lnTo>
                  <a:lnTo>
                    <a:pt x="6588418" y="5079093"/>
                  </a:lnTo>
                  <a:lnTo>
                    <a:pt x="6297519" y="5750565"/>
                  </a:lnTo>
                  <a:lnTo>
                    <a:pt x="6923314" y="6896580"/>
                  </a:lnTo>
                  <a:lnTo>
                    <a:pt x="6274147" y="7605486"/>
                  </a:lnTo>
                  <a:lnTo>
                    <a:pt x="5117887" y="7077930"/>
                  </a:lnTo>
                  <a:lnTo>
                    <a:pt x="4402418" y="7351565"/>
                  </a:lnTo>
                  <a:lnTo>
                    <a:pt x="4013120" y="8546326"/>
                  </a:lnTo>
                  <a:lnTo>
                    <a:pt x="3058085" y="8527223"/>
                  </a:lnTo>
                  <a:lnTo>
                    <a:pt x="2698910" y="7354927"/>
                  </a:lnTo>
                  <a:lnTo>
                    <a:pt x="1968127" y="7050422"/>
                  </a:lnTo>
                  <a:lnTo>
                    <a:pt x="860772" y="7651937"/>
                  </a:lnTo>
                  <a:lnTo>
                    <a:pt x="167448" y="6964563"/>
                  </a:lnTo>
                  <a:lnTo>
                    <a:pt x="351850" y="6540324"/>
                  </a:lnTo>
                  <a:cubicBezTo>
                    <a:pt x="986108" y="6351013"/>
                    <a:pt x="1392821" y="6014221"/>
                    <a:pt x="1854312" y="5605791"/>
                  </a:cubicBezTo>
                  <a:cubicBezTo>
                    <a:pt x="1947015" y="5486399"/>
                    <a:pt x="2102927" y="5367008"/>
                    <a:pt x="2469529" y="5626860"/>
                  </a:cubicBezTo>
                  <a:cubicBezTo>
                    <a:pt x="3033479" y="6114258"/>
                    <a:pt x="5245894" y="6366464"/>
                    <a:pt x="5212730" y="4156235"/>
                  </a:cubicBezTo>
                  <a:cubicBezTo>
                    <a:pt x="5150069" y="2839337"/>
                    <a:pt x="3714316" y="2270603"/>
                    <a:pt x="2911047" y="1960365"/>
                  </a:cubicBezTo>
                  <a:cubicBezTo>
                    <a:pt x="1897086" y="1603775"/>
                    <a:pt x="785583" y="2037298"/>
                    <a:pt x="393113" y="2294805"/>
                  </a:cubicBezTo>
                  <a:close/>
                </a:path>
              </a:pathLst>
            </a:custGeom>
            <a:solidFill>
              <a:srgbClr val="90909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82"/>
            </a:p>
          </p:txBody>
        </p:sp>
        <p:sp>
          <p:nvSpPr>
            <p:cNvPr id="49" name="Freeform: Shape 48"/>
            <p:cNvSpPr/>
            <p:nvPr/>
          </p:nvSpPr>
          <p:spPr>
            <a:xfrm>
              <a:off x="-12693011" y="456154"/>
              <a:ext cx="7353649" cy="7132230"/>
            </a:xfrm>
            <a:custGeom>
              <a:avLst/>
              <a:gdLst>
                <a:gd name="connsiteX0" fmla="*/ 6263125 w 7353649"/>
                <a:gd name="connsiteY0" fmla="*/ 0 h 7132230"/>
                <a:gd name="connsiteX1" fmla="*/ 6408247 w 7353649"/>
                <a:gd name="connsiteY1" fmla="*/ 147791 h 7132230"/>
                <a:gd name="connsiteX2" fmla="*/ 5848753 w 7353649"/>
                <a:gd name="connsiteY2" fmla="*/ 1256533 h 7132230"/>
                <a:gd name="connsiteX3" fmla="*/ 6126659 w 7353649"/>
                <a:gd name="connsiteY3" fmla="*/ 1981927 h 7132230"/>
                <a:gd name="connsiteX4" fmla="*/ 7343724 w 7353649"/>
                <a:gd name="connsiteY4" fmla="*/ 2330590 h 7132230"/>
                <a:gd name="connsiteX5" fmla="*/ 7353649 w 7353649"/>
                <a:gd name="connsiteY5" fmla="*/ 3270656 h 7132230"/>
                <a:gd name="connsiteX6" fmla="*/ 6119481 w 7353649"/>
                <a:gd name="connsiteY6" fmla="*/ 3664997 h 7132230"/>
                <a:gd name="connsiteX7" fmla="*/ 5828582 w 7353649"/>
                <a:gd name="connsiteY7" fmla="*/ 4336469 h 7132230"/>
                <a:gd name="connsiteX8" fmla="*/ 6454377 w 7353649"/>
                <a:gd name="connsiteY8" fmla="*/ 5482484 h 7132230"/>
                <a:gd name="connsiteX9" fmla="*/ 5805210 w 7353649"/>
                <a:gd name="connsiteY9" fmla="*/ 6191390 h 7132230"/>
                <a:gd name="connsiteX10" fmla="*/ 4648950 w 7353649"/>
                <a:gd name="connsiteY10" fmla="*/ 5663834 h 7132230"/>
                <a:gd name="connsiteX11" fmla="*/ 3933481 w 7353649"/>
                <a:gd name="connsiteY11" fmla="*/ 5937469 h 7132230"/>
                <a:gd name="connsiteX12" fmla="*/ 3544183 w 7353649"/>
                <a:gd name="connsiteY12" fmla="*/ 7132230 h 7132230"/>
                <a:gd name="connsiteX13" fmla="*/ 2589148 w 7353649"/>
                <a:gd name="connsiteY13" fmla="*/ 7113127 h 7132230"/>
                <a:gd name="connsiteX14" fmla="*/ 2229973 w 7353649"/>
                <a:gd name="connsiteY14" fmla="*/ 5940831 h 7132230"/>
                <a:gd name="connsiteX15" fmla="*/ 1499190 w 7353649"/>
                <a:gd name="connsiteY15" fmla="*/ 5636326 h 7132230"/>
                <a:gd name="connsiteX16" fmla="*/ 391835 w 7353649"/>
                <a:gd name="connsiteY16" fmla="*/ 6237841 h 7132230"/>
                <a:gd name="connsiteX17" fmla="*/ 0 w 7353649"/>
                <a:gd name="connsiteY17" fmla="*/ 5849369 h 7132230"/>
                <a:gd name="connsiteX18" fmla="*/ 1850329 w 7353649"/>
                <a:gd name="connsiteY18" fmla="*/ 4121277 h 7132230"/>
                <a:gd name="connsiteX19" fmla="*/ 1872705 w 7353649"/>
                <a:gd name="connsiteY19" fmla="*/ 4132356 h 7132230"/>
                <a:gd name="connsiteX20" fmla="*/ 2000592 w 7353649"/>
                <a:gd name="connsiteY20" fmla="*/ 4212764 h 7132230"/>
                <a:gd name="connsiteX21" fmla="*/ 4743793 w 7353649"/>
                <a:gd name="connsiteY21" fmla="*/ 2742139 h 7132230"/>
                <a:gd name="connsiteX22" fmla="*/ 4470680 w 7353649"/>
                <a:gd name="connsiteY22" fmla="*/ 1887095 h 7132230"/>
                <a:gd name="connsiteX23" fmla="*/ 4378746 w 7353649"/>
                <a:gd name="connsiteY23" fmla="*/ 1759894 h 7132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353649" h="7132230">
                  <a:moveTo>
                    <a:pt x="6263125" y="0"/>
                  </a:moveTo>
                  <a:lnTo>
                    <a:pt x="6408247" y="147791"/>
                  </a:lnTo>
                  <a:lnTo>
                    <a:pt x="5848753" y="1256533"/>
                  </a:lnTo>
                  <a:lnTo>
                    <a:pt x="6126659" y="1981927"/>
                  </a:lnTo>
                  <a:lnTo>
                    <a:pt x="7343724" y="2330590"/>
                  </a:lnTo>
                  <a:lnTo>
                    <a:pt x="7353649" y="3270656"/>
                  </a:lnTo>
                  <a:lnTo>
                    <a:pt x="6119481" y="3664997"/>
                  </a:lnTo>
                  <a:lnTo>
                    <a:pt x="5828582" y="4336469"/>
                  </a:lnTo>
                  <a:lnTo>
                    <a:pt x="6454377" y="5482484"/>
                  </a:lnTo>
                  <a:lnTo>
                    <a:pt x="5805210" y="6191390"/>
                  </a:lnTo>
                  <a:lnTo>
                    <a:pt x="4648950" y="5663834"/>
                  </a:lnTo>
                  <a:lnTo>
                    <a:pt x="3933481" y="5937469"/>
                  </a:lnTo>
                  <a:lnTo>
                    <a:pt x="3544183" y="7132230"/>
                  </a:lnTo>
                  <a:lnTo>
                    <a:pt x="2589148" y="7113127"/>
                  </a:lnTo>
                  <a:lnTo>
                    <a:pt x="2229973" y="5940831"/>
                  </a:lnTo>
                  <a:lnTo>
                    <a:pt x="1499190" y="5636326"/>
                  </a:lnTo>
                  <a:lnTo>
                    <a:pt x="391835" y="6237841"/>
                  </a:lnTo>
                  <a:lnTo>
                    <a:pt x="0" y="5849369"/>
                  </a:lnTo>
                  <a:lnTo>
                    <a:pt x="1850329" y="4121277"/>
                  </a:lnTo>
                  <a:lnTo>
                    <a:pt x="1872705" y="4132356"/>
                  </a:lnTo>
                  <a:cubicBezTo>
                    <a:pt x="1912234" y="4153727"/>
                    <a:pt x="1954767" y="4180283"/>
                    <a:pt x="2000592" y="4212764"/>
                  </a:cubicBezTo>
                  <a:cubicBezTo>
                    <a:pt x="2564542" y="4700162"/>
                    <a:pt x="4776957" y="4952368"/>
                    <a:pt x="4743793" y="2742139"/>
                  </a:cubicBezTo>
                  <a:cubicBezTo>
                    <a:pt x="4728128" y="2412915"/>
                    <a:pt x="4626644" y="2130450"/>
                    <a:pt x="4470680" y="1887095"/>
                  </a:cubicBezTo>
                  <a:lnTo>
                    <a:pt x="4378746" y="1759894"/>
                  </a:lnTo>
                  <a:close/>
                </a:path>
              </a:pathLst>
            </a:custGeom>
            <a:solidFill>
              <a:srgbClr val="7A7A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82"/>
            </a:p>
          </p:txBody>
        </p:sp>
        <p:sp>
          <p:nvSpPr>
            <p:cNvPr id="52" name="Freeform: Shape 51"/>
            <p:cNvSpPr/>
            <p:nvPr/>
          </p:nvSpPr>
          <p:spPr>
            <a:xfrm>
              <a:off x="-15207205" y="1321875"/>
              <a:ext cx="6434180" cy="1862570"/>
            </a:xfrm>
            <a:custGeom>
              <a:avLst/>
              <a:gdLst>
                <a:gd name="connsiteX0" fmla="*/ 6157732 w 6157732"/>
                <a:gd name="connsiteY0" fmla="*/ 914400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7732 w 6157732"/>
                <a:gd name="connsiteY11" fmla="*/ 914400 h 1551008"/>
                <a:gd name="connsiteX0" fmla="*/ 6154919 w 6157732"/>
                <a:gd name="connsiteY0" fmla="*/ 1018501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4919 w 6157732"/>
                <a:gd name="connsiteY11" fmla="*/ 1018501 h 1551008"/>
                <a:gd name="connsiteX0" fmla="*/ 5903089 w 6157732"/>
                <a:gd name="connsiteY0" fmla="*/ 1180618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39970 w 6264646"/>
                <a:gd name="connsiteY3" fmla="*/ 92598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903089 w 6264646"/>
                <a:gd name="connsiteY10" fmla="*/ 118061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88816"/>
                <a:gd name="connsiteY0" fmla="*/ 1220008 h 1551008"/>
                <a:gd name="connsiteX1" fmla="*/ 6264646 w 6288816"/>
                <a:gd name="connsiteY1" fmla="*/ 936018 h 1551008"/>
                <a:gd name="connsiteX2" fmla="*/ 4734046 w 6288816"/>
                <a:gd name="connsiteY2" fmla="*/ 0 h 1551008"/>
                <a:gd name="connsiteX3" fmla="*/ 2903394 w 6288816"/>
                <a:gd name="connsiteY3" fmla="*/ 134801 h 1551008"/>
                <a:gd name="connsiteX4" fmla="*/ 1562582 w 6288816"/>
                <a:gd name="connsiteY4" fmla="*/ 1134319 h 1551008"/>
                <a:gd name="connsiteX5" fmla="*/ 266218 w 6288816"/>
                <a:gd name="connsiteY5" fmla="*/ 983848 h 1551008"/>
                <a:gd name="connsiteX6" fmla="*/ 0 w 6288816"/>
                <a:gd name="connsiteY6" fmla="*/ 1296365 h 1551008"/>
                <a:gd name="connsiteX7" fmla="*/ 1747777 w 6288816"/>
                <a:gd name="connsiteY7" fmla="*/ 1551008 h 1551008"/>
                <a:gd name="connsiteX8" fmla="*/ 3078545 w 6288816"/>
                <a:gd name="connsiteY8" fmla="*/ 646260 h 1551008"/>
                <a:gd name="connsiteX9" fmla="*/ 4609216 w 6288816"/>
                <a:gd name="connsiteY9" fmla="*/ 505191 h 1551008"/>
                <a:gd name="connsiteX10" fmla="*/ 5877767 w 6288816"/>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64662 h 1595662"/>
                <a:gd name="connsiteX1" fmla="*/ 6264646 w 6299907"/>
                <a:gd name="connsiteY1" fmla="*/ 980672 h 1595662"/>
                <a:gd name="connsiteX2" fmla="*/ 4734046 w 6299907"/>
                <a:gd name="connsiteY2" fmla="*/ 44654 h 1595662"/>
                <a:gd name="connsiteX3" fmla="*/ 2903394 w 6299907"/>
                <a:gd name="connsiteY3" fmla="*/ 179455 h 1595662"/>
                <a:gd name="connsiteX4" fmla="*/ 1562582 w 6299907"/>
                <a:gd name="connsiteY4" fmla="*/ 1178973 h 1595662"/>
                <a:gd name="connsiteX5" fmla="*/ 266218 w 6299907"/>
                <a:gd name="connsiteY5" fmla="*/ 1028502 h 1595662"/>
                <a:gd name="connsiteX6" fmla="*/ 0 w 6299907"/>
                <a:gd name="connsiteY6" fmla="*/ 1341019 h 1595662"/>
                <a:gd name="connsiteX7" fmla="*/ 1747777 w 6299907"/>
                <a:gd name="connsiteY7" fmla="*/ 1595662 h 1595662"/>
                <a:gd name="connsiteX8" fmla="*/ 3078545 w 6299907"/>
                <a:gd name="connsiteY8" fmla="*/ 690914 h 1595662"/>
                <a:gd name="connsiteX9" fmla="*/ 4609216 w 6299907"/>
                <a:gd name="connsiteY9" fmla="*/ 549845 h 1595662"/>
                <a:gd name="connsiteX10" fmla="*/ 5877767 w 6299907"/>
                <a:gd name="connsiteY10" fmla="*/ 1264662 h 1595662"/>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350331"/>
                <a:gd name="connsiteY0" fmla="*/ 1303484 h 1634484"/>
                <a:gd name="connsiteX1" fmla="*/ 6264646 w 6350331"/>
                <a:gd name="connsiteY1" fmla="*/ 1019494 h 1634484"/>
                <a:gd name="connsiteX2" fmla="*/ 4734046 w 6350331"/>
                <a:gd name="connsiteY2" fmla="*/ 83476 h 1634484"/>
                <a:gd name="connsiteX3" fmla="*/ 2903394 w 6350331"/>
                <a:gd name="connsiteY3" fmla="*/ 218277 h 1634484"/>
                <a:gd name="connsiteX4" fmla="*/ 1562582 w 6350331"/>
                <a:gd name="connsiteY4" fmla="*/ 1217795 h 1634484"/>
                <a:gd name="connsiteX5" fmla="*/ 266218 w 6350331"/>
                <a:gd name="connsiteY5" fmla="*/ 1067324 h 1634484"/>
                <a:gd name="connsiteX6" fmla="*/ 0 w 6350331"/>
                <a:gd name="connsiteY6" fmla="*/ 1379841 h 1634484"/>
                <a:gd name="connsiteX7" fmla="*/ 1747777 w 6350331"/>
                <a:gd name="connsiteY7" fmla="*/ 1634484 h 1634484"/>
                <a:gd name="connsiteX8" fmla="*/ 3078545 w 6350331"/>
                <a:gd name="connsiteY8" fmla="*/ 729736 h 1634484"/>
                <a:gd name="connsiteX9" fmla="*/ 4609216 w 6350331"/>
                <a:gd name="connsiteY9" fmla="*/ 588667 h 1634484"/>
                <a:gd name="connsiteX10" fmla="*/ 5877767 w 6350331"/>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840557"/>
                <a:gd name="connsiteX1" fmla="*/ 6264646 w 6351908"/>
                <a:gd name="connsiteY1" fmla="*/ 1019494 h 1840557"/>
                <a:gd name="connsiteX2" fmla="*/ 4734046 w 6351908"/>
                <a:gd name="connsiteY2" fmla="*/ 83476 h 1840557"/>
                <a:gd name="connsiteX3" fmla="*/ 2903394 w 6351908"/>
                <a:gd name="connsiteY3" fmla="*/ 218277 h 1840557"/>
                <a:gd name="connsiteX4" fmla="*/ 1556955 w 6351908"/>
                <a:gd name="connsiteY4" fmla="*/ 1237490 h 1840557"/>
                <a:gd name="connsiteX5" fmla="*/ 274659 w 6351908"/>
                <a:gd name="connsiteY5" fmla="*/ 1016680 h 1840557"/>
                <a:gd name="connsiteX6" fmla="*/ 0 w 6351908"/>
                <a:gd name="connsiteY6" fmla="*/ 1379841 h 1840557"/>
                <a:gd name="connsiteX7" fmla="*/ 1719641 w 6351908"/>
                <a:gd name="connsiteY7" fmla="*/ 1710450 h 1840557"/>
                <a:gd name="connsiteX8" fmla="*/ 3078545 w 6351908"/>
                <a:gd name="connsiteY8" fmla="*/ 729736 h 1840557"/>
                <a:gd name="connsiteX9" fmla="*/ 4609216 w 6351908"/>
                <a:gd name="connsiteY9" fmla="*/ 588667 h 1840557"/>
                <a:gd name="connsiteX10" fmla="*/ 5877767 w 6351908"/>
                <a:gd name="connsiteY10" fmla="*/ 1303484 h 1840557"/>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980675 w 6454816"/>
                <a:gd name="connsiteY0" fmla="*/ 1303484 h 1893535"/>
                <a:gd name="connsiteX1" fmla="*/ 6367554 w 6454816"/>
                <a:gd name="connsiteY1" fmla="*/ 1019494 h 1893535"/>
                <a:gd name="connsiteX2" fmla="*/ 4836954 w 6454816"/>
                <a:gd name="connsiteY2" fmla="*/ 83476 h 1893535"/>
                <a:gd name="connsiteX3" fmla="*/ 3006302 w 6454816"/>
                <a:gd name="connsiteY3" fmla="*/ 218277 h 1893535"/>
                <a:gd name="connsiteX4" fmla="*/ 1659863 w 6454816"/>
                <a:gd name="connsiteY4" fmla="*/ 1237490 h 1893535"/>
                <a:gd name="connsiteX5" fmla="*/ 377567 w 6454816"/>
                <a:gd name="connsiteY5" fmla="*/ 1016680 h 1893535"/>
                <a:gd name="connsiteX6" fmla="*/ 102908 w 6454816"/>
                <a:gd name="connsiteY6" fmla="*/ 1379841 h 1893535"/>
                <a:gd name="connsiteX7" fmla="*/ 1822549 w 6454816"/>
                <a:gd name="connsiteY7" fmla="*/ 1710450 h 1893535"/>
                <a:gd name="connsiteX8" fmla="*/ 3181453 w 6454816"/>
                <a:gd name="connsiteY8" fmla="*/ 729736 h 1893535"/>
                <a:gd name="connsiteX9" fmla="*/ 4712124 w 6454816"/>
                <a:gd name="connsiteY9" fmla="*/ 588667 h 1893535"/>
                <a:gd name="connsiteX10" fmla="*/ 5980675 w 6454816"/>
                <a:gd name="connsiteY10" fmla="*/ 1303484 h 1893535"/>
                <a:gd name="connsiteX0" fmla="*/ 5961776 w 6435917"/>
                <a:gd name="connsiteY0" fmla="*/ 1303484 h 1893535"/>
                <a:gd name="connsiteX1" fmla="*/ 6348655 w 6435917"/>
                <a:gd name="connsiteY1" fmla="*/ 1019494 h 1893535"/>
                <a:gd name="connsiteX2" fmla="*/ 4818055 w 6435917"/>
                <a:gd name="connsiteY2" fmla="*/ 83476 h 1893535"/>
                <a:gd name="connsiteX3" fmla="*/ 2987403 w 6435917"/>
                <a:gd name="connsiteY3" fmla="*/ 218277 h 1893535"/>
                <a:gd name="connsiteX4" fmla="*/ 1640964 w 6435917"/>
                <a:gd name="connsiteY4" fmla="*/ 1237490 h 1893535"/>
                <a:gd name="connsiteX5" fmla="*/ 358668 w 6435917"/>
                <a:gd name="connsiteY5" fmla="*/ 1016680 h 1893535"/>
                <a:gd name="connsiteX6" fmla="*/ 84009 w 6435917"/>
                <a:gd name="connsiteY6" fmla="*/ 1379841 h 1893535"/>
                <a:gd name="connsiteX7" fmla="*/ 1803650 w 6435917"/>
                <a:gd name="connsiteY7" fmla="*/ 1710450 h 1893535"/>
                <a:gd name="connsiteX8" fmla="*/ 3162554 w 6435917"/>
                <a:gd name="connsiteY8" fmla="*/ 729736 h 1893535"/>
                <a:gd name="connsiteX9" fmla="*/ 4693225 w 6435917"/>
                <a:gd name="connsiteY9" fmla="*/ 588667 h 1893535"/>
                <a:gd name="connsiteX10" fmla="*/ 5961776 w 6435917"/>
                <a:gd name="connsiteY10" fmla="*/ 1303484 h 1893535"/>
                <a:gd name="connsiteX0" fmla="*/ 5961776 w 6435917"/>
                <a:gd name="connsiteY0" fmla="*/ 1303484 h 1892323"/>
                <a:gd name="connsiteX1" fmla="*/ 6348655 w 6435917"/>
                <a:gd name="connsiteY1" fmla="*/ 1019494 h 1892323"/>
                <a:gd name="connsiteX2" fmla="*/ 4818055 w 6435917"/>
                <a:gd name="connsiteY2" fmla="*/ 83476 h 1892323"/>
                <a:gd name="connsiteX3" fmla="*/ 2987403 w 6435917"/>
                <a:gd name="connsiteY3" fmla="*/ 218277 h 1892323"/>
                <a:gd name="connsiteX4" fmla="*/ 1640964 w 6435917"/>
                <a:gd name="connsiteY4" fmla="*/ 1237490 h 1892323"/>
                <a:gd name="connsiteX5" fmla="*/ 358668 w 6435917"/>
                <a:gd name="connsiteY5" fmla="*/ 1016680 h 1892323"/>
                <a:gd name="connsiteX6" fmla="*/ 84009 w 6435917"/>
                <a:gd name="connsiteY6" fmla="*/ 1379841 h 1892323"/>
                <a:gd name="connsiteX7" fmla="*/ 1803650 w 6435917"/>
                <a:gd name="connsiteY7" fmla="*/ 1710450 h 1892323"/>
                <a:gd name="connsiteX8" fmla="*/ 3162554 w 6435917"/>
                <a:gd name="connsiteY8" fmla="*/ 729736 h 1892323"/>
                <a:gd name="connsiteX9" fmla="*/ 4693225 w 6435917"/>
                <a:gd name="connsiteY9" fmla="*/ 588667 h 1892323"/>
                <a:gd name="connsiteX10" fmla="*/ 5961776 w 6435917"/>
                <a:gd name="connsiteY10" fmla="*/ 1303484 h 1892323"/>
                <a:gd name="connsiteX0" fmla="*/ 5941465 w 6415606"/>
                <a:gd name="connsiteY0" fmla="*/ 1303484 h 1902580"/>
                <a:gd name="connsiteX1" fmla="*/ 6328344 w 6415606"/>
                <a:gd name="connsiteY1" fmla="*/ 1019494 h 1902580"/>
                <a:gd name="connsiteX2" fmla="*/ 4797744 w 6415606"/>
                <a:gd name="connsiteY2" fmla="*/ 83476 h 1902580"/>
                <a:gd name="connsiteX3" fmla="*/ 2967092 w 6415606"/>
                <a:gd name="connsiteY3" fmla="*/ 218277 h 1902580"/>
                <a:gd name="connsiteX4" fmla="*/ 1620653 w 6415606"/>
                <a:gd name="connsiteY4" fmla="*/ 1237490 h 1902580"/>
                <a:gd name="connsiteX5" fmla="*/ 338357 w 6415606"/>
                <a:gd name="connsiteY5" fmla="*/ 1016680 h 1902580"/>
                <a:gd name="connsiteX6" fmla="*/ 89019 w 6415606"/>
                <a:gd name="connsiteY6" fmla="*/ 1419231 h 1902580"/>
                <a:gd name="connsiteX7" fmla="*/ 1783339 w 6415606"/>
                <a:gd name="connsiteY7" fmla="*/ 1710450 h 1902580"/>
                <a:gd name="connsiteX8" fmla="*/ 3142243 w 6415606"/>
                <a:gd name="connsiteY8" fmla="*/ 729736 h 1902580"/>
                <a:gd name="connsiteX9" fmla="*/ 4672914 w 6415606"/>
                <a:gd name="connsiteY9" fmla="*/ 588667 h 1902580"/>
                <a:gd name="connsiteX10" fmla="*/ 5941465 w 6415606"/>
                <a:gd name="connsiteY10" fmla="*/ 1303484 h 1902580"/>
                <a:gd name="connsiteX0" fmla="*/ 5960039 w 6434180"/>
                <a:gd name="connsiteY0" fmla="*/ 1303484 h 1902580"/>
                <a:gd name="connsiteX1" fmla="*/ 6346918 w 6434180"/>
                <a:gd name="connsiteY1" fmla="*/ 1019494 h 1902580"/>
                <a:gd name="connsiteX2" fmla="*/ 4816318 w 6434180"/>
                <a:gd name="connsiteY2" fmla="*/ 83476 h 1902580"/>
                <a:gd name="connsiteX3" fmla="*/ 2985666 w 6434180"/>
                <a:gd name="connsiteY3" fmla="*/ 218277 h 1902580"/>
                <a:gd name="connsiteX4" fmla="*/ 1639227 w 6434180"/>
                <a:gd name="connsiteY4" fmla="*/ 1237490 h 1902580"/>
                <a:gd name="connsiteX5" fmla="*/ 356931 w 6434180"/>
                <a:gd name="connsiteY5" fmla="*/ 1016680 h 1902580"/>
                <a:gd name="connsiteX6" fmla="*/ 107593 w 6434180"/>
                <a:gd name="connsiteY6" fmla="*/ 1419231 h 1902580"/>
                <a:gd name="connsiteX7" fmla="*/ 1801913 w 6434180"/>
                <a:gd name="connsiteY7" fmla="*/ 1710450 h 1902580"/>
                <a:gd name="connsiteX8" fmla="*/ 3160817 w 6434180"/>
                <a:gd name="connsiteY8" fmla="*/ 729736 h 1902580"/>
                <a:gd name="connsiteX9" fmla="*/ 4691488 w 6434180"/>
                <a:gd name="connsiteY9" fmla="*/ 588667 h 1902580"/>
                <a:gd name="connsiteX10" fmla="*/ 5960039 w 6434180"/>
                <a:gd name="connsiteY10" fmla="*/ 1303484 h 1902580"/>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946772"/>
                <a:gd name="connsiteX1" fmla="*/ 6346918 w 6434180"/>
                <a:gd name="connsiteY1" fmla="*/ 1019494 h 1946772"/>
                <a:gd name="connsiteX2" fmla="*/ 4816318 w 6434180"/>
                <a:gd name="connsiteY2" fmla="*/ 83476 h 1946772"/>
                <a:gd name="connsiteX3" fmla="*/ 2985666 w 6434180"/>
                <a:gd name="connsiteY3" fmla="*/ 218277 h 1946772"/>
                <a:gd name="connsiteX4" fmla="*/ 1639227 w 6434180"/>
                <a:gd name="connsiteY4" fmla="*/ 1237490 h 1946772"/>
                <a:gd name="connsiteX5" fmla="*/ 356931 w 6434180"/>
                <a:gd name="connsiteY5" fmla="*/ 1016680 h 1946772"/>
                <a:gd name="connsiteX6" fmla="*/ 107593 w 6434180"/>
                <a:gd name="connsiteY6" fmla="*/ 1419231 h 1946772"/>
                <a:gd name="connsiteX7" fmla="*/ 1801913 w 6434180"/>
                <a:gd name="connsiteY7" fmla="*/ 1710450 h 1946772"/>
                <a:gd name="connsiteX8" fmla="*/ 3160817 w 6434180"/>
                <a:gd name="connsiteY8" fmla="*/ 729736 h 1946772"/>
                <a:gd name="connsiteX9" fmla="*/ 4691488 w 6434180"/>
                <a:gd name="connsiteY9" fmla="*/ 588667 h 1946772"/>
                <a:gd name="connsiteX10" fmla="*/ 5960039 w 6434180"/>
                <a:gd name="connsiteY10" fmla="*/ 1303484 h 1946772"/>
                <a:gd name="connsiteX0" fmla="*/ 5960039 w 6434180"/>
                <a:gd name="connsiteY0" fmla="*/ 1303484 h 1848056"/>
                <a:gd name="connsiteX1" fmla="*/ 6346918 w 6434180"/>
                <a:gd name="connsiteY1" fmla="*/ 1019494 h 1848056"/>
                <a:gd name="connsiteX2" fmla="*/ 4816318 w 6434180"/>
                <a:gd name="connsiteY2" fmla="*/ 83476 h 1848056"/>
                <a:gd name="connsiteX3" fmla="*/ 2985666 w 6434180"/>
                <a:gd name="connsiteY3" fmla="*/ 218277 h 1848056"/>
                <a:gd name="connsiteX4" fmla="*/ 1639227 w 6434180"/>
                <a:gd name="connsiteY4" fmla="*/ 1237490 h 1848056"/>
                <a:gd name="connsiteX5" fmla="*/ 356931 w 6434180"/>
                <a:gd name="connsiteY5" fmla="*/ 1016680 h 1848056"/>
                <a:gd name="connsiteX6" fmla="*/ 107593 w 6434180"/>
                <a:gd name="connsiteY6" fmla="*/ 1419231 h 1848056"/>
                <a:gd name="connsiteX7" fmla="*/ 1801913 w 6434180"/>
                <a:gd name="connsiteY7" fmla="*/ 1710450 h 1848056"/>
                <a:gd name="connsiteX8" fmla="*/ 3160817 w 6434180"/>
                <a:gd name="connsiteY8" fmla="*/ 729736 h 1848056"/>
                <a:gd name="connsiteX9" fmla="*/ 4691488 w 6434180"/>
                <a:gd name="connsiteY9" fmla="*/ 588667 h 1848056"/>
                <a:gd name="connsiteX10" fmla="*/ 5960039 w 6434180"/>
                <a:gd name="connsiteY10" fmla="*/ 1303484 h 1848056"/>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5521 h 1862570"/>
                <a:gd name="connsiteX1" fmla="*/ 6346918 w 6434180"/>
                <a:gd name="connsiteY1" fmla="*/ 991531 h 1862570"/>
                <a:gd name="connsiteX2" fmla="*/ 4816318 w 6434180"/>
                <a:gd name="connsiteY2" fmla="*/ 55513 h 1862570"/>
                <a:gd name="connsiteX3" fmla="*/ 2985666 w 6434180"/>
                <a:gd name="connsiteY3" fmla="*/ 190314 h 1862570"/>
                <a:gd name="connsiteX4" fmla="*/ 1639227 w 6434180"/>
                <a:gd name="connsiteY4" fmla="*/ 1209527 h 1862570"/>
                <a:gd name="connsiteX5" fmla="*/ 356931 w 6434180"/>
                <a:gd name="connsiteY5" fmla="*/ 988717 h 1862570"/>
                <a:gd name="connsiteX6" fmla="*/ 107593 w 6434180"/>
                <a:gd name="connsiteY6" fmla="*/ 1391268 h 1862570"/>
                <a:gd name="connsiteX7" fmla="*/ 1801913 w 6434180"/>
                <a:gd name="connsiteY7" fmla="*/ 1682487 h 1862570"/>
                <a:gd name="connsiteX8" fmla="*/ 3160817 w 6434180"/>
                <a:gd name="connsiteY8" fmla="*/ 701773 h 1862570"/>
                <a:gd name="connsiteX9" fmla="*/ 4691488 w 6434180"/>
                <a:gd name="connsiteY9" fmla="*/ 560704 h 1862570"/>
                <a:gd name="connsiteX10" fmla="*/ 5960039 w 6434180"/>
                <a:gd name="connsiteY10" fmla="*/ 1275521 h 1862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34180" h="1862570">
                  <a:moveTo>
                    <a:pt x="5960039" y="1275521"/>
                  </a:moveTo>
                  <a:cubicBezTo>
                    <a:pt x="6283134" y="1670414"/>
                    <a:pt x="6589346" y="1260633"/>
                    <a:pt x="6346918" y="991531"/>
                  </a:cubicBezTo>
                  <a:cubicBezTo>
                    <a:pt x="5949259" y="586678"/>
                    <a:pt x="5223959" y="131561"/>
                    <a:pt x="4816318" y="55513"/>
                  </a:cubicBezTo>
                  <a:cubicBezTo>
                    <a:pt x="4408677" y="-20535"/>
                    <a:pt x="3494501" y="-52826"/>
                    <a:pt x="2985666" y="190314"/>
                  </a:cubicBezTo>
                  <a:cubicBezTo>
                    <a:pt x="2476831" y="433454"/>
                    <a:pt x="1908164" y="1000838"/>
                    <a:pt x="1639227" y="1209527"/>
                  </a:cubicBezTo>
                  <a:cubicBezTo>
                    <a:pt x="1370290" y="1418216"/>
                    <a:pt x="729968" y="1345550"/>
                    <a:pt x="356931" y="988717"/>
                  </a:cubicBezTo>
                  <a:cubicBezTo>
                    <a:pt x="96566" y="758079"/>
                    <a:pt x="-146919" y="1182994"/>
                    <a:pt x="107593" y="1391268"/>
                  </a:cubicBezTo>
                  <a:cubicBezTo>
                    <a:pt x="576706" y="1808146"/>
                    <a:pt x="1317996" y="2048782"/>
                    <a:pt x="1801913" y="1682487"/>
                  </a:cubicBezTo>
                  <a:cubicBezTo>
                    <a:pt x="2285830" y="1316192"/>
                    <a:pt x="2704050" y="940116"/>
                    <a:pt x="3160817" y="701773"/>
                  </a:cubicBezTo>
                  <a:cubicBezTo>
                    <a:pt x="3617584" y="463430"/>
                    <a:pt x="4299587" y="485617"/>
                    <a:pt x="4691488" y="560704"/>
                  </a:cubicBezTo>
                  <a:cubicBezTo>
                    <a:pt x="5083389" y="635791"/>
                    <a:pt x="5573765" y="907826"/>
                    <a:pt x="5960039" y="1275521"/>
                  </a:cubicBezTo>
                  <a:close/>
                </a:path>
              </a:pathLst>
            </a:custGeom>
            <a:solidFill>
              <a:srgbClr val="59B4D9"/>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882"/>
            </a:p>
          </p:txBody>
        </p:sp>
        <p:sp>
          <p:nvSpPr>
            <p:cNvPr id="54" name="Freeform: Shape 53"/>
            <p:cNvSpPr/>
            <p:nvPr/>
          </p:nvSpPr>
          <p:spPr>
            <a:xfrm>
              <a:off x="-15771436" y="2395995"/>
              <a:ext cx="6401905" cy="1781951"/>
            </a:xfrm>
            <a:custGeom>
              <a:avLst/>
              <a:gdLst>
                <a:gd name="connsiteX0" fmla="*/ 6157732 w 6157732"/>
                <a:gd name="connsiteY0" fmla="*/ 914400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7732 w 6157732"/>
                <a:gd name="connsiteY11" fmla="*/ 914400 h 1551008"/>
                <a:gd name="connsiteX0" fmla="*/ 6154919 w 6157732"/>
                <a:gd name="connsiteY0" fmla="*/ 1018501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4919 w 6157732"/>
                <a:gd name="connsiteY11" fmla="*/ 1018501 h 1551008"/>
                <a:gd name="connsiteX0" fmla="*/ 5903089 w 6157732"/>
                <a:gd name="connsiteY0" fmla="*/ 1180618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39970 w 6264646"/>
                <a:gd name="connsiteY3" fmla="*/ 92598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903089 w 6264646"/>
                <a:gd name="connsiteY10" fmla="*/ 118061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88816"/>
                <a:gd name="connsiteY0" fmla="*/ 1220008 h 1551008"/>
                <a:gd name="connsiteX1" fmla="*/ 6264646 w 6288816"/>
                <a:gd name="connsiteY1" fmla="*/ 936018 h 1551008"/>
                <a:gd name="connsiteX2" fmla="*/ 4734046 w 6288816"/>
                <a:gd name="connsiteY2" fmla="*/ 0 h 1551008"/>
                <a:gd name="connsiteX3" fmla="*/ 2903394 w 6288816"/>
                <a:gd name="connsiteY3" fmla="*/ 134801 h 1551008"/>
                <a:gd name="connsiteX4" fmla="*/ 1562582 w 6288816"/>
                <a:gd name="connsiteY4" fmla="*/ 1134319 h 1551008"/>
                <a:gd name="connsiteX5" fmla="*/ 266218 w 6288816"/>
                <a:gd name="connsiteY5" fmla="*/ 983848 h 1551008"/>
                <a:gd name="connsiteX6" fmla="*/ 0 w 6288816"/>
                <a:gd name="connsiteY6" fmla="*/ 1296365 h 1551008"/>
                <a:gd name="connsiteX7" fmla="*/ 1747777 w 6288816"/>
                <a:gd name="connsiteY7" fmla="*/ 1551008 h 1551008"/>
                <a:gd name="connsiteX8" fmla="*/ 3078545 w 6288816"/>
                <a:gd name="connsiteY8" fmla="*/ 646260 h 1551008"/>
                <a:gd name="connsiteX9" fmla="*/ 4609216 w 6288816"/>
                <a:gd name="connsiteY9" fmla="*/ 505191 h 1551008"/>
                <a:gd name="connsiteX10" fmla="*/ 5877767 w 6288816"/>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64662 h 1595662"/>
                <a:gd name="connsiteX1" fmla="*/ 6264646 w 6299907"/>
                <a:gd name="connsiteY1" fmla="*/ 980672 h 1595662"/>
                <a:gd name="connsiteX2" fmla="*/ 4734046 w 6299907"/>
                <a:gd name="connsiteY2" fmla="*/ 44654 h 1595662"/>
                <a:gd name="connsiteX3" fmla="*/ 2903394 w 6299907"/>
                <a:gd name="connsiteY3" fmla="*/ 179455 h 1595662"/>
                <a:gd name="connsiteX4" fmla="*/ 1562582 w 6299907"/>
                <a:gd name="connsiteY4" fmla="*/ 1178973 h 1595662"/>
                <a:gd name="connsiteX5" fmla="*/ 266218 w 6299907"/>
                <a:gd name="connsiteY5" fmla="*/ 1028502 h 1595662"/>
                <a:gd name="connsiteX6" fmla="*/ 0 w 6299907"/>
                <a:gd name="connsiteY6" fmla="*/ 1341019 h 1595662"/>
                <a:gd name="connsiteX7" fmla="*/ 1747777 w 6299907"/>
                <a:gd name="connsiteY7" fmla="*/ 1595662 h 1595662"/>
                <a:gd name="connsiteX8" fmla="*/ 3078545 w 6299907"/>
                <a:gd name="connsiteY8" fmla="*/ 690914 h 1595662"/>
                <a:gd name="connsiteX9" fmla="*/ 4609216 w 6299907"/>
                <a:gd name="connsiteY9" fmla="*/ 549845 h 1595662"/>
                <a:gd name="connsiteX10" fmla="*/ 5877767 w 6299907"/>
                <a:gd name="connsiteY10" fmla="*/ 1264662 h 1595662"/>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350331"/>
                <a:gd name="connsiteY0" fmla="*/ 1303484 h 1634484"/>
                <a:gd name="connsiteX1" fmla="*/ 6264646 w 6350331"/>
                <a:gd name="connsiteY1" fmla="*/ 1019494 h 1634484"/>
                <a:gd name="connsiteX2" fmla="*/ 4734046 w 6350331"/>
                <a:gd name="connsiteY2" fmla="*/ 83476 h 1634484"/>
                <a:gd name="connsiteX3" fmla="*/ 2903394 w 6350331"/>
                <a:gd name="connsiteY3" fmla="*/ 218277 h 1634484"/>
                <a:gd name="connsiteX4" fmla="*/ 1562582 w 6350331"/>
                <a:gd name="connsiteY4" fmla="*/ 1217795 h 1634484"/>
                <a:gd name="connsiteX5" fmla="*/ 266218 w 6350331"/>
                <a:gd name="connsiteY5" fmla="*/ 1067324 h 1634484"/>
                <a:gd name="connsiteX6" fmla="*/ 0 w 6350331"/>
                <a:gd name="connsiteY6" fmla="*/ 1379841 h 1634484"/>
                <a:gd name="connsiteX7" fmla="*/ 1747777 w 6350331"/>
                <a:gd name="connsiteY7" fmla="*/ 1634484 h 1634484"/>
                <a:gd name="connsiteX8" fmla="*/ 3078545 w 6350331"/>
                <a:gd name="connsiteY8" fmla="*/ 729736 h 1634484"/>
                <a:gd name="connsiteX9" fmla="*/ 4609216 w 6350331"/>
                <a:gd name="connsiteY9" fmla="*/ 588667 h 1634484"/>
                <a:gd name="connsiteX10" fmla="*/ 5877767 w 6350331"/>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840557"/>
                <a:gd name="connsiteX1" fmla="*/ 6264646 w 6351908"/>
                <a:gd name="connsiteY1" fmla="*/ 1019494 h 1840557"/>
                <a:gd name="connsiteX2" fmla="*/ 4734046 w 6351908"/>
                <a:gd name="connsiteY2" fmla="*/ 83476 h 1840557"/>
                <a:gd name="connsiteX3" fmla="*/ 2903394 w 6351908"/>
                <a:gd name="connsiteY3" fmla="*/ 218277 h 1840557"/>
                <a:gd name="connsiteX4" fmla="*/ 1556955 w 6351908"/>
                <a:gd name="connsiteY4" fmla="*/ 1237490 h 1840557"/>
                <a:gd name="connsiteX5" fmla="*/ 274659 w 6351908"/>
                <a:gd name="connsiteY5" fmla="*/ 1016680 h 1840557"/>
                <a:gd name="connsiteX6" fmla="*/ 0 w 6351908"/>
                <a:gd name="connsiteY6" fmla="*/ 1379841 h 1840557"/>
                <a:gd name="connsiteX7" fmla="*/ 1719641 w 6351908"/>
                <a:gd name="connsiteY7" fmla="*/ 1710450 h 1840557"/>
                <a:gd name="connsiteX8" fmla="*/ 3078545 w 6351908"/>
                <a:gd name="connsiteY8" fmla="*/ 729736 h 1840557"/>
                <a:gd name="connsiteX9" fmla="*/ 4609216 w 6351908"/>
                <a:gd name="connsiteY9" fmla="*/ 588667 h 1840557"/>
                <a:gd name="connsiteX10" fmla="*/ 5877767 w 6351908"/>
                <a:gd name="connsiteY10" fmla="*/ 1303484 h 1840557"/>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980675 w 6454816"/>
                <a:gd name="connsiteY0" fmla="*/ 1303484 h 1893535"/>
                <a:gd name="connsiteX1" fmla="*/ 6367554 w 6454816"/>
                <a:gd name="connsiteY1" fmla="*/ 1019494 h 1893535"/>
                <a:gd name="connsiteX2" fmla="*/ 4836954 w 6454816"/>
                <a:gd name="connsiteY2" fmla="*/ 83476 h 1893535"/>
                <a:gd name="connsiteX3" fmla="*/ 3006302 w 6454816"/>
                <a:gd name="connsiteY3" fmla="*/ 218277 h 1893535"/>
                <a:gd name="connsiteX4" fmla="*/ 1659863 w 6454816"/>
                <a:gd name="connsiteY4" fmla="*/ 1237490 h 1893535"/>
                <a:gd name="connsiteX5" fmla="*/ 377567 w 6454816"/>
                <a:gd name="connsiteY5" fmla="*/ 1016680 h 1893535"/>
                <a:gd name="connsiteX6" fmla="*/ 102908 w 6454816"/>
                <a:gd name="connsiteY6" fmla="*/ 1379841 h 1893535"/>
                <a:gd name="connsiteX7" fmla="*/ 1822549 w 6454816"/>
                <a:gd name="connsiteY7" fmla="*/ 1710450 h 1893535"/>
                <a:gd name="connsiteX8" fmla="*/ 3181453 w 6454816"/>
                <a:gd name="connsiteY8" fmla="*/ 729736 h 1893535"/>
                <a:gd name="connsiteX9" fmla="*/ 4712124 w 6454816"/>
                <a:gd name="connsiteY9" fmla="*/ 588667 h 1893535"/>
                <a:gd name="connsiteX10" fmla="*/ 5980675 w 6454816"/>
                <a:gd name="connsiteY10" fmla="*/ 1303484 h 1893535"/>
                <a:gd name="connsiteX0" fmla="*/ 5961776 w 6435917"/>
                <a:gd name="connsiteY0" fmla="*/ 1303484 h 1893535"/>
                <a:gd name="connsiteX1" fmla="*/ 6348655 w 6435917"/>
                <a:gd name="connsiteY1" fmla="*/ 1019494 h 1893535"/>
                <a:gd name="connsiteX2" fmla="*/ 4818055 w 6435917"/>
                <a:gd name="connsiteY2" fmla="*/ 83476 h 1893535"/>
                <a:gd name="connsiteX3" fmla="*/ 2987403 w 6435917"/>
                <a:gd name="connsiteY3" fmla="*/ 218277 h 1893535"/>
                <a:gd name="connsiteX4" fmla="*/ 1640964 w 6435917"/>
                <a:gd name="connsiteY4" fmla="*/ 1237490 h 1893535"/>
                <a:gd name="connsiteX5" fmla="*/ 358668 w 6435917"/>
                <a:gd name="connsiteY5" fmla="*/ 1016680 h 1893535"/>
                <a:gd name="connsiteX6" fmla="*/ 84009 w 6435917"/>
                <a:gd name="connsiteY6" fmla="*/ 1379841 h 1893535"/>
                <a:gd name="connsiteX7" fmla="*/ 1803650 w 6435917"/>
                <a:gd name="connsiteY7" fmla="*/ 1710450 h 1893535"/>
                <a:gd name="connsiteX8" fmla="*/ 3162554 w 6435917"/>
                <a:gd name="connsiteY8" fmla="*/ 729736 h 1893535"/>
                <a:gd name="connsiteX9" fmla="*/ 4693225 w 6435917"/>
                <a:gd name="connsiteY9" fmla="*/ 588667 h 1893535"/>
                <a:gd name="connsiteX10" fmla="*/ 5961776 w 6435917"/>
                <a:gd name="connsiteY10" fmla="*/ 1303484 h 1893535"/>
                <a:gd name="connsiteX0" fmla="*/ 5961776 w 6435917"/>
                <a:gd name="connsiteY0" fmla="*/ 1303484 h 1892323"/>
                <a:gd name="connsiteX1" fmla="*/ 6348655 w 6435917"/>
                <a:gd name="connsiteY1" fmla="*/ 1019494 h 1892323"/>
                <a:gd name="connsiteX2" fmla="*/ 4818055 w 6435917"/>
                <a:gd name="connsiteY2" fmla="*/ 83476 h 1892323"/>
                <a:gd name="connsiteX3" fmla="*/ 2987403 w 6435917"/>
                <a:gd name="connsiteY3" fmla="*/ 218277 h 1892323"/>
                <a:gd name="connsiteX4" fmla="*/ 1640964 w 6435917"/>
                <a:gd name="connsiteY4" fmla="*/ 1237490 h 1892323"/>
                <a:gd name="connsiteX5" fmla="*/ 358668 w 6435917"/>
                <a:gd name="connsiteY5" fmla="*/ 1016680 h 1892323"/>
                <a:gd name="connsiteX6" fmla="*/ 84009 w 6435917"/>
                <a:gd name="connsiteY6" fmla="*/ 1379841 h 1892323"/>
                <a:gd name="connsiteX7" fmla="*/ 1803650 w 6435917"/>
                <a:gd name="connsiteY7" fmla="*/ 1710450 h 1892323"/>
                <a:gd name="connsiteX8" fmla="*/ 3162554 w 6435917"/>
                <a:gd name="connsiteY8" fmla="*/ 729736 h 1892323"/>
                <a:gd name="connsiteX9" fmla="*/ 4693225 w 6435917"/>
                <a:gd name="connsiteY9" fmla="*/ 588667 h 1892323"/>
                <a:gd name="connsiteX10" fmla="*/ 5961776 w 6435917"/>
                <a:gd name="connsiteY10" fmla="*/ 1303484 h 1892323"/>
                <a:gd name="connsiteX0" fmla="*/ 5941465 w 6415606"/>
                <a:gd name="connsiteY0" fmla="*/ 1303484 h 1902580"/>
                <a:gd name="connsiteX1" fmla="*/ 6328344 w 6415606"/>
                <a:gd name="connsiteY1" fmla="*/ 1019494 h 1902580"/>
                <a:gd name="connsiteX2" fmla="*/ 4797744 w 6415606"/>
                <a:gd name="connsiteY2" fmla="*/ 83476 h 1902580"/>
                <a:gd name="connsiteX3" fmla="*/ 2967092 w 6415606"/>
                <a:gd name="connsiteY3" fmla="*/ 218277 h 1902580"/>
                <a:gd name="connsiteX4" fmla="*/ 1620653 w 6415606"/>
                <a:gd name="connsiteY4" fmla="*/ 1237490 h 1902580"/>
                <a:gd name="connsiteX5" fmla="*/ 338357 w 6415606"/>
                <a:gd name="connsiteY5" fmla="*/ 1016680 h 1902580"/>
                <a:gd name="connsiteX6" fmla="*/ 89019 w 6415606"/>
                <a:gd name="connsiteY6" fmla="*/ 1419231 h 1902580"/>
                <a:gd name="connsiteX7" fmla="*/ 1783339 w 6415606"/>
                <a:gd name="connsiteY7" fmla="*/ 1710450 h 1902580"/>
                <a:gd name="connsiteX8" fmla="*/ 3142243 w 6415606"/>
                <a:gd name="connsiteY8" fmla="*/ 729736 h 1902580"/>
                <a:gd name="connsiteX9" fmla="*/ 4672914 w 6415606"/>
                <a:gd name="connsiteY9" fmla="*/ 588667 h 1902580"/>
                <a:gd name="connsiteX10" fmla="*/ 5941465 w 6415606"/>
                <a:gd name="connsiteY10" fmla="*/ 1303484 h 1902580"/>
                <a:gd name="connsiteX0" fmla="*/ 5960039 w 6434180"/>
                <a:gd name="connsiteY0" fmla="*/ 1303484 h 1902580"/>
                <a:gd name="connsiteX1" fmla="*/ 6346918 w 6434180"/>
                <a:gd name="connsiteY1" fmla="*/ 1019494 h 1902580"/>
                <a:gd name="connsiteX2" fmla="*/ 4816318 w 6434180"/>
                <a:gd name="connsiteY2" fmla="*/ 83476 h 1902580"/>
                <a:gd name="connsiteX3" fmla="*/ 2985666 w 6434180"/>
                <a:gd name="connsiteY3" fmla="*/ 218277 h 1902580"/>
                <a:gd name="connsiteX4" fmla="*/ 1639227 w 6434180"/>
                <a:gd name="connsiteY4" fmla="*/ 1237490 h 1902580"/>
                <a:gd name="connsiteX5" fmla="*/ 356931 w 6434180"/>
                <a:gd name="connsiteY5" fmla="*/ 1016680 h 1902580"/>
                <a:gd name="connsiteX6" fmla="*/ 107593 w 6434180"/>
                <a:gd name="connsiteY6" fmla="*/ 1419231 h 1902580"/>
                <a:gd name="connsiteX7" fmla="*/ 1801913 w 6434180"/>
                <a:gd name="connsiteY7" fmla="*/ 1710450 h 1902580"/>
                <a:gd name="connsiteX8" fmla="*/ 3160817 w 6434180"/>
                <a:gd name="connsiteY8" fmla="*/ 729736 h 1902580"/>
                <a:gd name="connsiteX9" fmla="*/ 4691488 w 6434180"/>
                <a:gd name="connsiteY9" fmla="*/ 588667 h 1902580"/>
                <a:gd name="connsiteX10" fmla="*/ 5960039 w 6434180"/>
                <a:gd name="connsiteY10" fmla="*/ 1303484 h 1902580"/>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946772"/>
                <a:gd name="connsiteX1" fmla="*/ 6346918 w 6434180"/>
                <a:gd name="connsiteY1" fmla="*/ 1019494 h 1946772"/>
                <a:gd name="connsiteX2" fmla="*/ 4816318 w 6434180"/>
                <a:gd name="connsiteY2" fmla="*/ 83476 h 1946772"/>
                <a:gd name="connsiteX3" fmla="*/ 2985666 w 6434180"/>
                <a:gd name="connsiteY3" fmla="*/ 218277 h 1946772"/>
                <a:gd name="connsiteX4" fmla="*/ 1639227 w 6434180"/>
                <a:gd name="connsiteY4" fmla="*/ 1237490 h 1946772"/>
                <a:gd name="connsiteX5" fmla="*/ 356931 w 6434180"/>
                <a:gd name="connsiteY5" fmla="*/ 1016680 h 1946772"/>
                <a:gd name="connsiteX6" fmla="*/ 107593 w 6434180"/>
                <a:gd name="connsiteY6" fmla="*/ 1419231 h 1946772"/>
                <a:gd name="connsiteX7" fmla="*/ 1801913 w 6434180"/>
                <a:gd name="connsiteY7" fmla="*/ 1710450 h 1946772"/>
                <a:gd name="connsiteX8" fmla="*/ 3160817 w 6434180"/>
                <a:gd name="connsiteY8" fmla="*/ 729736 h 1946772"/>
                <a:gd name="connsiteX9" fmla="*/ 4691488 w 6434180"/>
                <a:gd name="connsiteY9" fmla="*/ 588667 h 1946772"/>
                <a:gd name="connsiteX10" fmla="*/ 5960039 w 6434180"/>
                <a:gd name="connsiteY10" fmla="*/ 1303484 h 1946772"/>
                <a:gd name="connsiteX0" fmla="*/ 5960039 w 6434180"/>
                <a:gd name="connsiteY0" fmla="*/ 1303484 h 1848056"/>
                <a:gd name="connsiteX1" fmla="*/ 6346918 w 6434180"/>
                <a:gd name="connsiteY1" fmla="*/ 1019494 h 1848056"/>
                <a:gd name="connsiteX2" fmla="*/ 4816318 w 6434180"/>
                <a:gd name="connsiteY2" fmla="*/ 83476 h 1848056"/>
                <a:gd name="connsiteX3" fmla="*/ 2985666 w 6434180"/>
                <a:gd name="connsiteY3" fmla="*/ 218277 h 1848056"/>
                <a:gd name="connsiteX4" fmla="*/ 1639227 w 6434180"/>
                <a:gd name="connsiteY4" fmla="*/ 1237490 h 1848056"/>
                <a:gd name="connsiteX5" fmla="*/ 356931 w 6434180"/>
                <a:gd name="connsiteY5" fmla="*/ 1016680 h 1848056"/>
                <a:gd name="connsiteX6" fmla="*/ 107593 w 6434180"/>
                <a:gd name="connsiteY6" fmla="*/ 1419231 h 1848056"/>
                <a:gd name="connsiteX7" fmla="*/ 1801913 w 6434180"/>
                <a:gd name="connsiteY7" fmla="*/ 1710450 h 1848056"/>
                <a:gd name="connsiteX8" fmla="*/ 3160817 w 6434180"/>
                <a:gd name="connsiteY8" fmla="*/ 729736 h 1848056"/>
                <a:gd name="connsiteX9" fmla="*/ 4691488 w 6434180"/>
                <a:gd name="connsiteY9" fmla="*/ 588667 h 1848056"/>
                <a:gd name="connsiteX10" fmla="*/ 5960039 w 6434180"/>
                <a:gd name="connsiteY10" fmla="*/ 1303484 h 1848056"/>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5521 h 1862570"/>
                <a:gd name="connsiteX1" fmla="*/ 6346918 w 6434180"/>
                <a:gd name="connsiteY1" fmla="*/ 991531 h 1862570"/>
                <a:gd name="connsiteX2" fmla="*/ 4816318 w 6434180"/>
                <a:gd name="connsiteY2" fmla="*/ 55513 h 1862570"/>
                <a:gd name="connsiteX3" fmla="*/ 2985666 w 6434180"/>
                <a:gd name="connsiteY3" fmla="*/ 190314 h 1862570"/>
                <a:gd name="connsiteX4" fmla="*/ 1639227 w 6434180"/>
                <a:gd name="connsiteY4" fmla="*/ 1209527 h 1862570"/>
                <a:gd name="connsiteX5" fmla="*/ 356931 w 6434180"/>
                <a:gd name="connsiteY5" fmla="*/ 988717 h 1862570"/>
                <a:gd name="connsiteX6" fmla="*/ 107593 w 6434180"/>
                <a:gd name="connsiteY6" fmla="*/ 1391268 h 1862570"/>
                <a:gd name="connsiteX7" fmla="*/ 1801913 w 6434180"/>
                <a:gd name="connsiteY7" fmla="*/ 1682487 h 1862570"/>
                <a:gd name="connsiteX8" fmla="*/ 3160817 w 6434180"/>
                <a:gd name="connsiteY8" fmla="*/ 701773 h 1862570"/>
                <a:gd name="connsiteX9" fmla="*/ 4691488 w 6434180"/>
                <a:gd name="connsiteY9" fmla="*/ 560704 h 1862570"/>
                <a:gd name="connsiteX10" fmla="*/ 5960039 w 6434180"/>
                <a:gd name="connsiteY10" fmla="*/ 1275521 h 1862570"/>
                <a:gd name="connsiteX0" fmla="*/ 5960039 w 6434180"/>
                <a:gd name="connsiteY0" fmla="*/ 1275521 h 1716378"/>
                <a:gd name="connsiteX1" fmla="*/ 6346918 w 6434180"/>
                <a:gd name="connsiteY1" fmla="*/ 991531 h 1716378"/>
                <a:gd name="connsiteX2" fmla="*/ 4816318 w 6434180"/>
                <a:gd name="connsiteY2" fmla="*/ 55513 h 1716378"/>
                <a:gd name="connsiteX3" fmla="*/ 2985666 w 6434180"/>
                <a:gd name="connsiteY3" fmla="*/ 190314 h 1716378"/>
                <a:gd name="connsiteX4" fmla="*/ 1639227 w 6434180"/>
                <a:gd name="connsiteY4" fmla="*/ 1209527 h 1716378"/>
                <a:gd name="connsiteX5" fmla="*/ 356931 w 6434180"/>
                <a:gd name="connsiteY5" fmla="*/ 988717 h 1716378"/>
                <a:gd name="connsiteX6" fmla="*/ 107593 w 6434180"/>
                <a:gd name="connsiteY6" fmla="*/ 1391268 h 1716378"/>
                <a:gd name="connsiteX7" fmla="*/ 1801913 w 6434180"/>
                <a:gd name="connsiteY7" fmla="*/ 1682487 h 1716378"/>
                <a:gd name="connsiteX8" fmla="*/ 3389417 w 6434180"/>
                <a:gd name="connsiteY8" fmla="*/ 1171673 h 1716378"/>
                <a:gd name="connsiteX9" fmla="*/ 4691488 w 6434180"/>
                <a:gd name="connsiteY9" fmla="*/ 560704 h 1716378"/>
                <a:gd name="connsiteX10" fmla="*/ 5960039 w 6434180"/>
                <a:gd name="connsiteY10" fmla="*/ 1275521 h 1716378"/>
                <a:gd name="connsiteX0" fmla="*/ 5960039 w 6434180"/>
                <a:gd name="connsiteY0" fmla="*/ 1223507 h 1664364"/>
                <a:gd name="connsiteX1" fmla="*/ 6346918 w 6434180"/>
                <a:gd name="connsiteY1" fmla="*/ 939517 h 1664364"/>
                <a:gd name="connsiteX2" fmla="*/ 4816318 w 6434180"/>
                <a:gd name="connsiteY2" fmla="*/ 3499 h 1664364"/>
                <a:gd name="connsiteX3" fmla="*/ 3207916 w 6434180"/>
                <a:gd name="connsiteY3" fmla="*/ 652650 h 1664364"/>
                <a:gd name="connsiteX4" fmla="*/ 1639227 w 6434180"/>
                <a:gd name="connsiteY4" fmla="*/ 1157513 h 1664364"/>
                <a:gd name="connsiteX5" fmla="*/ 356931 w 6434180"/>
                <a:gd name="connsiteY5" fmla="*/ 936703 h 1664364"/>
                <a:gd name="connsiteX6" fmla="*/ 107593 w 6434180"/>
                <a:gd name="connsiteY6" fmla="*/ 1339254 h 1664364"/>
                <a:gd name="connsiteX7" fmla="*/ 1801913 w 6434180"/>
                <a:gd name="connsiteY7" fmla="*/ 1630473 h 1664364"/>
                <a:gd name="connsiteX8" fmla="*/ 3389417 w 6434180"/>
                <a:gd name="connsiteY8" fmla="*/ 1119659 h 1664364"/>
                <a:gd name="connsiteX9" fmla="*/ 4691488 w 6434180"/>
                <a:gd name="connsiteY9" fmla="*/ 508690 h 1664364"/>
                <a:gd name="connsiteX10" fmla="*/ 5960039 w 6434180"/>
                <a:gd name="connsiteY10" fmla="*/ 1223507 h 1664364"/>
                <a:gd name="connsiteX0" fmla="*/ 5948917 w 6423058"/>
                <a:gd name="connsiteY0" fmla="*/ 1223507 h 1664364"/>
                <a:gd name="connsiteX1" fmla="*/ 6335796 w 6423058"/>
                <a:gd name="connsiteY1" fmla="*/ 939517 h 1664364"/>
                <a:gd name="connsiteX2" fmla="*/ 4805196 w 6423058"/>
                <a:gd name="connsiteY2" fmla="*/ 3499 h 1664364"/>
                <a:gd name="connsiteX3" fmla="*/ 3196794 w 6423058"/>
                <a:gd name="connsiteY3" fmla="*/ 652650 h 1664364"/>
                <a:gd name="connsiteX4" fmla="*/ 1628105 w 6423058"/>
                <a:gd name="connsiteY4" fmla="*/ 1157513 h 1664364"/>
                <a:gd name="connsiteX5" fmla="*/ 402959 w 6423058"/>
                <a:gd name="connsiteY5" fmla="*/ 860503 h 1664364"/>
                <a:gd name="connsiteX6" fmla="*/ 96471 w 6423058"/>
                <a:gd name="connsiteY6" fmla="*/ 1339254 h 1664364"/>
                <a:gd name="connsiteX7" fmla="*/ 1790791 w 6423058"/>
                <a:gd name="connsiteY7" fmla="*/ 1630473 h 1664364"/>
                <a:gd name="connsiteX8" fmla="*/ 3378295 w 6423058"/>
                <a:gd name="connsiteY8" fmla="*/ 1119659 h 1664364"/>
                <a:gd name="connsiteX9" fmla="*/ 4680366 w 6423058"/>
                <a:gd name="connsiteY9" fmla="*/ 508690 h 1664364"/>
                <a:gd name="connsiteX10" fmla="*/ 5948917 w 6423058"/>
                <a:gd name="connsiteY10" fmla="*/ 1223507 h 1664364"/>
                <a:gd name="connsiteX0" fmla="*/ 5912928 w 6387069"/>
                <a:gd name="connsiteY0" fmla="*/ 1223507 h 1636325"/>
                <a:gd name="connsiteX1" fmla="*/ 6299807 w 6387069"/>
                <a:gd name="connsiteY1" fmla="*/ 939517 h 1636325"/>
                <a:gd name="connsiteX2" fmla="*/ 4769207 w 6387069"/>
                <a:gd name="connsiteY2" fmla="*/ 3499 h 1636325"/>
                <a:gd name="connsiteX3" fmla="*/ 3160805 w 6387069"/>
                <a:gd name="connsiteY3" fmla="*/ 652650 h 1636325"/>
                <a:gd name="connsiteX4" fmla="*/ 1592116 w 6387069"/>
                <a:gd name="connsiteY4" fmla="*/ 1157513 h 1636325"/>
                <a:gd name="connsiteX5" fmla="*/ 366970 w 6387069"/>
                <a:gd name="connsiteY5" fmla="*/ 860503 h 1636325"/>
                <a:gd name="connsiteX6" fmla="*/ 104932 w 6387069"/>
                <a:gd name="connsiteY6" fmla="*/ 1231304 h 1636325"/>
                <a:gd name="connsiteX7" fmla="*/ 1754802 w 6387069"/>
                <a:gd name="connsiteY7" fmla="*/ 1630473 h 1636325"/>
                <a:gd name="connsiteX8" fmla="*/ 3342306 w 6387069"/>
                <a:gd name="connsiteY8" fmla="*/ 1119659 h 1636325"/>
                <a:gd name="connsiteX9" fmla="*/ 4644377 w 6387069"/>
                <a:gd name="connsiteY9" fmla="*/ 508690 h 1636325"/>
                <a:gd name="connsiteX10" fmla="*/ 5912928 w 6387069"/>
                <a:gd name="connsiteY10" fmla="*/ 1223507 h 1636325"/>
                <a:gd name="connsiteX0" fmla="*/ 5912928 w 6387069"/>
                <a:gd name="connsiteY0" fmla="*/ 1223507 h 1872772"/>
                <a:gd name="connsiteX1" fmla="*/ 6299807 w 6387069"/>
                <a:gd name="connsiteY1" fmla="*/ 939517 h 1872772"/>
                <a:gd name="connsiteX2" fmla="*/ 4769207 w 6387069"/>
                <a:gd name="connsiteY2" fmla="*/ 3499 h 1872772"/>
                <a:gd name="connsiteX3" fmla="*/ 3160805 w 6387069"/>
                <a:gd name="connsiteY3" fmla="*/ 652650 h 1872772"/>
                <a:gd name="connsiteX4" fmla="*/ 1592116 w 6387069"/>
                <a:gd name="connsiteY4" fmla="*/ 1157513 h 1872772"/>
                <a:gd name="connsiteX5" fmla="*/ 366970 w 6387069"/>
                <a:gd name="connsiteY5" fmla="*/ 860503 h 1872772"/>
                <a:gd name="connsiteX6" fmla="*/ 104932 w 6387069"/>
                <a:gd name="connsiteY6" fmla="*/ 1231304 h 1872772"/>
                <a:gd name="connsiteX7" fmla="*/ 1748452 w 6387069"/>
                <a:gd name="connsiteY7" fmla="*/ 1871773 h 1872772"/>
                <a:gd name="connsiteX8" fmla="*/ 3342306 w 6387069"/>
                <a:gd name="connsiteY8" fmla="*/ 1119659 h 1872772"/>
                <a:gd name="connsiteX9" fmla="*/ 4644377 w 6387069"/>
                <a:gd name="connsiteY9" fmla="*/ 508690 h 1872772"/>
                <a:gd name="connsiteX10" fmla="*/ 5912928 w 6387069"/>
                <a:gd name="connsiteY10" fmla="*/ 1223507 h 1872772"/>
                <a:gd name="connsiteX0" fmla="*/ 5912928 w 6387069"/>
                <a:gd name="connsiteY0" fmla="*/ 1223435 h 1872700"/>
                <a:gd name="connsiteX1" fmla="*/ 6299807 w 6387069"/>
                <a:gd name="connsiteY1" fmla="*/ 939445 h 1872700"/>
                <a:gd name="connsiteX2" fmla="*/ 4769207 w 6387069"/>
                <a:gd name="connsiteY2" fmla="*/ 3427 h 1872700"/>
                <a:gd name="connsiteX3" fmla="*/ 3160805 w 6387069"/>
                <a:gd name="connsiteY3" fmla="*/ 652578 h 1872700"/>
                <a:gd name="connsiteX4" fmla="*/ 1668316 w 6387069"/>
                <a:gd name="connsiteY4" fmla="*/ 1398741 h 1872700"/>
                <a:gd name="connsiteX5" fmla="*/ 366970 w 6387069"/>
                <a:gd name="connsiteY5" fmla="*/ 860431 h 1872700"/>
                <a:gd name="connsiteX6" fmla="*/ 104932 w 6387069"/>
                <a:gd name="connsiteY6" fmla="*/ 1231232 h 1872700"/>
                <a:gd name="connsiteX7" fmla="*/ 1748452 w 6387069"/>
                <a:gd name="connsiteY7" fmla="*/ 1871701 h 1872700"/>
                <a:gd name="connsiteX8" fmla="*/ 3342306 w 6387069"/>
                <a:gd name="connsiteY8" fmla="*/ 1119587 h 1872700"/>
                <a:gd name="connsiteX9" fmla="*/ 4644377 w 6387069"/>
                <a:gd name="connsiteY9" fmla="*/ 508618 h 1872700"/>
                <a:gd name="connsiteX10" fmla="*/ 5912928 w 6387069"/>
                <a:gd name="connsiteY10" fmla="*/ 1223435 h 1872700"/>
                <a:gd name="connsiteX0" fmla="*/ 5912928 w 6387069"/>
                <a:gd name="connsiteY0" fmla="*/ 1223435 h 1872700"/>
                <a:gd name="connsiteX1" fmla="*/ 6299807 w 6387069"/>
                <a:gd name="connsiteY1" fmla="*/ 939445 h 1872700"/>
                <a:gd name="connsiteX2" fmla="*/ 4769207 w 6387069"/>
                <a:gd name="connsiteY2" fmla="*/ 3427 h 1872700"/>
                <a:gd name="connsiteX3" fmla="*/ 3160805 w 6387069"/>
                <a:gd name="connsiteY3" fmla="*/ 652578 h 1872700"/>
                <a:gd name="connsiteX4" fmla="*/ 1668316 w 6387069"/>
                <a:gd name="connsiteY4" fmla="*/ 1398741 h 1872700"/>
                <a:gd name="connsiteX5" fmla="*/ 366970 w 6387069"/>
                <a:gd name="connsiteY5" fmla="*/ 860431 h 1872700"/>
                <a:gd name="connsiteX6" fmla="*/ 104932 w 6387069"/>
                <a:gd name="connsiteY6" fmla="*/ 1231232 h 1872700"/>
                <a:gd name="connsiteX7" fmla="*/ 1748452 w 6387069"/>
                <a:gd name="connsiteY7" fmla="*/ 1871701 h 1872700"/>
                <a:gd name="connsiteX8" fmla="*/ 3342306 w 6387069"/>
                <a:gd name="connsiteY8" fmla="*/ 1119587 h 1872700"/>
                <a:gd name="connsiteX9" fmla="*/ 4574527 w 6387069"/>
                <a:gd name="connsiteY9" fmla="*/ 565768 h 1872700"/>
                <a:gd name="connsiteX10" fmla="*/ 5912928 w 6387069"/>
                <a:gd name="connsiteY10" fmla="*/ 1223435 h 1872700"/>
                <a:gd name="connsiteX0" fmla="*/ 5912928 w 6370309"/>
                <a:gd name="connsiteY0" fmla="*/ 1223435 h 1872700"/>
                <a:gd name="connsiteX1" fmla="*/ 6299807 w 6370309"/>
                <a:gd name="connsiteY1" fmla="*/ 939445 h 1872700"/>
                <a:gd name="connsiteX2" fmla="*/ 4769207 w 6370309"/>
                <a:gd name="connsiteY2" fmla="*/ 3427 h 1872700"/>
                <a:gd name="connsiteX3" fmla="*/ 3160805 w 6370309"/>
                <a:gd name="connsiteY3" fmla="*/ 652578 h 1872700"/>
                <a:gd name="connsiteX4" fmla="*/ 1668316 w 6370309"/>
                <a:gd name="connsiteY4" fmla="*/ 1398741 h 1872700"/>
                <a:gd name="connsiteX5" fmla="*/ 366970 w 6370309"/>
                <a:gd name="connsiteY5" fmla="*/ 860431 h 1872700"/>
                <a:gd name="connsiteX6" fmla="*/ 104932 w 6370309"/>
                <a:gd name="connsiteY6" fmla="*/ 1231232 h 1872700"/>
                <a:gd name="connsiteX7" fmla="*/ 1748452 w 6370309"/>
                <a:gd name="connsiteY7" fmla="*/ 1871701 h 1872700"/>
                <a:gd name="connsiteX8" fmla="*/ 3342306 w 6370309"/>
                <a:gd name="connsiteY8" fmla="*/ 1119587 h 1872700"/>
                <a:gd name="connsiteX9" fmla="*/ 4574527 w 6370309"/>
                <a:gd name="connsiteY9" fmla="*/ 565768 h 1872700"/>
                <a:gd name="connsiteX10" fmla="*/ 5912928 w 6370309"/>
                <a:gd name="connsiteY10" fmla="*/ 1223435 h 1872700"/>
                <a:gd name="connsiteX0" fmla="*/ 5912928 w 6341709"/>
                <a:gd name="connsiteY0" fmla="*/ 1223435 h 1872700"/>
                <a:gd name="connsiteX1" fmla="*/ 6299807 w 6341709"/>
                <a:gd name="connsiteY1" fmla="*/ 939445 h 1872700"/>
                <a:gd name="connsiteX2" fmla="*/ 4769207 w 6341709"/>
                <a:gd name="connsiteY2" fmla="*/ 3427 h 1872700"/>
                <a:gd name="connsiteX3" fmla="*/ 3160805 w 6341709"/>
                <a:gd name="connsiteY3" fmla="*/ 652578 h 1872700"/>
                <a:gd name="connsiteX4" fmla="*/ 1668316 w 6341709"/>
                <a:gd name="connsiteY4" fmla="*/ 1398741 h 1872700"/>
                <a:gd name="connsiteX5" fmla="*/ 366970 w 6341709"/>
                <a:gd name="connsiteY5" fmla="*/ 860431 h 1872700"/>
                <a:gd name="connsiteX6" fmla="*/ 104932 w 6341709"/>
                <a:gd name="connsiteY6" fmla="*/ 1231232 h 1872700"/>
                <a:gd name="connsiteX7" fmla="*/ 1748452 w 6341709"/>
                <a:gd name="connsiteY7" fmla="*/ 1871701 h 1872700"/>
                <a:gd name="connsiteX8" fmla="*/ 3342306 w 6341709"/>
                <a:gd name="connsiteY8" fmla="*/ 1119587 h 1872700"/>
                <a:gd name="connsiteX9" fmla="*/ 4574527 w 6341709"/>
                <a:gd name="connsiteY9" fmla="*/ 565768 h 1872700"/>
                <a:gd name="connsiteX10" fmla="*/ 5912928 w 6341709"/>
                <a:gd name="connsiteY10" fmla="*/ 1223435 h 1872700"/>
                <a:gd name="connsiteX0" fmla="*/ 5912928 w 6341709"/>
                <a:gd name="connsiteY0" fmla="*/ 1160338 h 1809603"/>
                <a:gd name="connsiteX1" fmla="*/ 6299807 w 6341709"/>
                <a:gd name="connsiteY1" fmla="*/ 876348 h 1809603"/>
                <a:gd name="connsiteX2" fmla="*/ 4566007 w 6341709"/>
                <a:gd name="connsiteY2" fmla="*/ 3830 h 1809603"/>
                <a:gd name="connsiteX3" fmla="*/ 3160805 w 6341709"/>
                <a:gd name="connsiteY3" fmla="*/ 589481 h 1809603"/>
                <a:gd name="connsiteX4" fmla="*/ 1668316 w 6341709"/>
                <a:gd name="connsiteY4" fmla="*/ 1335644 h 1809603"/>
                <a:gd name="connsiteX5" fmla="*/ 366970 w 6341709"/>
                <a:gd name="connsiteY5" fmla="*/ 797334 h 1809603"/>
                <a:gd name="connsiteX6" fmla="*/ 104932 w 6341709"/>
                <a:gd name="connsiteY6" fmla="*/ 1168135 h 1809603"/>
                <a:gd name="connsiteX7" fmla="*/ 1748452 w 6341709"/>
                <a:gd name="connsiteY7" fmla="*/ 1808604 h 1809603"/>
                <a:gd name="connsiteX8" fmla="*/ 3342306 w 6341709"/>
                <a:gd name="connsiteY8" fmla="*/ 1056490 h 1809603"/>
                <a:gd name="connsiteX9" fmla="*/ 4574527 w 6341709"/>
                <a:gd name="connsiteY9" fmla="*/ 502671 h 1809603"/>
                <a:gd name="connsiteX10" fmla="*/ 5912928 w 6341709"/>
                <a:gd name="connsiteY10" fmla="*/ 1160338 h 1809603"/>
                <a:gd name="connsiteX0" fmla="*/ 5912928 w 6341709"/>
                <a:gd name="connsiteY0" fmla="*/ 1158006 h 1807271"/>
                <a:gd name="connsiteX1" fmla="*/ 6299807 w 6341709"/>
                <a:gd name="connsiteY1" fmla="*/ 874016 h 1807271"/>
                <a:gd name="connsiteX2" fmla="*/ 4566007 w 6341709"/>
                <a:gd name="connsiteY2" fmla="*/ 1498 h 1807271"/>
                <a:gd name="connsiteX3" fmla="*/ 3160805 w 6341709"/>
                <a:gd name="connsiteY3" fmla="*/ 587149 h 1807271"/>
                <a:gd name="connsiteX4" fmla="*/ 1668316 w 6341709"/>
                <a:gd name="connsiteY4" fmla="*/ 1333312 h 1807271"/>
                <a:gd name="connsiteX5" fmla="*/ 366970 w 6341709"/>
                <a:gd name="connsiteY5" fmla="*/ 795002 h 1807271"/>
                <a:gd name="connsiteX6" fmla="*/ 104932 w 6341709"/>
                <a:gd name="connsiteY6" fmla="*/ 1165803 h 1807271"/>
                <a:gd name="connsiteX7" fmla="*/ 1748452 w 6341709"/>
                <a:gd name="connsiteY7" fmla="*/ 1806272 h 1807271"/>
                <a:gd name="connsiteX8" fmla="*/ 3342306 w 6341709"/>
                <a:gd name="connsiteY8" fmla="*/ 1054158 h 1807271"/>
                <a:gd name="connsiteX9" fmla="*/ 4574527 w 6341709"/>
                <a:gd name="connsiteY9" fmla="*/ 500339 h 1807271"/>
                <a:gd name="connsiteX10" fmla="*/ 5912928 w 6341709"/>
                <a:gd name="connsiteY10" fmla="*/ 1158006 h 1807271"/>
                <a:gd name="connsiteX0" fmla="*/ 5912928 w 6341709"/>
                <a:gd name="connsiteY0" fmla="*/ 1158785 h 1808050"/>
                <a:gd name="connsiteX1" fmla="*/ 6299807 w 6341709"/>
                <a:gd name="connsiteY1" fmla="*/ 874795 h 1808050"/>
                <a:gd name="connsiteX2" fmla="*/ 4566007 w 6341709"/>
                <a:gd name="connsiteY2" fmla="*/ 2277 h 1808050"/>
                <a:gd name="connsiteX3" fmla="*/ 3160805 w 6341709"/>
                <a:gd name="connsiteY3" fmla="*/ 587928 h 1808050"/>
                <a:gd name="connsiteX4" fmla="*/ 1668316 w 6341709"/>
                <a:gd name="connsiteY4" fmla="*/ 1334091 h 1808050"/>
                <a:gd name="connsiteX5" fmla="*/ 366970 w 6341709"/>
                <a:gd name="connsiteY5" fmla="*/ 795781 h 1808050"/>
                <a:gd name="connsiteX6" fmla="*/ 104932 w 6341709"/>
                <a:gd name="connsiteY6" fmla="*/ 1166582 h 1808050"/>
                <a:gd name="connsiteX7" fmla="*/ 1748452 w 6341709"/>
                <a:gd name="connsiteY7" fmla="*/ 1807051 h 1808050"/>
                <a:gd name="connsiteX8" fmla="*/ 3342306 w 6341709"/>
                <a:gd name="connsiteY8" fmla="*/ 1054937 h 1808050"/>
                <a:gd name="connsiteX9" fmla="*/ 4574527 w 6341709"/>
                <a:gd name="connsiteY9" fmla="*/ 501118 h 1808050"/>
                <a:gd name="connsiteX10" fmla="*/ 5912928 w 6341709"/>
                <a:gd name="connsiteY10" fmla="*/ 1158785 h 1808050"/>
                <a:gd name="connsiteX0" fmla="*/ 5912928 w 6341709"/>
                <a:gd name="connsiteY0" fmla="*/ 1158785 h 1808050"/>
                <a:gd name="connsiteX1" fmla="*/ 6299807 w 6341709"/>
                <a:gd name="connsiteY1" fmla="*/ 874795 h 1808050"/>
                <a:gd name="connsiteX2" fmla="*/ 4566007 w 6341709"/>
                <a:gd name="connsiteY2" fmla="*/ 2277 h 1808050"/>
                <a:gd name="connsiteX3" fmla="*/ 3160805 w 6341709"/>
                <a:gd name="connsiteY3" fmla="*/ 587928 h 1808050"/>
                <a:gd name="connsiteX4" fmla="*/ 1668316 w 6341709"/>
                <a:gd name="connsiteY4" fmla="*/ 1334091 h 1808050"/>
                <a:gd name="connsiteX5" fmla="*/ 366970 w 6341709"/>
                <a:gd name="connsiteY5" fmla="*/ 795781 h 1808050"/>
                <a:gd name="connsiteX6" fmla="*/ 104932 w 6341709"/>
                <a:gd name="connsiteY6" fmla="*/ 1166582 h 1808050"/>
                <a:gd name="connsiteX7" fmla="*/ 1748452 w 6341709"/>
                <a:gd name="connsiteY7" fmla="*/ 1807051 h 1808050"/>
                <a:gd name="connsiteX8" fmla="*/ 3342306 w 6341709"/>
                <a:gd name="connsiteY8" fmla="*/ 1054937 h 1808050"/>
                <a:gd name="connsiteX9" fmla="*/ 4574527 w 6341709"/>
                <a:gd name="connsiteY9" fmla="*/ 501118 h 1808050"/>
                <a:gd name="connsiteX10" fmla="*/ 5912928 w 6341709"/>
                <a:gd name="connsiteY10" fmla="*/ 1158785 h 1808050"/>
                <a:gd name="connsiteX0" fmla="*/ 5912928 w 6341709"/>
                <a:gd name="connsiteY0" fmla="*/ 1158785 h 1808050"/>
                <a:gd name="connsiteX1" fmla="*/ 6299807 w 6341709"/>
                <a:gd name="connsiteY1" fmla="*/ 874795 h 1808050"/>
                <a:gd name="connsiteX2" fmla="*/ 4566007 w 6341709"/>
                <a:gd name="connsiteY2" fmla="*/ 2277 h 1808050"/>
                <a:gd name="connsiteX3" fmla="*/ 3160805 w 6341709"/>
                <a:gd name="connsiteY3" fmla="*/ 587928 h 1808050"/>
                <a:gd name="connsiteX4" fmla="*/ 1668316 w 6341709"/>
                <a:gd name="connsiteY4" fmla="*/ 1334091 h 1808050"/>
                <a:gd name="connsiteX5" fmla="*/ 366970 w 6341709"/>
                <a:gd name="connsiteY5" fmla="*/ 795781 h 1808050"/>
                <a:gd name="connsiteX6" fmla="*/ 104932 w 6341709"/>
                <a:gd name="connsiteY6" fmla="*/ 1166582 h 1808050"/>
                <a:gd name="connsiteX7" fmla="*/ 1748452 w 6341709"/>
                <a:gd name="connsiteY7" fmla="*/ 1807051 h 1808050"/>
                <a:gd name="connsiteX8" fmla="*/ 3342306 w 6341709"/>
                <a:gd name="connsiteY8" fmla="*/ 1054937 h 1808050"/>
                <a:gd name="connsiteX9" fmla="*/ 4574527 w 6341709"/>
                <a:gd name="connsiteY9" fmla="*/ 501118 h 1808050"/>
                <a:gd name="connsiteX10" fmla="*/ 5912928 w 6341709"/>
                <a:gd name="connsiteY10" fmla="*/ 1158785 h 1808050"/>
                <a:gd name="connsiteX0" fmla="*/ 5973987 w 6402768"/>
                <a:gd name="connsiteY0" fmla="*/ 1158785 h 1808050"/>
                <a:gd name="connsiteX1" fmla="*/ 6360866 w 6402768"/>
                <a:gd name="connsiteY1" fmla="*/ 874795 h 1808050"/>
                <a:gd name="connsiteX2" fmla="*/ 4627066 w 6402768"/>
                <a:gd name="connsiteY2" fmla="*/ 2277 h 1808050"/>
                <a:gd name="connsiteX3" fmla="*/ 3221864 w 6402768"/>
                <a:gd name="connsiteY3" fmla="*/ 587928 h 1808050"/>
                <a:gd name="connsiteX4" fmla="*/ 1729375 w 6402768"/>
                <a:gd name="connsiteY4" fmla="*/ 1334091 h 1808050"/>
                <a:gd name="connsiteX5" fmla="*/ 428029 w 6402768"/>
                <a:gd name="connsiteY5" fmla="*/ 795781 h 1808050"/>
                <a:gd name="connsiteX6" fmla="*/ 165991 w 6402768"/>
                <a:gd name="connsiteY6" fmla="*/ 1166582 h 1808050"/>
                <a:gd name="connsiteX7" fmla="*/ 1809511 w 6402768"/>
                <a:gd name="connsiteY7" fmla="*/ 1807051 h 1808050"/>
                <a:gd name="connsiteX8" fmla="*/ 3403365 w 6402768"/>
                <a:gd name="connsiteY8" fmla="*/ 1054937 h 1808050"/>
                <a:gd name="connsiteX9" fmla="*/ 4635586 w 6402768"/>
                <a:gd name="connsiteY9" fmla="*/ 501118 h 1808050"/>
                <a:gd name="connsiteX10" fmla="*/ 5973987 w 6402768"/>
                <a:gd name="connsiteY10" fmla="*/ 1158785 h 1808050"/>
                <a:gd name="connsiteX0" fmla="*/ 6015010 w 6443791"/>
                <a:gd name="connsiteY0" fmla="*/ 1158785 h 1808050"/>
                <a:gd name="connsiteX1" fmla="*/ 6401889 w 6443791"/>
                <a:gd name="connsiteY1" fmla="*/ 874795 h 1808050"/>
                <a:gd name="connsiteX2" fmla="*/ 4668089 w 6443791"/>
                <a:gd name="connsiteY2" fmla="*/ 2277 h 1808050"/>
                <a:gd name="connsiteX3" fmla="*/ 3262887 w 6443791"/>
                <a:gd name="connsiteY3" fmla="*/ 587928 h 1808050"/>
                <a:gd name="connsiteX4" fmla="*/ 1770398 w 6443791"/>
                <a:gd name="connsiteY4" fmla="*/ 1334091 h 1808050"/>
                <a:gd name="connsiteX5" fmla="*/ 469052 w 6443791"/>
                <a:gd name="connsiteY5" fmla="*/ 795781 h 1808050"/>
                <a:gd name="connsiteX6" fmla="*/ 207014 w 6443791"/>
                <a:gd name="connsiteY6" fmla="*/ 1166582 h 1808050"/>
                <a:gd name="connsiteX7" fmla="*/ 1850534 w 6443791"/>
                <a:gd name="connsiteY7" fmla="*/ 1807051 h 1808050"/>
                <a:gd name="connsiteX8" fmla="*/ 3444388 w 6443791"/>
                <a:gd name="connsiteY8" fmla="*/ 1054937 h 1808050"/>
                <a:gd name="connsiteX9" fmla="*/ 4676609 w 6443791"/>
                <a:gd name="connsiteY9" fmla="*/ 501118 h 1808050"/>
                <a:gd name="connsiteX10" fmla="*/ 6015010 w 6443791"/>
                <a:gd name="connsiteY10" fmla="*/ 1158785 h 1808050"/>
                <a:gd name="connsiteX0" fmla="*/ 5958523 w 6387304"/>
                <a:gd name="connsiteY0" fmla="*/ 1158785 h 1808050"/>
                <a:gd name="connsiteX1" fmla="*/ 6345402 w 6387304"/>
                <a:gd name="connsiteY1" fmla="*/ 874795 h 1808050"/>
                <a:gd name="connsiteX2" fmla="*/ 4611602 w 6387304"/>
                <a:gd name="connsiteY2" fmla="*/ 2277 h 1808050"/>
                <a:gd name="connsiteX3" fmla="*/ 3206400 w 6387304"/>
                <a:gd name="connsiteY3" fmla="*/ 587928 h 1808050"/>
                <a:gd name="connsiteX4" fmla="*/ 1713911 w 6387304"/>
                <a:gd name="connsiteY4" fmla="*/ 1334091 h 1808050"/>
                <a:gd name="connsiteX5" fmla="*/ 412565 w 6387304"/>
                <a:gd name="connsiteY5" fmla="*/ 795781 h 1808050"/>
                <a:gd name="connsiteX6" fmla="*/ 150527 w 6387304"/>
                <a:gd name="connsiteY6" fmla="*/ 1166582 h 1808050"/>
                <a:gd name="connsiteX7" fmla="*/ 1794047 w 6387304"/>
                <a:gd name="connsiteY7" fmla="*/ 1807051 h 1808050"/>
                <a:gd name="connsiteX8" fmla="*/ 3387901 w 6387304"/>
                <a:gd name="connsiteY8" fmla="*/ 1054937 h 1808050"/>
                <a:gd name="connsiteX9" fmla="*/ 4620122 w 6387304"/>
                <a:gd name="connsiteY9" fmla="*/ 501118 h 1808050"/>
                <a:gd name="connsiteX10" fmla="*/ 5958523 w 6387304"/>
                <a:gd name="connsiteY10" fmla="*/ 1158785 h 1808050"/>
                <a:gd name="connsiteX0" fmla="*/ 5973124 w 6401905"/>
                <a:gd name="connsiteY0" fmla="*/ 1158785 h 1808050"/>
                <a:gd name="connsiteX1" fmla="*/ 6360003 w 6401905"/>
                <a:gd name="connsiteY1" fmla="*/ 874795 h 1808050"/>
                <a:gd name="connsiteX2" fmla="*/ 4626203 w 6401905"/>
                <a:gd name="connsiteY2" fmla="*/ 2277 h 1808050"/>
                <a:gd name="connsiteX3" fmla="*/ 3221001 w 6401905"/>
                <a:gd name="connsiteY3" fmla="*/ 587928 h 1808050"/>
                <a:gd name="connsiteX4" fmla="*/ 1728512 w 6401905"/>
                <a:gd name="connsiteY4" fmla="*/ 1334091 h 1808050"/>
                <a:gd name="connsiteX5" fmla="*/ 427166 w 6401905"/>
                <a:gd name="connsiteY5" fmla="*/ 795781 h 1808050"/>
                <a:gd name="connsiteX6" fmla="*/ 165128 w 6401905"/>
                <a:gd name="connsiteY6" fmla="*/ 1166582 h 1808050"/>
                <a:gd name="connsiteX7" fmla="*/ 1808648 w 6401905"/>
                <a:gd name="connsiteY7" fmla="*/ 1807051 h 1808050"/>
                <a:gd name="connsiteX8" fmla="*/ 3402502 w 6401905"/>
                <a:gd name="connsiteY8" fmla="*/ 1054937 h 1808050"/>
                <a:gd name="connsiteX9" fmla="*/ 4634723 w 6401905"/>
                <a:gd name="connsiteY9" fmla="*/ 501118 h 1808050"/>
                <a:gd name="connsiteX10" fmla="*/ 5973124 w 6401905"/>
                <a:gd name="connsiteY10" fmla="*/ 1158785 h 1808050"/>
                <a:gd name="connsiteX0" fmla="*/ 5973124 w 6401905"/>
                <a:gd name="connsiteY0" fmla="*/ 1158785 h 1808050"/>
                <a:gd name="connsiteX1" fmla="*/ 6360003 w 6401905"/>
                <a:gd name="connsiteY1" fmla="*/ 874795 h 1808050"/>
                <a:gd name="connsiteX2" fmla="*/ 4626203 w 6401905"/>
                <a:gd name="connsiteY2" fmla="*/ 2277 h 1808050"/>
                <a:gd name="connsiteX3" fmla="*/ 3221001 w 6401905"/>
                <a:gd name="connsiteY3" fmla="*/ 587928 h 1808050"/>
                <a:gd name="connsiteX4" fmla="*/ 1728512 w 6401905"/>
                <a:gd name="connsiteY4" fmla="*/ 1334091 h 1808050"/>
                <a:gd name="connsiteX5" fmla="*/ 427166 w 6401905"/>
                <a:gd name="connsiteY5" fmla="*/ 795781 h 1808050"/>
                <a:gd name="connsiteX6" fmla="*/ 165128 w 6401905"/>
                <a:gd name="connsiteY6" fmla="*/ 1166582 h 1808050"/>
                <a:gd name="connsiteX7" fmla="*/ 1808648 w 6401905"/>
                <a:gd name="connsiteY7" fmla="*/ 1807051 h 1808050"/>
                <a:gd name="connsiteX8" fmla="*/ 3402502 w 6401905"/>
                <a:gd name="connsiteY8" fmla="*/ 1054937 h 1808050"/>
                <a:gd name="connsiteX9" fmla="*/ 4634723 w 6401905"/>
                <a:gd name="connsiteY9" fmla="*/ 501118 h 1808050"/>
                <a:gd name="connsiteX10" fmla="*/ 5973124 w 6401905"/>
                <a:gd name="connsiteY10" fmla="*/ 1158785 h 1808050"/>
                <a:gd name="connsiteX0" fmla="*/ 5973124 w 6401905"/>
                <a:gd name="connsiteY0" fmla="*/ 1158785 h 1808050"/>
                <a:gd name="connsiteX1" fmla="*/ 6360003 w 6401905"/>
                <a:gd name="connsiteY1" fmla="*/ 874795 h 1808050"/>
                <a:gd name="connsiteX2" fmla="*/ 4626203 w 6401905"/>
                <a:gd name="connsiteY2" fmla="*/ 2277 h 1808050"/>
                <a:gd name="connsiteX3" fmla="*/ 3221001 w 6401905"/>
                <a:gd name="connsiteY3" fmla="*/ 587928 h 1808050"/>
                <a:gd name="connsiteX4" fmla="*/ 1728512 w 6401905"/>
                <a:gd name="connsiteY4" fmla="*/ 1334091 h 1808050"/>
                <a:gd name="connsiteX5" fmla="*/ 427166 w 6401905"/>
                <a:gd name="connsiteY5" fmla="*/ 795781 h 1808050"/>
                <a:gd name="connsiteX6" fmla="*/ 165128 w 6401905"/>
                <a:gd name="connsiteY6" fmla="*/ 1166582 h 1808050"/>
                <a:gd name="connsiteX7" fmla="*/ 1808648 w 6401905"/>
                <a:gd name="connsiteY7" fmla="*/ 1807051 h 1808050"/>
                <a:gd name="connsiteX8" fmla="*/ 3402502 w 6401905"/>
                <a:gd name="connsiteY8" fmla="*/ 1054937 h 1808050"/>
                <a:gd name="connsiteX9" fmla="*/ 4634723 w 6401905"/>
                <a:gd name="connsiteY9" fmla="*/ 501118 h 1808050"/>
                <a:gd name="connsiteX10" fmla="*/ 5973124 w 6401905"/>
                <a:gd name="connsiteY10" fmla="*/ 1158785 h 1808050"/>
                <a:gd name="connsiteX0" fmla="*/ 5973124 w 6401905"/>
                <a:gd name="connsiteY0" fmla="*/ 1132686 h 1781951"/>
                <a:gd name="connsiteX1" fmla="*/ 6360003 w 6401905"/>
                <a:gd name="connsiteY1" fmla="*/ 848696 h 1781951"/>
                <a:gd name="connsiteX2" fmla="*/ 4645253 w 6401905"/>
                <a:gd name="connsiteY2" fmla="*/ 1578 h 1781951"/>
                <a:gd name="connsiteX3" fmla="*/ 3221001 w 6401905"/>
                <a:gd name="connsiteY3" fmla="*/ 561829 h 1781951"/>
                <a:gd name="connsiteX4" fmla="*/ 1728512 w 6401905"/>
                <a:gd name="connsiteY4" fmla="*/ 1307992 h 1781951"/>
                <a:gd name="connsiteX5" fmla="*/ 427166 w 6401905"/>
                <a:gd name="connsiteY5" fmla="*/ 769682 h 1781951"/>
                <a:gd name="connsiteX6" fmla="*/ 165128 w 6401905"/>
                <a:gd name="connsiteY6" fmla="*/ 1140483 h 1781951"/>
                <a:gd name="connsiteX7" fmla="*/ 1808648 w 6401905"/>
                <a:gd name="connsiteY7" fmla="*/ 1780952 h 1781951"/>
                <a:gd name="connsiteX8" fmla="*/ 3402502 w 6401905"/>
                <a:gd name="connsiteY8" fmla="*/ 1028838 h 1781951"/>
                <a:gd name="connsiteX9" fmla="*/ 4634723 w 6401905"/>
                <a:gd name="connsiteY9" fmla="*/ 475019 h 1781951"/>
                <a:gd name="connsiteX10" fmla="*/ 5973124 w 6401905"/>
                <a:gd name="connsiteY10" fmla="*/ 1132686 h 1781951"/>
                <a:gd name="connsiteX0" fmla="*/ 5973124 w 6401905"/>
                <a:gd name="connsiteY0" fmla="*/ 1132686 h 1781951"/>
                <a:gd name="connsiteX1" fmla="*/ 6360003 w 6401905"/>
                <a:gd name="connsiteY1" fmla="*/ 848696 h 1781951"/>
                <a:gd name="connsiteX2" fmla="*/ 4645253 w 6401905"/>
                <a:gd name="connsiteY2" fmla="*/ 1578 h 1781951"/>
                <a:gd name="connsiteX3" fmla="*/ 3221001 w 6401905"/>
                <a:gd name="connsiteY3" fmla="*/ 561829 h 1781951"/>
                <a:gd name="connsiteX4" fmla="*/ 1728512 w 6401905"/>
                <a:gd name="connsiteY4" fmla="*/ 1307992 h 1781951"/>
                <a:gd name="connsiteX5" fmla="*/ 427166 w 6401905"/>
                <a:gd name="connsiteY5" fmla="*/ 769682 h 1781951"/>
                <a:gd name="connsiteX6" fmla="*/ 165128 w 6401905"/>
                <a:gd name="connsiteY6" fmla="*/ 1140483 h 1781951"/>
                <a:gd name="connsiteX7" fmla="*/ 1808648 w 6401905"/>
                <a:gd name="connsiteY7" fmla="*/ 1780952 h 1781951"/>
                <a:gd name="connsiteX8" fmla="*/ 3402502 w 6401905"/>
                <a:gd name="connsiteY8" fmla="*/ 1028838 h 1781951"/>
                <a:gd name="connsiteX9" fmla="*/ 4634723 w 6401905"/>
                <a:gd name="connsiteY9" fmla="*/ 475019 h 1781951"/>
                <a:gd name="connsiteX10" fmla="*/ 5973124 w 6401905"/>
                <a:gd name="connsiteY10" fmla="*/ 1132686 h 178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01905" h="1781951">
                  <a:moveTo>
                    <a:pt x="5973124" y="1132686"/>
                  </a:moveTo>
                  <a:cubicBezTo>
                    <a:pt x="6156519" y="1324379"/>
                    <a:pt x="6526231" y="1016198"/>
                    <a:pt x="6360003" y="848696"/>
                  </a:cubicBezTo>
                  <a:cubicBezTo>
                    <a:pt x="5905194" y="367643"/>
                    <a:pt x="5365270" y="30339"/>
                    <a:pt x="4645253" y="1578"/>
                  </a:cubicBezTo>
                  <a:cubicBezTo>
                    <a:pt x="3925236" y="-27183"/>
                    <a:pt x="3707125" y="344093"/>
                    <a:pt x="3221001" y="561829"/>
                  </a:cubicBezTo>
                  <a:cubicBezTo>
                    <a:pt x="2734877" y="779565"/>
                    <a:pt x="2543401" y="1267000"/>
                    <a:pt x="1728512" y="1307992"/>
                  </a:cubicBezTo>
                  <a:cubicBezTo>
                    <a:pt x="913623" y="1348984"/>
                    <a:pt x="800203" y="1126515"/>
                    <a:pt x="427166" y="769682"/>
                  </a:cubicBezTo>
                  <a:cubicBezTo>
                    <a:pt x="77901" y="386644"/>
                    <a:pt x="-184634" y="875059"/>
                    <a:pt x="165128" y="1140483"/>
                  </a:cubicBezTo>
                  <a:cubicBezTo>
                    <a:pt x="634241" y="1557361"/>
                    <a:pt x="1269086" y="1799559"/>
                    <a:pt x="1808648" y="1780952"/>
                  </a:cubicBezTo>
                  <a:cubicBezTo>
                    <a:pt x="2348210" y="1762345"/>
                    <a:pt x="2969589" y="1405243"/>
                    <a:pt x="3402502" y="1028838"/>
                  </a:cubicBezTo>
                  <a:cubicBezTo>
                    <a:pt x="3835415" y="652433"/>
                    <a:pt x="4206286" y="457711"/>
                    <a:pt x="4634723" y="475019"/>
                  </a:cubicBezTo>
                  <a:cubicBezTo>
                    <a:pt x="5063160" y="492327"/>
                    <a:pt x="5586850" y="764991"/>
                    <a:pt x="5973124" y="1132686"/>
                  </a:cubicBezTo>
                  <a:close/>
                </a:path>
              </a:pathLst>
            </a:custGeom>
            <a:solidFill>
              <a:srgbClr val="59B4D9"/>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882"/>
            </a:p>
          </p:txBody>
        </p:sp>
        <p:sp>
          <p:nvSpPr>
            <p:cNvPr id="55" name="Freeform: Shape 54"/>
            <p:cNvSpPr/>
            <p:nvPr/>
          </p:nvSpPr>
          <p:spPr>
            <a:xfrm flipH="1" flipV="1">
              <a:off x="-16372125" y="3446034"/>
              <a:ext cx="6434180" cy="1862570"/>
            </a:xfrm>
            <a:custGeom>
              <a:avLst/>
              <a:gdLst>
                <a:gd name="connsiteX0" fmla="*/ 6157732 w 6157732"/>
                <a:gd name="connsiteY0" fmla="*/ 914400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7732 w 6157732"/>
                <a:gd name="connsiteY11" fmla="*/ 914400 h 1551008"/>
                <a:gd name="connsiteX0" fmla="*/ 6154919 w 6157732"/>
                <a:gd name="connsiteY0" fmla="*/ 1018501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4919 w 6157732"/>
                <a:gd name="connsiteY11" fmla="*/ 1018501 h 1551008"/>
                <a:gd name="connsiteX0" fmla="*/ 5903089 w 6157732"/>
                <a:gd name="connsiteY0" fmla="*/ 1180618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39970 w 6264646"/>
                <a:gd name="connsiteY3" fmla="*/ 92598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903089 w 6264646"/>
                <a:gd name="connsiteY10" fmla="*/ 118061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88816"/>
                <a:gd name="connsiteY0" fmla="*/ 1220008 h 1551008"/>
                <a:gd name="connsiteX1" fmla="*/ 6264646 w 6288816"/>
                <a:gd name="connsiteY1" fmla="*/ 936018 h 1551008"/>
                <a:gd name="connsiteX2" fmla="*/ 4734046 w 6288816"/>
                <a:gd name="connsiteY2" fmla="*/ 0 h 1551008"/>
                <a:gd name="connsiteX3" fmla="*/ 2903394 w 6288816"/>
                <a:gd name="connsiteY3" fmla="*/ 134801 h 1551008"/>
                <a:gd name="connsiteX4" fmla="*/ 1562582 w 6288816"/>
                <a:gd name="connsiteY4" fmla="*/ 1134319 h 1551008"/>
                <a:gd name="connsiteX5" fmla="*/ 266218 w 6288816"/>
                <a:gd name="connsiteY5" fmla="*/ 983848 h 1551008"/>
                <a:gd name="connsiteX6" fmla="*/ 0 w 6288816"/>
                <a:gd name="connsiteY6" fmla="*/ 1296365 h 1551008"/>
                <a:gd name="connsiteX7" fmla="*/ 1747777 w 6288816"/>
                <a:gd name="connsiteY7" fmla="*/ 1551008 h 1551008"/>
                <a:gd name="connsiteX8" fmla="*/ 3078545 w 6288816"/>
                <a:gd name="connsiteY8" fmla="*/ 646260 h 1551008"/>
                <a:gd name="connsiteX9" fmla="*/ 4609216 w 6288816"/>
                <a:gd name="connsiteY9" fmla="*/ 505191 h 1551008"/>
                <a:gd name="connsiteX10" fmla="*/ 5877767 w 6288816"/>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64662 h 1595662"/>
                <a:gd name="connsiteX1" fmla="*/ 6264646 w 6299907"/>
                <a:gd name="connsiteY1" fmla="*/ 980672 h 1595662"/>
                <a:gd name="connsiteX2" fmla="*/ 4734046 w 6299907"/>
                <a:gd name="connsiteY2" fmla="*/ 44654 h 1595662"/>
                <a:gd name="connsiteX3" fmla="*/ 2903394 w 6299907"/>
                <a:gd name="connsiteY3" fmla="*/ 179455 h 1595662"/>
                <a:gd name="connsiteX4" fmla="*/ 1562582 w 6299907"/>
                <a:gd name="connsiteY4" fmla="*/ 1178973 h 1595662"/>
                <a:gd name="connsiteX5" fmla="*/ 266218 w 6299907"/>
                <a:gd name="connsiteY5" fmla="*/ 1028502 h 1595662"/>
                <a:gd name="connsiteX6" fmla="*/ 0 w 6299907"/>
                <a:gd name="connsiteY6" fmla="*/ 1341019 h 1595662"/>
                <a:gd name="connsiteX7" fmla="*/ 1747777 w 6299907"/>
                <a:gd name="connsiteY7" fmla="*/ 1595662 h 1595662"/>
                <a:gd name="connsiteX8" fmla="*/ 3078545 w 6299907"/>
                <a:gd name="connsiteY8" fmla="*/ 690914 h 1595662"/>
                <a:gd name="connsiteX9" fmla="*/ 4609216 w 6299907"/>
                <a:gd name="connsiteY9" fmla="*/ 549845 h 1595662"/>
                <a:gd name="connsiteX10" fmla="*/ 5877767 w 6299907"/>
                <a:gd name="connsiteY10" fmla="*/ 1264662 h 1595662"/>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350331"/>
                <a:gd name="connsiteY0" fmla="*/ 1303484 h 1634484"/>
                <a:gd name="connsiteX1" fmla="*/ 6264646 w 6350331"/>
                <a:gd name="connsiteY1" fmla="*/ 1019494 h 1634484"/>
                <a:gd name="connsiteX2" fmla="*/ 4734046 w 6350331"/>
                <a:gd name="connsiteY2" fmla="*/ 83476 h 1634484"/>
                <a:gd name="connsiteX3" fmla="*/ 2903394 w 6350331"/>
                <a:gd name="connsiteY3" fmla="*/ 218277 h 1634484"/>
                <a:gd name="connsiteX4" fmla="*/ 1562582 w 6350331"/>
                <a:gd name="connsiteY4" fmla="*/ 1217795 h 1634484"/>
                <a:gd name="connsiteX5" fmla="*/ 266218 w 6350331"/>
                <a:gd name="connsiteY5" fmla="*/ 1067324 h 1634484"/>
                <a:gd name="connsiteX6" fmla="*/ 0 w 6350331"/>
                <a:gd name="connsiteY6" fmla="*/ 1379841 h 1634484"/>
                <a:gd name="connsiteX7" fmla="*/ 1747777 w 6350331"/>
                <a:gd name="connsiteY7" fmla="*/ 1634484 h 1634484"/>
                <a:gd name="connsiteX8" fmla="*/ 3078545 w 6350331"/>
                <a:gd name="connsiteY8" fmla="*/ 729736 h 1634484"/>
                <a:gd name="connsiteX9" fmla="*/ 4609216 w 6350331"/>
                <a:gd name="connsiteY9" fmla="*/ 588667 h 1634484"/>
                <a:gd name="connsiteX10" fmla="*/ 5877767 w 6350331"/>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840557"/>
                <a:gd name="connsiteX1" fmla="*/ 6264646 w 6351908"/>
                <a:gd name="connsiteY1" fmla="*/ 1019494 h 1840557"/>
                <a:gd name="connsiteX2" fmla="*/ 4734046 w 6351908"/>
                <a:gd name="connsiteY2" fmla="*/ 83476 h 1840557"/>
                <a:gd name="connsiteX3" fmla="*/ 2903394 w 6351908"/>
                <a:gd name="connsiteY3" fmla="*/ 218277 h 1840557"/>
                <a:gd name="connsiteX4" fmla="*/ 1556955 w 6351908"/>
                <a:gd name="connsiteY4" fmla="*/ 1237490 h 1840557"/>
                <a:gd name="connsiteX5" fmla="*/ 274659 w 6351908"/>
                <a:gd name="connsiteY5" fmla="*/ 1016680 h 1840557"/>
                <a:gd name="connsiteX6" fmla="*/ 0 w 6351908"/>
                <a:gd name="connsiteY6" fmla="*/ 1379841 h 1840557"/>
                <a:gd name="connsiteX7" fmla="*/ 1719641 w 6351908"/>
                <a:gd name="connsiteY7" fmla="*/ 1710450 h 1840557"/>
                <a:gd name="connsiteX8" fmla="*/ 3078545 w 6351908"/>
                <a:gd name="connsiteY8" fmla="*/ 729736 h 1840557"/>
                <a:gd name="connsiteX9" fmla="*/ 4609216 w 6351908"/>
                <a:gd name="connsiteY9" fmla="*/ 588667 h 1840557"/>
                <a:gd name="connsiteX10" fmla="*/ 5877767 w 6351908"/>
                <a:gd name="connsiteY10" fmla="*/ 1303484 h 1840557"/>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980675 w 6454816"/>
                <a:gd name="connsiteY0" fmla="*/ 1303484 h 1893535"/>
                <a:gd name="connsiteX1" fmla="*/ 6367554 w 6454816"/>
                <a:gd name="connsiteY1" fmla="*/ 1019494 h 1893535"/>
                <a:gd name="connsiteX2" fmla="*/ 4836954 w 6454816"/>
                <a:gd name="connsiteY2" fmla="*/ 83476 h 1893535"/>
                <a:gd name="connsiteX3" fmla="*/ 3006302 w 6454816"/>
                <a:gd name="connsiteY3" fmla="*/ 218277 h 1893535"/>
                <a:gd name="connsiteX4" fmla="*/ 1659863 w 6454816"/>
                <a:gd name="connsiteY4" fmla="*/ 1237490 h 1893535"/>
                <a:gd name="connsiteX5" fmla="*/ 377567 w 6454816"/>
                <a:gd name="connsiteY5" fmla="*/ 1016680 h 1893535"/>
                <a:gd name="connsiteX6" fmla="*/ 102908 w 6454816"/>
                <a:gd name="connsiteY6" fmla="*/ 1379841 h 1893535"/>
                <a:gd name="connsiteX7" fmla="*/ 1822549 w 6454816"/>
                <a:gd name="connsiteY7" fmla="*/ 1710450 h 1893535"/>
                <a:gd name="connsiteX8" fmla="*/ 3181453 w 6454816"/>
                <a:gd name="connsiteY8" fmla="*/ 729736 h 1893535"/>
                <a:gd name="connsiteX9" fmla="*/ 4712124 w 6454816"/>
                <a:gd name="connsiteY9" fmla="*/ 588667 h 1893535"/>
                <a:gd name="connsiteX10" fmla="*/ 5980675 w 6454816"/>
                <a:gd name="connsiteY10" fmla="*/ 1303484 h 1893535"/>
                <a:gd name="connsiteX0" fmla="*/ 5961776 w 6435917"/>
                <a:gd name="connsiteY0" fmla="*/ 1303484 h 1893535"/>
                <a:gd name="connsiteX1" fmla="*/ 6348655 w 6435917"/>
                <a:gd name="connsiteY1" fmla="*/ 1019494 h 1893535"/>
                <a:gd name="connsiteX2" fmla="*/ 4818055 w 6435917"/>
                <a:gd name="connsiteY2" fmla="*/ 83476 h 1893535"/>
                <a:gd name="connsiteX3" fmla="*/ 2987403 w 6435917"/>
                <a:gd name="connsiteY3" fmla="*/ 218277 h 1893535"/>
                <a:gd name="connsiteX4" fmla="*/ 1640964 w 6435917"/>
                <a:gd name="connsiteY4" fmla="*/ 1237490 h 1893535"/>
                <a:gd name="connsiteX5" fmla="*/ 358668 w 6435917"/>
                <a:gd name="connsiteY5" fmla="*/ 1016680 h 1893535"/>
                <a:gd name="connsiteX6" fmla="*/ 84009 w 6435917"/>
                <a:gd name="connsiteY6" fmla="*/ 1379841 h 1893535"/>
                <a:gd name="connsiteX7" fmla="*/ 1803650 w 6435917"/>
                <a:gd name="connsiteY7" fmla="*/ 1710450 h 1893535"/>
                <a:gd name="connsiteX8" fmla="*/ 3162554 w 6435917"/>
                <a:gd name="connsiteY8" fmla="*/ 729736 h 1893535"/>
                <a:gd name="connsiteX9" fmla="*/ 4693225 w 6435917"/>
                <a:gd name="connsiteY9" fmla="*/ 588667 h 1893535"/>
                <a:gd name="connsiteX10" fmla="*/ 5961776 w 6435917"/>
                <a:gd name="connsiteY10" fmla="*/ 1303484 h 1893535"/>
                <a:gd name="connsiteX0" fmla="*/ 5961776 w 6435917"/>
                <a:gd name="connsiteY0" fmla="*/ 1303484 h 1892323"/>
                <a:gd name="connsiteX1" fmla="*/ 6348655 w 6435917"/>
                <a:gd name="connsiteY1" fmla="*/ 1019494 h 1892323"/>
                <a:gd name="connsiteX2" fmla="*/ 4818055 w 6435917"/>
                <a:gd name="connsiteY2" fmla="*/ 83476 h 1892323"/>
                <a:gd name="connsiteX3" fmla="*/ 2987403 w 6435917"/>
                <a:gd name="connsiteY3" fmla="*/ 218277 h 1892323"/>
                <a:gd name="connsiteX4" fmla="*/ 1640964 w 6435917"/>
                <a:gd name="connsiteY4" fmla="*/ 1237490 h 1892323"/>
                <a:gd name="connsiteX5" fmla="*/ 358668 w 6435917"/>
                <a:gd name="connsiteY5" fmla="*/ 1016680 h 1892323"/>
                <a:gd name="connsiteX6" fmla="*/ 84009 w 6435917"/>
                <a:gd name="connsiteY6" fmla="*/ 1379841 h 1892323"/>
                <a:gd name="connsiteX7" fmla="*/ 1803650 w 6435917"/>
                <a:gd name="connsiteY7" fmla="*/ 1710450 h 1892323"/>
                <a:gd name="connsiteX8" fmla="*/ 3162554 w 6435917"/>
                <a:gd name="connsiteY8" fmla="*/ 729736 h 1892323"/>
                <a:gd name="connsiteX9" fmla="*/ 4693225 w 6435917"/>
                <a:gd name="connsiteY9" fmla="*/ 588667 h 1892323"/>
                <a:gd name="connsiteX10" fmla="*/ 5961776 w 6435917"/>
                <a:gd name="connsiteY10" fmla="*/ 1303484 h 1892323"/>
                <a:gd name="connsiteX0" fmla="*/ 5941465 w 6415606"/>
                <a:gd name="connsiteY0" fmla="*/ 1303484 h 1902580"/>
                <a:gd name="connsiteX1" fmla="*/ 6328344 w 6415606"/>
                <a:gd name="connsiteY1" fmla="*/ 1019494 h 1902580"/>
                <a:gd name="connsiteX2" fmla="*/ 4797744 w 6415606"/>
                <a:gd name="connsiteY2" fmla="*/ 83476 h 1902580"/>
                <a:gd name="connsiteX3" fmla="*/ 2967092 w 6415606"/>
                <a:gd name="connsiteY3" fmla="*/ 218277 h 1902580"/>
                <a:gd name="connsiteX4" fmla="*/ 1620653 w 6415606"/>
                <a:gd name="connsiteY4" fmla="*/ 1237490 h 1902580"/>
                <a:gd name="connsiteX5" fmla="*/ 338357 w 6415606"/>
                <a:gd name="connsiteY5" fmla="*/ 1016680 h 1902580"/>
                <a:gd name="connsiteX6" fmla="*/ 89019 w 6415606"/>
                <a:gd name="connsiteY6" fmla="*/ 1419231 h 1902580"/>
                <a:gd name="connsiteX7" fmla="*/ 1783339 w 6415606"/>
                <a:gd name="connsiteY7" fmla="*/ 1710450 h 1902580"/>
                <a:gd name="connsiteX8" fmla="*/ 3142243 w 6415606"/>
                <a:gd name="connsiteY8" fmla="*/ 729736 h 1902580"/>
                <a:gd name="connsiteX9" fmla="*/ 4672914 w 6415606"/>
                <a:gd name="connsiteY9" fmla="*/ 588667 h 1902580"/>
                <a:gd name="connsiteX10" fmla="*/ 5941465 w 6415606"/>
                <a:gd name="connsiteY10" fmla="*/ 1303484 h 1902580"/>
                <a:gd name="connsiteX0" fmla="*/ 5960039 w 6434180"/>
                <a:gd name="connsiteY0" fmla="*/ 1303484 h 1902580"/>
                <a:gd name="connsiteX1" fmla="*/ 6346918 w 6434180"/>
                <a:gd name="connsiteY1" fmla="*/ 1019494 h 1902580"/>
                <a:gd name="connsiteX2" fmla="*/ 4816318 w 6434180"/>
                <a:gd name="connsiteY2" fmla="*/ 83476 h 1902580"/>
                <a:gd name="connsiteX3" fmla="*/ 2985666 w 6434180"/>
                <a:gd name="connsiteY3" fmla="*/ 218277 h 1902580"/>
                <a:gd name="connsiteX4" fmla="*/ 1639227 w 6434180"/>
                <a:gd name="connsiteY4" fmla="*/ 1237490 h 1902580"/>
                <a:gd name="connsiteX5" fmla="*/ 356931 w 6434180"/>
                <a:gd name="connsiteY5" fmla="*/ 1016680 h 1902580"/>
                <a:gd name="connsiteX6" fmla="*/ 107593 w 6434180"/>
                <a:gd name="connsiteY6" fmla="*/ 1419231 h 1902580"/>
                <a:gd name="connsiteX7" fmla="*/ 1801913 w 6434180"/>
                <a:gd name="connsiteY7" fmla="*/ 1710450 h 1902580"/>
                <a:gd name="connsiteX8" fmla="*/ 3160817 w 6434180"/>
                <a:gd name="connsiteY8" fmla="*/ 729736 h 1902580"/>
                <a:gd name="connsiteX9" fmla="*/ 4691488 w 6434180"/>
                <a:gd name="connsiteY9" fmla="*/ 588667 h 1902580"/>
                <a:gd name="connsiteX10" fmla="*/ 5960039 w 6434180"/>
                <a:gd name="connsiteY10" fmla="*/ 1303484 h 1902580"/>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946772"/>
                <a:gd name="connsiteX1" fmla="*/ 6346918 w 6434180"/>
                <a:gd name="connsiteY1" fmla="*/ 1019494 h 1946772"/>
                <a:gd name="connsiteX2" fmla="*/ 4816318 w 6434180"/>
                <a:gd name="connsiteY2" fmla="*/ 83476 h 1946772"/>
                <a:gd name="connsiteX3" fmla="*/ 2985666 w 6434180"/>
                <a:gd name="connsiteY3" fmla="*/ 218277 h 1946772"/>
                <a:gd name="connsiteX4" fmla="*/ 1639227 w 6434180"/>
                <a:gd name="connsiteY4" fmla="*/ 1237490 h 1946772"/>
                <a:gd name="connsiteX5" fmla="*/ 356931 w 6434180"/>
                <a:gd name="connsiteY5" fmla="*/ 1016680 h 1946772"/>
                <a:gd name="connsiteX6" fmla="*/ 107593 w 6434180"/>
                <a:gd name="connsiteY6" fmla="*/ 1419231 h 1946772"/>
                <a:gd name="connsiteX7" fmla="*/ 1801913 w 6434180"/>
                <a:gd name="connsiteY7" fmla="*/ 1710450 h 1946772"/>
                <a:gd name="connsiteX8" fmla="*/ 3160817 w 6434180"/>
                <a:gd name="connsiteY8" fmla="*/ 729736 h 1946772"/>
                <a:gd name="connsiteX9" fmla="*/ 4691488 w 6434180"/>
                <a:gd name="connsiteY9" fmla="*/ 588667 h 1946772"/>
                <a:gd name="connsiteX10" fmla="*/ 5960039 w 6434180"/>
                <a:gd name="connsiteY10" fmla="*/ 1303484 h 1946772"/>
                <a:gd name="connsiteX0" fmla="*/ 5960039 w 6434180"/>
                <a:gd name="connsiteY0" fmla="*/ 1303484 h 1848056"/>
                <a:gd name="connsiteX1" fmla="*/ 6346918 w 6434180"/>
                <a:gd name="connsiteY1" fmla="*/ 1019494 h 1848056"/>
                <a:gd name="connsiteX2" fmla="*/ 4816318 w 6434180"/>
                <a:gd name="connsiteY2" fmla="*/ 83476 h 1848056"/>
                <a:gd name="connsiteX3" fmla="*/ 2985666 w 6434180"/>
                <a:gd name="connsiteY3" fmla="*/ 218277 h 1848056"/>
                <a:gd name="connsiteX4" fmla="*/ 1639227 w 6434180"/>
                <a:gd name="connsiteY4" fmla="*/ 1237490 h 1848056"/>
                <a:gd name="connsiteX5" fmla="*/ 356931 w 6434180"/>
                <a:gd name="connsiteY5" fmla="*/ 1016680 h 1848056"/>
                <a:gd name="connsiteX6" fmla="*/ 107593 w 6434180"/>
                <a:gd name="connsiteY6" fmla="*/ 1419231 h 1848056"/>
                <a:gd name="connsiteX7" fmla="*/ 1801913 w 6434180"/>
                <a:gd name="connsiteY7" fmla="*/ 1710450 h 1848056"/>
                <a:gd name="connsiteX8" fmla="*/ 3160817 w 6434180"/>
                <a:gd name="connsiteY8" fmla="*/ 729736 h 1848056"/>
                <a:gd name="connsiteX9" fmla="*/ 4691488 w 6434180"/>
                <a:gd name="connsiteY9" fmla="*/ 588667 h 1848056"/>
                <a:gd name="connsiteX10" fmla="*/ 5960039 w 6434180"/>
                <a:gd name="connsiteY10" fmla="*/ 1303484 h 1848056"/>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5521 h 1862570"/>
                <a:gd name="connsiteX1" fmla="*/ 6346918 w 6434180"/>
                <a:gd name="connsiteY1" fmla="*/ 991531 h 1862570"/>
                <a:gd name="connsiteX2" fmla="*/ 4816318 w 6434180"/>
                <a:gd name="connsiteY2" fmla="*/ 55513 h 1862570"/>
                <a:gd name="connsiteX3" fmla="*/ 2985666 w 6434180"/>
                <a:gd name="connsiteY3" fmla="*/ 190314 h 1862570"/>
                <a:gd name="connsiteX4" fmla="*/ 1639227 w 6434180"/>
                <a:gd name="connsiteY4" fmla="*/ 1209527 h 1862570"/>
                <a:gd name="connsiteX5" fmla="*/ 356931 w 6434180"/>
                <a:gd name="connsiteY5" fmla="*/ 988717 h 1862570"/>
                <a:gd name="connsiteX6" fmla="*/ 107593 w 6434180"/>
                <a:gd name="connsiteY6" fmla="*/ 1391268 h 1862570"/>
                <a:gd name="connsiteX7" fmla="*/ 1801913 w 6434180"/>
                <a:gd name="connsiteY7" fmla="*/ 1682487 h 1862570"/>
                <a:gd name="connsiteX8" fmla="*/ 3160817 w 6434180"/>
                <a:gd name="connsiteY8" fmla="*/ 701773 h 1862570"/>
                <a:gd name="connsiteX9" fmla="*/ 4691488 w 6434180"/>
                <a:gd name="connsiteY9" fmla="*/ 560704 h 1862570"/>
                <a:gd name="connsiteX10" fmla="*/ 5960039 w 6434180"/>
                <a:gd name="connsiteY10" fmla="*/ 1275521 h 1862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34180" h="1862570">
                  <a:moveTo>
                    <a:pt x="5960039" y="1275521"/>
                  </a:moveTo>
                  <a:cubicBezTo>
                    <a:pt x="6283134" y="1670414"/>
                    <a:pt x="6589346" y="1260633"/>
                    <a:pt x="6346918" y="991531"/>
                  </a:cubicBezTo>
                  <a:cubicBezTo>
                    <a:pt x="5949259" y="586678"/>
                    <a:pt x="5223959" y="131561"/>
                    <a:pt x="4816318" y="55513"/>
                  </a:cubicBezTo>
                  <a:cubicBezTo>
                    <a:pt x="4408677" y="-20535"/>
                    <a:pt x="3494501" y="-52826"/>
                    <a:pt x="2985666" y="190314"/>
                  </a:cubicBezTo>
                  <a:cubicBezTo>
                    <a:pt x="2476831" y="433454"/>
                    <a:pt x="1908164" y="1000838"/>
                    <a:pt x="1639227" y="1209527"/>
                  </a:cubicBezTo>
                  <a:cubicBezTo>
                    <a:pt x="1370290" y="1418216"/>
                    <a:pt x="729968" y="1345550"/>
                    <a:pt x="356931" y="988717"/>
                  </a:cubicBezTo>
                  <a:cubicBezTo>
                    <a:pt x="96566" y="758079"/>
                    <a:pt x="-146919" y="1182994"/>
                    <a:pt x="107593" y="1391268"/>
                  </a:cubicBezTo>
                  <a:cubicBezTo>
                    <a:pt x="576706" y="1808146"/>
                    <a:pt x="1317996" y="2048782"/>
                    <a:pt x="1801913" y="1682487"/>
                  </a:cubicBezTo>
                  <a:cubicBezTo>
                    <a:pt x="2285830" y="1316192"/>
                    <a:pt x="2704050" y="940116"/>
                    <a:pt x="3160817" y="701773"/>
                  </a:cubicBezTo>
                  <a:cubicBezTo>
                    <a:pt x="3617584" y="463430"/>
                    <a:pt x="4299587" y="485617"/>
                    <a:pt x="4691488" y="560704"/>
                  </a:cubicBezTo>
                  <a:cubicBezTo>
                    <a:pt x="5083389" y="635791"/>
                    <a:pt x="5573765" y="907826"/>
                    <a:pt x="5960039" y="1275521"/>
                  </a:cubicBezTo>
                  <a:close/>
                </a:path>
              </a:pathLst>
            </a:custGeom>
            <a:solidFill>
              <a:srgbClr val="59B4D9"/>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882"/>
            </a:p>
          </p:txBody>
        </p:sp>
      </p:grpSp>
      <p:sp>
        <p:nvSpPr>
          <p:cNvPr id="57" name="IoT"/>
          <p:cNvSpPr>
            <a:spLocks noChangeAspect="1"/>
          </p:cNvSpPr>
          <p:nvPr/>
        </p:nvSpPr>
        <p:spPr>
          <a:xfrm rot="10800000">
            <a:off x="9057925" y="4301107"/>
            <a:ext cx="707150" cy="600792"/>
          </a:xfrm>
          <a:custGeom>
            <a:avLst/>
            <a:gdLst>
              <a:gd name="connsiteX0" fmla="*/ 2409306 w 2409306"/>
              <a:gd name="connsiteY0" fmla="*/ 661085 h 2046937"/>
              <a:gd name="connsiteX1" fmla="*/ 2100118 w 2409306"/>
              <a:gd name="connsiteY1" fmla="*/ 661085 h 2046937"/>
              <a:gd name="connsiteX2" fmla="*/ 2100118 w 2409306"/>
              <a:gd name="connsiteY2" fmla="*/ 337516 h 2046937"/>
              <a:gd name="connsiteX3" fmla="*/ 1750938 w 2409306"/>
              <a:gd name="connsiteY3" fmla="*/ 337516 h 2046937"/>
              <a:gd name="connsiteX4" fmla="*/ 1750938 w 2409306"/>
              <a:gd name="connsiteY4" fmla="*/ 0 h 2046937"/>
              <a:gd name="connsiteX5" fmla="*/ 2409306 w 2409306"/>
              <a:gd name="connsiteY5" fmla="*/ 0 h 2046937"/>
              <a:gd name="connsiteX6" fmla="*/ 1488047 w 2409306"/>
              <a:gd name="connsiteY6" fmla="*/ 1738307 h 2046937"/>
              <a:gd name="connsiteX7" fmla="*/ 1305692 w 2409306"/>
              <a:gd name="connsiteY7" fmla="*/ 1555952 h 2046937"/>
              <a:gd name="connsiteX8" fmla="*/ 1320022 w 2409306"/>
              <a:gd name="connsiteY8" fmla="*/ 1484971 h 2046937"/>
              <a:gd name="connsiteX9" fmla="*/ 1339103 w 2409306"/>
              <a:gd name="connsiteY9" fmla="*/ 1456670 h 2046937"/>
              <a:gd name="connsiteX10" fmla="*/ 1130226 w 2409306"/>
              <a:gd name="connsiteY10" fmla="*/ 1277304 h 2046937"/>
              <a:gd name="connsiteX11" fmla="*/ 1073109 w 2409306"/>
              <a:gd name="connsiteY11" fmla="*/ 1362019 h 2046937"/>
              <a:gd name="connsiteX12" fmla="*/ 882279 w 2409306"/>
              <a:gd name="connsiteY12" fmla="*/ 1441064 h 2046937"/>
              <a:gd name="connsiteX13" fmla="*/ 612404 w 2409306"/>
              <a:gd name="connsiteY13" fmla="*/ 1171189 h 2046937"/>
              <a:gd name="connsiteX14" fmla="*/ 691449 w 2409306"/>
              <a:gd name="connsiteY14" fmla="*/ 980358 h 2046937"/>
              <a:gd name="connsiteX15" fmla="*/ 721899 w 2409306"/>
              <a:gd name="connsiteY15" fmla="*/ 955235 h 2046937"/>
              <a:gd name="connsiteX16" fmla="*/ 636319 w 2409306"/>
              <a:gd name="connsiteY16" fmla="*/ 774559 h 2046937"/>
              <a:gd name="connsiteX17" fmla="*/ 599476 w 2409306"/>
              <a:gd name="connsiteY17" fmla="*/ 795685 h 2046937"/>
              <a:gd name="connsiteX18" fmla="*/ 538390 w 2409306"/>
              <a:gd name="connsiteY18" fmla="*/ 806875 h 2046937"/>
              <a:gd name="connsiteX19" fmla="*/ 501610 w 2409306"/>
              <a:gd name="connsiteY19" fmla="*/ 803464 h 2046937"/>
              <a:gd name="connsiteX20" fmla="*/ 357605 w 2409306"/>
              <a:gd name="connsiteY20" fmla="*/ 589527 h 2046937"/>
              <a:gd name="connsiteX21" fmla="*/ 571542 w 2409306"/>
              <a:gd name="connsiteY21" fmla="*/ 445521 h 2046937"/>
              <a:gd name="connsiteX22" fmla="*/ 715547 w 2409306"/>
              <a:gd name="connsiteY22" fmla="*/ 659458 h 2046937"/>
              <a:gd name="connsiteX23" fmla="*/ 692665 w 2409306"/>
              <a:gd name="connsiteY23" fmla="*/ 718873 h 2046937"/>
              <a:gd name="connsiteX24" fmla="*/ 671892 w 2409306"/>
              <a:gd name="connsiteY24" fmla="*/ 742856 h 2046937"/>
              <a:gd name="connsiteX25" fmla="*/ 761132 w 2409306"/>
              <a:gd name="connsiteY25" fmla="*/ 931261 h 2046937"/>
              <a:gd name="connsiteX26" fmla="*/ 777231 w 2409306"/>
              <a:gd name="connsiteY26" fmla="*/ 922522 h 2046937"/>
              <a:gd name="connsiteX27" fmla="*/ 882279 w 2409306"/>
              <a:gd name="connsiteY27" fmla="*/ 901314 h 2046937"/>
              <a:gd name="connsiteX28" fmla="*/ 1033169 w 2409306"/>
              <a:gd name="connsiteY28" fmla="*/ 947404 h 2046937"/>
              <a:gd name="connsiteX29" fmla="*/ 1063152 w 2409306"/>
              <a:gd name="connsiteY29" fmla="*/ 972142 h 2046937"/>
              <a:gd name="connsiteX30" fmla="*/ 1326447 w 2409306"/>
              <a:gd name="connsiteY30" fmla="*/ 732796 h 2046937"/>
              <a:gd name="connsiteX31" fmla="*/ 1310219 w 2409306"/>
              <a:gd name="connsiteY31" fmla="*/ 705635 h 2046937"/>
              <a:gd name="connsiteX32" fmla="*/ 1346607 w 2409306"/>
              <a:gd name="connsiteY32" fmla="*/ 561722 h 2046937"/>
              <a:gd name="connsiteX33" fmla="*/ 1536295 w 2409306"/>
              <a:gd name="connsiteY33" fmla="*/ 570760 h 2046937"/>
              <a:gd name="connsiteX34" fmla="*/ 1527257 w 2409306"/>
              <a:gd name="connsiteY34" fmla="*/ 760448 h 2046937"/>
              <a:gd name="connsiteX35" fmla="*/ 1430541 w 2409306"/>
              <a:gd name="connsiteY35" fmla="*/ 795215 h 2046937"/>
              <a:gd name="connsiteX36" fmla="*/ 1380536 w 2409306"/>
              <a:gd name="connsiteY36" fmla="*/ 782988 h 2046937"/>
              <a:gd name="connsiteX37" fmla="*/ 1357679 w 2409306"/>
              <a:gd name="connsiteY37" fmla="*/ 766190 h 2046937"/>
              <a:gd name="connsiteX38" fmla="*/ 1091719 w 2409306"/>
              <a:gd name="connsiteY38" fmla="*/ 1007960 h 2046937"/>
              <a:gd name="connsiteX39" fmla="*/ 1130946 w 2409306"/>
              <a:gd name="connsiteY39" fmla="*/ 1066141 h 2046937"/>
              <a:gd name="connsiteX40" fmla="*/ 1133553 w 2409306"/>
              <a:gd name="connsiteY40" fmla="*/ 1074539 h 2046937"/>
              <a:gd name="connsiteX41" fmla="*/ 1977742 w 2409306"/>
              <a:gd name="connsiteY41" fmla="*/ 1074539 h 2046937"/>
              <a:gd name="connsiteX42" fmla="*/ 1986328 w 2409306"/>
              <a:gd name="connsiteY42" fmla="*/ 1032010 h 2046937"/>
              <a:gd name="connsiteX43" fmla="*/ 2141113 w 2409306"/>
              <a:gd name="connsiteY43" fmla="*/ 929412 h 2046937"/>
              <a:gd name="connsiteX44" fmla="*/ 2309099 w 2409306"/>
              <a:gd name="connsiteY44" fmla="*/ 1097398 h 2046937"/>
              <a:gd name="connsiteX45" fmla="*/ 2141113 w 2409306"/>
              <a:gd name="connsiteY45" fmla="*/ 1265384 h 2046937"/>
              <a:gd name="connsiteX46" fmla="*/ 1986328 w 2409306"/>
              <a:gd name="connsiteY46" fmla="*/ 1162786 h 2046937"/>
              <a:gd name="connsiteX47" fmla="*/ 1977742 w 2409306"/>
              <a:gd name="connsiteY47" fmla="*/ 1120258 h 2046937"/>
              <a:gd name="connsiteX48" fmla="*/ 1147020 w 2409306"/>
              <a:gd name="connsiteY48" fmla="*/ 1120258 h 2046937"/>
              <a:gd name="connsiteX49" fmla="*/ 1152154 w 2409306"/>
              <a:gd name="connsiteY49" fmla="*/ 1171189 h 2046937"/>
              <a:gd name="connsiteX50" fmla="*/ 1146671 w 2409306"/>
              <a:gd name="connsiteY50" fmla="*/ 1225578 h 2046937"/>
              <a:gd name="connsiteX51" fmla="*/ 1145302 w 2409306"/>
              <a:gd name="connsiteY51" fmla="*/ 1229988 h 2046937"/>
              <a:gd name="connsiteX52" fmla="*/ 1367860 w 2409306"/>
              <a:gd name="connsiteY52" fmla="*/ 1421103 h 2046937"/>
              <a:gd name="connsiteX53" fmla="*/ 1417066 w 2409306"/>
              <a:gd name="connsiteY53" fmla="*/ 1387927 h 2046937"/>
              <a:gd name="connsiteX54" fmla="*/ 1488047 w 2409306"/>
              <a:gd name="connsiteY54" fmla="*/ 1373597 h 2046937"/>
              <a:gd name="connsiteX55" fmla="*/ 1670402 w 2409306"/>
              <a:gd name="connsiteY55" fmla="*/ 1555952 h 2046937"/>
              <a:gd name="connsiteX56" fmla="*/ 1488047 w 2409306"/>
              <a:gd name="connsiteY56" fmla="*/ 1738307 h 2046937"/>
              <a:gd name="connsiteX57" fmla="*/ 658368 w 2409306"/>
              <a:gd name="connsiteY57" fmla="*/ 2046937 h 2046937"/>
              <a:gd name="connsiteX58" fmla="*/ 0 w 2409306"/>
              <a:gd name="connsiteY58" fmla="*/ 2046937 h 2046937"/>
              <a:gd name="connsiteX59" fmla="*/ 0 w 2409306"/>
              <a:gd name="connsiteY59" fmla="*/ 1385852 h 2046937"/>
              <a:gd name="connsiteX60" fmla="*/ 309188 w 2409306"/>
              <a:gd name="connsiteY60" fmla="*/ 1385852 h 2046937"/>
              <a:gd name="connsiteX61" fmla="*/ 309188 w 2409306"/>
              <a:gd name="connsiteY61" fmla="*/ 1709421 h 2046937"/>
              <a:gd name="connsiteX62" fmla="*/ 658368 w 2409306"/>
              <a:gd name="connsiteY62" fmla="*/ 1709421 h 204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409306" h="2046937">
                <a:moveTo>
                  <a:pt x="2409306" y="661085"/>
                </a:moveTo>
                <a:lnTo>
                  <a:pt x="2100118" y="661085"/>
                </a:lnTo>
                <a:lnTo>
                  <a:pt x="2100118" y="337516"/>
                </a:lnTo>
                <a:lnTo>
                  <a:pt x="1750938" y="337516"/>
                </a:lnTo>
                <a:lnTo>
                  <a:pt x="1750938" y="0"/>
                </a:lnTo>
                <a:lnTo>
                  <a:pt x="2409306" y="0"/>
                </a:lnTo>
                <a:close/>
                <a:moveTo>
                  <a:pt x="1488047" y="1738307"/>
                </a:moveTo>
                <a:cubicBezTo>
                  <a:pt x="1387335" y="1738307"/>
                  <a:pt x="1305692" y="1656664"/>
                  <a:pt x="1305692" y="1555952"/>
                </a:cubicBezTo>
                <a:cubicBezTo>
                  <a:pt x="1305692" y="1530774"/>
                  <a:pt x="1310794" y="1506788"/>
                  <a:pt x="1320022" y="1484971"/>
                </a:cubicBezTo>
                <a:lnTo>
                  <a:pt x="1339103" y="1456670"/>
                </a:lnTo>
                <a:lnTo>
                  <a:pt x="1130226" y="1277304"/>
                </a:lnTo>
                <a:lnTo>
                  <a:pt x="1073109" y="1362019"/>
                </a:lnTo>
                <a:cubicBezTo>
                  <a:pt x="1024272" y="1410857"/>
                  <a:pt x="956803" y="1441064"/>
                  <a:pt x="882279" y="1441064"/>
                </a:cubicBezTo>
                <a:cubicBezTo>
                  <a:pt x="733231" y="1441064"/>
                  <a:pt x="612404" y="1320237"/>
                  <a:pt x="612404" y="1171189"/>
                </a:cubicBezTo>
                <a:cubicBezTo>
                  <a:pt x="612404" y="1096665"/>
                  <a:pt x="642611" y="1029196"/>
                  <a:pt x="691449" y="980358"/>
                </a:cubicBezTo>
                <a:lnTo>
                  <a:pt x="721899" y="955235"/>
                </a:lnTo>
                <a:lnTo>
                  <a:pt x="636319" y="774559"/>
                </a:lnTo>
                <a:lnTo>
                  <a:pt x="599476" y="795685"/>
                </a:lnTo>
                <a:cubicBezTo>
                  <a:pt x="580212" y="802784"/>
                  <a:pt x="559593" y="806686"/>
                  <a:pt x="538390" y="806875"/>
                </a:cubicBezTo>
                <a:cubicBezTo>
                  <a:pt x="526273" y="806983"/>
                  <a:pt x="513966" y="805878"/>
                  <a:pt x="501610" y="803464"/>
                </a:cubicBezTo>
                <a:cubicBezTo>
                  <a:pt x="402767" y="784153"/>
                  <a:pt x="338294" y="688370"/>
                  <a:pt x="357605" y="589527"/>
                </a:cubicBezTo>
                <a:cubicBezTo>
                  <a:pt x="376916" y="490684"/>
                  <a:pt x="472698" y="426210"/>
                  <a:pt x="571542" y="445521"/>
                </a:cubicBezTo>
                <a:cubicBezTo>
                  <a:pt x="670385" y="464832"/>
                  <a:pt x="734858" y="560615"/>
                  <a:pt x="715547" y="659458"/>
                </a:cubicBezTo>
                <a:cubicBezTo>
                  <a:pt x="711323" y="681080"/>
                  <a:pt x="703439" y="701058"/>
                  <a:pt x="692665" y="718873"/>
                </a:cubicBezTo>
                <a:lnTo>
                  <a:pt x="671892" y="742856"/>
                </a:lnTo>
                <a:lnTo>
                  <a:pt x="761132" y="931261"/>
                </a:lnTo>
                <a:lnTo>
                  <a:pt x="777231" y="922522"/>
                </a:lnTo>
                <a:cubicBezTo>
                  <a:pt x="809519" y="908866"/>
                  <a:pt x="845017" y="901314"/>
                  <a:pt x="882279" y="901314"/>
                </a:cubicBezTo>
                <a:cubicBezTo>
                  <a:pt x="938172" y="901314"/>
                  <a:pt x="990096" y="918305"/>
                  <a:pt x="1033169" y="947404"/>
                </a:cubicBezTo>
                <a:lnTo>
                  <a:pt x="1063152" y="972142"/>
                </a:lnTo>
                <a:lnTo>
                  <a:pt x="1326447" y="732796"/>
                </a:lnTo>
                <a:lnTo>
                  <a:pt x="1310219" y="705635"/>
                </a:lnTo>
                <a:cubicBezTo>
                  <a:pt x="1292884" y="656260"/>
                  <a:pt x="1305449" y="599136"/>
                  <a:pt x="1346607" y="561722"/>
                </a:cubicBezTo>
                <a:cubicBezTo>
                  <a:pt x="1401483" y="511836"/>
                  <a:pt x="1486410" y="515883"/>
                  <a:pt x="1536295" y="570760"/>
                </a:cubicBezTo>
                <a:cubicBezTo>
                  <a:pt x="1586180" y="625636"/>
                  <a:pt x="1582134" y="710562"/>
                  <a:pt x="1527257" y="760448"/>
                </a:cubicBezTo>
                <a:cubicBezTo>
                  <a:pt x="1499819" y="785390"/>
                  <a:pt x="1464868" y="796850"/>
                  <a:pt x="1430541" y="795215"/>
                </a:cubicBezTo>
                <a:cubicBezTo>
                  <a:pt x="1413378" y="794397"/>
                  <a:pt x="1396370" y="790305"/>
                  <a:pt x="1380536" y="782988"/>
                </a:cubicBezTo>
                <a:lnTo>
                  <a:pt x="1357679" y="766190"/>
                </a:lnTo>
                <a:lnTo>
                  <a:pt x="1091719" y="1007960"/>
                </a:lnTo>
                <a:lnTo>
                  <a:pt x="1130946" y="1066141"/>
                </a:lnTo>
                <a:lnTo>
                  <a:pt x="1133553" y="1074539"/>
                </a:lnTo>
                <a:lnTo>
                  <a:pt x="1977742" y="1074539"/>
                </a:lnTo>
                <a:lnTo>
                  <a:pt x="1986328" y="1032010"/>
                </a:lnTo>
                <a:cubicBezTo>
                  <a:pt x="2011830" y="971717"/>
                  <a:pt x="2071531" y="929412"/>
                  <a:pt x="2141113" y="929412"/>
                </a:cubicBezTo>
                <a:cubicBezTo>
                  <a:pt x="2233889" y="929412"/>
                  <a:pt x="2309099" y="1004622"/>
                  <a:pt x="2309099" y="1097398"/>
                </a:cubicBezTo>
                <a:cubicBezTo>
                  <a:pt x="2309099" y="1190174"/>
                  <a:pt x="2233889" y="1265384"/>
                  <a:pt x="2141113" y="1265384"/>
                </a:cubicBezTo>
                <a:cubicBezTo>
                  <a:pt x="2071531" y="1265384"/>
                  <a:pt x="2011830" y="1223078"/>
                  <a:pt x="1986328" y="1162786"/>
                </a:cubicBezTo>
                <a:lnTo>
                  <a:pt x="1977742" y="1120258"/>
                </a:lnTo>
                <a:lnTo>
                  <a:pt x="1147020" y="1120258"/>
                </a:lnTo>
                <a:lnTo>
                  <a:pt x="1152154" y="1171189"/>
                </a:lnTo>
                <a:cubicBezTo>
                  <a:pt x="1152154" y="1189820"/>
                  <a:pt x="1150266" y="1208010"/>
                  <a:pt x="1146671" y="1225578"/>
                </a:cubicBezTo>
                <a:lnTo>
                  <a:pt x="1145302" y="1229988"/>
                </a:lnTo>
                <a:lnTo>
                  <a:pt x="1367860" y="1421103"/>
                </a:lnTo>
                <a:lnTo>
                  <a:pt x="1417066" y="1387927"/>
                </a:lnTo>
                <a:cubicBezTo>
                  <a:pt x="1438882" y="1378700"/>
                  <a:pt x="1462869" y="1373597"/>
                  <a:pt x="1488047" y="1373597"/>
                </a:cubicBezTo>
                <a:cubicBezTo>
                  <a:pt x="1588759" y="1373597"/>
                  <a:pt x="1670402" y="1455240"/>
                  <a:pt x="1670402" y="1555952"/>
                </a:cubicBezTo>
                <a:cubicBezTo>
                  <a:pt x="1670402" y="1656664"/>
                  <a:pt x="1588759" y="1738307"/>
                  <a:pt x="1488047" y="1738307"/>
                </a:cubicBezTo>
                <a:close/>
                <a:moveTo>
                  <a:pt x="658368" y="2046937"/>
                </a:moveTo>
                <a:lnTo>
                  <a:pt x="0" y="2046937"/>
                </a:lnTo>
                <a:lnTo>
                  <a:pt x="0" y="1385852"/>
                </a:lnTo>
                <a:lnTo>
                  <a:pt x="309188" y="1385852"/>
                </a:lnTo>
                <a:lnTo>
                  <a:pt x="309188" y="1709421"/>
                </a:lnTo>
                <a:lnTo>
                  <a:pt x="658368" y="1709421"/>
                </a:lnTo>
                <a:close/>
              </a:path>
            </a:pathLst>
          </a:custGeom>
          <a:solidFill>
            <a:srgbClr val="59B4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58" name="Freeform: Shape 57"/>
          <p:cNvSpPr>
            <a:spLocks noChangeAspect="1"/>
          </p:cNvSpPr>
          <p:nvPr/>
        </p:nvSpPr>
        <p:spPr bwMode="auto">
          <a:xfrm>
            <a:off x="10089024" y="2679971"/>
            <a:ext cx="1653080" cy="1056408"/>
          </a:xfrm>
          <a:custGeom>
            <a:avLst/>
            <a:gdLst>
              <a:gd name="connsiteX0" fmla="*/ 1087792 w 1758183"/>
              <a:gd name="connsiteY0" fmla="*/ 0 h 1123573"/>
              <a:gd name="connsiteX1" fmla="*/ 1089412 w 1758183"/>
              <a:gd name="connsiteY1" fmla="*/ 0 h 1123573"/>
              <a:gd name="connsiteX2" fmla="*/ 1525090 w 1758183"/>
              <a:gd name="connsiteY2" fmla="*/ 435678 h 1123573"/>
              <a:gd name="connsiteX3" fmla="*/ 1522340 w 1758183"/>
              <a:gd name="connsiteY3" fmla="*/ 462957 h 1123573"/>
              <a:gd name="connsiteX4" fmla="*/ 1551026 w 1758183"/>
              <a:gd name="connsiteY4" fmla="*/ 471862 h 1123573"/>
              <a:gd name="connsiteX5" fmla="*/ 1758183 w 1758183"/>
              <a:gd name="connsiteY5" fmla="*/ 784390 h 1123573"/>
              <a:gd name="connsiteX6" fmla="*/ 1419000 w 1758183"/>
              <a:gd name="connsiteY6" fmla="*/ 1123573 h 1123573"/>
              <a:gd name="connsiteX7" fmla="*/ 339183 w 1758183"/>
              <a:gd name="connsiteY7" fmla="*/ 1123573 h 1123573"/>
              <a:gd name="connsiteX8" fmla="*/ 0 w 1758183"/>
              <a:gd name="connsiteY8" fmla="*/ 784390 h 1123573"/>
              <a:gd name="connsiteX9" fmla="*/ 149542 w 1758183"/>
              <a:gd name="connsiteY9" fmla="*/ 503134 h 1123573"/>
              <a:gd name="connsiteX10" fmla="*/ 189470 w 1758183"/>
              <a:gd name="connsiteY10" fmla="*/ 481462 h 1123573"/>
              <a:gd name="connsiteX11" fmla="*/ 187855 w 1758183"/>
              <a:gd name="connsiteY11" fmla="*/ 465438 h 1123573"/>
              <a:gd name="connsiteX12" fmla="*/ 527038 w 1758183"/>
              <a:gd name="connsiteY12" fmla="*/ 126255 h 1123573"/>
              <a:gd name="connsiteX13" fmla="*/ 528299 w 1758183"/>
              <a:gd name="connsiteY13" fmla="*/ 126255 h 1123573"/>
              <a:gd name="connsiteX14" fmla="*/ 717940 w 1758183"/>
              <a:gd name="connsiteY14" fmla="*/ 184182 h 1123573"/>
              <a:gd name="connsiteX15" fmla="*/ 726926 w 1758183"/>
              <a:gd name="connsiteY15" fmla="*/ 191596 h 1123573"/>
              <a:gd name="connsiteX16" fmla="*/ 779721 w 1758183"/>
              <a:gd name="connsiteY16" fmla="*/ 127608 h 1123573"/>
              <a:gd name="connsiteX17" fmla="*/ 1087792 w 1758183"/>
              <a:gd name="connsiteY17" fmla="*/ 0 h 112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58183" h="1123573">
                <a:moveTo>
                  <a:pt x="1087792" y="0"/>
                </a:moveTo>
                <a:lnTo>
                  <a:pt x="1089412" y="0"/>
                </a:lnTo>
                <a:cubicBezTo>
                  <a:pt x="1330030" y="0"/>
                  <a:pt x="1525090" y="195060"/>
                  <a:pt x="1525090" y="435678"/>
                </a:cubicBezTo>
                <a:lnTo>
                  <a:pt x="1522340" y="462957"/>
                </a:lnTo>
                <a:lnTo>
                  <a:pt x="1551026" y="471862"/>
                </a:lnTo>
                <a:cubicBezTo>
                  <a:pt x="1672763" y="523353"/>
                  <a:pt x="1758183" y="643896"/>
                  <a:pt x="1758183" y="784390"/>
                </a:cubicBezTo>
                <a:cubicBezTo>
                  <a:pt x="1758183" y="971716"/>
                  <a:pt x="1606326" y="1123573"/>
                  <a:pt x="1419000" y="1123573"/>
                </a:cubicBezTo>
                <a:lnTo>
                  <a:pt x="339183" y="1123573"/>
                </a:lnTo>
                <a:cubicBezTo>
                  <a:pt x="151857" y="1123573"/>
                  <a:pt x="0" y="971716"/>
                  <a:pt x="0" y="784390"/>
                </a:cubicBezTo>
                <a:cubicBezTo>
                  <a:pt x="0" y="667312"/>
                  <a:pt x="59319" y="564088"/>
                  <a:pt x="149542" y="503134"/>
                </a:cubicBezTo>
                <a:lnTo>
                  <a:pt x="189470" y="481462"/>
                </a:lnTo>
                <a:lnTo>
                  <a:pt x="187855" y="465438"/>
                </a:lnTo>
                <a:cubicBezTo>
                  <a:pt x="187855" y="278112"/>
                  <a:pt x="339712" y="126255"/>
                  <a:pt x="527038" y="126255"/>
                </a:cubicBezTo>
                <a:lnTo>
                  <a:pt x="528299" y="126255"/>
                </a:lnTo>
                <a:cubicBezTo>
                  <a:pt x="598546" y="126255"/>
                  <a:pt x="663806" y="147610"/>
                  <a:pt x="717940" y="184182"/>
                </a:cubicBezTo>
                <a:lnTo>
                  <a:pt x="726926" y="191596"/>
                </a:lnTo>
                <a:lnTo>
                  <a:pt x="779721" y="127608"/>
                </a:lnTo>
                <a:cubicBezTo>
                  <a:pt x="858564" y="48765"/>
                  <a:pt x="967483" y="0"/>
                  <a:pt x="1087792" y="0"/>
                </a:cubicBezTo>
                <a:close/>
              </a:path>
            </a:pathLst>
          </a:custGeom>
          <a:solidFill>
            <a:srgbClr val="7AC3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2353" b="1">
                <a:gradFill>
                  <a:gsLst>
                    <a:gs pos="0">
                      <a:srgbClr val="FFFFFF"/>
                    </a:gs>
                    <a:gs pos="100000">
                      <a:srgbClr val="FFFFFF"/>
                    </a:gs>
                  </a:gsLst>
                  <a:lin ang="5400000" scaled="0"/>
                </a:gradFill>
                <a:ea typeface="Segoe UI" pitchFamily="34" charset="0"/>
                <a:cs typeface="Segoe UI" pitchFamily="34" charset="0"/>
              </a:rPr>
              <a:t>Cloud</a:t>
            </a:r>
          </a:p>
        </p:txBody>
      </p:sp>
      <p:cxnSp>
        <p:nvCxnSpPr>
          <p:cNvPr id="61" name="Straight Arrow Connector 60"/>
          <p:cNvCxnSpPr/>
          <p:nvPr/>
        </p:nvCxnSpPr>
        <p:spPr>
          <a:xfrm>
            <a:off x="5333926" y="5412618"/>
            <a:ext cx="2" cy="258585"/>
          </a:xfrm>
          <a:prstGeom prst="straightConnector1">
            <a:avLst/>
          </a:prstGeom>
          <a:noFill/>
          <a:ln w="9525" cap="flat" cmpd="sng" algn="ctr">
            <a:solidFill>
              <a:schemeClr val="bg1"/>
            </a:solidFill>
            <a:prstDash val="solid"/>
            <a:headEnd type="triangle" w="med" len="med"/>
            <a:tailEnd type="triangle" w="med" len="med"/>
          </a:ln>
          <a:effectLst/>
        </p:spPr>
      </p:cxnSp>
      <p:cxnSp>
        <p:nvCxnSpPr>
          <p:cNvPr id="64" name="Straight Arrow Connector 63"/>
          <p:cNvCxnSpPr/>
          <p:nvPr/>
        </p:nvCxnSpPr>
        <p:spPr>
          <a:xfrm>
            <a:off x="3799480" y="5412618"/>
            <a:ext cx="2" cy="258585"/>
          </a:xfrm>
          <a:prstGeom prst="straightConnector1">
            <a:avLst/>
          </a:prstGeom>
          <a:noFill/>
          <a:ln w="9525" cap="flat" cmpd="sng" algn="ctr">
            <a:solidFill>
              <a:schemeClr val="bg1"/>
            </a:solidFill>
            <a:prstDash val="solid"/>
            <a:headEnd type="triangle" w="med" len="med"/>
            <a:tailEnd type="triangle" w="med" len="med"/>
          </a:ln>
          <a:effectLst/>
        </p:spPr>
      </p:cxnSp>
      <p:cxnSp>
        <p:nvCxnSpPr>
          <p:cNvPr id="66" name="Straight Arrow Connector 65"/>
          <p:cNvCxnSpPr/>
          <p:nvPr/>
        </p:nvCxnSpPr>
        <p:spPr>
          <a:xfrm>
            <a:off x="2274553" y="5412618"/>
            <a:ext cx="2" cy="258585"/>
          </a:xfrm>
          <a:prstGeom prst="straightConnector1">
            <a:avLst/>
          </a:prstGeom>
          <a:noFill/>
          <a:ln w="9525" cap="flat" cmpd="sng" algn="ctr">
            <a:solidFill>
              <a:schemeClr val="bg1"/>
            </a:solidFill>
            <a:prstDash val="solid"/>
            <a:headEnd type="triangle" w="med" len="med"/>
            <a:tailEnd type="triangle" w="med" len="med"/>
          </a:ln>
          <a:effectLst/>
        </p:spPr>
      </p:cxnSp>
      <p:grpSp>
        <p:nvGrpSpPr>
          <p:cNvPr id="45" name="Azure Stream Analytics"/>
          <p:cNvGrpSpPr>
            <a:grpSpLocks noChangeAspect="1"/>
          </p:cNvGrpSpPr>
          <p:nvPr/>
        </p:nvGrpSpPr>
        <p:grpSpPr>
          <a:xfrm>
            <a:off x="3518545" y="4749336"/>
            <a:ext cx="484101" cy="376240"/>
            <a:chOff x="-16372125" y="-986193"/>
            <a:chExt cx="11032763" cy="8574577"/>
          </a:xfrm>
        </p:grpSpPr>
        <p:sp>
          <p:nvSpPr>
            <p:cNvPr id="47" name="Freeform: Shape 46"/>
            <p:cNvSpPr/>
            <p:nvPr/>
          </p:nvSpPr>
          <p:spPr>
            <a:xfrm>
              <a:off x="-13161948" y="-986193"/>
              <a:ext cx="7822586" cy="8546326"/>
            </a:xfrm>
            <a:custGeom>
              <a:avLst/>
              <a:gdLst>
                <a:gd name="connsiteX0" fmla="*/ 362857 w 7866743"/>
                <a:gd name="connsiteY0" fmla="*/ 2394857 h 8577943"/>
                <a:gd name="connsiteX1" fmla="*/ 29029 w 7866743"/>
                <a:gd name="connsiteY1" fmla="*/ 1611085 h 8577943"/>
                <a:gd name="connsiteX2" fmla="*/ 740229 w 7866743"/>
                <a:gd name="connsiteY2" fmla="*/ 1016000 h 8577943"/>
                <a:gd name="connsiteX3" fmla="*/ 1857829 w 7866743"/>
                <a:gd name="connsiteY3" fmla="*/ 1494971 h 8577943"/>
                <a:gd name="connsiteX4" fmla="*/ 2554514 w 7866743"/>
                <a:gd name="connsiteY4" fmla="*/ 1262743 h 8577943"/>
                <a:gd name="connsiteX5" fmla="*/ 2960914 w 7866743"/>
                <a:gd name="connsiteY5" fmla="*/ 0 h 8577943"/>
                <a:gd name="connsiteX6" fmla="*/ 3962400 w 7866743"/>
                <a:gd name="connsiteY6" fmla="*/ 72571 h 8577943"/>
                <a:gd name="connsiteX7" fmla="*/ 4397829 w 7866743"/>
                <a:gd name="connsiteY7" fmla="*/ 1291771 h 8577943"/>
                <a:gd name="connsiteX8" fmla="*/ 5065486 w 7866743"/>
                <a:gd name="connsiteY8" fmla="*/ 1553028 h 8577943"/>
                <a:gd name="connsiteX9" fmla="*/ 6183086 w 7866743"/>
                <a:gd name="connsiteY9" fmla="*/ 957943 h 8577943"/>
                <a:gd name="connsiteX10" fmla="*/ 6850743 w 7866743"/>
                <a:gd name="connsiteY10" fmla="*/ 1654628 h 8577943"/>
                <a:gd name="connsiteX11" fmla="*/ 6328229 w 7866743"/>
                <a:gd name="connsiteY11" fmla="*/ 2743200 h 8577943"/>
                <a:gd name="connsiteX12" fmla="*/ 6633029 w 7866743"/>
                <a:gd name="connsiteY12" fmla="*/ 3556000 h 8577943"/>
                <a:gd name="connsiteX13" fmla="*/ 7823200 w 7866743"/>
                <a:gd name="connsiteY13" fmla="*/ 3817257 h 8577943"/>
                <a:gd name="connsiteX14" fmla="*/ 7866743 w 7866743"/>
                <a:gd name="connsiteY14" fmla="*/ 4760685 h 8577943"/>
                <a:gd name="connsiteX15" fmla="*/ 6604000 w 7866743"/>
                <a:gd name="connsiteY15" fmla="*/ 5094514 h 8577943"/>
                <a:gd name="connsiteX16" fmla="*/ 6328229 w 7866743"/>
                <a:gd name="connsiteY16" fmla="*/ 5791200 h 8577943"/>
                <a:gd name="connsiteX17" fmla="*/ 6952343 w 7866743"/>
                <a:gd name="connsiteY17" fmla="*/ 6952343 h 8577943"/>
                <a:gd name="connsiteX18" fmla="*/ 6284686 w 7866743"/>
                <a:gd name="connsiteY18" fmla="*/ 7678057 h 8577943"/>
                <a:gd name="connsiteX19" fmla="*/ 5167086 w 7866743"/>
                <a:gd name="connsiteY19" fmla="*/ 7155543 h 8577943"/>
                <a:gd name="connsiteX20" fmla="*/ 4397829 w 7866743"/>
                <a:gd name="connsiteY20" fmla="*/ 7402285 h 8577943"/>
                <a:gd name="connsiteX21" fmla="*/ 4064000 w 7866743"/>
                <a:gd name="connsiteY21" fmla="*/ 8563428 h 8577943"/>
                <a:gd name="connsiteX22" fmla="*/ 3077029 w 7866743"/>
                <a:gd name="connsiteY22" fmla="*/ 8577943 h 8577943"/>
                <a:gd name="connsiteX23" fmla="*/ 2627086 w 7866743"/>
                <a:gd name="connsiteY23" fmla="*/ 7402285 h 8577943"/>
                <a:gd name="connsiteX24" fmla="*/ 2061029 w 7866743"/>
                <a:gd name="connsiteY24" fmla="*/ 7170057 h 8577943"/>
                <a:gd name="connsiteX25" fmla="*/ 899886 w 7866743"/>
                <a:gd name="connsiteY25" fmla="*/ 7692571 h 8577943"/>
                <a:gd name="connsiteX26" fmla="*/ 203200 w 7866743"/>
                <a:gd name="connsiteY26" fmla="*/ 7053943 h 8577943"/>
                <a:gd name="connsiteX27" fmla="*/ 391886 w 7866743"/>
                <a:gd name="connsiteY27" fmla="*/ 6574971 h 8577943"/>
                <a:gd name="connsiteX28" fmla="*/ 1611086 w 7866743"/>
                <a:gd name="connsiteY28" fmla="*/ 3933371 h 8577943"/>
                <a:gd name="connsiteX29" fmla="*/ 391886 w 7866743"/>
                <a:gd name="connsiteY29" fmla="*/ 2249714 h 8577943"/>
                <a:gd name="connsiteX30" fmla="*/ 0 w 7866743"/>
                <a:gd name="connsiteY30" fmla="*/ 1538514 h 8577943"/>
                <a:gd name="connsiteX0" fmla="*/ 333828 w 7837714"/>
                <a:gd name="connsiteY0" fmla="*/ 2394857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62857 w 7837714"/>
                <a:gd name="connsiteY29" fmla="*/ 2249714 h 8577943"/>
                <a:gd name="connsiteX0" fmla="*/ 333828 w 7837714"/>
                <a:gd name="connsiteY0" fmla="*/ 2394857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37644 w 7837714"/>
                <a:gd name="connsiteY29" fmla="*/ 2387546 h 8577943"/>
                <a:gd name="connsiteX0" fmla="*/ 333828 w 7837714"/>
                <a:gd name="connsiteY0" fmla="*/ 2394857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37644 w 7837714"/>
                <a:gd name="connsiteY29" fmla="*/ 2387546 h 8577943"/>
                <a:gd name="connsiteX30" fmla="*/ 333828 w 7837714"/>
                <a:gd name="connsiteY30" fmla="*/ 2394857 h 8577943"/>
                <a:gd name="connsiteX0" fmla="*/ 337644 w 7837714"/>
                <a:gd name="connsiteY0" fmla="*/ 2387546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37644 w 7837714"/>
                <a:gd name="connsiteY29" fmla="*/ 2387546 h 8577943"/>
                <a:gd name="connsiteX0" fmla="*/ 374623 w 7837714"/>
                <a:gd name="connsiteY0" fmla="*/ 2367376 h 8577943"/>
                <a:gd name="connsiteX1" fmla="*/ 0 w 7837714"/>
                <a:gd name="connsiteY1" fmla="*/ 1611085 h 8577943"/>
                <a:gd name="connsiteX2" fmla="*/ 711200 w 7837714"/>
                <a:gd name="connsiteY2" fmla="*/ 1016000 h 8577943"/>
                <a:gd name="connsiteX3" fmla="*/ 1828800 w 7837714"/>
                <a:gd name="connsiteY3" fmla="*/ 1494971 h 8577943"/>
                <a:gd name="connsiteX4" fmla="*/ 2525485 w 7837714"/>
                <a:gd name="connsiteY4" fmla="*/ 1262743 h 8577943"/>
                <a:gd name="connsiteX5" fmla="*/ 2931885 w 7837714"/>
                <a:gd name="connsiteY5" fmla="*/ 0 h 8577943"/>
                <a:gd name="connsiteX6" fmla="*/ 3933371 w 7837714"/>
                <a:gd name="connsiteY6" fmla="*/ 72571 h 8577943"/>
                <a:gd name="connsiteX7" fmla="*/ 4368800 w 7837714"/>
                <a:gd name="connsiteY7" fmla="*/ 1291771 h 8577943"/>
                <a:gd name="connsiteX8" fmla="*/ 5036457 w 7837714"/>
                <a:gd name="connsiteY8" fmla="*/ 1553028 h 8577943"/>
                <a:gd name="connsiteX9" fmla="*/ 6154057 w 7837714"/>
                <a:gd name="connsiteY9" fmla="*/ 957943 h 8577943"/>
                <a:gd name="connsiteX10" fmla="*/ 6821714 w 7837714"/>
                <a:gd name="connsiteY10" fmla="*/ 1654628 h 8577943"/>
                <a:gd name="connsiteX11" fmla="*/ 6299200 w 7837714"/>
                <a:gd name="connsiteY11" fmla="*/ 2743200 h 8577943"/>
                <a:gd name="connsiteX12" fmla="*/ 6604000 w 7837714"/>
                <a:gd name="connsiteY12" fmla="*/ 3556000 h 8577943"/>
                <a:gd name="connsiteX13" fmla="*/ 7794171 w 7837714"/>
                <a:gd name="connsiteY13" fmla="*/ 3817257 h 8577943"/>
                <a:gd name="connsiteX14" fmla="*/ 7837714 w 7837714"/>
                <a:gd name="connsiteY14" fmla="*/ 4760685 h 8577943"/>
                <a:gd name="connsiteX15" fmla="*/ 6574971 w 7837714"/>
                <a:gd name="connsiteY15" fmla="*/ 5094514 h 8577943"/>
                <a:gd name="connsiteX16" fmla="*/ 6299200 w 7837714"/>
                <a:gd name="connsiteY16" fmla="*/ 5791200 h 8577943"/>
                <a:gd name="connsiteX17" fmla="*/ 6923314 w 7837714"/>
                <a:gd name="connsiteY17" fmla="*/ 6952343 h 8577943"/>
                <a:gd name="connsiteX18" fmla="*/ 6255657 w 7837714"/>
                <a:gd name="connsiteY18" fmla="*/ 7678057 h 8577943"/>
                <a:gd name="connsiteX19" fmla="*/ 5138057 w 7837714"/>
                <a:gd name="connsiteY19" fmla="*/ 7155543 h 8577943"/>
                <a:gd name="connsiteX20" fmla="*/ 4368800 w 7837714"/>
                <a:gd name="connsiteY20" fmla="*/ 7402285 h 8577943"/>
                <a:gd name="connsiteX21" fmla="*/ 4034971 w 7837714"/>
                <a:gd name="connsiteY21" fmla="*/ 8563428 h 8577943"/>
                <a:gd name="connsiteX22" fmla="*/ 3048000 w 7837714"/>
                <a:gd name="connsiteY22" fmla="*/ 8577943 h 8577943"/>
                <a:gd name="connsiteX23" fmla="*/ 2598057 w 7837714"/>
                <a:gd name="connsiteY23" fmla="*/ 7402285 h 8577943"/>
                <a:gd name="connsiteX24" fmla="*/ 2032000 w 7837714"/>
                <a:gd name="connsiteY24" fmla="*/ 7170057 h 8577943"/>
                <a:gd name="connsiteX25" fmla="*/ 870857 w 7837714"/>
                <a:gd name="connsiteY25" fmla="*/ 7692571 h 8577943"/>
                <a:gd name="connsiteX26" fmla="*/ 174171 w 7837714"/>
                <a:gd name="connsiteY26" fmla="*/ 7053943 h 8577943"/>
                <a:gd name="connsiteX27" fmla="*/ 362857 w 7837714"/>
                <a:gd name="connsiteY27" fmla="*/ 6574971 h 8577943"/>
                <a:gd name="connsiteX28" fmla="*/ 1582057 w 7837714"/>
                <a:gd name="connsiteY28" fmla="*/ 3933371 h 8577943"/>
                <a:gd name="connsiteX29" fmla="*/ 374623 w 7837714"/>
                <a:gd name="connsiteY29" fmla="*/ 2367376 h 8577943"/>
                <a:gd name="connsiteX0" fmla="*/ 393113 w 7856204"/>
                <a:gd name="connsiteY0" fmla="*/ 2367376 h 8577943"/>
                <a:gd name="connsiteX1" fmla="*/ 0 w 7856204"/>
                <a:gd name="connsiteY1" fmla="*/ 1656469 h 8577943"/>
                <a:gd name="connsiteX2" fmla="*/ 729690 w 7856204"/>
                <a:gd name="connsiteY2" fmla="*/ 1016000 h 8577943"/>
                <a:gd name="connsiteX3" fmla="*/ 1847290 w 7856204"/>
                <a:gd name="connsiteY3" fmla="*/ 1494971 h 8577943"/>
                <a:gd name="connsiteX4" fmla="*/ 2543975 w 7856204"/>
                <a:gd name="connsiteY4" fmla="*/ 1262743 h 8577943"/>
                <a:gd name="connsiteX5" fmla="*/ 2950375 w 7856204"/>
                <a:gd name="connsiteY5" fmla="*/ 0 h 8577943"/>
                <a:gd name="connsiteX6" fmla="*/ 3951861 w 7856204"/>
                <a:gd name="connsiteY6" fmla="*/ 72571 h 8577943"/>
                <a:gd name="connsiteX7" fmla="*/ 4387290 w 7856204"/>
                <a:gd name="connsiteY7" fmla="*/ 1291771 h 8577943"/>
                <a:gd name="connsiteX8" fmla="*/ 5054947 w 7856204"/>
                <a:gd name="connsiteY8" fmla="*/ 1553028 h 8577943"/>
                <a:gd name="connsiteX9" fmla="*/ 6172547 w 7856204"/>
                <a:gd name="connsiteY9" fmla="*/ 957943 h 8577943"/>
                <a:gd name="connsiteX10" fmla="*/ 6840204 w 7856204"/>
                <a:gd name="connsiteY10" fmla="*/ 1654628 h 8577943"/>
                <a:gd name="connsiteX11" fmla="*/ 6317690 w 7856204"/>
                <a:gd name="connsiteY11" fmla="*/ 2743200 h 8577943"/>
                <a:gd name="connsiteX12" fmla="*/ 6622490 w 7856204"/>
                <a:gd name="connsiteY12" fmla="*/ 3556000 h 8577943"/>
                <a:gd name="connsiteX13" fmla="*/ 7812661 w 7856204"/>
                <a:gd name="connsiteY13" fmla="*/ 3817257 h 8577943"/>
                <a:gd name="connsiteX14" fmla="*/ 7856204 w 7856204"/>
                <a:gd name="connsiteY14" fmla="*/ 4760685 h 8577943"/>
                <a:gd name="connsiteX15" fmla="*/ 6593461 w 7856204"/>
                <a:gd name="connsiteY15" fmla="*/ 5094514 h 8577943"/>
                <a:gd name="connsiteX16" fmla="*/ 6317690 w 7856204"/>
                <a:gd name="connsiteY16" fmla="*/ 5791200 h 8577943"/>
                <a:gd name="connsiteX17" fmla="*/ 6941804 w 7856204"/>
                <a:gd name="connsiteY17" fmla="*/ 6952343 h 8577943"/>
                <a:gd name="connsiteX18" fmla="*/ 6274147 w 7856204"/>
                <a:gd name="connsiteY18" fmla="*/ 7678057 h 8577943"/>
                <a:gd name="connsiteX19" fmla="*/ 5156547 w 7856204"/>
                <a:gd name="connsiteY19" fmla="*/ 7155543 h 8577943"/>
                <a:gd name="connsiteX20" fmla="*/ 4387290 w 7856204"/>
                <a:gd name="connsiteY20" fmla="*/ 7402285 h 8577943"/>
                <a:gd name="connsiteX21" fmla="*/ 4053461 w 7856204"/>
                <a:gd name="connsiteY21" fmla="*/ 8563428 h 8577943"/>
                <a:gd name="connsiteX22" fmla="*/ 3066490 w 7856204"/>
                <a:gd name="connsiteY22" fmla="*/ 8577943 h 8577943"/>
                <a:gd name="connsiteX23" fmla="*/ 2616547 w 7856204"/>
                <a:gd name="connsiteY23" fmla="*/ 7402285 h 8577943"/>
                <a:gd name="connsiteX24" fmla="*/ 2050490 w 7856204"/>
                <a:gd name="connsiteY24" fmla="*/ 7170057 h 8577943"/>
                <a:gd name="connsiteX25" fmla="*/ 889347 w 7856204"/>
                <a:gd name="connsiteY25" fmla="*/ 7692571 h 8577943"/>
                <a:gd name="connsiteX26" fmla="*/ 192661 w 7856204"/>
                <a:gd name="connsiteY26" fmla="*/ 7053943 h 8577943"/>
                <a:gd name="connsiteX27" fmla="*/ 381347 w 7856204"/>
                <a:gd name="connsiteY27" fmla="*/ 6574971 h 8577943"/>
                <a:gd name="connsiteX28" fmla="*/ 1600547 w 7856204"/>
                <a:gd name="connsiteY28" fmla="*/ 3933371 h 8577943"/>
                <a:gd name="connsiteX29" fmla="*/ 393113 w 7856204"/>
                <a:gd name="connsiteY29" fmla="*/ 2367376 h 8577943"/>
                <a:gd name="connsiteX0" fmla="*/ 393113 w 7856204"/>
                <a:gd name="connsiteY0" fmla="*/ 2367376 h 8577943"/>
                <a:gd name="connsiteX1" fmla="*/ 0 w 7856204"/>
                <a:gd name="connsiteY1" fmla="*/ 1656469 h 8577943"/>
                <a:gd name="connsiteX2" fmla="*/ 709519 w 7856204"/>
                <a:gd name="connsiteY2" fmla="*/ 977340 h 8577943"/>
                <a:gd name="connsiteX3" fmla="*/ 1847290 w 7856204"/>
                <a:gd name="connsiteY3" fmla="*/ 1494971 h 8577943"/>
                <a:gd name="connsiteX4" fmla="*/ 2543975 w 7856204"/>
                <a:gd name="connsiteY4" fmla="*/ 1262743 h 8577943"/>
                <a:gd name="connsiteX5" fmla="*/ 2950375 w 7856204"/>
                <a:gd name="connsiteY5" fmla="*/ 0 h 8577943"/>
                <a:gd name="connsiteX6" fmla="*/ 3951861 w 7856204"/>
                <a:gd name="connsiteY6" fmla="*/ 72571 h 8577943"/>
                <a:gd name="connsiteX7" fmla="*/ 4387290 w 7856204"/>
                <a:gd name="connsiteY7" fmla="*/ 1291771 h 8577943"/>
                <a:gd name="connsiteX8" fmla="*/ 5054947 w 7856204"/>
                <a:gd name="connsiteY8" fmla="*/ 1553028 h 8577943"/>
                <a:gd name="connsiteX9" fmla="*/ 6172547 w 7856204"/>
                <a:gd name="connsiteY9" fmla="*/ 957943 h 8577943"/>
                <a:gd name="connsiteX10" fmla="*/ 6840204 w 7856204"/>
                <a:gd name="connsiteY10" fmla="*/ 1654628 h 8577943"/>
                <a:gd name="connsiteX11" fmla="*/ 6317690 w 7856204"/>
                <a:gd name="connsiteY11" fmla="*/ 2743200 h 8577943"/>
                <a:gd name="connsiteX12" fmla="*/ 6622490 w 7856204"/>
                <a:gd name="connsiteY12" fmla="*/ 3556000 h 8577943"/>
                <a:gd name="connsiteX13" fmla="*/ 7812661 w 7856204"/>
                <a:gd name="connsiteY13" fmla="*/ 3817257 h 8577943"/>
                <a:gd name="connsiteX14" fmla="*/ 7856204 w 7856204"/>
                <a:gd name="connsiteY14" fmla="*/ 4760685 h 8577943"/>
                <a:gd name="connsiteX15" fmla="*/ 6593461 w 7856204"/>
                <a:gd name="connsiteY15" fmla="*/ 5094514 h 8577943"/>
                <a:gd name="connsiteX16" fmla="*/ 6317690 w 7856204"/>
                <a:gd name="connsiteY16" fmla="*/ 5791200 h 8577943"/>
                <a:gd name="connsiteX17" fmla="*/ 6941804 w 7856204"/>
                <a:gd name="connsiteY17" fmla="*/ 6952343 h 8577943"/>
                <a:gd name="connsiteX18" fmla="*/ 6274147 w 7856204"/>
                <a:gd name="connsiteY18" fmla="*/ 7678057 h 8577943"/>
                <a:gd name="connsiteX19" fmla="*/ 5156547 w 7856204"/>
                <a:gd name="connsiteY19" fmla="*/ 7155543 h 8577943"/>
                <a:gd name="connsiteX20" fmla="*/ 4387290 w 7856204"/>
                <a:gd name="connsiteY20" fmla="*/ 7402285 h 8577943"/>
                <a:gd name="connsiteX21" fmla="*/ 4053461 w 7856204"/>
                <a:gd name="connsiteY21" fmla="*/ 8563428 h 8577943"/>
                <a:gd name="connsiteX22" fmla="*/ 3066490 w 7856204"/>
                <a:gd name="connsiteY22" fmla="*/ 8577943 h 8577943"/>
                <a:gd name="connsiteX23" fmla="*/ 2616547 w 7856204"/>
                <a:gd name="connsiteY23" fmla="*/ 7402285 h 8577943"/>
                <a:gd name="connsiteX24" fmla="*/ 2050490 w 7856204"/>
                <a:gd name="connsiteY24" fmla="*/ 7170057 h 8577943"/>
                <a:gd name="connsiteX25" fmla="*/ 889347 w 7856204"/>
                <a:gd name="connsiteY25" fmla="*/ 7692571 h 8577943"/>
                <a:gd name="connsiteX26" fmla="*/ 192661 w 7856204"/>
                <a:gd name="connsiteY26" fmla="*/ 7053943 h 8577943"/>
                <a:gd name="connsiteX27" fmla="*/ 381347 w 7856204"/>
                <a:gd name="connsiteY27" fmla="*/ 6574971 h 8577943"/>
                <a:gd name="connsiteX28" fmla="*/ 1600547 w 7856204"/>
                <a:gd name="connsiteY28" fmla="*/ 3933371 h 8577943"/>
                <a:gd name="connsiteX29" fmla="*/ 393113 w 7856204"/>
                <a:gd name="connsiteY29" fmla="*/ 2367376 h 8577943"/>
                <a:gd name="connsiteX0" fmla="*/ 393113 w 7856204"/>
                <a:gd name="connsiteY0" fmla="*/ 2367376 h 8577943"/>
                <a:gd name="connsiteX1" fmla="*/ 0 w 7856204"/>
                <a:gd name="connsiteY1" fmla="*/ 1656469 h 8577943"/>
                <a:gd name="connsiteX2" fmla="*/ 709519 w 7856204"/>
                <a:gd name="connsiteY2" fmla="*/ 977340 h 8577943"/>
                <a:gd name="connsiteX3" fmla="*/ 1872504 w 7856204"/>
                <a:gd name="connsiteY3" fmla="*/ 1511780 h 8577943"/>
                <a:gd name="connsiteX4" fmla="*/ 2543975 w 7856204"/>
                <a:gd name="connsiteY4" fmla="*/ 1262743 h 8577943"/>
                <a:gd name="connsiteX5" fmla="*/ 2950375 w 7856204"/>
                <a:gd name="connsiteY5" fmla="*/ 0 h 8577943"/>
                <a:gd name="connsiteX6" fmla="*/ 3951861 w 7856204"/>
                <a:gd name="connsiteY6" fmla="*/ 72571 h 8577943"/>
                <a:gd name="connsiteX7" fmla="*/ 4387290 w 7856204"/>
                <a:gd name="connsiteY7" fmla="*/ 1291771 h 8577943"/>
                <a:gd name="connsiteX8" fmla="*/ 5054947 w 7856204"/>
                <a:gd name="connsiteY8" fmla="*/ 1553028 h 8577943"/>
                <a:gd name="connsiteX9" fmla="*/ 6172547 w 7856204"/>
                <a:gd name="connsiteY9" fmla="*/ 957943 h 8577943"/>
                <a:gd name="connsiteX10" fmla="*/ 6840204 w 7856204"/>
                <a:gd name="connsiteY10" fmla="*/ 1654628 h 8577943"/>
                <a:gd name="connsiteX11" fmla="*/ 6317690 w 7856204"/>
                <a:gd name="connsiteY11" fmla="*/ 2743200 h 8577943"/>
                <a:gd name="connsiteX12" fmla="*/ 6622490 w 7856204"/>
                <a:gd name="connsiteY12" fmla="*/ 3556000 h 8577943"/>
                <a:gd name="connsiteX13" fmla="*/ 7812661 w 7856204"/>
                <a:gd name="connsiteY13" fmla="*/ 3817257 h 8577943"/>
                <a:gd name="connsiteX14" fmla="*/ 7856204 w 7856204"/>
                <a:gd name="connsiteY14" fmla="*/ 4760685 h 8577943"/>
                <a:gd name="connsiteX15" fmla="*/ 6593461 w 7856204"/>
                <a:gd name="connsiteY15" fmla="*/ 5094514 h 8577943"/>
                <a:gd name="connsiteX16" fmla="*/ 6317690 w 7856204"/>
                <a:gd name="connsiteY16" fmla="*/ 5791200 h 8577943"/>
                <a:gd name="connsiteX17" fmla="*/ 6941804 w 7856204"/>
                <a:gd name="connsiteY17" fmla="*/ 6952343 h 8577943"/>
                <a:gd name="connsiteX18" fmla="*/ 6274147 w 7856204"/>
                <a:gd name="connsiteY18" fmla="*/ 7678057 h 8577943"/>
                <a:gd name="connsiteX19" fmla="*/ 5156547 w 7856204"/>
                <a:gd name="connsiteY19" fmla="*/ 7155543 h 8577943"/>
                <a:gd name="connsiteX20" fmla="*/ 4387290 w 7856204"/>
                <a:gd name="connsiteY20" fmla="*/ 7402285 h 8577943"/>
                <a:gd name="connsiteX21" fmla="*/ 4053461 w 7856204"/>
                <a:gd name="connsiteY21" fmla="*/ 8563428 h 8577943"/>
                <a:gd name="connsiteX22" fmla="*/ 3066490 w 7856204"/>
                <a:gd name="connsiteY22" fmla="*/ 8577943 h 8577943"/>
                <a:gd name="connsiteX23" fmla="*/ 2616547 w 7856204"/>
                <a:gd name="connsiteY23" fmla="*/ 7402285 h 8577943"/>
                <a:gd name="connsiteX24" fmla="*/ 2050490 w 7856204"/>
                <a:gd name="connsiteY24" fmla="*/ 7170057 h 8577943"/>
                <a:gd name="connsiteX25" fmla="*/ 889347 w 7856204"/>
                <a:gd name="connsiteY25" fmla="*/ 7692571 h 8577943"/>
                <a:gd name="connsiteX26" fmla="*/ 192661 w 7856204"/>
                <a:gd name="connsiteY26" fmla="*/ 7053943 h 8577943"/>
                <a:gd name="connsiteX27" fmla="*/ 381347 w 7856204"/>
                <a:gd name="connsiteY27" fmla="*/ 6574971 h 8577943"/>
                <a:gd name="connsiteX28" fmla="*/ 1600547 w 7856204"/>
                <a:gd name="connsiteY28" fmla="*/ 3933371 h 8577943"/>
                <a:gd name="connsiteX29" fmla="*/ 393113 w 7856204"/>
                <a:gd name="connsiteY29" fmla="*/ 2367376 h 8577943"/>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87290 w 7856204"/>
                <a:gd name="connsiteY7" fmla="*/ 1219200 h 8505372"/>
                <a:gd name="connsiteX8" fmla="*/ 5054947 w 7856204"/>
                <a:gd name="connsiteY8" fmla="*/ 1480457 h 8505372"/>
                <a:gd name="connsiteX9" fmla="*/ 6172547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54947 w 7856204"/>
                <a:gd name="connsiteY8" fmla="*/ 1480457 h 8505372"/>
                <a:gd name="connsiteX9" fmla="*/ 6172547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112097 w 7856204"/>
                <a:gd name="connsiteY8" fmla="*/ 1468690 h 8505372"/>
                <a:gd name="connsiteX9" fmla="*/ 6172547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78480 w 7856204"/>
                <a:gd name="connsiteY8" fmla="*/ 1480456 h 8505372"/>
                <a:gd name="connsiteX9" fmla="*/ 6172547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78480 w 7856204"/>
                <a:gd name="connsiteY8" fmla="*/ 1480456 h 8505372"/>
                <a:gd name="connsiteX9" fmla="*/ 6212888 w 7856204"/>
                <a:gd name="connsiteY9" fmla="*/ 885372 h 8505372"/>
                <a:gd name="connsiteX10" fmla="*/ 6840204 w 7856204"/>
                <a:gd name="connsiteY10" fmla="*/ 158205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78480 w 7856204"/>
                <a:gd name="connsiteY8" fmla="*/ 1480456 h 8505372"/>
                <a:gd name="connsiteX9" fmla="*/ 6212888 w 7856204"/>
                <a:gd name="connsiteY9" fmla="*/ 885372 h 8505372"/>
                <a:gd name="connsiteX10" fmla="*/ 6877184 w 7856204"/>
                <a:gd name="connsiteY10" fmla="*/ 1561887 h 8505372"/>
                <a:gd name="connsiteX11" fmla="*/ 6317690 w 7856204"/>
                <a:gd name="connsiteY11" fmla="*/ 2670629 h 8505372"/>
                <a:gd name="connsiteX12" fmla="*/ 6622490 w 7856204"/>
                <a:gd name="connsiteY12" fmla="*/ 3483429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56204"/>
                <a:gd name="connsiteY0" fmla="*/ 2294805 h 8505372"/>
                <a:gd name="connsiteX1" fmla="*/ 0 w 7856204"/>
                <a:gd name="connsiteY1" fmla="*/ 1583898 h 8505372"/>
                <a:gd name="connsiteX2" fmla="*/ 709519 w 7856204"/>
                <a:gd name="connsiteY2" fmla="*/ 904769 h 8505372"/>
                <a:gd name="connsiteX3" fmla="*/ 1872504 w 7856204"/>
                <a:gd name="connsiteY3" fmla="*/ 1439209 h 8505372"/>
                <a:gd name="connsiteX4" fmla="*/ 2543975 w 7856204"/>
                <a:gd name="connsiteY4" fmla="*/ 1190172 h 8505372"/>
                <a:gd name="connsiteX5" fmla="*/ 2926843 w 7856204"/>
                <a:gd name="connsiteY5" fmla="*/ 4750 h 8505372"/>
                <a:gd name="connsiteX6" fmla="*/ 3951861 w 7856204"/>
                <a:gd name="connsiteY6" fmla="*/ 0 h 8505372"/>
                <a:gd name="connsiteX7" fmla="*/ 4368801 w 7856204"/>
                <a:gd name="connsiteY7" fmla="*/ 1153645 h 8505372"/>
                <a:gd name="connsiteX8" fmla="*/ 5078480 w 7856204"/>
                <a:gd name="connsiteY8" fmla="*/ 1480456 h 8505372"/>
                <a:gd name="connsiteX9" fmla="*/ 6212888 w 7856204"/>
                <a:gd name="connsiteY9" fmla="*/ 885372 h 8505372"/>
                <a:gd name="connsiteX10" fmla="*/ 6877184 w 7856204"/>
                <a:gd name="connsiteY10" fmla="*/ 1561887 h 8505372"/>
                <a:gd name="connsiteX11" fmla="*/ 6317690 w 7856204"/>
                <a:gd name="connsiteY11" fmla="*/ 2670629 h 8505372"/>
                <a:gd name="connsiteX12" fmla="*/ 6595596 w 7856204"/>
                <a:gd name="connsiteY12" fmla="*/ 3396023 h 8505372"/>
                <a:gd name="connsiteX13" fmla="*/ 7812661 w 7856204"/>
                <a:gd name="connsiteY13" fmla="*/ 3744686 h 8505372"/>
                <a:gd name="connsiteX14" fmla="*/ 7856204 w 7856204"/>
                <a:gd name="connsiteY14" fmla="*/ 4688114 h 8505372"/>
                <a:gd name="connsiteX15" fmla="*/ 6593461 w 7856204"/>
                <a:gd name="connsiteY15" fmla="*/ 5021943 h 8505372"/>
                <a:gd name="connsiteX16" fmla="*/ 6317690 w 7856204"/>
                <a:gd name="connsiteY16" fmla="*/ 5718629 h 8505372"/>
                <a:gd name="connsiteX17" fmla="*/ 6941804 w 7856204"/>
                <a:gd name="connsiteY17" fmla="*/ 6879772 h 8505372"/>
                <a:gd name="connsiteX18" fmla="*/ 6274147 w 7856204"/>
                <a:gd name="connsiteY18" fmla="*/ 7605486 h 8505372"/>
                <a:gd name="connsiteX19" fmla="*/ 5156547 w 7856204"/>
                <a:gd name="connsiteY19" fmla="*/ 7082972 h 8505372"/>
                <a:gd name="connsiteX20" fmla="*/ 4387290 w 7856204"/>
                <a:gd name="connsiteY20" fmla="*/ 7329714 h 8505372"/>
                <a:gd name="connsiteX21" fmla="*/ 4053461 w 7856204"/>
                <a:gd name="connsiteY21" fmla="*/ 8490857 h 8505372"/>
                <a:gd name="connsiteX22" fmla="*/ 3066490 w 7856204"/>
                <a:gd name="connsiteY22" fmla="*/ 8505372 h 8505372"/>
                <a:gd name="connsiteX23" fmla="*/ 2616547 w 7856204"/>
                <a:gd name="connsiteY23" fmla="*/ 7329714 h 8505372"/>
                <a:gd name="connsiteX24" fmla="*/ 2050490 w 7856204"/>
                <a:gd name="connsiteY24" fmla="*/ 7097486 h 8505372"/>
                <a:gd name="connsiteX25" fmla="*/ 889347 w 7856204"/>
                <a:gd name="connsiteY25" fmla="*/ 7620000 h 8505372"/>
                <a:gd name="connsiteX26" fmla="*/ 192661 w 7856204"/>
                <a:gd name="connsiteY26" fmla="*/ 6981372 h 8505372"/>
                <a:gd name="connsiteX27" fmla="*/ 381347 w 7856204"/>
                <a:gd name="connsiteY27" fmla="*/ 6502400 h 8505372"/>
                <a:gd name="connsiteX28" fmla="*/ 1600547 w 7856204"/>
                <a:gd name="connsiteY28" fmla="*/ 3860800 h 8505372"/>
                <a:gd name="connsiteX29" fmla="*/ 393113 w 7856204"/>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93461 w 7822586"/>
                <a:gd name="connsiteY15" fmla="*/ 5021943 h 8505372"/>
                <a:gd name="connsiteX16" fmla="*/ 6317690 w 7822586"/>
                <a:gd name="connsiteY16" fmla="*/ 5718629 h 8505372"/>
                <a:gd name="connsiteX17" fmla="*/ 6941804 w 7822586"/>
                <a:gd name="connsiteY17" fmla="*/ 6879772 h 8505372"/>
                <a:gd name="connsiteX18" fmla="*/ 6274147 w 7822586"/>
                <a:gd name="connsiteY18" fmla="*/ 7605486 h 8505372"/>
                <a:gd name="connsiteX19" fmla="*/ 5156547 w 7822586"/>
                <a:gd name="connsiteY19" fmla="*/ 7082972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317690 w 7822586"/>
                <a:gd name="connsiteY16" fmla="*/ 5718629 h 8505372"/>
                <a:gd name="connsiteX17" fmla="*/ 6941804 w 7822586"/>
                <a:gd name="connsiteY17" fmla="*/ 6879772 h 8505372"/>
                <a:gd name="connsiteX18" fmla="*/ 6274147 w 7822586"/>
                <a:gd name="connsiteY18" fmla="*/ 7605486 h 8505372"/>
                <a:gd name="connsiteX19" fmla="*/ 5156547 w 7822586"/>
                <a:gd name="connsiteY19" fmla="*/ 7082972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297519 w 7822586"/>
                <a:gd name="connsiteY16" fmla="*/ 5750565 h 8505372"/>
                <a:gd name="connsiteX17" fmla="*/ 6941804 w 7822586"/>
                <a:gd name="connsiteY17" fmla="*/ 6879772 h 8505372"/>
                <a:gd name="connsiteX18" fmla="*/ 6274147 w 7822586"/>
                <a:gd name="connsiteY18" fmla="*/ 7605486 h 8505372"/>
                <a:gd name="connsiteX19" fmla="*/ 5156547 w 7822586"/>
                <a:gd name="connsiteY19" fmla="*/ 7082972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297519 w 7822586"/>
                <a:gd name="connsiteY16" fmla="*/ 5750565 h 8505372"/>
                <a:gd name="connsiteX17" fmla="*/ 6923314 w 7822586"/>
                <a:gd name="connsiteY17" fmla="*/ 6896580 h 8505372"/>
                <a:gd name="connsiteX18" fmla="*/ 6274147 w 7822586"/>
                <a:gd name="connsiteY18" fmla="*/ 7605486 h 8505372"/>
                <a:gd name="connsiteX19" fmla="*/ 5156547 w 7822586"/>
                <a:gd name="connsiteY19" fmla="*/ 7082972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297519 w 7822586"/>
                <a:gd name="connsiteY16" fmla="*/ 5750565 h 8505372"/>
                <a:gd name="connsiteX17" fmla="*/ 6923314 w 7822586"/>
                <a:gd name="connsiteY17" fmla="*/ 6896580 h 8505372"/>
                <a:gd name="connsiteX18" fmla="*/ 6274147 w 7822586"/>
                <a:gd name="connsiteY18" fmla="*/ 7605486 h 8505372"/>
                <a:gd name="connsiteX19" fmla="*/ 5117887 w 7822586"/>
                <a:gd name="connsiteY19" fmla="*/ 7077930 h 8505372"/>
                <a:gd name="connsiteX20" fmla="*/ 4387290 w 7822586"/>
                <a:gd name="connsiteY20" fmla="*/ 7329714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05372"/>
                <a:gd name="connsiteX1" fmla="*/ 0 w 7822586"/>
                <a:gd name="connsiteY1" fmla="*/ 1583898 h 8505372"/>
                <a:gd name="connsiteX2" fmla="*/ 709519 w 7822586"/>
                <a:gd name="connsiteY2" fmla="*/ 904769 h 8505372"/>
                <a:gd name="connsiteX3" fmla="*/ 1872504 w 7822586"/>
                <a:gd name="connsiteY3" fmla="*/ 1439209 h 8505372"/>
                <a:gd name="connsiteX4" fmla="*/ 2543975 w 7822586"/>
                <a:gd name="connsiteY4" fmla="*/ 1190172 h 8505372"/>
                <a:gd name="connsiteX5" fmla="*/ 2926843 w 7822586"/>
                <a:gd name="connsiteY5" fmla="*/ 4750 h 8505372"/>
                <a:gd name="connsiteX6" fmla="*/ 3951861 w 7822586"/>
                <a:gd name="connsiteY6" fmla="*/ 0 h 8505372"/>
                <a:gd name="connsiteX7" fmla="*/ 4368801 w 7822586"/>
                <a:gd name="connsiteY7" fmla="*/ 1153645 h 8505372"/>
                <a:gd name="connsiteX8" fmla="*/ 5078480 w 7822586"/>
                <a:gd name="connsiteY8" fmla="*/ 1480456 h 8505372"/>
                <a:gd name="connsiteX9" fmla="*/ 6212888 w 7822586"/>
                <a:gd name="connsiteY9" fmla="*/ 885372 h 8505372"/>
                <a:gd name="connsiteX10" fmla="*/ 6877184 w 7822586"/>
                <a:gd name="connsiteY10" fmla="*/ 1561887 h 8505372"/>
                <a:gd name="connsiteX11" fmla="*/ 6317690 w 7822586"/>
                <a:gd name="connsiteY11" fmla="*/ 2670629 h 8505372"/>
                <a:gd name="connsiteX12" fmla="*/ 6595596 w 7822586"/>
                <a:gd name="connsiteY12" fmla="*/ 3396023 h 8505372"/>
                <a:gd name="connsiteX13" fmla="*/ 7812661 w 7822586"/>
                <a:gd name="connsiteY13" fmla="*/ 3744686 h 8505372"/>
                <a:gd name="connsiteX14" fmla="*/ 7822586 w 7822586"/>
                <a:gd name="connsiteY14" fmla="*/ 4684752 h 8505372"/>
                <a:gd name="connsiteX15" fmla="*/ 6588418 w 7822586"/>
                <a:gd name="connsiteY15" fmla="*/ 5079093 h 8505372"/>
                <a:gd name="connsiteX16" fmla="*/ 6297519 w 7822586"/>
                <a:gd name="connsiteY16" fmla="*/ 5750565 h 8505372"/>
                <a:gd name="connsiteX17" fmla="*/ 6923314 w 7822586"/>
                <a:gd name="connsiteY17" fmla="*/ 6896580 h 8505372"/>
                <a:gd name="connsiteX18" fmla="*/ 6274147 w 7822586"/>
                <a:gd name="connsiteY18" fmla="*/ 7605486 h 8505372"/>
                <a:gd name="connsiteX19" fmla="*/ 5117887 w 7822586"/>
                <a:gd name="connsiteY19" fmla="*/ 7077930 h 8505372"/>
                <a:gd name="connsiteX20" fmla="*/ 4402418 w 7822586"/>
                <a:gd name="connsiteY20" fmla="*/ 7351565 h 8505372"/>
                <a:gd name="connsiteX21" fmla="*/ 4053461 w 7822586"/>
                <a:gd name="connsiteY21" fmla="*/ 8490857 h 8505372"/>
                <a:gd name="connsiteX22" fmla="*/ 3066490 w 7822586"/>
                <a:gd name="connsiteY22" fmla="*/ 8505372 h 8505372"/>
                <a:gd name="connsiteX23" fmla="*/ 2616547 w 7822586"/>
                <a:gd name="connsiteY23" fmla="*/ 7329714 h 8505372"/>
                <a:gd name="connsiteX24" fmla="*/ 2050490 w 7822586"/>
                <a:gd name="connsiteY24" fmla="*/ 7097486 h 8505372"/>
                <a:gd name="connsiteX25" fmla="*/ 889347 w 7822586"/>
                <a:gd name="connsiteY25" fmla="*/ 7620000 h 8505372"/>
                <a:gd name="connsiteX26" fmla="*/ 192661 w 7822586"/>
                <a:gd name="connsiteY26" fmla="*/ 6981372 h 8505372"/>
                <a:gd name="connsiteX27" fmla="*/ 381347 w 7822586"/>
                <a:gd name="connsiteY27" fmla="*/ 6502400 h 8505372"/>
                <a:gd name="connsiteX28" fmla="*/ 1600547 w 7822586"/>
                <a:gd name="connsiteY28" fmla="*/ 3860800 h 8505372"/>
                <a:gd name="connsiteX29" fmla="*/ 393113 w 7822586"/>
                <a:gd name="connsiteY29" fmla="*/ 2294805 h 8505372"/>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66490 w 7822586"/>
                <a:gd name="connsiteY22" fmla="*/ 8505372 h 8546326"/>
                <a:gd name="connsiteX23" fmla="*/ 2616547 w 7822586"/>
                <a:gd name="connsiteY23" fmla="*/ 7329714 h 8546326"/>
                <a:gd name="connsiteX24" fmla="*/ 2050490 w 7822586"/>
                <a:gd name="connsiteY24" fmla="*/ 7097486 h 8546326"/>
                <a:gd name="connsiteX25" fmla="*/ 889347 w 7822586"/>
                <a:gd name="connsiteY25" fmla="*/ 7620000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16547 w 7822586"/>
                <a:gd name="connsiteY23" fmla="*/ 7329714 h 8546326"/>
                <a:gd name="connsiteX24" fmla="*/ 2050490 w 7822586"/>
                <a:gd name="connsiteY24" fmla="*/ 7097486 h 8546326"/>
                <a:gd name="connsiteX25" fmla="*/ 889347 w 7822586"/>
                <a:gd name="connsiteY25" fmla="*/ 7620000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2050490 w 7822586"/>
                <a:gd name="connsiteY24" fmla="*/ 7097486 h 8546326"/>
                <a:gd name="connsiteX25" fmla="*/ 889347 w 7822586"/>
                <a:gd name="connsiteY25" fmla="*/ 7620000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89347 w 7822586"/>
                <a:gd name="connsiteY25" fmla="*/ 7620000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92661 w 7822586"/>
                <a:gd name="connsiteY26" fmla="*/ 6981372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1600547 w 7822586"/>
                <a:gd name="connsiteY28" fmla="*/ 3860800 h 8546326"/>
                <a:gd name="connsiteX29" fmla="*/ 393113 w 7822586"/>
                <a:gd name="connsiteY29"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79664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185431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185431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81347 w 7822586"/>
                <a:gd name="connsiteY27" fmla="*/ 6502400 h 8546326"/>
                <a:gd name="connsiteX28" fmla="*/ 185431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1600547 w 7822586"/>
                <a:gd name="connsiteY29" fmla="*/ 3860800 h 8546326"/>
                <a:gd name="connsiteX30" fmla="*/ 393113 w 7822586"/>
                <a:gd name="connsiteY30"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1753180 w 7822586"/>
                <a:gd name="connsiteY29" fmla="*/ 4973717 h 8546326"/>
                <a:gd name="connsiteX30" fmla="*/ 1600547 w 7822586"/>
                <a:gd name="connsiteY30" fmla="*/ 3860800 h 8546326"/>
                <a:gd name="connsiteX31" fmla="*/ 393113 w 7822586"/>
                <a:gd name="connsiteY31"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1600547 w 7822586"/>
                <a:gd name="connsiteY30" fmla="*/ 3860800 h 8546326"/>
                <a:gd name="connsiteX31" fmla="*/ 393113 w 7822586"/>
                <a:gd name="connsiteY31"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1896450 w 7822586"/>
                <a:gd name="connsiteY30" fmla="*/ 4733529 h 8546326"/>
                <a:gd name="connsiteX31" fmla="*/ 1600547 w 7822586"/>
                <a:gd name="connsiteY31" fmla="*/ 3860800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1600547 w 7822586"/>
                <a:gd name="connsiteY31" fmla="*/ 3860800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123996 w 7822586"/>
                <a:gd name="connsiteY29" fmla="*/ 5361389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372611 w 7822586"/>
                <a:gd name="connsiteY29" fmla="*/ 5525728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372611 w 7822586"/>
                <a:gd name="connsiteY29" fmla="*/ 5525728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372611 w 7822586"/>
                <a:gd name="connsiteY29" fmla="*/ 5525728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469529 w 7822586"/>
                <a:gd name="connsiteY29" fmla="*/ 5626860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469529 w 7822586"/>
                <a:gd name="connsiteY29" fmla="*/ 5626860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469529 w 7822586"/>
                <a:gd name="connsiteY29" fmla="*/ 5626860 h 8546326"/>
                <a:gd name="connsiteX30" fmla="*/ 5212730 w 7822586"/>
                <a:gd name="connsiteY30" fmla="*/ 4156235 h 8546326"/>
                <a:gd name="connsiteX31" fmla="*/ 2911047 w 7822586"/>
                <a:gd name="connsiteY31" fmla="*/ 1960365 h 8546326"/>
                <a:gd name="connsiteX32" fmla="*/ 393113 w 7822586"/>
                <a:gd name="connsiteY32" fmla="*/ 2294805 h 8546326"/>
                <a:gd name="connsiteX0" fmla="*/ 393113 w 7822586"/>
                <a:gd name="connsiteY0" fmla="*/ 2294805 h 8546326"/>
                <a:gd name="connsiteX1" fmla="*/ 0 w 7822586"/>
                <a:gd name="connsiteY1" fmla="*/ 1583898 h 8546326"/>
                <a:gd name="connsiteX2" fmla="*/ 709519 w 7822586"/>
                <a:gd name="connsiteY2" fmla="*/ 904769 h 8546326"/>
                <a:gd name="connsiteX3" fmla="*/ 1872504 w 7822586"/>
                <a:gd name="connsiteY3" fmla="*/ 1439209 h 8546326"/>
                <a:gd name="connsiteX4" fmla="*/ 2543975 w 7822586"/>
                <a:gd name="connsiteY4" fmla="*/ 1190172 h 8546326"/>
                <a:gd name="connsiteX5" fmla="*/ 2926843 w 7822586"/>
                <a:gd name="connsiteY5" fmla="*/ 4750 h 8546326"/>
                <a:gd name="connsiteX6" fmla="*/ 3951861 w 7822586"/>
                <a:gd name="connsiteY6" fmla="*/ 0 h 8546326"/>
                <a:gd name="connsiteX7" fmla="*/ 4368801 w 7822586"/>
                <a:gd name="connsiteY7" fmla="*/ 1153645 h 8546326"/>
                <a:gd name="connsiteX8" fmla="*/ 5078480 w 7822586"/>
                <a:gd name="connsiteY8" fmla="*/ 1480456 h 8546326"/>
                <a:gd name="connsiteX9" fmla="*/ 6212888 w 7822586"/>
                <a:gd name="connsiteY9" fmla="*/ 885372 h 8546326"/>
                <a:gd name="connsiteX10" fmla="*/ 6877184 w 7822586"/>
                <a:gd name="connsiteY10" fmla="*/ 1561887 h 8546326"/>
                <a:gd name="connsiteX11" fmla="*/ 6317690 w 7822586"/>
                <a:gd name="connsiteY11" fmla="*/ 2670629 h 8546326"/>
                <a:gd name="connsiteX12" fmla="*/ 6595596 w 7822586"/>
                <a:gd name="connsiteY12" fmla="*/ 3396023 h 8546326"/>
                <a:gd name="connsiteX13" fmla="*/ 7812661 w 7822586"/>
                <a:gd name="connsiteY13" fmla="*/ 3744686 h 8546326"/>
                <a:gd name="connsiteX14" fmla="*/ 7822586 w 7822586"/>
                <a:gd name="connsiteY14" fmla="*/ 4684752 h 8546326"/>
                <a:gd name="connsiteX15" fmla="*/ 6588418 w 7822586"/>
                <a:gd name="connsiteY15" fmla="*/ 5079093 h 8546326"/>
                <a:gd name="connsiteX16" fmla="*/ 6297519 w 7822586"/>
                <a:gd name="connsiteY16" fmla="*/ 5750565 h 8546326"/>
                <a:gd name="connsiteX17" fmla="*/ 6923314 w 7822586"/>
                <a:gd name="connsiteY17" fmla="*/ 6896580 h 8546326"/>
                <a:gd name="connsiteX18" fmla="*/ 6274147 w 7822586"/>
                <a:gd name="connsiteY18" fmla="*/ 7605486 h 8546326"/>
                <a:gd name="connsiteX19" fmla="*/ 5117887 w 7822586"/>
                <a:gd name="connsiteY19" fmla="*/ 7077930 h 8546326"/>
                <a:gd name="connsiteX20" fmla="*/ 4402418 w 7822586"/>
                <a:gd name="connsiteY20" fmla="*/ 7351565 h 8546326"/>
                <a:gd name="connsiteX21" fmla="*/ 4013120 w 7822586"/>
                <a:gd name="connsiteY21" fmla="*/ 8546326 h 8546326"/>
                <a:gd name="connsiteX22" fmla="*/ 3058085 w 7822586"/>
                <a:gd name="connsiteY22" fmla="*/ 8527223 h 8546326"/>
                <a:gd name="connsiteX23" fmla="*/ 2698910 w 7822586"/>
                <a:gd name="connsiteY23" fmla="*/ 7354927 h 8546326"/>
                <a:gd name="connsiteX24" fmla="*/ 1968127 w 7822586"/>
                <a:gd name="connsiteY24" fmla="*/ 7050422 h 8546326"/>
                <a:gd name="connsiteX25" fmla="*/ 860772 w 7822586"/>
                <a:gd name="connsiteY25" fmla="*/ 7651937 h 8546326"/>
                <a:gd name="connsiteX26" fmla="*/ 167448 w 7822586"/>
                <a:gd name="connsiteY26" fmla="*/ 6964563 h 8546326"/>
                <a:gd name="connsiteX27" fmla="*/ 351850 w 7822586"/>
                <a:gd name="connsiteY27" fmla="*/ 6540324 h 8546326"/>
                <a:gd name="connsiteX28" fmla="*/ 1854312 w 7822586"/>
                <a:gd name="connsiteY28" fmla="*/ 5605791 h 8546326"/>
                <a:gd name="connsiteX29" fmla="*/ 2469529 w 7822586"/>
                <a:gd name="connsiteY29" fmla="*/ 5626860 h 8546326"/>
                <a:gd name="connsiteX30" fmla="*/ 5212730 w 7822586"/>
                <a:gd name="connsiteY30" fmla="*/ 4156235 h 8546326"/>
                <a:gd name="connsiteX31" fmla="*/ 2911047 w 7822586"/>
                <a:gd name="connsiteY31" fmla="*/ 1960365 h 8546326"/>
                <a:gd name="connsiteX32" fmla="*/ 393113 w 7822586"/>
                <a:gd name="connsiteY32" fmla="*/ 2294805 h 854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822586" h="8546326">
                  <a:moveTo>
                    <a:pt x="393113" y="2294805"/>
                  </a:moveTo>
                  <a:lnTo>
                    <a:pt x="0" y="1583898"/>
                  </a:lnTo>
                  <a:lnTo>
                    <a:pt x="709519" y="904769"/>
                  </a:lnTo>
                  <a:lnTo>
                    <a:pt x="1872504" y="1439209"/>
                  </a:lnTo>
                  <a:lnTo>
                    <a:pt x="2543975" y="1190172"/>
                  </a:lnTo>
                  <a:lnTo>
                    <a:pt x="2926843" y="4750"/>
                  </a:lnTo>
                  <a:lnTo>
                    <a:pt x="3951861" y="0"/>
                  </a:lnTo>
                  <a:lnTo>
                    <a:pt x="4368801" y="1153645"/>
                  </a:lnTo>
                  <a:lnTo>
                    <a:pt x="5078480" y="1480456"/>
                  </a:lnTo>
                  <a:lnTo>
                    <a:pt x="6212888" y="885372"/>
                  </a:lnTo>
                  <a:lnTo>
                    <a:pt x="6877184" y="1561887"/>
                  </a:lnTo>
                  <a:lnTo>
                    <a:pt x="6317690" y="2670629"/>
                  </a:lnTo>
                  <a:lnTo>
                    <a:pt x="6595596" y="3396023"/>
                  </a:lnTo>
                  <a:lnTo>
                    <a:pt x="7812661" y="3744686"/>
                  </a:lnTo>
                  <a:lnTo>
                    <a:pt x="7822586" y="4684752"/>
                  </a:lnTo>
                  <a:lnTo>
                    <a:pt x="6588418" y="5079093"/>
                  </a:lnTo>
                  <a:lnTo>
                    <a:pt x="6297519" y="5750565"/>
                  </a:lnTo>
                  <a:lnTo>
                    <a:pt x="6923314" y="6896580"/>
                  </a:lnTo>
                  <a:lnTo>
                    <a:pt x="6274147" y="7605486"/>
                  </a:lnTo>
                  <a:lnTo>
                    <a:pt x="5117887" y="7077930"/>
                  </a:lnTo>
                  <a:lnTo>
                    <a:pt x="4402418" y="7351565"/>
                  </a:lnTo>
                  <a:lnTo>
                    <a:pt x="4013120" y="8546326"/>
                  </a:lnTo>
                  <a:lnTo>
                    <a:pt x="3058085" y="8527223"/>
                  </a:lnTo>
                  <a:lnTo>
                    <a:pt x="2698910" y="7354927"/>
                  </a:lnTo>
                  <a:lnTo>
                    <a:pt x="1968127" y="7050422"/>
                  </a:lnTo>
                  <a:lnTo>
                    <a:pt x="860772" y="7651937"/>
                  </a:lnTo>
                  <a:lnTo>
                    <a:pt x="167448" y="6964563"/>
                  </a:lnTo>
                  <a:lnTo>
                    <a:pt x="351850" y="6540324"/>
                  </a:lnTo>
                  <a:cubicBezTo>
                    <a:pt x="986108" y="6351013"/>
                    <a:pt x="1392821" y="6014221"/>
                    <a:pt x="1854312" y="5605791"/>
                  </a:cubicBezTo>
                  <a:cubicBezTo>
                    <a:pt x="1947015" y="5486399"/>
                    <a:pt x="2102927" y="5367008"/>
                    <a:pt x="2469529" y="5626860"/>
                  </a:cubicBezTo>
                  <a:cubicBezTo>
                    <a:pt x="3033479" y="6114258"/>
                    <a:pt x="5245894" y="6366464"/>
                    <a:pt x="5212730" y="4156235"/>
                  </a:cubicBezTo>
                  <a:cubicBezTo>
                    <a:pt x="5150069" y="2839337"/>
                    <a:pt x="3714316" y="2270603"/>
                    <a:pt x="2911047" y="1960365"/>
                  </a:cubicBezTo>
                  <a:cubicBezTo>
                    <a:pt x="1897086" y="1603775"/>
                    <a:pt x="785583" y="2037298"/>
                    <a:pt x="393113" y="2294805"/>
                  </a:cubicBezTo>
                  <a:close/>
                </a:path>
              </a:pathLst>
            </a:custGeom>
            <a:solidFill>
              <a:srgbClr val="90909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82"/>
            </a:p>
          </p:txBody>
        </p:sp>
        <p:sp>
          <p:nvSpPr>
            <p:cNvPr id="50" name="Freeform: Shape 49"/>
            <p:cNvSpPr/>
            <p:nvPr/>
          </p:nvSpPr>
          <p:spPr>
            <a:xfrm>
              <a:off x="-12693011" y="456154"/>
              <a:ext cx="7353649" cy="7132230"/>
            </a:xfrm>
            <a:custGeom>
              <a:avLst/>
              <a:gdLst>
                <a:gd name="connsiteX0" fmla="*/ 6263125 w 7353649"/>
                <a:gd name="connsiteY0" fmla="*/ 0 h 7132230"/>
                <a:gd name="connsiteX1" fmla="*/ 6408247 w 7353649"/>
                <a:gd name="connsiteY1" fmla="*/ 147791 h 7132230"/>
                <a:gd name="connsiteX2" fmla="*/ 5848753 w 7353649"/>
                <a:gd name="connsiteY2" fmla="*/ 1256533 h 7132230"/>
                <a:gd name="connsiteX3" fmla="*/ 6126659 w 7353649"/>
                <a:gd name="connsiteY3" fmla="*/ 1981927 h 7132230"/>
                <a:gd name="connsiteX4" fmla="*/ 7343724 w 7353649"/>
                <a:gd name="connsiteY4" fmla="*/ 2330590 h 7132230"/>
                <a:gd name="connsiteX5" fmla="*/ 7353649 w 7353649"/>
                <a:gd name="connsiteY5" fmla="*/ 3270656 h 7132230"/>
                <a:gd name="connsiteX6" fmla="*/ 6119481 w 7353649"/>
                <a:gd name="connsiteY6" fmla="*/ 3664997 h 7132230"/>
                <a:gd name="connsiteX7" fmla="*/ 5828582 w 7353649"/>
                <a:gd name="connsiteY7" fmla="*/ 4336469 h 7132230"/>
                <a:gd name="connsiteX8" fmla="*/ 6454377 w 7353649"/>
                <a:gd name="connsiteY8" fmla="*/ 5482484 h 7132230"/>
                <a:gd name="connsiteX9" fmla="*/ 5805210 w 7353649"/>
                <a:gd name="connsiteY9" fmla="*/ 6191390 h 7132230"/>
                <a:gd name="connsiteX10" fmla="*/ 4648950 w 7353649"/>
                <a:gd name="connsiteY10" fmla="*/ 5663834 h 7132230"/>
                <a:gd name="connsiteX11" fmla="*/ 3933481 w 7353649"/>
                <a:gd name="connsiteY11" fmla="*/ 5937469 h 7132230"/>
                <a:gd name="connsiteX12" fmla="*/ 3544183 w 7353649"/>
                <a:gd name="connsiteY12" fmla="*/ 7132230 h 7132230"/>
                <a:gd name="connsiteX13" fmla="*/ 2589148 w 7353649"/>
                <a:gd name="connsiteY13" fmla="*/ 7113127 h 7132230"/>
                <a:gd name="connsiteX14" fmla="*/ 2229973 w 7353649"/>
                <a:gd name="connsiteY14" fmla="*/ 5940831 h 7132230"/>
                <a:gd name="connsiteX15" fmla="*/ 1499190 w 7353649"/>
                <a:gd name="connsiteY15" fmla="*/ 5636326 h 7132230"/>
                <a:gd name="connsiteX16" fmla="*/ 391835 w 7353649"/>
                <a:gd name="connsiteY16" fmla="*/ 6237841 h 7132230"/>
                <a:gd name="connsiteX17" fmla="*/ 0 w 7353649"/>
                <a:gd name="connsiteY17" fmla="*/ 5849369 h 7132230"/>
                <a:gd name="connsiteX18" fmla="*/ 1850329 w 7353649"/>
                <a:gd name="connsiteY18" fmla="*/ 4121277 h 7132230"/>
                <a:gd name="connsiteX19" fmla="*/ 1872705 w 7353649"/>
                <a:gd name="connsiteY19" fmla="*/ 4132356 h 7132230"/>
                <a:gd name="connsiteX20" fmla="*/ 2000592 w 7353649"/>
                <a:gd name="connsiteY20" fmla="*/ 4212764 h 7132230"/>
                <a:gd name="connsiteX21" fmla="*/ 4743793 w 7353649"/>
                <a:gd name="connsiteY21" fmla="*/ 2742139 h 7132230"/>
                <a:gd name="connsiteX22" fmla="*/ 4470680 w 7353649"/>
                <a:gd name="connsiteY22" fmla="*/ 1887095 h 7132230"/>
                <a:gd name="connsiteX23" fmla="*/ 4378746 w 7353649"/>
                <a:gd name="connsiteY23" fmla="*/ 1759894 h 7132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353649" h="7132230">
                  <a:moveTo>
                    <a:pt x="6263125" y="0"/>
                  </a:moveTo>
                  <a:lnTo>
                    <a:pt x="6408247" y="147791"/>
                  </a:lnTo>
                  <a:lnTo>
                    <a:pt x="5848753" y="1256533"/>
                  </a:lnTo>
                  <a:lnTo>
                    <a:pt x="6126659" y="1981927"/>
                  </a:lnTo>
                  <a:lnTo>
                    <a:pt x="7343724" y="2330590"/>
                  </a:lnTo>
                  <a:lnTo>
                    <a:pt x="7353649" y="3270656"/>
                  </a:lnTo>
                  <a:lnTo>
                    <a:pt x="6119481" y="3664997"/>
                  </a:lnTo>
                  <a:lnTo>
                    <a:pt x="5828582" y="4336469"/>
                  </a:lnTo>
                  <a:lnTo>
                    <a:pt x="6454377" y="5482484"/>
                  </a:lnTo>
                  <a:lnTo>
                    <a:pt x="5805210" y="6191390"/>
                  </a:lnTo>
                  <a:lnTo>
                    <a:pt x="4648950" y="5663834"/>
                  </a:lnTo>
                  <a:lnTo>
                    <a:pt x="3933481" y="5937469"/>
                  </a:lnTo>
                  <a:lnTo>
                    <a:pt x="3544183" y="7132230"/>
                  </a:lnTo>
                  <a:lnTo>
                    <a:pt x="2589148" y="7113127"/>
                  </a:lnTo>
                  <a:lnTo>
                    <a:pt x="2229973" y="5940831"/>
                  </a:lnTo>
                  <a:lnTo>
                    <a:pt x="1499190" y="5636326"/>
                  </a:lnTo>
                  <a:lnTo>
                    <a:pt x="391835" y="6237841"/>
                  </a:lnTo>
                  <a:lnTo>
                    <a:pt x="0" y="5849369"/>
                  </a:lnTo>
                  <a:lnTo>
                    <a:pt x="1850329" y="4121277"/>
                  </a:lnTo>
                  <a:lnTo>
                    <a:pt x="1872705" y="4132356"/>
                  </a:lnTo>
                  <a:cubicBezTo>
                    <a:pt x="1912234" y="4153727"/>
                    <a:pt x="1954767" y="4180283"/>
                    <a:pt x="2000592" y="4212764"/>
                  </a:cubicBezTo>
                  <a:cubicBezTo>
                    <a:pt x="2564542" y="4700162"/>
                    <a:pt x="4776957" y="4952368"/>
                    <a:pt x="4743793" y="2742139"/>
                  </a:cubicBezTo>
                  <a:cubicBezTo>
                    <a:pt x="4728128" y="2412915"/>
                    <a:pt x="4626644" y="2130450"/>
                    <a:pt x="4470680" y="1887095"/>
                  </a:cubicBezTo>
                  <a:lnTo>
                    <a:pt x="4378746" y="1759894"/>
                  </a:lnTo>
                  <a:close/>
                </a:path>
              </a:pathLst>
            </a:custGeom>
            <a:solidFill>
              <a:srgbClr val="7A7A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82"/>
            </a:p>
          </p:txBody>
        </p:sp>
        <p:sp>
          <p:nvSpPr>
            <p:cNvPr id="59" name="Freeform: Shape 58"/>
            <p:cNvSpPr/>
            <p:nvPr/>
          </p:nvSpPr>
          <p:spPr>
            <a:xfrm>
              <a:off x="-15207205" y="1321875"/>
              <a:ext cx="6434180" cy="1862570"/>
            </a:xfrm>
            <a:custGeom>
              <a:avLst/>
              <a:gdLst>
                <a:gd name="connsiteX0" fmla="*/ 6157732 w 6157732"/>
                <a:gd name="connsiteY0" fmla="*/ 914400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7732 w 6157732"/>
                <a:gd name="connsiteY11" fmla="*/ 914400 h 1551008"/>
                <a:gd name="connsiteX0" fmla="*/ 6154919 w 6157732"/>
                <a:gd name="connsiteY0" fmla="*/ 1018501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4919 w 6157732"/>
                <a:gd name="connsiteY11" fmla="*/ 1018501 h 1551008"/>
                <a:gd name="connsiteX0" fmla="*/ 5903089 w 6157732"/>
                <a:gd name="connsiteY0" fmla="*/ 1180618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39970 w 6264646"/>
                <a:gd name="connsiteY3" fmla="*/ 92598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903089 w 6264646"/>
                <a:gd name="connsiteY10" fmla="*/ 118061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88816"/>
                <a:gd name="connsiteY0" fmla="*/ 1220008 h 1551008"/>
                <a:gd name="connsiteX1" fmla="*/ 6264646 w 6288816"/>
                <a:gd name="connsiteY1" fmla="*/ 936018 h 1551008"/>
                <a:gd name="connsiteX2" fmla="*/ 4734046 w 6288816"/>
                <a:gd name="connsiteY2" fmla="*/ 0 h 1551008"/>
                <a:gd name="connsiteX3" fmla="*/ 2903394 w 6288816"/>
                <a:gd name="connsiteY3" fmla="*/ 134801 h 1551008"/>
                <a:gd name="connsiteX4" fmla="*/ 1562582 w 6288816"/>
                <a:gd name="connsiteY4" fmla="*/ 1134319 h 1551008"/>
                <a:gd name="connsiteX5" fmla="*/ 266218 w 6288816"/>
                <a:gd name="connsiteY5" fmla="*/ 983848 h 1551008"/>
                <a:gd name="connsiteX6" fmla="*/ 0 w 6288816"/>
                <a:gd name="connsiteY6" fmla="*/ 1296365 h 1551008"/>
                <a:gd name="connsiteX7" fmla="*/ 1747777 w 6288816"/>
                <a:gd name="connsiteY7" fmla="*/ 1551008 h 1551008"/>
                <a:gd name="connsiteX8" fmla="*/ 3078545 w 6288816"/>
                <a:gd name="connsiteY8" fmla="*/ 646260 h 1551008"/>
                <a:gd name="connsiteX9" fmla="*/ 4609216 w 6288816"/>
                <a:gd name="connsiteY9" fmla="*/ 505191 h 1551008"/>
                <a:gd name="connsiteX10" fmla="*/ 5877767 w 6288816"/>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64662 h 1595662"/>
                <a:gd name="connsiteX1" fmla="*/ 6264646 w 6299907"/>
                <a:gd name="connsiteY1" fmla="*/ 980672 h 1595662"/>
                <a:gd name="connsiteX2" fmla="*/ 4734046 w 6299907"/>
                <a:gd name="connsiteY2" fmla="*/ 44654 h 1595662"/>
                <a:gd name="connsiteX3" fmla="*/ 2903394 w 6299907"/>
                <a:gd name="connsiteY3" fmla="*/ 179455 h 1595662"/>
                <a:gd name="connsiteX4" fmla="*/ 1562582 w 6299907"/>
                <a:gd name="connsiteY4" fmla="*/ 1178973 h 1595662"/>
                <a:gd name="connsiteX5" fmla="*/ 266218 w 6299907"/>
                <a:gd name="connsiteY5" fmla="*/ 1028502 h 1595662"/>
                <a:gd name="connsiteX6" fmla="*/ 0 w 6299907"/>
                <a:gd name="connsiteY6" fmla="*/ 1341019 h 1595662"/>
                <a:gd name="connsiteX7" fmla="*/ 1747777 w 6299907"/>
                <a:gd name="connsiteY7" fmla="*/ 1595662 h 1595662"/>
                <a:gd name="connsiteX8" fmla="*/ 3078545 w 6299907"/>
                <a:gd name="connsiteY8" fmla="*/ 690914 h 1595662"/>
                <a:gd name="connsiteX9" fmla="*/ 4609216 w 6299907"/>
                <a:gd name="connsiteY9" fmla="*/ 549845 h 1595662"/>
                <a:gd name="connsiteX10" fmla="*/ 5877767 w 6299907"/>
                <a:gd name="connsiteY10" fmla="*/ 1264662 h 1595662"/>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350331"/>
                <a:gd name="connsiteY0" fmla="*/ 1303484 h 1634484"/>
                <a:gd name="connsiteX1" fmla="*/ 6264646 w 6350331"/>
                <a:gd name="connsiteY1" fmla="*/ 1019494 h 1634484"/>
                <a:gd name="connsiteX2" fmla="*/ 4734046 w 6350331"/>
                <a:gd name="connsiteY2" fmla="*/ 83476 h 1634484"/>
                <a:gd name="connsiteX3" fmla="*/ 2903394 w 6350331"/>
                <a:gd name="connsiteY3" fmla="*/ 218277 h 1634484"/>
                <a:gd name="connsiteX4" fmla="*/ 1562582 w 6350331"/>
                <a:gd name="connsiteY4" fmla="*/ 1217795 h 1634484"/>
                <a:gd name="connsiteX5" fmla="*/ 266218 w 6350331"/>
                <a:gd name="connsiteY5" fmla="*/ 1067324 h 1634484"/>
                <a:gd name="connsiteX6" fmla="*/ 0 w 6350331"/>
                <a:gd name="connsiteY6" fmla="*/ 1379841 h 1634484"/>
                <a:gd name="connsiteX7" fmla="*/ 1747777 w 6350331"/>
                <a:gd name="connsiteY7" fmla="*/ 1634484 h 1634484"/>
                <a:gd name="connsiteX8" fmla="*/ 3078545 w 6350331"/>
                <a:gd name="connsiteY8" fmla="*/ 729736 h 1634484"/>
                <a:gd name="connsiteX9" fmla="*/ 4609216 w 6350331"/>
                <a:gd name="connsiteY9" fmla="*/ 588667 h 1634484"/>
                <a:gd name="connsiteX10" fmla="*/ 5877767 w 6350331"/>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840557"/>
                <a:gd name="connsiteX1" fmla="*/ 6264646 w 6351908"/>
                <a:gd name="connsiteY1" fmla="*/ 1019494 h 1840557"/>
                <a:gd name="connsiteX2" fmla="*/ 4734046 w 6351908"/>
                <a:gd name="connsiteY2" fmla="*/ 83476 h 1840557"/>
                <a:gd name="connsiteX3" fmla="*/ 2903394 w 6351908"/>
                <a:gd name="connsiteY3" fmla="*/ 218277 h 1840557"/>
                <a:gd name="connsiteX4" fmla="*/ 1556955 w 6351908"/>
                <a:gd name="connsiteY4" fmla="*/ 1237490 h 1840557"/>
                <a:gd name="connsiteX5" fmla="*/ 274659 w 6351908"/>
                <a:gd name="connsiteY5" fmla="*/ 1016680 h 1840557"/>
                <a:gd name="connsiteX6" fmla="*/ 0 w 6351908"/>
                <a:gd name="connsiteY6" fmla="*/ 1379841 h 1840557"/>
                <a:gd name="connsiteX7" fmla="*/ 1719641 w 6351908"/>
                <a:gd name="connsiteY7" fmla="*/ 1710450 h 1840557"/>
                <a:gd name="connsiteX8" fmla="*/ 3078545 w 6351908"/>
                <a:gd name="connsiteY8" fmla="*/ 729736 h 1840557"/>
                <a:gd name="connsiteX9" fmla="*/ 4609216 w 6351908"/>
                <a:gd name="connsiteY9" fmla="*/ 588667 h 1840557"/>
                <a:gd name="connsiteX10" fmla="*/ 5877767 w 6351908"/>
                <a:gd name="connsiteY10" fmla="*/ 1303484 h 1840557"/>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980675 w 6454816"/>
                <a:gd name="connsiteY0" fmla="*/ 1303484 h 1893535"/>
                <a:gd name="connsiteX1" fmla="*/ 6367554 w 6454816"/>
                <a:gd name="connsiteY1" fmla="*/ 1019494 h 1893535"/>
                <a:gd name="connsiteX2" fmla="*/ 4836954 w 6454816"/>
                <a:gd name="connsiteY2" fmla="*/ 83476 h 1893535"/>
                <a:gd name="connsiteX3" fmla="*/ 3006302 w 6454816"/>
                <a:gd name="connsiteY3" fmla="*/ 218277 h 1893535"/>
                <a:gd name="connsiteX4" fmla="*/ 1659863 w 6454816"/>
                <a:gd name="connsiteY4" fmla="*/ 1237490 h 1893535"/>
                <a:gd name="connsiteX5" fmla="*/ 377567 w 6454816"/>
                <a:gd name="connsiteY5" fmla="*/ 1016680 h 1893535"/>
                <a:gd name="connsiteX6" fmla="*/ 102908 w 6454816"/>
                <a:gd name="connsiteY6" fmla="*/ 1379841 h 1893535"/>
                <a:gd name="connsiteX7" fmla="*/ 1822549 w 6454816"/>
                <a:gd name="connsiteY7" fmla="*/ 1710450 h 1893535"/>
                <a:gd name="connsiteX8" fmla="*/ 3181453 w 6454816"/>
                <a:gd name="connsiteY8" fmla="*/ 729736 h 1893535"/>
                <a:gd name="connsiteX9" fmla="*/ 4712124 w 6454816"/>
                <a:gd name="connsiteY9" fmla="*/ 588667 h 1893535"/>
                <a:gd name="connsiteX10" fmla="*/ 5980675 w 6454816"/>
                <a:gd name="connsiteY10" fmla="*/ 1303484 h 1893535"/>
                <a:gd name="connsiteX0" fmla="*/ 5961776 w 6435917"/>
                <a:gd name="connsiteY0" fmla="*/ 1303484 h 1893535"/>
                <a:gd name="connsiteX1" fmla="*/ 6348655 w 6435917"/>
                <a:gd name="connsiteY1" fmla="*/ 1019494 h 1893535"/>
                <a:gd name="connsiteX2" fmla="*/ 4818055 w 6435917"/>
                <a:gd name="connsiteY2" fmla="*/ 83476 h 1893535"/>
                <a:gd name="connsiteX3" fmla="*/ 2987403 w 6435917"/>
                <a:gd name="connsiteY3" fmla="*/ 218277 h 1893535"/>
                <a:gd name="connsiteX4" fmla="*/ 1640964 w 6435917"/>
                <a:gd name="connsiteY4" fmla="*/ 1237490 h 1893535"/>
                <a:gd name="connsiteX5" fmla="*/ 358668 w 6435917"/>
                <a:gd name="connsiteY5" fmla="*/ 1016680 h 1893535"/>
                <a:gd name="connsiteX6" fmla="*/ 84009 w 6435917"/>
                <a:gd name="connsiteY6" fmla="*/ 1379841 h 1893535"/>
                <a:gd name="connsiteX7" fmla="*/ 1803650 w 6435917"/>
                <a:gd name="connsiteY7" fmla="*/ 1710450 h 1893535"/>
                <a:gd name="connsiteX8" fmla="*/ 3162554 w 6435917"/>
                <a:gd name="connsiteY8" fmla="*/ 729736 h 1893535"/>
                <a:gd name="connsiteX9" fmla="*/ 4693225 w 6435917"/>
                <a:gd name="connsiteY9" fmla="*/ 588667 h 1893535"/>
                <a:gd name="connsiteX10" fmla="*/ 5961776 w 6435917"/>
                <a:gd name="connsiteY10" fmla="*/ 1303484 h 1893535"/>
                <a:gd name="connsiteX0" fmla="*/ 5961776 w 6435917"/>
                <a:gd name="connsiteY0" fmla="*/ 1303484 h 1892323"/>
                <a:gd name="connsiteX1" fmla="*/ 6348655 w 6435917"/>
                <a:gd name="connsiteY1" fmla="*/ 1019494 h 1892323"/>
                <a:gd name="connsiteX2" fmla="*/ 4818055 w 6435917"/>
                <a:gd name="connsiteY2" fmla="*/ 83476 h 1892323"/>
                <a:gd name="connsiteX3" fmla="*/ 2987403 w 6435917"/>
                <a:gd name="connsiteY3" fmla="*/ 218277 h 1892323"/>
                <a:gd name="connsiteX4" fmla="*/ 1640964 w 6435917"/>
                <a:gd name="connsiteY4" fmla="*/ 1237490 h 1892323"/>
                <a:gd name="connsiteX5" fmla="*/ 358668 w 6435917"/>
                <a:gd name="connsiteY5" fmla="*/ 1016680 h 1892323"/>
                <a:gd name="connsiteX6" fmla="*/ 84009 w 6435917"/>
                <a:gd name="connsiteY6" fmla="*/ 1379841 h 1892323"/>
                <a:gd name="connsiteX7" fmla="*/ 1803650 w 6435917"/>
                <a:gd name="connsiteY7" fmla="*/ 1710450 h 1892323"/>
                <a:gd name="connsiteX8" fmla="*/ 3162554 w 6435917"/>
                <a:gd name="connsiteY8" fmla="*/ 729736 h 1892323"/>
                <a:gd name="connsiteX9" fmla="*/ 4693225 w 6435917"/>
                <a:gd name="connsiteY9" fmla="*/ 588667 h 1892323"/>
                <a:gd name="connsiteX10" fmla="*/ 5961776 w 6435917"/>
                <a:gd name="connsiteY10" fmla="*/ 1303484 h 1892323"/>
                <a:gd name="connsiteX0" fmla="*/ 5941465 w 6415606"/>
                <a:gd name="connsiteY0" fmla="*/ 1303484 h 1902580"/>
                <a:gd name="connsiteX1" fmla="*/ 6328344 w 6415606"/>
                <a:gd name="connsiteY1" fmla="*/ 1019494 h 1902580"/>
                <a:gd name="connsiteX2" fmla="*/ 4797744 w 6415606"/>
                <a:gd name="connsiteY2" fmla="*/ 83476 h 1902580"/>
                <a:gd name="connsiteX3" fmla="*/ 2967092 w 6415606"/>
                <a:gd name="connsiteY3" fmla="*/ 218277 h 1902580"/>
                <a:gd name="connsiteX4" fmla="*/ 1620653 w 6415606"/>
                <a:gd name="connsiteY4" fmla="*/ 1237490 h 1902580"/>
                <a:gd name="connsiteX5" fmla="*/ 338357 w 6415606"/>
                <a:gd name="connsiteY5" fmla="*/ 1016680 h 1902580"/>
                <a:gd name="connsiteX6" fmla="*/ 89019 w 6415606"/>
                <a:gd name="connsiteY6" fmla="*/ 1419231 h 1902580"/>
                <a:gd name="connsiteX7" fmla="*/ 1783339 w 6415606"/>
                <a:gd name="connsiteY7" fmla="*/ 1710450 h 1902580"/>
                <a:gd name="connsiteX8" fmla="*/ 3142243 w 6415606"/>
                <a:gd name="connsiteY8" fmla="*/ 729736 h 1902580"/>
                <a:gd name="connsiteX9" fmla="*/ 4672914 w 6415606"/>
                <a:gd name="connsiteY9" fmla="*/ 588667 h 1902580"/>
                <a:gd name="connsiteX10" fmla="*/ 5941465 w 6415606"/>
                <a:gd name="connsiteY10" fmla="*/ 1303484 h 1902580"/>
                <a:gd name="connsiteX0" fmla="*/ 5960039 w 6434180"/>
                <a:gd name="connsiteY0" fmla="*/ 1303484 h 1902580"/>
                <a:gd name="connsiteX1" fmla="*/ 6346918 w 6434180"/>
                <a:gd name="connsiteY1" fmla="*/ 1019494 h 1902580"/>
                <a:gd name="connsiteX2" fmla="*/ 4816318 w 6434180"/>
                <a:gd name="connsiteY2" fmla="*/ 83476 h 1902580"/>
                <a:gd name="connsiteX3" fmla="*/ 2985666 w 6434180"/>
                <a:gd name="connsiteY3" fmla="*/ 218277 h 1902580"/>
                <a:gd name="connsiteX4" fmla="*/ 1639227 w 6434180"/>
                <a:gd name="connsiteY4" fmla="*/ 1237490 h 1902580"/>
                <a:gd name="connsiteX5" fmla="*/ 356931 w 6434180"/>
                <a:gd name="connsiteY5" fmla="*/ 1016680 h 1902580"/>
                <a:gd name="connsiteX6" fmla="*/ 107593 w 6434180"/>
                <a:gd name="connsiteY6" fmla="*/ 1419231 h 1902580"/>
                <a:gd name="connsiteX7" fmla="*/ 1801913 w 6434180"/>
                <a:gd name="connsiteY7" fmla="*/ 1710450 h 1902580"/>
                <a:gd name="connsiteX8" fmla="*/ 3160817 w 6434180"/>
                <a:gd name="connsiteY8" fmla="*/ 729736 h 1902580"/>
                <a:gd name="connsiteX9" fmla="*/ 4691488 w 6434180"/>
                <a:gd name="connsiteY9" fmla="*/ 588667 h 1902580"/>
                <a:gd name="connsiteX10" fmla="*/ 5960039 w 6434180"/>
                <a:gd name="connsiteY10" fmla="*/ 1303484 h 1902580"/>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946772"/>
                <a:gd name="connsiteX1" fmla="*/ 6346918 w 6434180"/>
                <a:gd name="connsiteY1" fmla="*/ 1019494 h 1946772"/>
                <a:gd name="connsiteX2" fmla="*/ 4816318 w 6434180"/>
                <a:gd name="connsiteY2" fmla="*/ 83476 h 1946772"/>
                <a:gd name="connsiteX3" fmla="*/ 2985666 w 6434180"/>
                <a:gd name="connsiteY3" fmla="*/ 218277 h 1946772"/>
                <a:gd name="connsiteX4" fmla="*/ 1639227 w 6434180"/>
                <a:gd name="connsiteY4" fmla="*/ 1237490 h 1946772"/>
                <a:gd name="connsiteX5" fmla="*/ 356931 w 6434180"/>
                <a:gd name="connsiteY5" fmla="*/ 1016680 h 1946772"/>
                <a:gd name="connsiteX6" fmla="*/ 107593 w 6434180"/>
                <a:gd name="connsiteY6" fmla="*/ 1419231 h 1946772"/>
                <a:gd name="connsiteX7" fmla="*/ 1801913 w 6434180"/>
                <a:gd name="connsiteY7" fmla="*/ 1710450 h 1946772"/>
                <a:gd name="connsiteX8" fmla="*/ 3160817 w 6434180"/>
                <a:gd name="connsiteY8" fmla="*/ 729736 h 1946772"/>
                <a:gd name="connsiteX9" fmla="*/ 4691488 w 6434180"/>
                <a:gd name="connsiteY9" fmla="*/ 588667 h 1946772"/>
                <a:gd name="connsiteX10" fmla="*/ 5960039 w 6434180"/>
                <a:gd name="connsiteY10" fmla="*/ 1303484 h 1946772"/>
                <a:gd name="connsiteX0" fmla="*/ 5960039 w 6434180"/>
                <a:gd name="connsiteY0" fmla="*/ 1303484 h 1848056"/>
                <a:gd name="connsiteX1" fmla="*/ 6346918 w 6434180"/>
                <a:gd name="connsiteY1" fmla="*/ 1019494 h 1848056"/>
                <a:gd name="connsiteX2" fmla="*/ 4816318 w 6434180"/>
                <a:gd name="connsiteY2" fmla="*/ 83476 h 1848056"/>
                <a:gd name="connsiteX3" fmla="*/ 2985666 w 6434180"/>
                <a:gd name="connsiteY3" fmla="*/ 218277 h 1848056"/>
                <a:gd name="connsiteX4" fmla="*/ 1639227 w 6434180"/>
                <a:gd name="connsiteY4" fmla="*/ 1237490 h 1848056"/>
                <a:gd name="connsiteX5" fmla="*/ 356931 w 6434180"/>
                <a:gd name="connsiteY5" fmla="*/ 1016680 h 1848056"/>
                <a:gd name="connsiteX6" fmla="*/ 107593 w 6434180"/>
                <a:gd name="connsiteY6" fmla="*/ 1419231 h 1848056"/>
                <a:gd name="connsiteX7" fmla="*/ 1801913 w 6434180"/>
                <a:gd name="connsiteY7" fmla="*/ 1710450 h 1848056"/>
                <a:gd name="connsiteX8" fmla="*/ 3160817 w 6434180"/>
                <a:gd name="connsiteY8" fmla="*/ 729736 h 1848056"/>
                <a:gd name="connsiteX9" fmla="*/ 4691488 w 6434180"/>
                <a:gd name="connsiteY9" fmla="*/ 588667 h 1848056"/>
                <a:gd name="connsiteX10" fmla="*/ 5960039 w 6434180"/>
                <a:gd name="connsiteY10" fmla="*/ 1303484 h 1848056"/>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5521 h 1862570"/>
                <a:gd name="connsiteX1" fmla="*/ 6346918 w 6434180"/>
                <a:gd name="connsiteY1" fmla="*/ 991531 h 1862570"/>
                <a:gd name="connsiteX2" fmla="*/ 4816318 w 6434180"/>
                <a:gd name="connsiteY2" fmla="*/ 55513 h 1862570"/>
                <a:gd name="connsiteX3" fmla="*/ 2985666 w 6434180"/>
                <a:gd name="connsiteY3" fmla="*/ 190314 h 1862570"/>
                <a:gd name="connsiteX4" fmla="*/ 1639227 w 6434180"/>
                <a:gd name="connsiteY4" fmla="*/ 1209527 h 1862570"/>
                <a:gd name="connsiteX5" fmla="*/ 356931 w 6434180"/>
                <a:gd name="connsiteY5" fmla="*/ 988717 h 1862570"/>
                <a:gd name="connsiteX6" fmla="*/ 107593 w 6434180"/>
                <a:gd name="connsiteY6" fmla="*/ 1391268 h 1862570"/>
                <a:gd name="connsiteX7" fmla="*/ 1801913 w 6434180"/>
                <a:gd name="connsiteY7" fmla="*/ 1682487 h 1862570"/>
                <a:gd name="connsiteX8" fmla="*/ 3160817 w 6434180"/>
                <a:gd name="connsiteY8" fmla="*/ 701773 h 1862570"/>
                <a:gd name="connsiteX9" fmla="*/ 4691488 w 6434180"/>
                <a:gd name="connsiteY9" fmla="*/ 560704 h 1862570"/>
                <a:gd name="connsiteX10" fmla="*/ 5960039 w 6434180"/>
                <a:gd name="connsiteY10" fmla="*/ 1275521 h 1862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34180" h="1862570">
                  <a:moveTo>
                    <a:pt x="5960039" y="1275521"/>
                  </a:moveTo>
                  <a:cubicBezTo>
                    <a:pt x="6283134" y="1670414"/>
                    <a:pt x="6589346" y="1260633"/>
                    <a:pt x="6346918" y="991531"/>
                  </a:cubicBezTo>
                  <a:cubicBezTo>
                    <a:pt x="5949259" y="586678"/>
                    <a:pt x="5223959" y="131561"/>
                    <a:pt x="4816318" y="55513"/>
                  </a:cubicBezTo>
                  <a:cubicBezTo>
                    <a:pt x="4408677" y="-20535"/>
                    <a:pt x="3494501" y="-52826"/>
                    <a:pt x="2985666" y="190314"/>
                  </a:cubicBezTo>
                  <a:cubicBezTo>
                    <a:pt x="2476831" y="433454"/>
                    <a:pt x="1908164" y="1000838"/>
                    <a:pt x="1639227" y="1209527"/>
                  </a:cubicBezTo>
                  <a:cubicBezTo>
                    <a:pt x="1370290" y="1418216"/>
                    <a:pt x="729968" y="1345550"/>
                    <a:pt x="356931" y="988717"/>
                  </a:cubicBezTo>
                  <a:cubicBezTo>
                    <a:pt x="96566" y="758079"/>
                    <a:pt x="-146919" y="1182994"/>
                    <a:pt x="107593" y="1391268"/>
                  </a:cubicBezTo>
                  <a:cubicBezTo>
                    <a:pt x="576706" y="1808146"/>
                    <a:pt x="1317996" y="2048782"/>
                    <a:pt x="1801913" y="1682487"/>
                  </a:cubicBezTo>
                  <a:cubicBezTo>
                    <a:pt x="2285830" y="1316192"/>
                    <a:pt x="2704050" y="940116"/>
                    <a:pt x="3160817" y="701773"/>
                  </a:cubicBezTo>
                  <a:cubicBezTo>
                    <a:pt x="3617584" y="463430"/>
                    <a:pt x="4299587" y="485617"/>
                    <a:pt x="4691488" y="560704"/>
                  </a:cubicBezTo>
                  <a:cubicBezTo>
                    <a:pt x="5083389" y="635791"/>
                    <a:pt x="5573765" y="907826"/>
                    <a:pt x="5960039" y="1275521"/>
                  </a:cubicBezTo>
                  <a:close/>
                </a:path>
              </a:pathLst>
            </a:custGeom>
            <a:solidFill>
              <a:srgbClr val="59B4D9"/>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882"/>
            </a:p>
          </p:txBody>
        </p:sp>
        <p:sp>
          <p:nvSpPr>
            <p:cNvPr id="63" name="Freeform: Shape 62"/>
            <p:cNvSpPr/>
            <p:nvPr/>
          </p:nvSpPr>
          <p:spPr>
            <a:xfrm>
              <a:off x="-15771436" y="2395995"/>
              <a:ext cx="6401905" cy="1781951"/>
            </a:xfrm>
            <a:custGeom>
              <a:avLst/>
              <a:gdLst>
                <a:gd name="connsiteX0" fmla="*/ 6157732 w 6157732"/>
                <a:gd name="connsiteY0" fmla="*/ 914400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7732 w 6157732"/>
                <a:gd name="connsiteY11" fmla="*/ 914400 h 1551008"/>
                <a:gd name="connsiteX0" fmla="*/ 6154919 w 6157732"/>
                <a:gd name="connsiteY0" fmla="*/ 1018501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4919 w 6157732"/>
                <a:gd name="connsiteY11" fmla="*/ 1018501 h 1551008"/>
                <a:gd name="connsiteX0" fmla="*/ 5903089 w 6157732"/>
                <a:gd name="connsiteY0" fmla="*/ 1180618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39970 w 6264646"/>
                <a:gd name="connsiteY3" fmla="*/ 92598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903089 w 6264646"/>
                <a:gd name="connsiteY10" fmla="*/ 118061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88816"/>
                <a:gd name="connsiteY0" fmla="*/ 1220008 h 1551008"/>
                <a:gd name="connsiteX1" fmla="*/ 6264646 w 6288816"/>
                <a:gd name="connsiteY1" fmla="*/ 936018 h 1551008"/>
                <a:gd name="connsiteX2" fmla="*/ 4734046 w 6288816"/>
                <a:gd name="connsiteY2" fmla="*/ 0 h 1551008"/>
                <a:gd name="connsiteX3" fmla="*/ 2903394 w 6288816"/>
                <a:gd name="connsiteY3" fmla="*/ 134801 h 1551008"/>
                <a:gd name="connsiteX4" fmla="*/ 1562582 w 6288816"/>
                <a:gd name="connsiteY4" fmla="*/ 1134319 h 1551008"/>
                <a:gd name="connsiteX5" fmla="*/ 266218 w 6288816"/>
                <a:gd name="connsiteY5" fmla="*/ 983848 h 1551008"/>
                <a:gd name="connsiteX6" fmla="*/ 0 w 6288816"/>
                <a:gd name="connsiteY6" fmla="*/ 1296365 h 1551008"/>
                <a:gd name="connsiteX7" fmla="*/ 1747777 w 6288816"/>
                <a:gd name="connsiteY7" fmla="*/ 1551008 h 1551008"/>
                <a:gd name="connsiteX8" fmla="*/ 3078545 w 6288816"/>
                <a:gd name="connsiteY8" fmla="*/ 646260 h 1551008"/>
                <a:gd name="connsiteX9" fmla="*/ 4609216 w 6288816"/>
                <a:gd name="connsiteY9" fmla="*/ 505191 h 1551008"/>
                <a:gd name="connsiteX10" fmla="*/ 5877767 w 6288816"/>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64662 h 1595662"/>
                <a:gd name="connsiteX1" fmla="*/ 6264646 w 6299907"/>
                <a:gd name="connsiteY1" fmla="*/ 980672 h 1595662"/>
                <a:gd name="connsiteX2" fmla="*/ 4734046 w 6299907"/>
                <a:gd name="connsiteY2" fmla="*/ 44654 h 1595662"/>
                <a:gd name="connsiteX3" fmla="*/ 2903394 w 6299907"/>
                <a:gd name="connsiteY3" fmla="*/ 179455 h 1595662"/>
                <a:gd name="connsiteX4" fmla="*/ 1562582 w 6299907"/>
                <a:gd name="connsiteY4" fmla="*/ 1178973 h 1595662"/>
                <a:gd name="connsiteX5" fmla="*/ 266218 w 6299907"/>
                <a:gd name="connsiteY5" fmla="*/ 1028502 h 1595662"/>
                <a:gd name="connsiteX6" fmla="*/ 0 w 6299907"/>
                <a:gd name="connsiteY6" fmla="*/ 1341019 h 1595662"/>
                <a:gd name="connsiteX7" fmla="*/ 1747777 w 6299907"/>
                <a:gd name="connsiteY7" fmla="*/ 1595662 h 1595662"/>
                <a:gd name="connsiteX8" fmla="*/ 3078545 w 6299907"/>
                <a:gd name="connsiteY8" fmla="*/ 690914 h 1595662"/>
                <a:gd name="connsiteX9" fmla="*/ 4609216 w 6299907"/>
                <a:gd name="connsiteY9" fmla="*/ 549845 h 1595662"/>
                <a:gd name="connsiteX10" fmla="*/ 5877767 w 6299907"/>
                <a:gd name="connsiteY10" fmla="*/ 1264662 h 1595662"/>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350331"/>
                <a:gd name="connsiteY0" fmla="*/ 1303484 h 1634484"/>
                <a:gd name="connsiteX1" fmla="*/ 6264646 w 6350331"/>
                <a:gd name="connsiteY1" fmla="*/ 1019494 h 1634484"/>
                <a:gd name="connsiteX2" fmla="*/ 4734046 w 6350331"/>
                <a:gd name="connsiteY2" fmla="*/ 83476 h 1634484"/>
                <a:gd name="connsiteX3" fmla="*/ 2903394 w 6350331"/>
                <a:gd name="connsiteY3" fmla="*/ 218277 h 1634484"/>
                <a:gd name="connsiteX4" fmla="*/ 1562582 w 6350331"/>
                <a:gd name="connsiteY4" fmla="*/ 1217795 h 1634484"/>
                <a:gd name="connsiteX5" fmla="*/ 266218 w 6350331"/>
                <a:gd name="connsiteY5" fmla="*/ 1067324 h 1634484"/>
                <a:gd name="connsiteX6" fmla="*/ 0 w 6350331"/>
                <a:gd name="connsiteY6" fmla="*/ 1379841 h 1634484"/>
                <a:gd name="connsiteX7" fmla="*/ 1747777 w 6350331"/>
                <a:gd name="connsiteY7" fmla="*/ 1634484 h 1634484"/>
                <a:gd name="connsiteX8" fmla="*/ 3078545 w 6350331"/>
                <a:gd name="connsiteY8" fmla="*/ 729736 h 1634484"/>
                <a:gd name="connsiteX9" fmla="*/ 4609216 w 6350331"/>
                <a:gd name="connsiteY9" fmla="*/ 588667 h 1634484"/>
                <a:gd name="connsiteX10" fmla="*/ 5877767 w 6350331"/>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840557"/>
                <a:gd name="connsiteX1" fmla="*/ 6264646 w 6351908"/>
                <a:gd name="connsiteY1" fmla="*/ 1019494 h 1840557"/>
                <a:gd name="connsiteX2" fmla="*/ 4734046 w 6351908"/>
                <a:gd name="connsiteY2" fmla="*/ 83476 h 1840557"/>
                <a:gd name="connsiteX3" fmla="*/ 2903394 w 6351908"/>
                <a:gd name="connsiteY3" fmla="*/ 218277 h 1840557"/>
                <a:gd name="connsiteX4" fmla="*/ 1556955 w 6351908"/>
                <a:gd name="connsiteY4" fmla="*/ 1237490 h 1840557"/>
                <a:gd name="connsiteX5" fmla="*/ 274659 w 6351908"/>
                <a:gd name="connsiteY5" fmla="*/ 1016680 h 1840557"/>
                <a:gd name="connsiteX6" fmla="*/ 0 w 6351908"/>
                <a:gd name="connsiteY6" fmla="*/ 1379841 h 1840557"/>
                <a:gd name="connsiteX7" fmla="*/ 1719641 w 6351908"/>
                <a:gd name="connsiteY7" fmla="*/ 1710450 h 1840557"/>
                <a:gd name="connsiteX8" fmla="*/ 3078545 w 6351908"/>
                <a:gd name="connsiteY8" fmla="*/ 729736 h 1840557"/>
                <a:gd name="connsiteX9" fmla="*/ 4609216 w 6351908"/>
                <a:gd name="connsiteY9" fmla="*/ 588667 h 1840557"/>
                <a:gd name="connsiteX10" fmla="*/ 5877767 w 6351908"/>
                <a:gd name="connsiteY10" fmla="*/ 1303484 h 1840557"/>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980675 w 6454816"/>
                <a:gd name="connsiteY0" fmla="*/ 1303484 h 1893535"/>
                <a:gd name="connsiteX1" fmla="*/ 6367554 w 6454816"/>
                <a:gd name="connsiteY1" fmla="*/ 1019494 h 1893535"/>
                <a:gd name="connsiteX2" fmla="*/ 4836954 w 6454816"/>
                <a:gd name="connsiteY2" fmla="*/ 83476 h 1893535"/>
                <a:gd name="connsiteX3" fmla="*/ 3006302 w 6454816"/>
                <a:gd name="connsiteY3" fmla="*/ 218277 h 1893535"/>
                <a:gd name="connsiteX4" fmla="*/ 1659863 w 6454816"/>
                <a:gd name="connsiteY4" fmla="*/ 1237490 h 1893535"/>
                <a:gd name="connsiteX5" fmla="*/ 377567 w 6454816"/>
                <a:gd name="connsiteY5" fmla="*/ 1016680 h 1893535"/>
                <a:gd name="connsiteX6" fmla="*/ 102908 w 6454816"/>
                <a:gd name="connsiteY6" fmla="*/ 1379841 h 1893535"/>
                <a:gd name="connsiteX7" fmla="*/ 1822549 w 6454816"/>
                <a:gd name="connsiteY7" fmla="*/ 1710450 h 1893535"/>
                <a:gd name="connsiteX8" fmla="*/ 3181453 w 6454816"/>
                <a:gd name="connsiteY8" fmla="*/ 729736 h 1893535"/>
                <a:gd name="connsiteX9" fmla="*/ 4712124 w 6454816"/>
                <a:gd name="connsiteY9" fmla="*/ 588667 h 1893535"/>
                <a:gd name="connsiteX10" fmla="*/ 5980675 w 6454816"/>
                <a:gd name="connsiteY10" fmla="*/ 1303484 h 1893535"/>
                <a:gd name="connsiteX0" fmla="*/ 5961776 w 6435917"/>
                <a:gd name="connsiteY0" fmla="*/ 1303484 h 1893535"/>
                <a:gd name="connsiteX1" fmla="*/ 6348655 w 6435917"/>
                <a:gd name="connsiteY1" fmla="*/ 1019494 h 1893535"/>
                <a:gd name="connsiteX2" fmla="*/ 4818055 w 6435917"/>
                <a:gd name="connsiteY2" fmla="*/ 83476 h 1893535"/>
                <a:gd name="connsiteX3" fmla="*/ 2987403 w 6435917"/>
                <a:gd name="connsiteY3" fmla="*/ 218277 h 1893535"/>
                <a:gd name="connsiteX4" fmla="*/ 1640964 w 6435917"/>
                <a:gd name="connsiteY4" fmla="*/ 1237490 h 1893535"/>
                <a:gd name="connsiteX5" fmla="*/ 358668 w 6435917"/>
                <a:gd name="connsiteY5" fmla="*/ 1016680 h 1893535"/>
                <a:gd name="connsiteX6" fmla="*/ 84009 w 6435917"/>
                <a:gd name="connsiteY6" fmla="*/ 1379841 h 1893535"/>
                <a:gd name="connsiteX7" fmla="*/ 1803650 w 6435917"/>
                <a:gd name="connsiteY7" fmla="*/ 1710450 h 1893535"/>
                <a:gd name="connsiteX8" fmla="*/ 3162554 w 6435917"/>
                <a:gd name="connsiteY8" fmla="*/ 729736 h 1893535"/>
                <a:gd name="connsiteX9" fmla="*/ 4693225 w 6435917"/>
                <a:gd name="connsiteY9" fmla="*/ 588667 h 1893535"/>
                <a:gd name="connsiteX10" fmla="*/ 5961776 w 6435917"/>
                <a:gd name="connsiteY10" fmla="*/ 1303484 h 1893535"/>
                <a:gd name="connsiteX0" fmla="*/ 5961776 w 6435917"/>
                <a:gd name="connsiteY0" fmla="*/ 1303484 h 1892323"/>
                <a:gd name="connsiteX1" fmla="*/ 6348655 w 6435917"/>
                <a:gd name="connsiteY1" fmla="*/ 1019494 h 1892323"/>
                <a:gd name="connsiteX2" fmla="*/ 4818055 w 6435917"/>
                <a:gd name="connsiteY2" fmla="*/ 83476 h 1892323"/>
                <a:gd name="connsiteX3" fmla="*/ 2987403 w 6435917"/>
                <a:gd name="connsiteY3" fmla="*/ 218277 h 1892323"/>
                <a:gd name="connsiteX4" fmla="*/ 1640964 w 6435917"/>
                <a:gd name="connsiteY4" fmla="*/ 1237490 h 1892323"/>
                <a:gd name="connsiteX5" fmla="*/ 358668 w 6435917"/>
                <a:gd name="connsiteY5" fmla="*/ 1016680 h 1892323"/>
                <a:gd name="connsiteX6" fmla="*/ 84009 w 6435917"/>
                <a:gd name="connsiteY6" fmla="*/ 1379841 h 1892323"/>
                <a:gd name="connsiteX7" fmla="*/ 1803650 w 6435917"/>
                <a:gd name="connsiteY7" fmla="*/ 1710450 h 1892323"/>
                <a:gd name="connsiteX8" fmla="*/ 3162554 w 6435917"/>
                <a:gd name="connsiteY8" fmla="*/ 729736 h 1892323"/>
                <a:gd name="connsiteX9" fmla="*/ 4693225 w 6435917"/>
                <a:gd name="connsiteY9" fmla="*/ 588667 h 1892323"/>
                <a:gd name="connsiteX10" fmla="*/ 5961776 w 6435917"/>
                <a:gd name="connsiteY10" fmla="*/ 1303484 h 1892323"/>
                <a:gd name="connsiteX0" fmla="*/ 5941465 w 6415606"/>
                <a:gd name="connsiteY0" fmla="*/ 1303484 h 1902580"/>
                <a:gd name="connsiteX1" fmla="*/ 6328344 w 6415606"/>
                <a:gd name="connsiteY1" fmla="*/ 1019494 h 1902580"/>
                <a:gd name="connsiteX2" fmla="*/ 4797744 w 6415606"/>
                <a:gd name="connsiteY2" fmla="*/ 83476 h 1902580"/>
                <a:gd name="connsiteX3" fmla="*/ 2967092 w 6415606"/>
                <a:gd name="connsiteY3" fmla="*/ 218277 h 1902580"/>
                <a:gd name="connsiteX4" fmla="*/ 1620653 w 6415606"/>
                <a:gd name="connsiteY4" fmla="*/ 1237490 h 1902580"/>
                <a:gd name="connsiteX5" fmla="*/ 338357 w 6415606"/>
                <a:gd name="connsiteY5" fmla="*/ 1016680 h 1902580"/>
                <a:gd name="connsiteX6" fmla="*/ 89019 w 6415606"/>
                <a:gd name="connsiteY6" fmla="*/ 1419231 h 1902580"/>
                <a:gd name="connsiteX7" fmla="*/ 1783339 w 6415606"/>
                <a:gd name="connsiteY7" fmla="*/ 1710450 h 1902580"/>
                <a:gd name="connsiteX8" fmla="*/ 3142243 w 6415606"/>
                <a:gd name="connsiteY8" fmla="*/ 729736 h 1902580"/>
                <a:gd name="connsiteX9" fmla="*/ 4672914 w 6415606"/>
                <a:gd name="connsiteY9" fmla="*/ 588667 h 1902580"/>
                <a:gd name="connsiteX10" fmla="*/ 5941465 w 6415606"/>
                <a:gd name="connsiteY10" fmla="*/ 1303484 h 1902580"/>
                <a:gd name="connsiteX0" fmla="*/ 5960039 w 6434180"/>
                <a:gd name="connsiteY0" fmla="*/ 1303484 h 1902580"/>
                <a:gd name="connsiteX1" fmla="*/ 6346918 w 6434180"/>
                <a:gd name="connsiteY1" fmla="*/ 1019494 h 1902580"/>
                <a:gd name="connsiteX2" fmla="*/ 4816318 w 6434180"/>
                <a:gd name="connsiteY2" fmla="*/ 83476 h 1902580"/>
                <a:gd name="connsiteX3" fmla="*/ 2985666 w 6434180"/>
                <a:gd name="connsiteY3" fmla="*/ 218277 h 1902580"/>
                <a:gd name="connsiteX4" fmla="*/ 1639227 w 6434180"/>
                <a:gd name="connsiteY4" fmla="*/ 1237490 h 1902580"/>
                <a:gd name="connsiteX5" fmla="*/ 356931 w 6434180"/>
                <a:gd name="connsiteY5" fmla="*/ 1016680 h 1902580"/>
                <a:gd name="connsiteX6" fmla="*/ 107593 w 6434180"/>
                <a:gd name="connsiteY6" fmla="*/ 1419231 h 1902580"/>
                <a:gd name="connsiteX7" fmla="*/ 1801913 w 6434180"/>
                <a:gd name="connsiteY7" fmla="*/ 1710450 h 1902580"/>
                <a:gd name="connsiteX8" fmla="*/ 3160817 w 6434180"/>
                <a:gd name="connsiteY8" fmla="*/ 729736 h 1902580"/>
                <a:gd name="connsiteX9" fmla="*/ 4691488 w 6434180"/>
                <a:gd name="connsiteY9" fmla="*/ 588667 h 1902580"/>
                <a:gd name="connsiteX10" fmla="*/ 5960039 w 6434180"/>
                <a:gd name="connsiteY10" fmla="*/ 1303484 h 1902580"/>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946772"/>
                <a:gd name="connsiteX1" fmla="*/ 6346918 w 6434180"/>
                <a:gd name="connsiteY1" fmla="*/ 1019494 h 1946772"/>
                <a:gd name="connsiteX2" fmla="*/ 4816318 w 6434180"/>
                <a:gd name="connsiteY2" fmla="*/ 83476 h 1946772"/>
                <a:gd name="connsiteX3" fmla="*/ 2985666 w 6434180"/>
                <a:gd name="connsiteY3" fmla="*/ 218277 h 1946772"/>
                <a:gd name="connsiteX4" fmla="*/ 1639227 w 6434180"/>
                <a:gd name="connsiteY4" fmla="*/ 1237490 h 1946772"/>
                <a:gd name="connsiteX5" fmla="*/ 356931 w 6434180"/>
                <a:gd name="connsiteY5" fmla="*/ 1016680 h 1946772"/>
                <a:gd name="connsiteX6" fmla="*/ 107593 w 6434180"/>
                <a:gd name="connsiteY6" fmla="*/ 1419231 h 1946772"/>
                <a:gd name="connsiteX7" fmla="*/ 1801913 w 6434180"/>
                <a:gd name="connsiteY7" fmla="*/ 1710450 h 1946772"/>
                <a:gd name="connsiteX8" fmla="*/ 3160817 w 6434180"/>
                <a:gd name="connsiteY8" fmla="*/ 729736 h 1946772"/>
                <a:gd name="connsiteX9" fmla="*/ 4691488 w 6434180"/>
                <a:gd name="connsiteY9" fmla="*/ 588667 h 1946772"/>
                <a:gd name="connsiteX10" fmla="*/ 5960039 w 6434180"/>
                <a:gd name="connsiteY10" fmla="*/ 1303484 h 1946772"/>
                <a:gd name="connsiteX0" fmla="*/ 5960039 w 6434180"/>
                <a:gd name="connsiteY0" fmla="*/ 1303484 h 1848056"/>
                <a:gd name="connsiteX1" fmla="*/ 6346918 w 6434180"/>
                <a:gd name="connsiteY1" fmla="*/ 1019494 h 1848056"/>
                <a:gd name="connsiteX2" fmla="*/ 4816318 w 6434180"/>
                <a:gd name="connsiteY2" fmla="*/ 83476 h 1848056"/>
                <a:gd name="connsiteX3" fmla="*/ 2985666 w 6434180"/>
                <a:gd name="connsiteY3" fmla="*/ 218277 h 1848056"/>
                <a:gd name="connsiteX4" fmla="*/ 1639227 w 6434180"/>
                <a:gd name="connsiteY4" fmla="*/ 1237490 h 1848056"/>
                <a:gd name="connsiteX5" fmla="*/ 356931 w 6434180"/>
                <a:gd name="connsiteY5" fmla="*/ 1016680 h 1848056"/>
                <a:gd name="connsiteX6" fmla="*/ 107593 w 6434180"/>
                <a:gd name="connsiteY6" fmla="*/ 1419231 h 1848056"/>
                <a:gd name="connsiteX7" fmla="*/ 1801913 w 6434180"/>
                <a:gd name="connsiteY7" fmla="*/ 1710450 h 1848056"/>
                <a:gd name="connsiteX8" fmla="*/ 3160817 w 6434180"/>
                <a:gd name="connsiteY8" fmla="*/ 729736 h 1848056"/>
                <a:gd name="connsiteX9" fmla="*/ 4691488 w 6434180"/>
                <a:gd name="connsiteY9" fmla="*/ 588667 h 1848056"/>
                <a:gd name="connsiteX10" fmla="*/ 5960039 w 6434180"/>
                <a:gd name="connsiteY10" fmla="*/ 1303484 h 1848056"/>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5521 h 1862570"/>
                <a:gd name="connsiteX1" fmla="*/ 6346918 w 6434180"/>
                <a:gd name="connsiteY1" fmla="*/ 991531 h 1862570"/>
                <a:gd name="connsiteX2" fmla="*/ 4816318 w 6434180"/>
                <a:gd name="connsiteY2" fmla="*/ 55513 h 1862570"/>
                <a:gd name="connsiteX3" fmla="*/ 2985666 w 6434180"/>
                <a:gd name="connsiteY3" fmla="*/ 190314 h 1862570"/>
                <a:gd name="connsiteX4" fmla="*/ 1639227 w 6434180"/>
                <a:gd name="connsiteY4" fmla="*/ 1209527 h 1862570"/>
                <a:gd name="connsiteX5" fmla="*/ 356931 w 6434180"/>
                <a:gd name="connsiteY5" fmla="*/ 988717 h 1862570"/>
                <a:gd name="connsiteX6" fmla="*/ 107593 w 6434180"/>
                <a:gd name="connsiteY6" fmla="*/ 1391268 h 1862570"/>
                <a:gd name="connsiteX7" fmla="*/ 1801913 w 6434180"/>
                <a:gd name="connsiteY7" fmla="*/ 1682487 h 1862570"/>
                <a:gd name="connsiteX8" fmla="*/ 3160817 w 6434180"/>
                <a:gd name="connsiteY8" fmla="*/ 701773 h 1862570"/>
                <a:gd name="connsiteX9" fmla="*/ 4691488 w 6434180"/>
                <a:gd name="connsiteY9" fmla="*/ 560704 h 1862570"/>
                <a:gd name="connsiteX10" fmla="*/ 5960039 w 6434180"/>
                <a:gd name="connsiteY10" fmla="*/ 1275521 h 1862570"/>
                <a:gd name="connsiteX0" fmla="*/ 5960039 w 6434180"/>
                <a:gd name="connsiteY0" fmla="*/ 1275521 h 1716378"/>
                <a:gd name="connsiteX1" fmla="*/ 6346918 w 6434180"/>
                <a:gd name="connsiteY1" fmla="*/ 991531 h 1716378"/>
                <a:gd name="connsiteX2" fmla="*/ 4816318 w 6434180"/>
                <a:gd name="connsiteY2" fmla="*/ 55513 h 1716378"/>
                <a:gd name="connsiteX3" fmla="*/ 2985666 w 6434180"/>
                <a:gd name="connsiteY3" fmla="*/ 190314 h 1716378"/>
                <a:gd name="connsiteX4" fmla="*/ 1639227 w 6434180"/>
                <a:gd name="connsiteY4" fmla="*/ 1209527 h 1716378"/>
                <a:gd name="connsiteX5" fmla="*/ 356931 w 6434180"/>
                <a:gd name="connsiteY5" fmla="*/ 988717 h 1716378"/>
                <a:gd name="connsiteX6" fmla="*/ 107593 w 6434180"/>
                <a:gd name="connsiteY6" fmla="*/ 1391268 h 1716378"/>
                <a:gd name="connsiteX7" fmla="*/ 1801913 w 6434180"/>
                <a:gd name="connsiteY7" fmla="*/ 1682487 h 1716378"/>
                <a:gd name="connsiteX8" fmla="*/ 3389417 w 6434180"/>
                <a:gd name="connsiteY8" fmla="*/ 1171673 h 1716378"/>
                <a:gd name="connsiteX9" fmla="*/ 4691488 w 6434180"/>
                <a:gd name="connsiteY9" fmla="*/ 560704 h 1716378"/>
                <a:gd name="connsiteX10" fmla="*/ 5960039 w 6434180"/>
                <a:gd name="connsiteY10" fmla="*/ 1275521 h 1716378"/>
                <a:gd name="connsiteX0" fmla="*/ 5960039 w 6434180"/>
                <a:gd name="connsiteY0" fmla="*/ 1223507 h 1664364"/>
                <a:gd name="connsiteX1" fmla="*/ 6346918 w 6434180"/>
                <a:gd name="connsiteY1" fmla="*/ 939517 h 1664364"/>
                <a:gd name="connsiteX2" fmla="*/ 4816318 w 6434180"/>
                <a:gd name="connsiteY2" fmla="*/ 3499 h 1664364"/>
                <a:gd name="connsiteX3" fmla="*/ 3207916 w 6434180"/>
                <a:gd name="connsiteY3" fmla="*/ 652650 h 1664364"/>
                <a:gd name="connsiteX4" fmla="*/ 1639227 w 6434180"/>
                <a:gd name="connsiteY4" fmla="*/ 1157513 h 1664364"/>
                <a:gd name="connsiteX5" fmla="*/ 356931 w 6434180"/>
                <a:gd name="connsiteY5" fmla="*/ 936703 h 1664364"/>
                <a:gd name="connsiteX6" fmla="*/ 107593 w 6434180"/>
                <a:gd name="connsiteY6" fmla="*/ 1339254 h 1664364"/>
                <a:gd name="connsiteX7" fmla="*/ 1801913 w 6434180"/>
                <a:gd name="connsiteY7" fmla="*/ 1630473 h 1664364"/>
                <a:gd name="connsiteX8" fmla="*/ 3389417 w 6434180"/>
                <a:gd name="connsiteY8" fmla="*/ 1119659 h 1664364"/>
                <a:gd name="connsiteX9" fmla="*/ 4691488 w 6434180"/>
                <a:gd name="connsiteY9" fmla="*/ 508690 h 1664364"/>
                <a:gd name="connsiteX10" fmla="*/ 5960039 w 6434180"/>
                <a:gd name="connsiteY10" fmla="*/ 1223507 h 1664364"/>
                <a:gd name="connsiteX0" fmla="*/ 5948917 w 6423058"/>
                <a:gd name="connsiteY0" fmla="*/ 1223507 h 1664364"/>
                <a:gd name="connsiteX1" fmla="*/ 6335796 w 6423058"/>
                <a:gd name="connsiteY1" fmla="*/ 939517 h 1664364"/>
                <a:gd name="connsiteX2" fmla="*/ 4805196 w 6423058"/>
                <a:gd name="connsiteY2" fmla="*/ 3499 h 1664364"/>
                <a:gd name="connsiteX3" fmla="*/ 3196794 w 6423058"/>
                <a:gd name="connsiteY3" fmla="*/ 652650 h 1664364"/>
                <a:gd name="connsiteX4" fmla="*/ 1628105 w 6423058"/>
                <a:gd name="connsiteY4" fmla="*/ 1157513 h 1664364"/>
                <a:gd name="connsiteX5" fmla="*/ 402959 w 6423058"/>
                <a:gd name="connsiteY5" fmla="*/ 860503 h 1664364"/>
                <a:gd name="connsiteX6" fmla="*/ 96471 w 6423058"/>
                <a:gd name="connsiteY6" fmla="*/ 1339254 h 1664364"/>
                <a:gd name="connsiteX7" fmla="*/ 1790791 w 6423058"/>
                <a:gd name="connsiteY7" fmla="*/ 1630473 h 1664364"/>
                <a:gd name="connsiteX8" fmla="*/ 3378295 w 6423058"/>
                <a:gd name="connsiteY8" fmla="*/ 1119659 h 1664364"/>
                <a:gd name="connsiteX9" fmla="*/ 4680366 w 6423058"/>
                <a:gd name="connsiteY9" fmla="*/ 508690 h 1664364"/>
                <a:gd name="connsiteX10" fmla="*/ 5948917 w 6423058"/>
                <a:gd name="connsiteY10" fmla="*/ 1223507 h 1664364"/>
                <a:gd name="connsiteX0" fmla="*/ 5912928 w 6387069"/>
                <a:gd name="connsiteY0" fmla="*/ 1223507 h 1636325"/>
                <a:gd name="connsiteX1" fmla="*/ 6299807 w 6387069"/>
                <a:gd name="connsiteY1" fmla="*/ 939517 h 1636325"/>
                <a:gd name="connsiteX2" fmla="*/ 4769207 w 6387069"/>
                <a:gd name="connsiteY2" fmla="*/ 3499 h 1636325"/>
                <a:gd name="connsiteX3" fmla="*/ 3160805 w 6387069"/>
                <a:gd name="connsiteY3" fmla="*/ 652650 h 1636325"/>
                <a:gd name="connsiteX4" fmla="*/ 1592116 w 6387069"/>
                <a:gd name="connsiteY4" fmla="*/ 1157513 h 1636325"/>
                <a:gd name="connsiteX5" fmla="*/ 366970 w 6387069"/>
                <a:gd name="connsiteY5" fmla="*/ 860503 h 1636325"/>
                <a:gd name="connsiteX6" fmla="*/ 104932 w 6387069"/>
                <a:gd name="connsiteY6" fmla="*/ 1231304 h 1636325"/>
                <a:gd name="connsiteX7" fmla="*/ 1754802 w 6387069"/>
                <a:gd name="connsiteY7" fmla="*/ 1630473 h 1636325"/>
                <a:gd name="connsiteX8" fmla="*/ 3342306 w 6387069"/>
                <a:gd name="connsiteY8" fmla="*/ 1119659 h 1636325"/>
                <a:gd name="connsiteX9" fmla="*/ 4644377 w 6387069"/>
                <a:gd name="connsiteY9" fmla="*/ 508690 h 1636325"/>
                <a:gd name="connsiteX10" fmla="*/ 5912928 w 6387069"/>
                <a:gd name="connsiteY10" fmla="*/ 1223507 h 1636325"/>
                <a:gd name="connsiteX0" fmla="*/ 5912928 w 6387069"/>
                <a:gd name="connsiteY0" fmla="*/ 1223507 h 1872772"/>
                <a:gd name="connsiteX1" fmla="*/ 6299807 w 6387069"/>
                <a:gd name="connsiteY1" fmla="*/ 939517 h 1872772"/>
                <a:gd name="connsiteX2" fmla="*/ 4769207 w 6387069"/>
                <a:gd name="connsiteY2" fmla="*/ 3499 h 1872772"/>
                <a:gd name="connsiteX3" fmla="*/ 3160805 w 6387069"/>
                <a:gd name="connsiteY3" fmla="*/ 652650 h 1872772"/>
                <a:gd name="connsiteX4" fmla="*/ 1592116 w 6387069"/>
                <a:gd name="connsiteY4" fmla="*/ 1157513 h 1872772"/>
                <a:gd name="connsiteX5" fmla="*/ 366970 w 6387069"/>
                <a:gd name="connsiteY5" fmla="*/ 860503 h 1872772"/>
                <a:gd name="connsiteX6" fmla="*/ 104932 w 6387069"/>
                <a:gd name="connsiteY6" fmla="*/ 1231304 h 1872772"/>
                <a:gd name="connsiteX7" fmla="*/ 1748452 w 6387069"/>
                <a:gd name="connsiteY7" fmla="*/ 1871773 h 1872772"/>
                <a:gd name="connsiteX8" fmla="*/ 3342306 w 6387069"/>
                <a:gd name="connsiteY8" fmla="*/ 1119659 h 1872772"/>
                <a:gd name="connsiteX9" fmla="*/ 4644377 w 6387069"/>
                <a:gd name="connsiteY9" fmla="*/ 508690 h 1872772"/>
                <a:gd name="connsiteX10" fmla="*/ 5912928 w 6387069"/>
                <a:gd name="connsiteY10" fmla="*/ 1223507 h 1872772"/>
                <a:gd name="connsiteX0" fmla="*/ 5912928 w 6387069"/>
                <a:gd name="connsiteY0" fmla="*/ 1223435 h 1872700"/>
                <a:gd name="connsiteX1" fmla="*/ 6299807 w 6387069"/>
                <a:gd name="connsiteY1" fmla="*/ 939445 h 1872700"/>
                <a:gd name="connsiteX2" fmla="*/ 4769207 w 6387069"/>
                <a:gd name="connsiteY2" fmla="*/ 3427 h 1872700"/>
                <a:gd name="connsiteX3" fmla="*/ 3160805 w 6387069"/>
                <a:gd name="connsiteY3" fmla="*/ 652578 h 1872700"/>
                <a:gd name="connsiteX4" fmla="*/ 1668316 w 6387069"/>
                <a:gd name="connsiteY4" fmla="*/ 1398741 h 1872700"/>
                <a:gd name="connsiteX5" fmla="*/ 366970 w 6387069"/>
                <a:gd name="connsiteY5" fmla="*/ 860431 h 1872700"/>
                <a:gd name="connsiteX6" fmla="*/ 104932 w 6387069"/>
                <a:gd name="connsiteY6" fmla="*/ 1231232 h 1872700"/>
                <a:gd name="connsiteX7" fmla="*/ 1748452 w 6387069"/>
                <a:gd name="connsiteY7" fmla="*/ 1871701 h 1872700"/>
                <a:gd name="connsiteX8" fmla="*/ 3342306 w 6387069"/>
                <a:gd name="connsiteY8" fmla="*/ 1119587 h 1872700"/>
                <a:gd name="connsiteX9" fmla="*/ 4644377 w 6387069"/>
                <a:gd name="connsiteY9" fmla="*/ 508618 h 1872700"/>
                <a:gd name="connsiteX10" fmla="*/ 5912928 w 6387069"/>
                <a:gd name="connsiteY10" fmla="*/ 1223435 h 1872700"/>
                <a:gd name="connsiteX0" fmla="*/ 5912928 w 6387069"/>
                <a:gd name="connsiteY0" fmla="*/ 1223435 h 1872700"/>
                <a:gd name="connsiteX1" fmla="*/ 6299807 w 6387069"/>
                <a:gd name="connsiteY1" fmla="*/ 939445 h 1872700"/>
                <a:gd name="connsiteX2" fmla="*/ 4769207 w 6387069"/>
                <a:gd name="connsiteY2" fmla="*/ 3427 h 1872700"/>
                <a:gd name="connsiteX3" fmla="*/ 3160805 w 6387069"/>
                <a:gd name="connsiteY3" fmla="*/ 652578 h 1872700"/>
                <a:gd name="connsiteX4" fmla="*/ 1668316 w 6387069"/>
                <a:gd name="connsiteY4" fmla="*/ 1398741 h 1872700"/>
                <a:gd name="connsiteX5" fmla="*/ 366970 w 6387069"/>
                <a:gd name="connsiteY5" fmla="*/ 860431 h 1872700"/>
                <a:gd name="connsiteX6" fmla="*/ 104932 w 6387069"/>
                <a:gd name="connsiteY6" fmla="*/ 1231232 h 1872700"/>
                <a:gd name="connsiteX7" fmla="*/ 1748452 w 6387069"/>
                <a:gd name="connsiteY7" fmla="*/ 1871701 h 1872700"/>
                <a:gd name="connsiteX8" fmla="*/ 3342306 w 6387069"/>
                <a:gd name="connsiteY8" fmla="*/ 1119587 h 1872700"/>
                <a:gd name="connsiteX9" fmla="*/ 4574527 w 6387069"/>
                <a:gd name="connsiteY9" fmla="*/ 565768 h 1872700"/>
                <a:gd name="connsiteX10" fmla="*/ 5912928 w 6387069"/>
                <a:gd name="connsiteY10" fmla="*/ 1223435 h 1872700"/>
                <a:gd name="connsiteX0" fmla="*/ 5912928 w 6370309"/>
                <a:gd name="connsiteY0" fmla="*/ 1223435 h 1872700"/>
                <a:gd name="connsiteX1" fmla="*/ 6299807 w 6370309"/>
                <a:gd name="connsiteY1" fmla="*/ 939445 h 1872700"/>
                <a:gd name="connsiteX2" fmla="*/ 4769207 w 6370309"/>
                <a:gd name="connsiteY2" fmla="*/ 3427 h 1872700"/>
                <a:gd name="connsiteX3" fmla="*/ 3160805 w 6370309"/>
                <a:gd name="connsiteY3" fmla="*/ 652578 h 1872700"/>
                <a:gd name="connsiteX4" fmla="*/ 1668316 w 6370309"/>
                <a:gd name="connsiteY4" fmla="*/ 1398741 h 1872700"/>
                <a:gd name="connsiteX5" fmla="*/ 366970 w 6370309"/>
                <a:gd name="connsiteY5" fmla="*/ 860431 h 1872700"/>
                <a:gd name="connsiteX6" fmla="*/ 104932 w 6370309"/>
                <a:gd name="connsiteY6" fmla="*/ 1231232 h 1872700"/>
                <a:gd name="connsiteX7" fmla="*/ 1748452 w 6370309"/>
                <a:gd name="connsiteY7" fmla="*/ 1871701 h 1872700"/>
                <a:gd name="connsiteX8" fmla="*/ 3342306 w 6370309"/>
                <a:gd name="connsiteY8" fmla="*/ 1119587 h 1872700"/>
                <a:gd name="connsiteX9" fmla="*/ 4574527 w 6370309"/>
                <a:gd name="connsiteY9" fmla="*/ 565768 h 1872700"/>
                <a:gd name="connsiteX10" fmla="*/ 5912928 w 6370309"/>
                <a:gd name="connsiteY10" fmla="*/ 1223435 h 1872700"/>
                <a:gd name="connsiteX0" fmla="*/ 5912928 w 6341709"/>
                <a:gd name="connsiteY0" fmla="*/ 1223435 h 1872700"/>
                <a:gd name="connsiteX1" fmla="*/ 6299807 w 6341709"/>
                <a:gd name="connsiteY1" fmla="*/ 939445 h 1872700"/>
                <a:gd name="connsiteX2" fmla="*/ 4769207 w 6341709"/>
                <a:gd name="connsiteY2" fmla="*/ 3427 h 1872700"/>
                <a:gd name="connsiteX3" fmla="*/ 3160805 w 6341709"/>
                <a:gd name="connsiteY3" fmla="*/ 652578 h 1872700"/>
                <a:gd name="connsiteX4" fmla="*/ 1668316 w 6341709"/>
                <a:gd name="connsiteY4" fmla="*/ 1398741 h 1872700"/>
                <a:gd name="connsiteX5" fmla="*/ 366970 w 6341709"/>
                <a:gd name="connsiteY5" fmla="*/ 860431 h 1872700"/>
                <a:gd name="connsiteX6" fmla="*/ 104932 w 6341709"/>
                <a:gd name="connsiteY6" fmla="*/ 1231232 h 1872700"/>
                <a:gd name="connsiteX7" fmla="*/ 1748452 w 6341709"/>
                <a:gd name="connsiteY7" fmla="*/ 1871701 h 1872700"/>
                <a:gd name="connsiteX8" fmla="*/ 3342306 w 6341709"/>
                <a:gd name="connsiteY8" fmla="*/ 1119587 h 1872700"/>
                <a:gd name="connsiteX9" fmla="*/ 4574527 w 6341709"/>
                <a:gd name="connsiteY9" fmla="*/ 565768 h 1872700"/>
                <a:gd name="connsiteX10" fmla="*/ 5912928 w 6341709"/>
                <a:gd name="connsiteY10" fmla="*/ 1223435 h 1872700"/>
                <a:gd name="connsiteX0" fmla="*/ 5912928 w 6341709"/>
                <a:gd name="connsiteY0" fmla="*/ 1160338 h 1809603"/>
                <a:gd name="connsiteX1" fmla="*/ 6299807 w 6341709"/>
                <a:gd name="connsiteY1" fmla="*/ 876348 h 1809603"/>
                <a:gd name="connsiteX2" fmla="*/ 4566007 w 6341709"/>
                <a:gd name="connsiteY2" fmla="*/ 3830 h 1809603"/>
                <a:gd name="connsiteX3" fmla="*/ 3160805 w 6341709"/>
                <a:gd name="connsiteY3" fmla="*/ 589481 h 1809603"/>
                <a:gd name="connsiteX4" fmla="*/ 1668316 w 6341709"/>
                <a:gd name="connsiteY4" fmla="*/ 1335644 h 1809603"/>
                <a:gd name="connsiteX5" fmla="*/ 366970 w 6341709"/>
                <a:gd name="connsiteY5" fmla="*/ 797334 h 1809603"/>
                <a:gd name="connsiteX6" fmla="*/ 104932 w 6341709"/>
                <a:gd name="connsiteY6" fmla="*/ 1168135 h 1809603"/>
                <a:gd name="connsiteX7" fmla="*/ 1748452 w 6341709"/>
                <a:gd name="connsiteY7" fmla="*/ 1808604 h 1809603"/>
                <a:gd name="connsiteX8" fmla="*/ 3342306 w 6341709"/>
                <a:gd name="connsiteY8" fmla="*/ 1056490 h 1809603"/>
                <a:gd name="connsiteX9" fmla="*/ 4574527 w 6341709"/>
                <a:gd name="connsiteY9" fmla="*/ 502671 h 1809603"/>
                <a:gd name="connsiteX10" fmla="*/ 5912928 w 6341709"/>
                <a:gd name="connsiteY10" fmla="*/ 1160338 h 1809603"/>
                <a:gd name="connsiteX0" fmla="*/ 5912928 w 6341709"/>
                <a:gd name="connsiteY0" fmla="*/ 1158006 h 1807271"/>
                <a:gd name="connsiteX1" fmla="*/ 6299807 w 6341709"/>
                <a:gd name="connsiteY1" fmla="*/ 874016 h 1807271"/>
                <a:gd name="connsiteX2" fmla="*/ 4566007 w 6341709"/>
                <a:gd name="connsiteY2" fmla="*/ 1498 h 1807271"/>
                <a:gd name="connsiteX3" fmla="*/ 3160805 w 6341709"/>
                <a:gd name="connsiteY3" fmla="*/ 587149 h 1807271"/>
                <a:gd name="connsiteX4" fmla="*/ 1668316 w 6341709"/>
                <a:gd name="connsiteY4" fmla="*/ 1333312 h 1807271"/>
                <a:gd name="connsiteX5" fmla="*/ 366970 w 6341709"/>
                <a:gd name="connsiteY5" fmla="*/ 795002 h 1807271"/>
                <a:gd name="connsiteX6" fmla="*/ 104932 w 6341709"/>
                <a:gd name="connsiteY6" fmla="*/ 1165803 h 1807271"/>
                <a:gd name="connsiteX7" fmla="*/ 1748452 w 6341709"/>
                <a:gd name="connsiteY7" fmla="*/ 1806272 h 1807271"/>
                <a:gd name="connsiteX8" fmla="*/ 3342306 w 6341709"/>
                <a:gd name="connsiteY8" fmla="*/ 1054158 h 1807271"/>
                <a:gd name="connsiteX9" fmla="*/ 4574527 w 6341709"/>
                <a:gd name="connsiteY9" fmla="*/ 500339 h 1807271"/>
                <a:gd name="connsiteX10" fmla="*/ 5912928 w 6341709"/>
                <a:gd name="connsiteY10" fmla="*/ 1158006 h 1807271"/>
                <a:gd name="connsiteX0" fmla="*/ 5912928 w 6341709"/>
                <a:gd name="connsiteY0" fmla="*/ 1158785 h 1808050"/>
                <a:gd name="connsiteX1" fmla="*/ 6299807 w 6341709"/>
                <a:gd name="connsiteY1" fmla="*/ 874795 h 1808050"/>
                <a:gd name="connsiteX2" fmla="*/ 4566007 w 6341709"/>
                <a:gd name="connsiteY2" fmla="*/ 2277 h 1808050"/>
                <a:gd name="connsiteX3" fmla="*/ 3160805 w 6341709"/>
                <a:gd name="connsiteY3" fmla="*/ 587928 h 1808050"/>
                <a:gd name="connsiteX4" fmla="*/ 1668316 w 6341709"/>
                <a:gd name="connsiteY4" fmla="*/ 1334091 h 1808050"/>
                <a:gd name="connsiteX5" fmla="*/ 366970 w 6341709"/>
                <a:gd name="connsiteY5" fmla="*/ 795781 h 1808050"/>
                <a:gd name="connsiteX6" fmla="*/ 104932 w 6341709"/>
                <a:gd name="connsiteY6" fmla="*/ 1166582 h 1808050"/>
                <a:gd name="connsiteX7" fmla="*/ 1748452 w 6341709"/>
                <a:gd name="connsiteY7" fmla="*/ 1807051 h 1808050"/>
                <a:gd name="connsiteX8" fmla="*/ 3342306 w 6341709"/>
                <a:gd name="connsiteY8" fmla="*/ 1054937 h 1808050"/>
                <a:gd name="connsiteX9" fmla="*/ 4574527 w 6341709"/>
                <a:gd name="connsiteY9" fmla="*/ 501118 h 1808050"/>
                <a:gd name="connsiteX10" fmla="*/ 5912928 w 6341709"/>
                <a:gd name="connsiteY10" fmla="*/ 1158785 h 1808050"/>
                <a:gd name="connsiteX0" fmla="*/ 5912928 w 6341709"/>
                <a:gd name="connsiteY0" fmla="*/ 1158785 h 1808050"/>
                <a:gd name="connsiteX1" fmla="*/ 6299807 w 6341709"/>
                <a:gd name="connsiteY1" fmla="*/ 874795 h 1808050"/>
                <a:gd name="connsiteX2" fmla="*/ 4566007 w 6341709"/>
                <a:gd name="connsiteY2" fmla="*/ 2277 h 1808050"/>
                <a:gd name="connsiteX3" fmla="*/ 3160805 w 6341709"/>
                <a:gd name="connsiteY3" fmla="*/ 587928 h 1808050"/>
                <a:gd name="connsiteX4" fmla="*/ 1668316 w 6341709"/>
                <a:gd name="connsiteY4" fmla="*/ 1334091 h 1808050"/>
                <a:gd name="connsiteX5" fmla="*/ 366970 w 6341709"/>
                <a:gd name="connsiteY5" fmla="*/ 795781 h 1808050"/>
                <a:gd name="connsiteX6" fmla="*/ 104932 w 6341709"/>
                <a:gd name="connsiteY6" fmla="*/ 1166582 h 1808050"/>
                <a:gd name="connsiteX7" fmla="*/ 1748452 w 6341709"/>
                <a:gd name="connsiteY7" fmla="*/ 1807051 h 1808050"/>
                <a:gd name="connsiteX8" fmla="*/ 3342306 w 6341709"/>
                <a:gd name="connsiteY8" fmla="*/ 1054937 h 1808050"/>
                <a:gd name="connsiteX9" fmla="*/ 4574527 w 6341709"/>
                <a:gd name="connsiteY9" fmla="*/ 501118 h 1808050"/>
                <a:gd name="connsiteX10" fmla="*/ 5912928 w 6341709"/>
                <a:gd name="connsiteY10" fmla="*/ 1158785 h 1808050"/>
                <a:gd name="connsiteX0" fmla="*/ 5912928 w 6341709"/>
                <a:gd name="connsiteY0" fmla="*/ 1158785 h 1808050"/>
                <a:gd name="connsiteX1" fmla="*/ 6299807 w 6341709"/>
                <a:gd name="connsiteY1" fmla="*/ 874795 h 1808050"/>
                <a:gd name="connsiteX2" fmla="*/ 4566007 w 6341709"/>
                <a:gd name="connsiteY2" fmla="*/ 2277 h 1808050"/>
                <a:gd name="connsiteX3" fmla="*/ 3160805 w 6341709"/>
                <a:gd name="connsiteY3" fmla="*/ 587928 h 1808050"/>
                <a:gd name="connsiteX4" fmla="*/ 1668316 w 6341709"/>
                <a:gd name="connsiteY4" fmla="*/ 1334091 h 1808050"/>
                <a:gd name="connsiteX5" fmla="*/ 366970 w 6341709"/>
                <a:gd name="connsiteY5" fmla="*/ 795781 h 1808050"/>
                <a:gd name="connsiteX6" fmla="*/ 104932 w 6341709"/>
                <a:gd name="connsiteY6" fmla="*/ 1166582 h 1808050"/>
                <a:gd name="connsiteX7" fmla="*/ 1748452 w 6341709"/>
                <a:gd name="connsiteY7" fmla="*/ 1807051 h 1808050"/>
                <a:gd name="connsiteX8" fmla="*/ 3342306 w 6341709"/>
                <a:gd name="connsiteY8" fmla="*/ 1054937 h 1808050"/>
                <a:gd name="connsiteX9" fmla="*/ 4574527 w 6341709"/>
                <a:gd name="connsiteY9" fmla="*/ 501118 h 1808050"/>
                <a:gd name="connsiteX10" fmla="*/ 5912928 w 6341709"/>
                <a:gd name="connsiteY10" fmla="*/ 1158785 h 1808050"/>
                <a:gd name="connsiteX0" fmla="*/ 5973987 w 6402768"/>
                <a:gd name="connsiteY0" fmla="*/ 1158785 h 1808050"/>
                <a:gd name="connsiteX1" fmla="*/ 6360866 w 6402768"/>
                <a:gd name="connsiteY1" fmla="*/ 874795 h 1808050"/>
                <a:gd name="connsiteX2" fmla="*/ 4627066 w 6402768"/>
                <a:gd name="connsiteY2" fmla="*/ 2277 h 1808050"/>
                <a:gd name="connsiteX3" fmla="*/ 3221864 w 6402768"/>
                <a:gd name="connsiteY3" fmla="*/ 587928 h 1808050"/>
                <a:gd name="connsiteX4" fmla="*/ 1729375 w 6402768"/>
                <a:gd name="connsiteY4" fmla="*/ 1334091 h 1808050"/>
                <a:gd name="connsiteX5" fmla="*/ 428029 w 6402768"/>
                <a:gd name="connsiteY5" fmla="*/ 795781 h 1808050"/>
                <a:gd name="connsiteX6" fmla="*/ 165991 w 6402768"/>
                <a:gd name="connsiteY6" fmla="*/ 1166582 h 1808050"/>
                <a:gd name="connsiteX7" fmla="*/ 1809511 w 6402768"/>
                <a:gd name="connsiteY7" fmla="*/ 1807051 h 1808050"/>
                <a:gd name="connsiteX8" fmla="*/ 3403365 w 6402768"/>
                <a:gd name="connsiteY8" fmla="*/ 1054937 h 1808050"/>
                <a:gd name="connsiteX9" fmla="*/ 4635586 w 6402768"/>
                <a:gd name="connsiteY9" fmla="*/ 501118 h 1808050"/>
                <a:gd name="connsiteX10" fmla="*/ 5973987 w 6402768"/>
                <a:gd name="connsiteY10" fmla="*/ 1158785 h 1808050"/>
                <a:gd name="connsiteX0" fmla="*/ 6015010 w 6443791"/>
                <a:gd name="connsiteY0" fmla="*/ 1158785 h 1808050"/>
                <a:gd name="connsiteX1" fmla="*/ 6401889 w 6443791"/>
                <a:gd name="connsiteY1" fmla="*/ 874795 h 1808050"/>
                <a:gd name="connsiteX2" fmla="*/ 4668089 w 6443791"/>
                <a:gd name="connsiteY2" fmla="*/ 2277 h 1808050"/>
                <a:gd name="connsiteX3" fmla="*/ 3262887 w 6443791"/>
                <a:gd name="connsiteY3" fmla="*/ 587928 h 1808050"/>
                <a:gd name="connsiteX4" fmla="*/ 1770398 w 6443791"/>
                <a:gd name="connsiteY4" fmla="*/ 1334091 h 1808050"/>
                <a:gd name="connsiteX5" fmla="*/ 469052 w 6443791"/>
                <a:gd name="connsiteY5" fmla="*/ 795781 h 1808050"/>
                <a:gd name="connsiteX6" fmla="*/ 207014 w 6443791"/>
                <a:gd name="connsiteY6" fmla="*/ 1166582 h 1808050"/>
                <a:gd name="connsiteX7" fmla="*/ 1850534 w 6443791"/>
                <a:gd name="connsiteY7" fmla="*/ 1807051 h 1808050"/>
                <a:gd name="connsiteX8" fmla="*/ 3444388 w 6443791"/>
                <a:gd name="connsiteY8" fmla="*/ 1054937 h 1808050"/>
                <a:gd name="connsiteX9" fmla="*/ 4676609 w 6443791"/>
                <a:gd name="connsiteY9" fmla="*/ 501118 h 1808050"/>
                <a:gd name="connsiteX10" fmla="*/ 6015010 w 6443791"/>
                <a:gd name="connsiteY10" fmla="*/ 1158785 h 1808050"/>
                <a:gd name="connsiteX0" fmla="*/ 5958523 w 6387304"/>
                <a:gd name="connsiteY0" fmla="*/ 1158785 h 1808050"/>
                <a:gd name="connsiteX1" fmla="*/ 6345402 w 6387304"/>
                <a:gd name="connsiteY1" fmla="*/ 874795 h 1808050"/>
                <a:gd name="connsiteX2" fmla="*/ 4611602 w 6387304"/>
                <a:gd name="connsiteY2" fmla="*/ 2277 h 1808050"/>
                <a:gd name="connsiteX3" fmla="*/ 3206400 w 6387304"/>
                <a:gd name="connsiteY3" fmla="*/ 587928 h 1808050"/>
                <a:gd name="connsiteX4" fmla="*/ 1713911 w 6387304"/>
                <a:gd name="connsiteY4" fmla="*/ 1334091 h 1808050"/>
                <a:gd name="connsiteX5" fmla="*/ 412565 w 6387304"/>
                <a:gd name="connsiteY5" fmla="*/ 795781 h 1808050"/>
                <a:gd name="connsiteX6" fmla="*/ 150527 w 6387304"/>
                <a:gd name="connsiteY6" fmla="*/ 1166582 h 1808050"/>
                <a:gd name="connsiteX7" fmla="*/ 1794047 w 6387304"/>
                <a:gd name="connsiteY7" fmla="*/ 1807051 h 1808050"/>
                <a:gd name="connsiteX8" fmla="*/ 3387901 w 6387304"/>
                <a:gd name="connsiteY8" fmla="*/ 1054937 h 1808050"/>
                <a:gd name="connsiteX9" fmla="*/ 4620122 w 6387304"/>
                <a:gd name="connsiteY9" fmla="*/ 501118 h 1808050"/>
                <a:gd name="connsiteX10" fmla="*/ 5958523 w 6387304"/>
                <a:gd name="connsiteY10" fmla="*/ 1158785 h 1808050"/>
                <a:gd name="connsiteX0" fmla="*/ 5973124 w 6401905"/>
                <a:gd name="connsiteY0" fmla="*/ 1158785 h 1808050"/>
                <a:gd name="connsiteX1" fmla="*/ 6360003 w 6401905"/>
                <a:gd name="connsiteY1" fmla="*/ 874795 h 1808050"/>
                <a:gd name="connsiteX2" fmla="*/ 4626203 w 6401905"/>
                <a:gd name="connsiteY2" fmla="*/ 2277 h 1808050"/>
                <a:gd name="connsiteX3" fmla="*/ 3221001 w 6401905"/>
                <a:gd name="connsiteY3" fmla="*/ 587928 h 1808050"/>
                <a:gd name="connsiteX4" fmla="*/ 1728512 w 6401905"/>
                <a:gd name="connsiteY4" fmla="*/ 1334091 h 1808050"/>
                <a:gd name="connsiteX5" fmla="*/ 427166 w 6401905"/>
                <a:gd name="connsiteY5" fmla="*/ 795781 h 1808050"/>
                <a:gd name="connsiteX6" fmla="*/ 165128 w 6401905"/>
                <a:gd name="connsiteY6" fmla="*/ 1166582 h 1808050"/>
                <a:gd name="connsiteX7" fmla="*/ 1808648 w 6401905"/>
                <a:gd name="connsiteY7" fmla="*/ 1807051 h 1808050"/>
                <a:gd name="connsiteX8" fmla="*/ 3402502 w 6401905"/>
                <a:gd name="connsiteY8" fmla="*/ 1054937 h 1808050"/>
                <a:gd name="connsiteX9" fmla="*/ 4634723 w 6401905"/>
                <a:gd name="connsiteY9" fmla="*/ 501118 h 1808050"/>
                <a:gd name="connsiteX10" fmla="*/ 5973124 w 6401905"/>
                <a:gd name="connsiteY10" fmla="*/ 1158785 h 1808050"/>
                <a:gd name="connsiteX0" fmla="*/ 5973124 w 6401905"/>
                <a:gd name="connsiteY0" fmla="*/ 1158785 h 1808050"/>
                <a:gd name="connsiteX1" fmla="*/ 6360003 w 6401905"/>
                <a:gd name="connsiteY1" fmla="*/ 874795 h 1808050"/>
                <a:gd name="connsiteX2" fmla="*/ 4626203 w 6401905"/>
                <a:gd name="connsiteY2" fmla="*/ 2277 h 1808050"/>
                <a:gd name="connsiteX3" fmla="*/ 3221001 w 6401905"/>
                <a:gd name="connsiteY3" fmla="*/ 587928 h 1808050"/>
                <a:gd name="connsiteX4" fmla="*/ 1728512 w 6401905"/>
                <a:gd name="connsiteY4" fmla="*/ 1334091 h 1808050"/>
                <a:gd name="connsiteX5" fmla="*/ 427166 w 6401905"/>
                <a:gd name="connsiteY5" fmla="*/ 795781 h 1808050"/>
                <a:gd name="connsiteX6" fmla="*/ 165128 w 6401905"/>
                <a:gd name="connsiteY6" fmla="*/ 1166582 h 1808050"/>
                <a:gd name="connsiteX7" fmla="*/ 1808648 w 6401905"/>
                <a:gd name="connsiteY7" fmla="*/ 1807051 h 1808050"/>
                <a:gd name="connsiteX8" fmla="*/ 3402502 w 6401905"/>
                <a:gd name="connsiteY8" fmla="*/ 1054937 h 1808050"/>
                <a:gd name="connsiteX9" fmla="*/ 4634723 w 6401905"/>
                <a:gd name="connsiteY9" fmla="*/ 501118 h 1808050"/>
                <a:gd name="connsiteX10" fmla="*/ 5973124 w 6401905"/>
                <a:gd name="connsiteY10" fmla="*/ 1158785 h 1808050"/>
                <a:gd name="connsiteX0" fmla="*/ 5973124 w 6401905"/>
                <a:gd name="connsiteY0" fmla="*/ 1158785 h 1808050"/>
                <a:gd name="connsiteX1" fmla="*/ 6360003 w 6401905"/>
                <a:gd name="connsiteY1" fmla="*/ 874795 h 1808050"/>
                <a:gd name="connsiteX2" fmla="*/ 4626203 w 6401905"/>
                <a:gd name="connsiteY2" fmla="*/ 2277 h 1808050"/>
                <a:gd name="connsiteX3" fmla="*/ 3221001 w 6401905"/>
                <a:gd name="connsiteY3" fmla="*/ 587928 h 1808050"/>
                <a:gd name="connsiteX4" fmla="*/ 1728512 w 6401905"/>
                <a:gd name="connsiteY4" fmla="*/ 1334091 h 1808050"/>
                <a:gd name="connsiteX5" fmla="*/ 427166 w 6401905"/>
                <a:gd name="connsiteY5" fmla="*/ 795781 h 1808050"/>
                <a:gd name="connsiteX6" fmla="*/ 165128 w 6401905"/>
                <a:gd name="connsiteY6" fmla="*/ 1166582 h 1808050"/>
                <a:gd name="connsiteX7" fmla="*/ 1808648 w 6401905"/>
                <a:gd name="connsiteY7" fmla="*/ 1807051 h 1808050"/>
                <a:gd name="connsiteX8" fmla="*/ 3402502 w 6401905"/>
                <a:gd name="connsiteY8" fmla="*/ 1054937 h 1808050"/>
                <a:gd name="connsiteX9" fmla="*/ 4634723 w 6401905"/>
                <a:gd name="connsiteY9" fmla="*/ 501118 h 1808050"/>
                <a:gd name="connsiteX10" fmla="*/ 5973124 w 6401905"/>
                <a:gd name="connsiteY10" fmla="*/ 1158785 h 1808050"/>
                <a:gd name="connsiteX0" fmla="*/ 5973124 w 6401905"/>
                <a:gd name="connsiteY0" fmla="*/ 1132686 h 1781951"/>
                <a:gd name="connsiteX1" fmla="*/ 6360003 w 6401905"/>
                <a:gd name="connsiteY1" fmla="*/ 848696 h 1781951"/>
                <a:gd name="connsiteX2" fmla="*/ 4645253 w 6401905"/>
                <a:gd name="connsiteY2" fmla="*/ 1578 h 1781951"/>
                <a:gd name="connsiteX3" fmla="*/ 3221001 w 6401905"/>
                <a:gd name="connsiteY3" fmla="*/ 561829 h 1781951"/>
                <a:gd name="connsiteX4" fmla="*/ 1728512 w 6401905"/>
                <a:gd name="connsiteY4" fmla="*/ 1307992 h 1781951"/>
                <a:gd name="connsiteX5" fmla="*/ 427166 w 6401905"/>
                <a:gd name="connsiteY5" fmla="*/ 769682 h 1781951"/>
                <a:gd name="connsiteX6" fmla="*/ 165128 w 6401905"/>
                <a:gd name="connsiteY6" fmla="*/ 1140483 h 1781951"/>
                <a:gd name="connsiteX7" fmla="*/ 1808648 w 6401905"/>
                <a:gd name="connsiteY7" fmla="*/ 1780952 h 1781951"/>
                <a:gd name="connsiteX8" fmla="*/ 3402502 w 6401905"/>
                <a:gd name="connsiteY8" fmla="*/ 1028838 h 1781951"/>
                <a:gd name="connsiteX9" fmla="*/ 4634723 w 6401905"/>
                <a:gd name="connsiteY9" fmla="*/ 475019 h 1781951"/>
                <a:gd name="connsiteX10" fmla="*/ 5973124 w 6401905"/>
                <a:gd name="connsiteY10" fmla="*/ 1132686 h 1781951"/>
                <a:gd name="connsiteX0" fmla="*/ 5973124 w 6401905"/>
                <a:gd name="connsiteY0" fmla="*/ 1132686 h 1781951"/>
                <a:gd name="connsiteX1" fmla="*/ 6360003 w 6401905"/>
                <a:gd name="connsiteY1" fmla="*/ 848696 h 1781951"/>
                <a:gd name="connsiteX2" fmla="*/ 4645253 w 6401905"/>
                <a:gd name="connsiteY2" fmla="*/ 1578 h 1781951"/>
                <a:gd name="connsiteX3" fmla="*/ 3221001 w 6401905"/>
                <a:gd name="connsiteY3" fmla="*/ 561829 h 1781951"/>
                <a:gd name="connsiteX4" fmla="*/ 1728512 w 6401905"/>
                <a:gd name="connsiteY4" fmla="*/ 1307992 h 1781951"/>
                <a:gd name="connsiteX5" fmla="*/ 427166 w 6401905"/>
                <a:gd name="connsiteY5" fmla="*/ 769682 h 1781951"/>
                <a:gd name="connsiteX6" fmla="*/ 165128 w 6401905"/>
                <a:gd name="connsiteY6" fmla="*/ 1140483 h 1781951"/>
                <a:gd name="connsiteX7" fmla="*/ 1808648 w 6401905"/>
                <a:gd name="connsiteY7" fmla="*/ 1780952 h 1781951"/>
                <a:gd name="connsiteX8" fmla="*/ 3402502 w 6401905"/>
                <a:gd name="connsiteY8" fmla="*/ 1028838 h 1781951"/>
                <a:gd name="connsiteX9" fmla="*/ 4634723 w 6401905"/>
                <a:gd name="connsiteY9" fmla="*/ 475019 h 1781951"/>
                <a:gd name="connsiteX10" fmla="*/ 5973124 w 6401905"/>
                <a:gd name="connsiteY10" fmla="*/ 1132686 h 178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01905" h="1781951">
                  <a:moveTo>
                    <a:pt x="5973124" y="1132686"/>
                  </a:moveTo>
                  <a:cubicBezTo>
                    <a:pt x="6156519" y="1324379"/>
                    <a:pt x="6526231" y="1016198"/>
                    <a:pt x="6360003" y="848696"/>
                  </a:cubicBezTo>
                  <a:cubicBezTo>
                    <a:pt x="5905194" y="367643"/>
                    <a:pt x="5365270" y="30339"/>
                    <a:pt x="4645253" y="1578"/>
                  </a:cubicBezTo>
                  <a:cubicBezTo>
                    <a:pt x="3925236" y="-27183"/>
                    <a:pt x="3707125" y="344093"/>
                    <a:pt x="3221001" y="561829"/>
                  </a:cubicBezTo>
                  <a:cubicBezTo>
                    <a:pt x="2734877" y="779565"/>
                    <a:pt x="2543401" y="1267000"/>
                    <a:pt x="1728512" y="1307992"/>
                  </a:cubicBezTo>
                  <a:cubicBezTo>
                    <a:pt x="913623" y="1348984"/>
                    <a:pt x="800203" y="1126515"/>
                    <a:pt x="427166" y="769682"/>
                  </a:cubicBezTo>
                  <a:cubicBezTo>
                    <a:pt x="77901" y="386644"/>
                    <a:pt x="-184634" y="875059"/>
                    <a:pt x="165128" y="1140483"/>
                  </a:cubicBezTo>
                  <a:cubicBezTo>
                    <a:pt x="634241" y="1557361"/>
                    <a:pt x="1269086" y="1799559"/>
                    <a:pt x="1808648" y="1780952"/>
                  </a:cubicBezTo>
                  <a:cubicBezTo>
                    <a:pt x="2348210" y="1762345"/>
                    <a:pt x="2969589" y="1405243"/>
                    <a:pt x="3402502" y="1028838"/>
                  </a:cubicBezTo>
                  <a:cubicBezTo>
                    <a:pt x="3835415" y="652433"/>
                    <a:pt x="4206286" y="457711"/>
                    <a:pt x="4634723" y="475019"/>
                  </a:cubicBezTo>
                  <a:cubicBezTo>
                    <a:pt x="5063160" y="492327"/>
                    <a:pt x="5586850" y="764991"/>
                    <a:pt x="5973124" y="1132686"/>
                  </a:cubicBezTo>
                  <a:close/>
                </a:path>
              </a:pathLst>
            </a:custGeom>
            <a:solidFill>
              <a:srgbClr val="59B4D9"/>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882"/>
            </a:p>
          </p:txBody>
        </p:sp>
        <p:sp>
          <p:nvSpPr>
            <p:cNvPr id="68" name="Freeform: Shape 67"/>
            <p:cNvSpPr/>
            <p:nvPr/>
          </p:nvSpPr>
          <p:spPr>
            <a:xfrm flipH="1" flipV="1">
              <a:off x="-16372125" y="3446034"/>
              <a:ext cx="6434180" cy="1862570"/>
            </a:xfrm>
            <a:custGeom>
              <a:avLst/>
              <a:gdLst>
                <a:gd name="connsiteX0" fmla="*/ 6157732 w 6157732"/>
                <a:gd name="connsiteY0" fmla="*/ 914400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7732 w 6157732"/>
                <a:gd name="connsiteY11" fmla="*/ 914400 h 1551008"/>
                <a:gd name="connsiteX0" fmla="*/ 6154919 w 6157732"/>
                <a:gd name="connsiteY0" fmla="*/ 1018501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11" fmla="*/ 6154919 w 6157732"/>
                <a:gd name="connsiteY11" fmla="*/ 1018501 h 1551008"/>
                <a:gd name="connsiteX0" fmla="*/ 5903089 w 6157732"/>
                <a:gd name="connsiteY0" fmla="*/ 1180618 h 1551008"/>
                <a:gd name="connsiteX1" fmla="*/ 6157732 w 6157732"/>
                <a:gd name="connsiteY1" fmla="*/ 983848 h 1551008"/>
                <a:gd name="connsiteX2" fmla="*/ 4734046 w 6157732"/>
                <a:gd name="connsiteY2" fmla="*/ 0 h 1551008"/>
                <a:gd name="connsiteX3" fmla="*/ 2939970 w 6157732"/>
                <a:gd name="connsiteY3" fmla="*/ 92598 h 1551008"/>
                <a:gd name="connsiteX4" fmla="*/ 1562582 w 6157732"/>
                <a:gd name="connsiteY4" fmla="*/ 1134319 h 1551008"/>
                <a:gd name="connsiteX5" fmla="*/ 266218 w 6157732"/>
                <a:gd name="connsiteY5" fmla="*/ 983848 h 1551008"/>
                <a:gd name="connsiteX6" fmla="*/ 0 w 6157732"/>
                <a:gd name="connsiteY6" fmla="*/ 1296365 h 1551008"/>
                <a:gd name="connsiteX7" fmla="*/ 1747777 w 6157732"/>
                <a:gd name="connsiteY7" fmla="*/ 1551008 h 1551008"/>
                <a:gd name="connsiteX8" fmla="*/ 3067291 w 6157732"/>
                <a:gd name="connsiteY8" fmla="*/ 578735 h 1551008"/>
                <a:gd name="connsiteX9" fmla="*/ 4595149 w 6157732"/>
                <a:gd name="connsiteY9" fmla="*/ 462988 h 1551008"/>
                <a:gd name="connsiteX10" fmla="*/ 5903089 w 6157732"/>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39970 w 6264646"/>
                <a:gd name="connsiteY3" fmla="*/ 92598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67291 w 6264646"/>
                <a:gd name="connsiteY8" fmla="*/ 578735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595149 w 6264646"/>
                <a:gd name="connsiteY9" fmla="*/ 462988 h 1551008"/>
                <a:gd name="connsiteX10" fmla="*/ 5903089 w 6264646"/>
                <a:gd name="connsiteY10" fmla="*/ 1180618 h 1551008"/>
                <a:gd name="connsiteX0" fmla="*/ 5903089 w 6264646"/>
                <a:gd name="connsiteY0" fmla="*/ 118061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903089 w 6264646"/>
                <a:gd name="connsiteY10" fmla="*/ 118061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64646"/>
                <a:gd name="connsiteY0" fmla="*/ 1220008 h 1551008"/>
                <a:gd name="connsiteX1" fmla="*/ 6264646 w 6264646"/>
                <a:gd name="connsiteY1" fmla="*/ 936018 h 1551008"/>
                <a:gd name="connsiteX2" fmla="*/ 4734046 w 6264646"/>
                <a:gd name="connsiteY2" fmla="*/ 0 h 1551008"/>
                <a:gd name="connsiteX3" fmla="*/ 2903394 w 6264646"/>
                <a:gd name="connsiteY3" fmla="*/ 134801 h 1551008"/>
                <a:gd name="connsiteX4" fmla="*/ 1562582 w 6264646"/>
                <a:gd name="connsiteY4" fmla="*/ 1134319 h 1551008"/>
                <a:gd name="connsiteX5" fmla="*/ 266218 w 6264646"/>
                <a:gd name="connsiteY5" fmla="*/ 983848 h 1551008"/>
                <a:gd name="connsiteX6" fmla="*/ 0 w 6264646"/>
                <a:gd name="connsiteY6" fmla="*/ 1296365 h 1551008"/>
                <a:gd name="connsiteX7" fmla="*/ 1747777 w 6264646"/>
                <a:gd name="connsiteY7" fmla="*/ 1551008 h 1551008"/>
                <a:gd name="connsiteX8" fmla="*/ 3078545 w 6264646"/>
                <a:gd name="connsiteY8" fmla="*/ 646260 h 1551008"/>
                <a:gd name="connsiteX9" fmla="*/ 4609216 w 6264646"/>
                <a:gd name="connsiteY9" fmla="*/ 505191 h 1551008"/>
                <a:gd name="connsiteX10" fmla="*/ 5877767 w 6264646"/>
                <a:gd name="connsiteY10" fmla="*/ 1220008 h 1551008"/>
                <a:gd name="connsiteX0" fmla="*/ 5877767 w 6288816"/>
                <a:gd name="connsiteY0" fmla="*/ 1220008 h 1551008"/>
                <a:gd name="connsiteX1" fmla="*/ 6264646 w 6288816"/>
                <a:gd name="connsiteY1" fmla="*/ 936018 h 1551008"/>
                <a:gd name="connsiteX2" fmla="*/ 4734046 w 6288816"/>
                <a:gd name="connsiteY2" fmla="*/ 0 h 1551008"/>
                <a:gd name="connsiteX3" fmla="*/ 2903394 w 6288816"/>
                <a:gd name="connsiteY3" fmla="*/ 134801 h 1551008"/>
                <a:gd name="connsiteX4" fmla="*/ 1562582 w 6288816"/>
                <a:gd name="connsiteY4" fmla="*/ 1134319 h 1551008"/>
                <a:gd name="connsiteX5" fmla="*/ 266218 w 6288816"/>
                <a:gd name="connsiteY5" fmla="*/ 983848 h 1551008"/>
                <a:gd name="connsiteX6" fmla="*/ 0 w 6288816"/>
                <a:gd name="connsiteY6" fmla="*/ 1296365 h 1551008"/>
                <a:gd name="connsiteX7" fmla="*/ 1747777 w 6288816"/>
                <a:gd name="connsiteY7" fmla="*/ 1551008 h 1551008"/>
                <a:gd name="connsiteX8" fmla="*/ 3078545 w 6288816"/>
                <a:gd name="connsiteY8" fmla="*/ 646260 h 1551008"/>
                <a:gd name="connsiteX9" fmla="*/ 4609216 w 6288816"/>
                <a:gd name="connsiteY9" fmla="*/ 505191 h 1551008"/>
                <a:gd name="connsiteX10" fmla="*/ 5877767 w 6288816"/>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20008 h 1551008"/>
                <a:gd name="connsiteX1" fmla="*/ 6264646 w 6299907"/>
                <a:gd name="connsiteY1" fmla="*/ 936018 h 1551008"/>
                <a:gd name="connsiteX2" fmla="*/ 4734046 w 6299907"/>
                <a:gd name="connsiteY2" fmla="*/ 0 h 1551008"/>
                <a:gd name="connsiteX3" fmla="*/ 2903394 w 6299907"/>
                <a:gd name="connsiteY3" fmla="*/ 134801 h 1551008"/>
                <a:gd name="connsiteX4" fmla="*/ 1562582 w 6299907"/>
                <a:gd name="connsiteY4" fmla="*/ 1134319 h 1551008"/>
                <a:gd name="connsiteX5" fmla="*/ 266218 w 6299907"/>
                <a:gd name="connsiteY5" fmla="*/ 983848 h 1551008"/>
                <a:gd name="connsiteX6" fmla="*/ 0 w 6299907"/>
                <a:gd name="connsiteY6" fmla="*/ 1296365 h 1551008"/>
                <a:gd name="connsiteX7" fmla="*/ 1747777 w 6299907"/>
                <a:gd name="connsiteY7" fmla="*/ 1551008 h 1551008"/>
                <a:gd name="connsiteX8" fmla="*/ 3078545 w 6299907"/>
                <a:gd name="connsiteY8" fmla="*/ 646260 h 1551008"/>
                <a:gd name="connsiteX9" fmla="*/ 4609216 w 6299907"/>
                <a:gd name="connsiteY9" fmla="*/ 505191 h 1551008"/>
                <a:gd name="connsiteX10" fmla="*/ 5877767 w 6299907"/>
                <a:gd name="connsiteY10" fmla="*/ 1220008 h 1551008"/>
                <a:gd name="connsiteX0" fmla="*/ 5877767 w 6299907"/>
                <a:gd name="connsiteY0" fmla="*/ 1264662 h 1595662"/>
                <a:gd name="connsiteX1" fmla="*/ 6264646 w 6299907"/>
                <a:gd name="connsiteY1" fmla="*/ 980672 h 1595662"/>
                <a:gd name="connsiteX2" fmla="*/ 4734046 w 6299907"/>
                <a:gd name="connsiteY2" fmla="*/ 44654 h 1595662"/>
                <a:gd name="connsiteX3" fmla="*/ 2903394 w 6299907"/>
                <a:gd name="connsiteY3" fmla="*/ 179455 h 1595662"/>
                <a:gd name="connsiteX4" fmla="*/ 1562582 w 6299907"/>
                <a:gd name="connsiteY4" fmla="*/ 1178973 h 1595662"/>
                <a:gd name="connsiteX5" fmla="*/ 266218 w 6299907"/>
                <a:gd name="connsiteY5" fmla="*/ 1028502 h 1595662"/>
                <a:gd name="connsiteX6" fmla="*/ 0 w 6299907"/>
                <a:gd name="connsiteY6" fmla="*/ 1341019 h 1595662"/>
                <a:gd name="connsiteX7" fmla="*/ 1747777 w 6299907"/>
                <a:gd name="connsiteY7" fmla="*/ 1595662 h 1595662"/>
                <a:gd name="connsiteX8" fmla="*/ 3078545 w 6299907"/>
                <a:gd name="connsiteY8" fmla="*/ 690914 h 1595662"/>
                <a:gd name="connsiteX9" fmla="*/ 4609216 w 6299907"/>
                <a:gd name="connsiteY9" fmla="*/ 549845 h 1595662"/>
                <a:gd name="connsiteX10" fmla="*/ 5877767 w 6299907"/>
                <a:gd name="connsiteY10" fmla="*/ 1264662 h 1595662"/>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299907"/>
                <a:gd name="connsiteY0" fmla="*/ 1303484 h 1634484"/>
                <a:gd name="connsiteX1" fmla="*/ 6264646 w 6299907"/>
                <a:gd name="connsiteY1" fmla="*/ 1019494 h 1634484"/>
                <a:gd name="connsiteX2" fmla="*/ 4734046 w 6299907"/>
                <a:gd name="connsiteY2" fmla="*/ 83476 h 1634484"/>
                <a:gd name="connsiteX3" fmla="*/ 2903394 w 6299907"/>
                <a:gd name="connsiteY3" fmla="*/ 218277 h 1634484"/>
                <a:gd name="connsiteX4" fmla="*/ 1562582 w 6299907"/>
                <a:gd name="connsiteY4" fmla="*/ 1217795 h 1634484"/>
                <a:gd name="connsiteX5" fmla="*/ 266218 w 6299907"/>
                <a:gd name="connsiteY5" fmla="*/ 1067324 h 1634484"/>
                <a:gd name="connsiteX6" fmla="*/ 0 w 6299907"/>
                <a:gd name="connsiteY6" fmla="*/ 1379841 h 1634484"/>
                <a:gd name="connsiteX7" fmla="*/ 1747777 w 6299907"/>
                <a:gd name="connsiteY7" fmla="*/ 1634484 h 1634484"/>
                <a:gd name="connsiteX8" fmla="*/ 3078545 w 6299907"/>
                <a:gd name="connsiteY8" fmla="*/ 729736 h 1634484"/>
                <a:gd name="connsiteX9" fmla="*/ 4609216 w 6299907"/>
                <a:gd name="connsiteY9" fmla="*/ 588667 h 1634484"/>
                <a:gd name="connsiteX10" fmla="*/ 5877767 w 6299907"/>
                <a:gd name="connsiteY10" fmla="*/ 1303484 h 1634484"/>
                <a:gd name="connsiteX0" fmla="*/ 5877767 w 6350331"/>
                <a:gd name="connsiteY0" fmla="*/ 1303484 h 1634484"/>
                <a:gd name="connsiteX1" fmla="*/ 6264646 w 6350331"/>
                <a:gd name="connsiteY1" fmla="*/ 1019494 h 1634484"/>
                <a:gd name="connsiteX2" fmla="*/ 4734046 w 6350331"/>
                <a:gd name="connsiteY2" fmla="*/ 83476 h 1634484"/>
                <a:gd name="connsiteX3" fmla="*/ 2903394 w 6350331"/>
                <a:gd name="connsiteY3" fmla="*/ 218277 h 1634484"/>
                <a:gd name="connsiteX4" fmla="*/ 1562582 w 6350331"/>
                <a:gd name="connsiteY4" fmla="*/ 1217795 h 1634484"/>
                <a:gd name="connsiteX5" fmla="*/ 266218 w 6350331"/>
                <a:gd name="connsiteY5" fmla="*/ 1067324 h 1634484"/>
                <a:gd name="connsiteX6" fmla="*/ 0 w 6350331"/>
                <a:gd name="connsiteY6" fmla="*/ 1379841 h 1634484"/>
                <a:gd name="connsiteX7" fmla="*/ 1747777 w 6350331"/>
                <a:gd name="connsiteY7" fmla="*/ 1634484 h 1634484"/>
                <a:gd name="connsiteX8" fmla="*/ 3078545 w 6350331"/>
                <a:gd name="connsiteY8" fmla="*/ 729736 h 1634484"/>
                <a:gd name="connsiteX9" fmla="*/ 4609216 w 6350331"/>
                <a:gd name="connsiteY9" fmla="*/ 588667 h 1634484"/>
                <a:gd name="connsiteX10" fmla="*/ 5877767 w 6350331"/>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634484"/>
                <a:gd name="connsiteX1" fmla="*/ 6264646 w 6351908"/>
                <a:gd name="connsiteY1" fmla="*/ 1019494 h 1634484"/>
                <a:gd name="connsiteX2" fmla="*/ 4734046 w 6351908"/>
                <a:gd name="connsiteY2" fmla="*/ 83476 h 1634484"/>
                <a:gd name="connsiteX3" fmla="*/ 2903394 w 6351908"/>
                <a:gd name="connsiteY3" fmla="*/ 218277 h 1634484"/>
                <a:gd name="connsiteX4" fmla="*/ 1562582 w 6351908"/>
                <a:gd name="connsiteY4" fmla="*/ 1217795 h 1634484"/>
                <a:gd name="connsiteX5" fmla="*/ 266218 w 6351908"/>
                <a:gd name="connsiteY5" fmla="*/ 1067324 h 1634484"/>
                <a:gd name="connsiteX6" fmla="*/ 0 w 6351908"/>
                <a:gd name="connsiteY6" fmla="*/ 1379841 h 1634484"/>
                <a:gd name="connsiteX7" fmla="*/ 1747777 w 6351908"/>
                <a:gd name="connsiteY7" fmla="*/ 1634484 h 1634484"/>
                <a:gd name="connsiteX8" fmla="*/ 3078545 w 6351908"/>
                <a:gd name="connsiteY8" fmla="*/ 729736 h 1634484"/>
                <a:gd name="connsiteX9" fmla="*/ 4609216 w 6351908"/>
                <a:gd name="connsiteY9" fmla="*/ 588667 h 1634484"/>
                <a:gd name="connsiteX10" fmla="*/ 5877767 w 6351908"/>
                <a:gd name="connsiteY10" fmla="*/ 1303484 h 1634484"/>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66218 w 6351908"/>
                <a:gd name="connsiteY5" fmla="*/ 1067324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62582 w 6351908"/>
                <a:gd name="connsiteY4" fmla="*/ 1217795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710450"/>
                <a:gd name="connsiteX1" fmla="*/ 6264646 w 6351908"/>
                <a:gd name="connsiteY1" fmla="*/ 1019494 h 1710450"/>
                <a:gd name="connsiteX2" fmla="*/ 4734046 w 6351908"/>
                <a:gd name="connsiteY2" fmla="*/ 83476 h 1710450"/>
                <a:gd name="connsiteX3" fmla="*/ 2903394 w 6351908"/>
                <a:gd name="connsiteY3" fmla="*/ 218277 h 1710450"/>
                <a:gd name="connsiteX4" fmla="*/ 1556955 w 6351908"/>
                <a:gd name="connsiteY4" fmla="*/ 1237490 h 1710450"/>
                <a:gd name="connsiteX5" fmla="*/ 274659 w 6351908"/>
                <a:gd name="connsiteY5" fmla="*/ 1016680 h 1710450"/>
                <a:gd name="connsiteX6" fmla="*/ 0 w 6351908"/>
                <a:gd name="connsiteY6" fmla="*/ 1379841 h 1710450"/>
                <a:gd name="connsiteX7" fmla="*/ 1719641 w 6351908"/>
                <a:gd name="connsiteY7" fmla="*/ 1710450 h 1710450"/>
                <a:gd name="connsiteX8" fmla="*/ 3078545 w 6351908"/>
                <a:gd name="connsiteY8" fmla="*/ 729736 h 1710450"/>
                <a:gd name="connsiteX9" fmla="*/ 4609216 w 6351908"/>
                <a:gd name="connsiteY9" fmla="*/ 588667 h 1710450"/>
                <a:gd name="connsiteX10" fmla="*/ 5877767 w 6351908"/>
                <a:gd name="connsiteY10" fmla="*/ 1303484 h 1710450"/>
                <a:gd name="connsiteX0" fmla="*/ 5877767 w 6351908"/>
                <a:gd name="connsiteY0" fmla="*/ 1303484 h 1840557"/>
                <a:gd name="connsiteX1" fmla="*/ 6264646 w 6351908"/>
                <a:gd name="connsiteY1" fmla="*/ 1019494 h 1840557"/>
                <a:gd name="connsiteX2" fmla="*/ 4734046 w 6351908"/>
                <a:gd name="connsiteY2" fmla="*/ 83476 h 1840557"/>
                <a:gd name="connsiteX3" fmla="*/ 2903394 w 6351908"/>
                <a:gd name="connsiteY3" fmla="*/ 218277 h 1840557"/>
                <a:gd name="connsiteX4" fmla="*/ 1556955 w 6351908"/>
                <a:gd name="connsiteY4" fmla="*/ 1237490 h 1840557"/>
                <a:gd name="connsiteX5" fmla="*/ 274659 w 6351908"/>
                <a:gd name="connsiteY5" fmla="*/ 1016680 h 1840557"/>
                <a:gd name="connsiteX6" fmla="*/ 0 w 6351908"/>
                <a:gd name="connsiteY6" fmla="*/ 1379841 h 1840557"/>
                <a:gd name="connsiteX7" fmla="*/ 1719641 w 6351908"/>
                <a:gd name="connsiteY7" fmla="*/ 1710450 h 1840557"/>
                <a:gd name="connsiteX8" fmla="*/ 3078545 w 6351908"/>
                <a:gd name="connsiteY8" fmla="*/ 729736 h 1840557"/>
                <a:gd name="connsiteX9" fmla="*/ 4609216 w 6351908"/>
                <a:gd name="connsiteY9" fmla="*/ 588667 h 1840557"/>
                <a:gd name="connsiteX10" fmla="*/ 5877767 w 6351908"/>
                <a:gd name="connsiteY10" fmla="*/ 1303484 h 1840557"/>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877767 w 6351908"/>
                <a:gd name="connsiteY0" fmla="*/ 1303484 h 1893535"/>
                <a:gd name="connsiteX1" fmla="*/ 6264646 w 6351908"/>
                <a:gd name="connsiteY1" fmla="*/ 1019494 h 1893535"/>
                <a:gd name="connsiteX2" fmla="*/ 4734046 w 6351908"/>
                <a:gd name="connsiteY2" fmla="*/ 83476 h 1893535"/>
                <a:gd name="connsiteX3" fmla="*/ 2903394 w 6351908"/>
                <a:gd name="connsiteY3" fmla="*/ 218277 h 1893535"/>
                <a:gd name="connsiteX4" fmla="*/ 1556955 w 6351908"/>
                <a:gd name="connsiteY4" fmla="*/ 1237490 h 1893535"/>
                <a:gd name="connsiteX5" fmla="*/ 274659 w 6351908"/>
                <a:gd name="connsiteY5" fmla="*/ 1016680 h 1893535"/>
                <a:gd name="connsiteX6" fmla="*/ 0 w 6351908"/>
                <a:gd name="connsiteY6" fmla="*/ 1379841 h 1893535"/>
                <a:gd name="connsiteX7" fmla="*/ 1719641 w 6351908"/>
                <a:gd name="connsiteY7" fmla="*/ 1710450 h 1893535"/>
                <a:gd name="connsiteX8" fmla="*/ 3078545 w 6351908"/>
                <a:gd name="connsiteY8" fmla="*/ 729736 h 1893535"/>
                <a:gd name="connsiteX9" fmla="*/ 4609216 w 6351908"/>
                <a:gd name="connsiteY9" fmla="*/ 588667 h 1893535"/>
                <a:gd name="connsiteX10" fmla="*/ 5877767 w 6351908"/>
                <a:gd name="connsiteY10" fmla="*/ 1303484 h 1893535"/>
                <a:gd name="connsiteX0" fmla="*/ 5980675 w 6454816"/>
                <a:gd name="connsiteY0" fmla="*/ 1303484 h 1893535"/>
                <a:gd name="connsiteX1" fmla="*/ 6367554 w 6454816"/>
                <a:gd name="connsiteY1" fmla="*/ 1019494 h 1893535"/>
                <a:gd name="connsiteX2" fmla="*/ 4836954 w 6454816"/>
                <a:gd name="connsiteY2" fmla="*/ 83476 h 1893535"/>
                <a:gd name="connsiteX3" fmla="*/ 3006302 w 6454816"/>
                <a:gd name="connsiteY3" fmla="*/ 218277 h 1893535"/>
                <a:gd name="connsiteX4" fmla="*/ 1659863 w 6454816"/>
                <a:gd name="connsiteY4" fmla="*/ 1237490 h 1893535"/>
                <a:gd name="connsiteX5" fmla="*/ 377567 w 6454816"/>
                <a:gd name="connsiteY5" fmla="*/ 1016680 h 1893535"/>
                <a:gd name="connsiteX6" fmla="*/ 102908 w 6454816"/>
                <a:gd name="connsiteY6" fmla="*/ 1379841 h 1893535"/>
                <a:gd name="connsiteX7" fmla="*/ 1822549 w 6454816"/>
                <a:gd name="connsiteY7" fmla="*/ 1710450 h 1893535"/>
                <a:gd name="connsiteX8" fmla="*/ 3181453 w 6454816"/>
                <a:gd name="connsiteY8" fmla="*/ 729736 h 1893535"/>
                <a:gd name="connsiteX9" fmla="*/ 4712124 w 6454816"/>
                <a:gd name="connsiteY9" fmla="*/ 588667 h 1893535"/>
                <a:gd name="connsiteX10" fmla="*/ 5980675 w 6454816"/>
                <a:gd name="connsiteY10" fmla="*/ 1303484 h 1893535"/>
                <a:gd name="connsiteX0" fmla="*/ 5961776 w 6435917"/>
                <a:gd name="connsiteY0" fmla="*/ 1303484 h 1893535"/>
                <a:gd name="connsiteX1" fmla="*/ 6348655 w 6435917"/>
                <a:gd name="connsiteY1" fmla="*/ 1019494 h 1893535"/>
                <a:gd name="connsiteX2" fmla="*/ 4818055 w 6435917"/>
                <a:gd name="connsiteY2" fmla="*/ 83476 h 1893535"/>
                <a:gd name="connsiteX3" fmla="*/ 2987403 w 6435917"/>
                <a:gd name="connsiteY3" fmla="*/ 218277 h 1893535"/>
                <a:gd name="connsiteX4" fmla="*/ 1640964 w 6435917"/>
                <a:gd name="connsiteY4" fmla="*/ 1237490 h 1893535"/>
                <a:gd name="connsiteX5" fmla="*/ 358668 w 6435917"/>
                <a:gd name="connsiteY5" fmla="*/ 1016680 h 1893535"/>
                <a:gd name="connsiteX6" fmla="*/ 84009 w 6435917"/>
                <a:gd name="connsiteY6" fmla="*/ 1379841 h 1893535"/>
                <a:gd name="connsiteX7" fmla="*/ 1803650 w 6435917"/>
                <a:gd name="connsiteY7" fmla="*/ 1710450 h 1893535"/>
                <a:gd name="connsiteX8" fmla="*/ 3162554 w 6435917"/>
                <a:gd name="connsiteY8" fmla="*/ 729736 h 1893535"/>
                <a:gd name="connsiteX9" fmla="*/ 4693225 w 6435917"/>
                <a:gd name="connsiteY9" fmla="*/ 588667 h 1893535"/>
                <a:gd name="connsiteX10" fmla="*/ 5961776 w 6435917"/>
                <a:gd name="connsiteY10" fmla="*/ 1303484 h 1893535"/>
                <a:gd name="connsiteX0" fmla="*/ 5961776 w 6435917"/>
                <a:gd name="connsiteY0" fmla="*/ 1303484 h 1892323"/>
                <a:gd name="connsiteX1" fmla="*/ 6348655 w 6435917"/>
                <a:gd name="connsiteY1" fmla="*/ 1019494 h 1892323"/>
                <a:gd name="connsiteX2" fmla="*/ 4818055 w 6435917"/>
                <a:gd name="connsiteY2" fmla="*/ 83476 h 1892323"/>
                <a:gd name="connsiteX3" fmla="*/ 2987403 w 6435917"/>
                <a:gd name="connsiteY3" fmla="*/ 218277 h 1892323"/>
                <a:gd name="connsiteX4" fmla="*/ 1640964 w 6435917"/>
                <a:gd name="connsiteY4" fmla="*/ 1237490 h 1892323"/>
                <a:gd name="connsiteX5" fmla="*/ 358668 w 6435917"/>
                <a:gd name="connsiteY5" fmla="*/ 1016680 h 1892323"/>
                <a:gd name="connsiteX6" fmla="*/ 84009 w 6435917"/>
                <a:gd name="connsiteY6" fmla="*/ 1379841 h 1892323"/>
                <a:gd name="connsiteX7" fmla="*/ 1803650 w 6435917"/>
                <a:gd name="connsiteY7" fmla="*/ 1710450 h 1892323"/>
                <a:gd name="connsiteX8" fmla="*/ 3162554 w 6435917"/>
                <a:gd name="connsiteY8" fmla="*/ 729736 h 1892323"/>
                <a:gd name="connsiteX9" fmla="*/ 4693225 w 6435917"/>
                <a:gd name="connsiteY9" fmla="*/ 588667 h 1892323"/>
                <a:gd name="connsiteX10" fmla="*/ 5961776 w 6435917"/>
                <a:gd name="connsiteY10" fmla="*/ 1303484 h 1892323"/>
                <a:gd name="connsiteX0" fmla="*/ 5941465 w 6415606"/>
                <a:gd name="connsiteY0" fmla="*/ 1303484 h 1902580"/>
                <a:gd name="connsiteX1" fmla="*/ 6328344 w 6415606"/>
                <a:gd name="connsiteY1" fmla="*/ 1019494 h 1902580"/>
                <a:gd name="connsiteX2" fmla="*/ 4797744 w 6415606"/>
                <a:gd name="connsiteY2" fmla="*/ 83476 h 1902580"/>
                <a:gd name="connsiteX3" fmla="*/ 2967092 w 6415606"/>
                <a:gd name="connsiteY3" fmla="*/ 218277 h 1902580"/>
                <a:gd name="connsiteX4" fmla="*/ 1620653 w 6415606"/>
                <a:gd name="connsiteY4" fmla="*/ 1237490 h 1902580"/>
                <a:gd name="connsiteX5" fmla="*/ 338357 w 6415606"/>
                <a:gd name="connsiteY5" fmla="*/ 1016680 h 1902580"/>
                <a:gd name="connsiteX6" fmla="*/ 89019 w 6415606"/>
                <a:gd name="connsiteY6" fmla="*/ 1419231 h 1902580"/>
                <a:gd name="connsiteX7" fmla="*/ 1783339 w 6415606"/>
                <a:gd name="connsiteY7" fmla="*/ 1710450 h 1902580"/>
                <a:gd name="connsiteX8" fmla="*/ 3142243 w 6415606"/>
                <a:gd name="connsiteY8" fmla="*/ 729736 h 1902580"/>
                <a:gd name="connsiteX9" fmla="*/ 4672914 w 6415606"/>
                <a:gd name="connsiteY9" fmla="*/ 588667 h 1902580"/>
                <a:gd name="connsiteX10" fmla="*/ 5941465 w 6415606"/>
                <a:gd name="connsiteY10" fmla="*/ 1303484 h 1902580"/>
                <a:gd name="connsiteX0" fmla="*/ 5960039 w 6434180"/>
                <a:gd name="connsiteY0" fmla="*/ 1303484 h 1902580"/>
                <a:gd name="connsiteX1" fmla="*/ 6346918 w 6434180"/>
                <a:gd name="connsiteY1" fmla="*/ 1019494 h 1902580"/>
                <a:gd name="connsiteX2" fmla="*/ 4816318 w 6434180"/>
                <a:gd name="connsiteY2" fmla="*/ 83476 h 1902580"/>
                <a:gd name="connsiteX3" fmla="*/ 2985666 w 6434180"/>
                <a:gd name="connsiteY3" fmla="*/ 218277 h 1902580"/>
                <a:gd name="connsiteX4" fmla="*/ 1639227 w 6434180"/>
                <a:gd name="connsiteY4" fmla="*/ 1237490 h 1902580"/>
                <a:gd name="connsiteX5" fmla="*/ 356931 w 6434180"/>
                <a:gd name="connsiteY5" fmla="*/ 1016680 h 1902580"/>
                <a:gd name="connsiteX6" fmla="*/ 107593 w 6434180"/>
                <a:gd name="connsiteY6" fmla="*/ 1419231 h 1902580"/>
                <a:gd name="connsiteX7" fmla="*/ 1801913 w 6434180"/>
                <a:gd name="connsiteY7" fmla="*/ 1710450 h 1902580"/>
                <a:gd name="connsiteX8" fmla="*/ 3160817 w 6434180"/>
                <a:gd name="connsiteY8" fmla="*/ 729736 h 1902580"/>
                <a:gd name="connsiteX9" fmla="*/ 4691488 w 6434180"/>
                <a:gd name="connsiteY9" fmla="*/ 588667 h 1902580"/>
                <a:gd name="connsiteX10" fmla="*/ 5960039 w 6434180"/>
                <a:gd name="connsiteY10" fmla="*/ 1303484 h 1902580"/>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72591"/>
                <a:gd name="connsiteX1" fmla="*/ 6346918 w 6434180"/>
                <a:gd name="connsiteY1" fmla="*/ 1019494 h 1872591"/>
                <a:gd name="connsiteX2" fmla="*/ 4816318 w 6434180"/>
                <a:gd name="connsiteY2" fmla="*/ 83476 h 1872591"/>
                <a:gd name="connsiteX3" fmla="*/ 2985666 w 6434180"/>
                <a:gd name="connsiteY3" fmla="*/ 218277 h 1872591"/>
                <a:gd name="connsiteX4" fmla="*/ 1639227 w 6434180"/>
                <a:gd name="connsiteY4" fmla="*/ 1237490 h 1872591"/>
                <a:gd name="connsiteX5" fmla="*/ 356931 w 6434180"/>
                <a:gd name="connsiteY5" fmla="*/ 1016680 h 1872591"/>
                <a:gd name="connsiteX6" fmla="*/ 107593 w 6434180"/>
                <a:gd name="connsiteY6" fmla="*/ 1419231 h 1872591"/>
                <a:gd name="connsiteX7" fmla="*/ 1801913 w 6434180"/>
                <a:gd name="connsiteY7" fmla="*/ 1710450 h 1872591"/>
                <a:gd name="connsiteX8" fmla="*/ 3160817 w 6434180"/>
                <a:gd name="connsiteY8" fmla="*/ 729736 h 1872591"/>
                <a:gd name="connsiteX9" fmla="*/ 4691488 w 6434180"/>
                <a:gd name="connsiteY9" fmla="*/ 588667 h 1872591"/>
                <a:gd name="connsiteX10" fmla="*/ 5960039 w 6434180"/>
                <a:gd name="connsiteY10" fmla="*/ 1303484 h 1872591"/>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851354"/>
                <a:gd name="connsiteX1" fmla="*/ 6346918 w 6434180"/>
                <a:gd name="connsiteY1" fmla="*/ 1019494 h 1851354"/>
                <a:gd name="connsiteX2" fmla="*/ 4816318 w 6434180"/>
                <a:gd name="connsiteY2" fmla="*/ 83476 h 1851354"/>
                <a:gd name="connsiteX3" fmla="*/ 2985666 w 6434180"/>
                <a:gd name="connsiteY3" fmla="*/ 218277 h 1851354"/>
                <a:gd name="connsiteX4" fmla="*/ 1639227 w 6434180"/>
                <a:gd name="connsiteY4" fmla="*/ 1237490 h 1851354"/>
                <a:gd name="connsiteX5" fmla="*/ 356931 w 6434180"/>
                <a:gd name="connsiteY5" fmla="*/ 1016680 h 1851354"/>
                <a:gd name="connsiteX6" fmla="*/ 107593 w 6434180"/>
                <a:gd name="connsiteY6" fmla="*/ 1419231 h 1851354"/>
                <a:gd name="connsiteX7" fmla="*/ 1801913 w 6434180"/>
                <a:gd name="connsiteY7" fmla="*/ 1710450 h 1851354"/>
                <a:gd name="connsiteX8" fmla="*/ 3160817 w 6434180"/>
                <a:gd name="connsiteY8" fmla="*/ 729736 h 1851354"/>
                <a:gd name="connsiteX9" fmla="*/ 4691488 w 6434180"/>
                <a:gd name="connsiteY9" fmla="*/ 588667 h 1851354"/>
                <a:gd name="connsiteX10" fmla="*/ 5960039 w 6434180"/>
                <a:gd name="connsiteY10" fmla="*/ 1303484 h 1851354"/>
                <a:gd name="connsiteX0" fmla="*/ 5960039 w 6434180"/>
                <a:gd name="connsiteY0" fmla="*/ 1303484 h 1946772"/>
                <a:gd name="connsiteX1" fmla="*/ 6346918 w 6434180"/>
                <a:gd name="connsiteY1" fmla="*/ 1019494 h 1946772"/>
                <a:gd name="connsiteX2" fmla="*/ 4816318 w 6434180"/>
                <a:gd name="connsiteY2" fmla="*/ 83476 h 1946772"/>
                <a:gd name="connsiteX3" fmla="*/ 2985666 w 6434180"/>
                <a:gd name="connsiteY3" fmla="*/ 218277 h 1946772"/>
                <a:gd name="connsiteX4" fmla="*/ 1639227 w 6434180"/>
                <a:gd name="connsiteY4" fmla="*/ 1237490 h 1946772"/>
                <a:gd name="connsiteX5" fmla="*/ 356931 w 6434180"/>
                <a:gd name="connsiteY5" fmla="*/ 1016680 h 1946772"/>
                <a:gd name="connsiteX6" fmla="*/ 107593 w 6434180"/>
                <a:gd name="connsiteY6" fmla="*/ 1419231 h 1946772"/>
                <a:gd name="connsiteX7" fmla="*/ 1801913 w 6434180"/>
                <a:gd name="connsiteY7" fmla="*/ 1710450 h 1946772"/>
                <a:gd name="connsiteX8" fmla="*/ 3160817 w 6434180"/>
                <a:gd name="connsiteY8" fmla="*/ 729736 h 1946772"/>
                <a:gd name="connsiteX9" fmla="*/ 4691488 w 6434180"/>
                <a:gd name="connsiteY9" fmla="*/ 588667 h 1946772"/>
                <a:gd name="connsiteX10" fmla="*/ 5960039 w 6434180"/>
                <a:gd name="connsiteY10" fmla="*/ 1303484 h 1946772"/>
                <a:gd name="connsiteX0" fmla="*/ 5960039 w 6434180"/>
                <a:gd name="connsiteY0" fmla="*/ 1303484 h 1848056"/>
                <a:gd name="connsiteX1" fmla="*/ 6346918 w 6434180"/>
                <a:gd name="connsiteY1" fmla="*/ 1019494 h 1848056"/>
                <a:gd name="connsiteX2" fmla="*/ 4816318 w 6434180"/>
                <a:gd name="connsiteY2" fmla="*/ 83476 h 1848056"/>
                <a:gd name="connsiteX3" fmla="*/ 2985666 w 6434180"/>
                <a:gd name="connsiteY3" fmla="*/ 218277 h 1848056"/>
                <a:gd name="connsiteX4" fmla="*/ 1639227 w 6434180"/>
                <a:gd name="connsiteY4" fmla="*/ 1237490 h 1848056"/>
                <a:gd name="connsiteX5" fmla="*/ 356931 w 6434180"/>
                <a:gd name="connsiteY5" fmla="*/ 1016680 h 1848056"/>
                <a:gd name="connsiteX6" fmla="*/ 107593 w 6434180"/>
                <a:gd name="connsiteY6" fmla="*/ 1419231 h 1848056"/>
                <a:gd name="connsiteX7" fmla="*/ 1801913 w 6434180"/>
                <a:gd name="connsiteY7" fmla="*/ 1710450 h 1848056"/>
                <a:gd name="connsiteX8" fmla="*/ 3160817 w 6434180"/>
                <a:gd name="connsiteY8" fmla="*/ 729736 h 1848056"/>
                <a:gd name="connsiteX9" fmla="*/ 4691488 w 6434180"/>
                <a:gd name="connsiteY9" fmla="*/ 588667 h 1848056"/>
                <a:gd name="connsiteX10" fmla="*/ 5960039 w 6434180"/>
                <a:gd name="connsiteY10" fmla="*/ 1303484 h 1848056"/>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303484 h 1890533"/>
                <a:gd name="connsiteX1" fmla="*/ 6346918 w 6434180"/>
                <a:gd name="connsiteY1" fmla="*/ 1019494 h 1890533"/>
                <a:gd name="connsiteX2" fmla="*/ 4816318 w 6434180"/>
                <a:gd name="connsiteY2" fmla="*/ 83476 h 1890533"/>
                <a:gd name="connsiteX3" fmla="*/ 2985666 w 6434180"/>
                <a:gd name="connsiteY3" fmla="*/ 218277 h 1890533"/>
                <a:gd name="connsiteX4" fmla="*/ 1639227 w 6434180"/>
                <a:gd name="connsiteY4" fmla="*/ 1237490 h 1890533"/>
                <a:gd name="connsiteX5" fmla="*/ 356931 w 6434180"/>
                <a:gd name="connsiteY5" fmla="*/ 1016680 h 1890533"/>
                <a:gd name="connsiteX6" fmla="*/ 107593 w 6434180"/>
                <a:gd name="connsiteY6" fmla="*/ 1419231 h 1890533"/>
                <a:gd name="connsiteX7" fmla="*/ 1801913 w 6434180"/>
                <a:gd name="connsiteY7" fmla="*/ 1710450 h 1890533"/>
                <a:gd name="connsiteX8" fmla="*/ 3160817 w 6434180"/>
                <a:gd name="connsiteY8" fmla="*/ 729736 h 1890533"/>
                <a:gd name="connsiteX9" fmla="*/ 4691488 w 6434180"/>
                <a:gd name="connsiteY9" fmla="*/ 588667 h 1890533"/>
                <a:gd name="connsiteX10" fmla="*/ 5960039 w 6434180"/>
                <a:gd name="connsiteY10" fmla="*/ 1303484 h 1890533"/>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1931 h 1858980"/>
                <a:gd name="connsiteX1" fmla="*/ 6346918 w 6434180"/>
                <a:gd name="connsiteY1" fmla="*/ 987941 h 1858980"/>
                <a:gd name="connsiteX2" fmla="*/ 4816318 w 6434180"/>
                <a:gd name="connsiteY2" fmla="*/ 51923 h 1858980"/>
                <a:gd name="connsiteX3" fmla="*/ 2985666 w 6434180"/>
                <a:gd name="connsiteY3" fmla="*/ 186724 h 1858980"/>
                <a:gd name="connsiteX4" fmla="*/ 1639227 w 6434180"/>
                <a:gd name="connsiteY4" fmla="*/ 1205937 h 1858980"/>
                <a:gd name="connsiteX5" fmla="*/ 356931 w 6434180"/>
                <a:gd name="connsiteY5" fmla="*/ 985127 h 1858980"/>
                <a:gd name="connsiteX6" fmla="*/ 107593 w 6434180"/>
                <a:gd name="connsiteY6" fmla="*/ 1387678 h 1858980"/>
                <a:gd name="connsiteX7" fmla="*/ 1801913 w 6434180"/>
                <a:gd name="connsiteY7" fmla="*/ 1678897 h 1858980"/>
                <a:gd name="connsiteX8" fmla="*/ 3160817 w 6434180"/>
                <a:gd name="connsiteY8" fmla="*/ 698183 h 1858980"/>
                <a:gd name="connsiteX9" fmla="*/ 4691488 w 6434180"/>
                <a:gd name="connsiteY9" fmla="*/ 557114 h 1858980"/>
                <a:gd name="connsiteX10" fmla="*/ 5960039 w 6434180"/>
                <a:gd name="connsiteY10" fmla="*/ 1271931 h 1858980"/>
                <a:gd name="connsiteX0" fmla="*/ 5960039 w 6434180"/>
                <a:gd name="connsiteY0" fmla="*/ 1275521 h 1862570"/>
                <a:gd name="connsiteX1" fmla="*/ 6346918 w 6434180"/>
                <a:gd name="connsiteY1" fmla="*/ 991531 h 1862570"/>
                <a:gd name="connsiteX2" fmla="*/ 4816318 w 6434180"/>
                <a:gd name="connsiteY2" fmla="*/ 55513 h 1862570"/>
                <a:gd name="connsiteX3" fmla="*/ 2985666 w 6434180"/>
                <a:gd name="connsiteY3" fmla="*/ 190314 h 1862570"/>
                <a:gd name="connsiteX4" fmla="*/ 1639227 w 6434180"/>
                <a:gd name="connsiteY4" fmla="*/ 1209527 h 1862570"/>
                <a:gd name="connsiteX5" fmla="*/ 356931 w 6434180"/>
                <a:gd name="connsiteY5" fmla="*/ 988717 h 1862570"/>
                <a:gd name="connsiteX6" fmla="*/ 107593 w 6434180"/>
                <a:gd name="connsiteY6" fmla="*/ 1391268 h 1862570"/>
                <a:gd name="connsiteX7" fmla="*/ 1801913 w 6434180"/>
                <a:gd name="connsiteY7" fmla="*/ 1682487 h 1862570"/>
                <a:gd name="connsiteX8" fmla="*/ 3160817 w 6434180"/>
                <a:gd name="connsiteY8" fmla="*/ 701773 h 1862570"/>
                <a:gd name="connsiteX9" fmla="*/ 4691488 w 6434180"/>
                <a:gd name="connsiteY9" fmla="*/ 560704 h 1862570"/>
                <a:gd name="connsiteX10" fmla="*/ 5960039 w 6434180"/>
                <a:gd name="connsiteY10" fmla="*/ 1275521 h 1862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34180" h="1862570">
                  <a:moveTo>
                    <a:pt x="5960039" y="1275521"/>
                  </a:moveTo>
                  <a:cubicBezTo>
                    <a:pt x="6283134" y="1670414"/>
                    <a:pt x="6589346" y="1260633"/>
                    <a:pt x="6346918" y="991531"/>
                  </a:cubicBezTo>
                  <a:cubicBezTo>
                    <a:pt x="5949259" y="586678"/>
                    <a:pt x="5223959" y="131561"/>
                    <a:pt x="4816318" y="55513"/>
                  </a:cubicBezTo>
                  <a:cubicBezTo>
                    <a:pt x="4408677" y="-20535"/>
                    <a:pt x="3494501" y="-52826"/>
                    <a:pt x="2985666" y="190314"/>
                  </a:cubicBezTo>
                  <a:cubicBezTo>
                    <a:pt x="2476831" y="433454"/>
                    <a:pt x="1908164" y="1000838"/>
                    <a:pt x="1639227" y="1209527"/>
                  </a:cubicBezTo>
                  <a:cubicBezTo>
                    <a:pt x="1370290" y="1418216"/>
                    <a:pt x="729968" y="1345550"/>
                    <a:pt x="356931" y="988717"/>
                  </a:cubicBezTo>
                  <a:cubicBezTo>
                    <a:pt x="96566" y="758079"/>
                    <a:pt x="-146919" y="1182994"/>
                    <a:pt x="107593" y="1391268"/>
                  </a:cubicBezTo>
                  <a:cubicBezTo>
                    <a:pt x="576706" y="1808146"/>
                    <a:pt x="1317996" y="2048782"/>
                    <a:pt x="1801913" y="1682487"/>
                  </a:cubicBezTo>
                  <a:cubicBezTo>
                    <a:pt x="2285830" y="1316192"/>
                    <a:pt x="2704050" y="940116"/>
                    <a:pt x="3160817" y="701773"/>
                  </a:cubicBezTo>
                  <a:cubicBezTo>
                    <a:pt x="3617584" y="463430"/>
                    <a:pt x="4299587" y="485617"/>
                    <a:pt x="4691488" y="560704"/>
                  </a:cubicBezTo>
                  <a:cubicBezTo>
                    <a:pt x="5083389" y="635791"/>
                    <a:pt x="5573765" y="907826"/>
                    <a:pt x="5960039" y="1275521"/>
                  </a:cubicBezTo>
                  <a:close/>
                </a:path>
              </a:pathLst>
            </a:custGeom>
            <a:solidFill>
              <a:srgbClr val="59B4D9"/>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882"/>
            </a:p>
          </p:txBody>
        </p:sp>
      </p:grpSp>
    </p:spTree>
    <p:extLst>
      <p:ext uri="{BB962C8B-B14F-4D97-AF65-F5344CB8AC3E}">
        <p14:creationId xmlns:p14="http://schemas.microsoft.com/office/powerpoint/2010/main" val="36156472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A4DCBE-A8C0-4D21-9904-020335BCCD21}"/>
              </a:ext>
            </a:extLst>
          </p:cNvPr>
          <p:cNvSpPr>
            <a:spLocks noGrp="1"/>
          </p:cNvSpPr>
          <p:nvPr>
            <p:ph type="title"/>
          </p:nvPr>
        </p:nvSpPr>
        <p:spPr>
          <a:xfrm>
            <a:off x="269241" y="2607278"/>
            <a:ext cx="11922760" cy="836319"/>
          </a:xfrm>
        </p:spPr>
        <p:txBody>
          <a:bodyPr/>
          <a:lstStyle/>
          <a:p>
            <a:r>
              <a:rPr lang="en-US" sz="4705" dirty="0"/>
              <a:t>Building AI Solutions in Manufacturing</a:t>
            </a:r>
          </a:p>
        </p:txBody>
      </p:sp>
      <p:sp>
        <p:nvSpPr>
          <p:cNvPr id="3" name="Title 3">
            <a:extLst>
              <a:ext uri="{FF2B5EF4-FFF2-40B4-BE49-F238E27FC236}">
                <a16:creationId xmlns:a16="http://schemas.microsoft.com/office/drawing/2014/main" id="{335F7979-47B6-4CC2-A768-41D6C8D2DB8A}"/>
              </a:ext>
            </a:extLst>
          </p:cNvPr>
          <p:cNvSpPr txBox="1">
            <a:spLocks/>
          </p:cNvSpPr>
          <p:nvPr/>
        </p:nvSpPr>
        <p:spPr>
          <a:xfrm>
            <a:off x="269240" y="4167721"/>
            <a:ext cx="11922760" cy="832764"/>
          </a:xfrm>
          <a:prstGeom prst="rect">
            <a:avLst/>
          </a:prstGeom>
          <a:noFill/>
        </p:spPr>
        <p:txBody>
          <a:bodyPr vert="horz" wrap="square" lIns="146304" tIns="91440" rIns="146304" bIns="91440" rtlCol="0" anchor="t" anchorCtr="0">
            <a:spAutoFit/>
          </a:bodyPr>
          <a:lstStyle>
            <a:lvl1pPr algn="l" defTabSz="914367" rtl="0" eaLnBrk="1" latinLnBrk="0" hangingPunct="1">
              <a:lnSpc>
                <a:spcPct val="90000"/>
              </a:lnSpc>
              <a:spcBef>
                <a:spcPct val="0"/>
              </a:spcBef>
              <a:buNone/>
              <a:defRPr lang="en-US" sz="7056" b="0" kern="1200" cap="none" spc="-98"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sz="4705"/>
              <a:t>Azure Machine Learning</a:t>
            </a:r>
            <a:endParaRPr lang="en-US" sz="4705" dirty="0"/>
          </a:p>
        </p:txBody>
      </p:sp>
    </p:spTree>
    <p:extLst>
      <p:ext uri="{BB962C8B-B14F-4D97-AF65-F5344CB8AC3E}">
        <p14:creationId xmlns:p14="http://schemas.microsoft.com/office/powerpoint/2010/main" val="228114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Rectangle 111">
            <a:extLst>
              <a:ext uri="{FF2B5EF4-FFF2-40B4-BE49-F238E27FC236}">
                <a16:creationId xmlns:a16="http://schemas.microsoft.com/office/drawing/2014/main" id="{A1022441-B84D-4793-B68D-9B66701BB69B}"/>
              </a:ext>
            </a:extLst>
          </p:cNvPr>
          <p:cNvSpPr/>
          <p:nvPr/>
        </p:nvSpPr>
        <p:spPr bwMode="auto">
          <a:xfrm>
            <a:off x="275464" y="1444418"/>
            <a:ext cx="7978149" cy="209886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3" name="Rectangle 112">
            <a:extLst>
              <a:ext uri="{FF2B5EF4-FFF2-40B4-BE49-F238E27FC236}">
                <a16:creationId xmlns:a16="http://schemas.microsoft.com/office/drawing/2014/main" id="{2B63EB57-8372-4346-A283-73E87023223A}"/>
              </a:ext>
            </a:extLst>
          </p:cNvPr>
          <p:cNvSpPr/>
          <p:nvPr/>
        </p:nvSpPr>
        <p:spPr bwMode="auto">
          <a:xfrm>
            <a:off x="275464" y="3579658"/>
            <a:ext cx="7978149" cy="24525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4" name="Rectangle 113">
            <a:extLst>
              <a:ext uri="{FF2B5EF4-FFF2-40B4-BE49-F238E27FC236}">
                <a16:creationId xmlns:a16="http://schemas.microsoft.com/office/drawing/2014/main" id="{BAEE5EA5-8C6C-4908-9490-D75C05F19D21}"/>
              </a:ext>
            </a:extLst>
          </p:cNvPr>
          <p:cNvSpPr/>
          <p:nvPr/>
        </p:nvSpPr>
        <p:spPr bwMode="auto">
          <a:xfrm>
            <a:off x="8293895" y="1444418"/>
            <a:ext cx="3529871" cy="4587799"/>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116" name="Group 115">
            <a:extLst>
              <a:ext uri="{FF2B5EF4-FFF2-40B4-BE49-F238E27FC236}">
                <a16:creationId xmlns:a16="http://schemas.microsoft.com/office/drawing/2014/main" id="{B96EDA7D-479A-478F-A192-E1E20C10FC85}"/>
              </a:ext>
            </a:extLst>
          </p:cNvPr>
          <p:cNvGrpSpPr/>
          <p:nvPr/>
        </p:nvGrpSpPr>
        <p:grpSpPr>
          <a:xfrm>
            <a:off x="492510" y="2191800"/>
            <a:ext cx="7613026" cy="1029780"/>
            <a:chOff x="491715" y="2191624"/>
            <a:chExt cx="7614106" cy="1029926"/>
          </a:xfrm>
        </p:grpSpPr>
        <p:sp>
          <p:nvSpPr>
            <p:cNvPr id="122" name="Rectangle 121">
              <a:extLst>
                <a:ext uri="{FF2B5EF4-FFF2-40B4-BE49-F238E27FC236}">
                  <a16:creationId xmlns:a16="http://schemas.microsoft.com/office/drawing/2014/main" id="{84138059-581A-4A36-8CB7-AEB9344CBE60}"/>
                </a:ext>
              </a:extLst>
            </p:cNvPr>
            <p:cNvSpPr/>
            <p:nvPr/>
          </p:nvSpPr>
          <p:spPr bwMode="auto">
            <a:xfrm>
              <a:off x="491715" y="2604627"/>
              <a:ext cx="2084994"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ognitive Services</a:t>
              </a:r>
            </a:p>
          </p:txBody>
        </p:sp>
        <p:sp>
          <p:nvSpPr>
            <p:cNvPr id="123" name="Rectangle 122">
              <a:extLst>
                <a:ext uri="{FF2B5EF4-FFF2-40B4-BE49-F238E27FC236}">
                  <a16:creationId xmlns:a16="http://schemas.microsoft.com/office/drawing/2014/main" id="{ACCC5988-E796-4BDE-93F3-79E63CDCE37D}"/>
                </a:ext>
              </a:extLst>
            </p:cNvPr>
            <p:cNvSpPr/>
            <p:nvPr/>
          </p:nvSpPr>
          <p:spPr bwMode="auto">
            <a:xfrm>
              <a:off x="4988489" y="2191624"/>
              <a:ext cx="3117332"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50000"/>
                </a:lnSpc>
                <a:spcBef>
                  <a:spcPts val="0"/>
                </a:spcBef>
                <a:spcAft>
                  <a:spcPts val="0"/>
                </a:spcAft>
                <a:buClrTx/>
                <a:buSzTx/>
                <a:buFontTx/>
                <a:buNone/>
                <a:tabLst/>
                <a:defRPr/>
              </a:pPr>
              <a:r>
                <a:rPr kumimoji="0" lang="en-US" sz="14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CUSTOM AI</a:t>
              </a:r>
              <a:endParaRPr kumimoji="0" lang="en-US" sz="11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24" name="Rectangle 123">
              <a:extLst>
                <a:ext uri="{FF2B5EF4-FFF2-40B4-BE49-F238E27FC236}">
                  <a16:creationId xmlns:a16="http://schemas.microsoft.com/office/drawing/2014/main" id="{D21A0CA6-9999-44F1-9672-7EC6C4C0B0C5}"/>
                </a:ext>
              </a:extLst>
            </p:cNvPr>
            <p:cNvSpPr/>
            <p:nvPr/>
          </p:nvSpPr>
          <p:spPr bwMode="auto">
            <a:xfrm>
              <a:off x="4988490" y="2626867"/>
              <a:ext cx="3117331"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zure Machine Learning</a:t>
              </a:r>
            </a:p>
          </p:txBody>
        </p:sp>
        <p:sp>
          <p:nvSpPr>
            <p:cNvPr id="125" name="Rectangle 124">
              <a:extLst>
                <a:ext uri="{FF2B5EF4-FFF2-40B4-BE49-F238E27FC236}">
                  <a16:creationId xmlns:a16="http://schemas.microsoft.com/office/drawing/2014/main" id="{60B2A14C-0795-414C-A131-D5D36D0EDC39}"/>
                </a:ext>
              </a:extLst>
            </p:cNvPr>
            <p:cNvSpPr/>
            <p:nvPr/>
          </p:nvSpPr>
          <p:spPr bwMode="auto">
            <a:xfrm>
              <a:off x="491715" y="2202057"/>
              <a:ext cx="2084994"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PRE-BUILT AI</a:t>
              </a:r>
              <a:endParaRPr kumimoji="0" lang="en-US" sz="11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26" name="Rectangle 125">
              <a:extLst>
                <a:ext uri="{FF2B5EF4-FFF2-40B4-BE49-F238E27FC236}">
                  <a16:creationId xmlns:a16="http://schemas.microsoft.com/office/drawing/2014/main" id="{136AE4AD-0A51-4287-BEF6-B333D23F47D9}"/>
                </a:ext>
              </a:extLst>
            </p:cNvPr>
            <p:cNvSpPr/>
            <p:nvPr/>
          </p:nvSpPr>
          <p:spPr bwMode="auto">
            <a:xfrm>
              <a:off x="2695945" y="2191628"/>
              <a:ext cx="2220602"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CONVERSATIONAL AI</a:t>
              </a:r>
              <a:endParaRPr kumimoji="0" lang="en-US" sz="11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27" name="Rectangle 126">
              <a:extLst>
                <a:ext uri="{FF2B5EF4-FFF2-40B4-BE49-F238E27FC236}">
                  <a16:creationId xmlns:a16="http://schemas.microsoft.com/office/drawing/2014/main" id="{7611F601-D888-473E-8C31-5BCC72DB0891}"/>
                </a:ext>
              </a:extLst>
            </p:cNvPr>
            <p:cNvSpPr/>
            <p:nvPr/>
          </p:nvSpPr>
          <p:spPr bwMode="auto">
            <a:xfrm>
              <a:off x="2695946" y="2621830"/>
              <a:ext cx="2220602"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Bot Service</a:t>
              </a:r>
            </a:p>
          </p:txBody>
        </p:sp>
      </p:grpSp>
      <p:grpSp>
        <p:nvGrpSpPr>
          <p:cNvPr id="128" name="Group 127">
            <a:extLst>
              <a:ext uri="{FF2B5EF4-FFF2-40B4-BE49-F238E27FC236}">
                <a16:creationId xmlns:a16="http://schemas.microsoft.com/office/drawing/2014/main" id="{B70BBE88-F0CD-4686-B53F-1959CD27E4B7}"/>
              </a:ext>
            </a:extLst>
          </p:cNvPr>
          <p:cNvGrpSpPr/>
          <p:nvPr/>
        </p:nvGrpSpPr>
        <p:grpSpPr>
          <a:xfrm>
            <a:off x="475396" y="4137858"/>
            <a:ext cx="7704178" cy="1760474"/>
            <a:chOff x="284271" y="4124646"/>
            <a:chExt cx="7705271" cy="1760724"/>
          </a:xfrm>
        </p:grpSpPr>
        <p:sp>
          <p:nvSpPr>
            <p:cNvPr id="129" name="Rectangle 128">
              <a:extLst>
                <a:ext uri="{FF2B5EF4-FFF2-40B4-BE49-F238E27FC236}">
                  <a16:creationId xmlns:a16="http://schemas.microsoft.com/office/drawing/2014/main" id="{15BF3632-A58D-4205-9324-05893B77B708}"/>
                </a:ext>
              </a:extLst>
            </p:cNvPr>
            <p:cNvSpPr/>
            <p:nvPr/>
          </p:nvSpPr>
          <p:spPr bwMode="auto">
            <a:xfrm>
              <a:off x="284272" y="4124646"/>
              <a:ext cx="3805742"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50000"/>
                </a:lnSpc>
                <a:spcBef>
                  <a:spcPts val="0"/>
                </a:spcBef>
                <a:spcAft>
                  <a:spcPts val="0"/>
                </a:spcAft>
                <a:buClrTx/>
                <a:buSzTx/>
                <a:buFontTx/>
                <a:buNone/>
                <a:tabLst/>
                <a:defRPr/>
              </a:pPr>
              <a:r>
                <a:rPr kumimoji="0" lang="en-US" sz="14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AI ON DATA</a:t>
              </a:r>
            </a:p>
          </p:txBody>
        </p:sp>
        <p:sp>
          <p:nvSpPr>
            <p:cNvPr id="130" name="Rectangle 129">
              <a:extLst>
                <a:ext uri="{FF2B5EF4-FFF2-40B4-BE49-F238E27FC236}">
                  <a16:creationId xmlns:a16="http://schemas.microsoft.com/office/drawing/2014/main" id="{47F0AB2E-2974-462E-B7D1-00779424A960}"/>
                </a:ext>
              </a:extLst>
            </p:cNvPr>
            <p:cNvSpPr/>
            <p:nvPr/>
          </p:nvSpPr>
          <p:spPr bwMode="auto">
            <a:xfrm>
              <a:off x="284273" y="4559136"/>
              <a:ext cx="904329"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osmos DB</a:t>
              </a:r>
            </a:p>
          </p:txBody>
        </p:sp>
        <p:sp>
          <p:nvSpPr>
            <p:cNvPr id="131" name="Rectangle 130">
              <a:extLst>
                <a:ext uri="{FF2B5EF4-FFF2-40B4-BE49-F238E27FC236}">
                  <a16:creationId xmlns:a16="http://schemas.microsoft.com/office/drawing/2014/main" id="{A254AE9A-339C-4669-B636-1156D4FF2F60}"/>
                </a:ext>
              </a:extLst>
            </p:cNvPr>
            <p:cNvSpPr/>
            <p:nvPr/>
          </p:nvSpPr>
          <p:spPr bwMode="auto">
            <a:xfrm>
              <a:off x="4753359" y="4144005"/>
              <a:ext cx="3113352"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50000"/>
                </a:lnSpc>
                <a:spcBef>
                  <a:spcPts val="0"/>
                </a:spcBef>
                <a:spcAft>
                  <a:spcPts val="0"/>
                </a:spcAft>
                <a:buClrTx/>
                <a:buSzTx/>
                <a:buFontTx/>
                <a:buNone/>
                <a:tabLst/>
                <a:defRPr/>
              </a:pPr>
              <a:r>
                <a:rPr kumimoji="0" lang="en-US" sz="14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AI COMPUTE</a:t>
              </a:r>
            </a:p>
          </p:txBody>
        </p:sp>
        <p:sp>
          <p:nvSpPr>
            <p:cNvPr id="132" name="Rectangle 131">
              <a:extLst>
                <a:ext uri="{FF2B5EF4-FFF2-40B4-BE49-F238E27FC236}">
                  <a16:creationId xmlns:a16="http://schemas.microsoft.com/office/drawing/2014/main" id="{0D1C1C72-D1A9-4310-9EA2-C17B1BE7E2FD}"/>
                </a:ext>
              </a:extLst>
            </p:cNvPr>
            <p:cNvSpPr/>
            <p:nvPr/>
          </p:nvSpPr>
          <p:spPr bwMode="auto">
            <a:xfrm>
              <a:off x="1234511" y="4559129"/>
              <a:ext cx="858775"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QL </a:t>
              </a:r>
            </a:p>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DB</a:t>
              </a:r>
            </a:p>
          </p:txBody>
        </p:sp>
        <p:sp>
          <p:nvSpPr>
            <p:cNvPr id="133" name="Rectangle 132">
              <a:extLst>
                <a:ext uri="{FF2B5EF4-FFF2-40B4-BE49-F238E27FC236}">
                  <a16:creationId xmlns:a16="http://schemas.microsoft.com/office/drawing/2014/main" id="{51E74D6C-B6AF-4B77-986E-5DBACA20436C}"/>
                </a:ext>
              </a:extLst>
            </p:cNvPr>
            <p:cNvSpPr/>
            <p:nvPr/>
          </p:nvSpPr>
          <p:spPr bwMode="auto">
            <a:xfrm>
              <a:off x="2139195" y="4559129"/>
              <a:ext cx="858775"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QL </a:t>
              </a:r>
            </a:p>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DW</a:t>
              </a:r>
            </a:p>
          </p:txBody>
        </p:sp>
        <p:sp>
          <p:nvSpPr>
            <p:cNvPr id="134" name="Rectangle 133">
              <a:extLst>
                <a:ext uri="{FF2B5EF4-FFF2-40B4-BE49-F238E27FC236}">
                  <a16:creationId xmlns:a16="http://schemas.microsoft.com/office/drawing/2014/main" id="{D48F0679-E699-45D9-BB88-24D47AA8A6DB}"/>
                </a:ext>
              </a:extLst>
            </p:cNvPr>
            <p:cNvSpPr/>
            <p:nvPr/>
          </p:nvSpPr>
          <p:spPr bwMode="auto">
            <a:xfrm>
              <a:off x="3049078" y="4559129"/>
              <a:ext cx="858775"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Data Lake</a:t>
              </a:r>
            </a:p>
          </p:txBody>
        </p:sp>
        <p:sp>
          <p:nvSpPr>
            <p:cNvPr id="135" name="Rectangle 134">
              <a:extLst>
                <a:ext uri="{FF2B5EF4-FFF2-40B4-BE49-F238E27FC236}">
                  <a16:creationId xmlns:a16="http://schemas.microsoft.com/office/drawing/2014/main" id="{63CBB3AE-B385-42B1-A9F7-87B9B1CAD77F}"/>
                </a:ext>
              </a:extLst>
            </p:cNvPr>
            <p:cNvSpPr/>
            <p:nvPr/>
          </p:nvSpPr>
          <p:spPr bwMode="auto">
            <a:xfrm>
              <a:off x="4091315" y="4559132"/>
              <a:ext cx="741769"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park</a:t>
              </a:r>
            </a:p>
          </p:txBody>
        </p:sp>
        <p:sp>
          <p:nvSpPr>
            <p:cNvPr id="136" name="Rectangle 135">
              <a:extLst>
                <a:ext uri="{FF2B5EF4-FFF2-40B4-BE49-F238E27FC236}">
                  <a16:creationId xmlns:a16="http://schemas.microsoft.com/office/drawing/2014/main" id="{0256DC00-1D8B-4C42-ABA1-9BE94BA19E9C}"/>
                </a:ext>
              </a:extLst>
            </p:cNvPr>
            <p:cNvSpPr/>
            <p:nvPr/>
          </p:nvSpPr>
          <p:spPr bwMode="auto">
            <a:xfrm>
              <a:off x="4863134" y="4559129"/>
              <a:ext cx="794794"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DSVM</a:t>
              </a:r>
            </a:p>
          </p:txBody>
        </p:sp>
        <p:sp>
          <p:nvSpPr>
            <p:cNvPr id="137" name="Rectangle 136">
              <a:extLst>
                <a:ext uri="{FF2B5EF4-FFF2-40B4-BE49-F238E27FC236}">
                  <a16:creationId xmlns:a16="http://schemas.microsoft.com/office/drawing/2014/main" id="{23BFE63E-914A-4126-B081-15B223ACA2DE}"/>
                </a:ext>
              </a:extLst>
            </p:cNvPr>
            <p:cNvSpPr/>
            <p:nvPr/>
          </p:nvSpPr>
          <p:spPr bwMode="auto">
            <a:xfrm>
              <a:off x="5684293" y="4559130"/>
              <a:ext cx="741769"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Batch AI</a:t>
              </a:r>
            </a:p>
          </p:txBody>
        </p:sp>
        <p:sp>
          <p:nvSpPr>
            <p:cNvPr id="138" name="Rectangle 137">
              <a:extLst>
                <a:ext uri="{FF2B5EF4-FFF2-40B4-BE49-F238E27FC236}">
                  <a16:creationId xmlns:a16="http://schemas.microsoft.com/office/drawing/2014/main" id="{59B189B1-6C94-4223-9EB2-97E42370E11E}"/>
                </a:ext>
              </a:extLst>
            </p:cNvPr>
            <p:cNvSpPr/>
            <p:nvPr/>
          </p:nvSpPr>
          <p:spPr bwMode="auto">
            <a:xfrm>
              <a:off x="6452427" y="4559129"/>
              <a:ext cx="741769"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CS</a:t>
              </a:r>
            </a:p>
          </p:txBody>
        </p:sp>
        <p:sp>
          <p:nvSpPr>
            <p:cNvPr id="139" name="Rectangle 138">
              <a:extLst>
                <a:ext uri="{FF2B5EF4-FFF2-40B4-BE49-F238E27FC236}">
                  <a16:creationId xmlns:a16="http://schemas.microsoft.com/office/drawing/2014/main" id="{251F6399-741D-4F66-BA38-3177CC96F29D}"/>
                </a:ext>
              </a:extLst>
            </p:cNvPr>
            <p:cNvSpPr/>
            <p:nvPr/>
          </p:nvSpPr>
          <p:spPr bwMode="auto">
            <a:xfrm>
              <a:off x="284271" y="5290687"/>
              <a:ext cx="7705271"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PU, FPGA, GPU</a:t>
              </a:r>
            </a:p>
          </p:txBody>
        </p:sp>
        <p:sp>
          <p:nvSpPr>
            <p:cNvPr id="140" name="Rectangle 139">
              <a:extLst>
                <a:ext uri="{FF2B5EF4-FFF2-40B4-BE49-F238E27FC236}">
                  <a16:creationId xmlns:a16="http://schemas.microsoft.com/office/drawing/2014/main" id="{6FF39AA3-9A63-4F2F-A4C1-193E75757C8D}"/>
                </a:ext>
              </a:extLst>
            </p:cNvPr>
            <p:cNvSpPr/>
            <p:nvPr/>
          </p:nvSpPr>
          <p:spPr bwMode="auto">
            <a:xfrm>
              <a:off x="7220948" y="4559129"/>
              <a:ext cx="752433" cy="594683"/>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oT Edge</a:t>
              </a:r>
            </a:p>
          </p:txBody>
        </p:sp>
      </p:grpSp>
      <p:grpSp>
        <p:nvGrpSpPr>
          <p:cNvPr id="141" name="Group 140">
            <a:extLst>
              <a:ext uri="{FF2B5EF4-FFF2-40B4-BE49-F238E27FC236}">
                <a16:creationId xmlns:a16="http://schemas.microsoft.com/office/drawing/2014/main" id="{B61142DF-126A-4264-A759-43B130179D88}"/>
              </a:ext>
            </a:extLst>
          </p:cNvPr>
          <p:cNvGrpSpPr/>
          <p:nvPr/>
        </p:nvGrpSpPr>
        <p:grpSpPr>
          <a:xfrm>
            <a:off x="8387104" y="2184040"/>
            <a:ext cx="3357154" cy="3418613"/>
            <a:chOff x="8283071" y="2183863"/>
            <a:chExt cx="3357630" cy="3419098"/>
          </a:xfrm>
        </p:grpSpPr>
        <p:sp>
          <p:nvSpPr>
            <p:cNvPr id="142" name="Rectangle 141">
              <a:extLst>
                <a:ext uri="{FF2B5EF4-FFF2-40B4-BE49-F238E27FC236}">
                  <a16:creationId xmlns:a16="http://schemas.microsoft.com/office/drawing/2014/main" id="{7DA1ED97-1B38-46C0-A3C2-33DE6C295EE3}"/>
                </a:ext>
              </a:extLst>
            </p:cNvPr>
            <p:cNvSpPr/>
            <p:nvPr/>
          </p:nvSpPr>
          <p:spPr bwMode="auto">
            <a:xfrm>
              <a:off x="8440989" y="2619106"/>
              <a:ext cx="1040516" cy="614041"/>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VS Tools </a:t>
              </a:r>
              <a:b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for AI</a:t>
              </a:r>
            </a:p>
          </p:txBody>
        </p:sp>
        <p:sp>
          <p:nvSpPr>
            <p:cNvPr id="143" name="Rectangle 142">
              <a:extLst>
                <a:ext uri="{FF2B5EF4-FFF2-40B4-BE49-F238E27FC236}">
                  <a16:creationId xmlns:a16="http://schemas.microsoft.com/office/drawing/2014/main" id="{C6053B38-8FC9-4769-A939-A4367FA419A5}"/>
                </a:ext>
              </a:extLst>
            </p:cNvPr>
            <p:cNvSpPr/>
            <p:nvPr/>
          </p:nvSpPr>
          <p:spPr bwMode="auto">
            <a:xfrm>
              <a:off x="9545632" y="2619106"/>
              <a:ext cx="896634" cy="614041"/>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zure ML Studio</a:t>
              </a:r>
            </a:p>
          </p:txBody>
        </p:sp>
        <p:sp>
          <p:nvSpPr>
            <p:cNvPr id="144" name="Rectangle 143">
              <a:extLst>
                <a:ext uri="{FF2B5EF4-FFF2-40B4-BE49-F238E27FC236}">
                  <a16:creationId xmlns:a16="http://schemas.microsoft.com/office/drawing/2014/main" id="{7DF5E67D-1818-43EA-B375-11FA28D56FC8}"/>
                </a:ext>
              </a:extLst>
            </p:cNvPr>
            <p:cNvSpPr/>
            <p:nvPr/>
          </p:nvSpPr>
          <p:spPr bwMode="auto">
            <a:xfrm>
              <a:off x="8283071" y="2183863"/>
              <a:ext cx="3357630"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50000"/>
                </a:lnSpc>
                <a:spcBef>
                  <a:spcPts val="0"/>
                </a:spcBef>
                <a:spcAft>
                  <a:spcPts val="0"/>
                </a:spcAft>
                <a:buClrTx/>
                <a:buSzTx/>
                <a:buFontTx/>
                <a:buNone/>
                <a:tabLst/>
                <a:defRPr/>
              </a:pPr>
              <a:r>
                <a:rPr kumimoji="0" lang="en-US" sz="14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CODING &amp; MANAGEMENT TOOLS</a:t>
              </a:r>
            </a:p>
          </p:txBody>
        </p:sp>
        <p:sp>
          <p:nvSpPr>
            <p:cNvPr id="145" name="Rectangle 144">
              <a:extLst>
                <a:ext uri="{FF2B5EF4-FFF2-40B4-BE49-F238E27FC236}">
                  <a16:creationId xmlns:a16="http://schemas.microsoft.com/office/drawing/2014/main" id="{21551998-7EA4-4A0F-9D0C-2439D031734C}"/>
                </a:ext>
              </a:extLst>
            </p:cNvPr>
            <p:cNvSpPr/>
            <p:nvPr/>
          </p:nvSpPr>
          <p:spPr bwMode="auto">
            <a:xfrm>
              <a:off x="10522021" y="2619106"/>
              <a:ext cx="960761" cy="614041"/>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zure ML Workbench</a:t>
              </a:r>
            </a:p>
          </p:txBody>
        </p:sp>
        <p:sp>
          <p:nvSpPr>
            <p:cNvPr id="146" name="Rectangle 145">
              <a:extLst>
                <a:ext uri="{FF2B5EF4-FFF2-40B4-BE49-F238E27FC236}">
                  <a16:creationId xmlns:a16="http://schemas.microsoft.com/office/drawing/2014/main" id="{F384834B-D138-4D4F-8B0E-01D321982E29}"/>
                </a:ext>
              </a:extLst>
            </p:cNvPr>
            <p:cNvSpPr/>
            <p:nvPr/>
          </p:nvSpPr>
          <p:spPr bwMode="auto">
            <a:xfrm>
              <a:off x="8283071" y="3930076"/>
              <a:ext cx="3357630"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50000"/>
                </a:lnSpc>
                <a:spcBef>
                  <a:spcPts val="0"/>
                </a:spcBef>
                <a:spcAft>
                  <a:spcPts val="0"/>
                </a:spcAft>
                <a:buClrTx/>
                <a:buSzTx/>
                <a:buFontTx/>
                <a:buNone/>
                <a:tabLst/>
                <a:defRPr/>
              </a:pPr>
              <a:r>
                <a:rPr kumimoji="0" lang="en-US" sz="1400" b="1"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DEEP LEARNING FRAMEWORKS</a:t>
              </a:r>
            </a:p>
          </p:txBody>
        </p:sp>
        <p:sp>
          <p:nvSpPr>
            <p:cNvPr id="147" name="Rectangle 146">
              <a:extLst>
                <a:ext uri="{FF2B5EF4-FFF2-40B4-BE49-F238E27FC236}">
                  <a16:creationId xmlns:a16="http://schemas.microsoft.com/office/drawing/2014/main" id="{CCD8B23F-9794-483F-A654-1DB74B80D306}"/>
                </a:ext>
              </a:extLst>
            </p:cNvPr>
            <p:cNvSpPr/>
            <p:nvPr/>
          </p:nvSpPr>
          <p:spPr bwMode="auto">
            <a:xfrm>
              <a:off x="8440738" y="4579938"/>
              <a:ext cx="846137" cy="614362"/>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ognitive Toolkit</a:t>
              </a:r>
            </a:p>
          </p:txBody>
        </p:sp>
        <p:sp>
          <p:nvSpPr>
            <p:cNvPr id="148" name="Rectangle 147">
              <a:extLst>
                <a:ext uri="{FF2B5EF4-FFF2-40B4-BE49-F238E27FC236}">
                  <a16:creationId xmlns:a16="http://schemas.microsoft.com/office/drawing/2014/main" id="{C7B35767-6CE7-4819-ADB9-0BF9119D8E16}"/>
                </a:ext>
              </a:extLst>
            </p:cNvPr>
            <p:cNvSpPr/>
            <p:nvPr/>
          </p:nvSpPr>
          <p:spPr bwMode="auto">
            <a:xfrm>
              <a:off x="9481505" y="4587350"/>
              <a:ext cx="960761" cy="614041"/>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TensorFlow</a:t>
              </a:r>
            </a:p>
          </p:txBody>
        </p:sp>
        <p:sp>
          <p:nvSpPr>
            <p:cNvPr id="149" name="Rectangle 148">
              <a:extLst>
                <a:ext uri="{FF2B5EF4-FFF2-40B4-BE49-F238E27FC236}">
                  <a16:creationId xmlns:a16="http://schemas.microsoft.com/office/drawing/2014/main" id="{D430DCDF-81F1-413F-ABCD-98E5E568E473}"/>
                </a:ext>
              </a:extLst>
            </p:cNvPr>
            <p:cNvSpPr/>
            <p:nvPr/>
          </p:nvSpPr>
          <p:spPr bwMode="auto">
            <a:xfrm>
              <a:off x="10522021" y="4587349"/>
              <a:ext cx="960761" cy="614041"/>
            </a:xfrm>
            <a:prstGeom prst="rect">
              <a:avLst/>
            </a:prstGeom>
            <a:solidFill>
              <a:srgbClr val="0078D7"/>
            </a:solid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affe</a:t>
              </a:r>
            </a:p>
          </p:txBody>
        </p:sp>
        <p:sp>
          <p:nvSpPr>
            <p:cNvPr id="150" name="Rectangle 149">
              <a:extLst>
                <a:ext uri="{FF2B5EF4-FFF2-40B4-BE49-F238E27FC236}">
                  <a16:creationId xmlns:a16="http://schemas.microsoft.com/office/drawing/2014/main" id="{FB12FA12-0FC6-4C20-AD27-E2A9CFB486ED}"/>
                </a:ext>
              </a:extLst>
            </p:cNvPr>
            <p:cNvSpPr/>
            <p:nvPr/>
          </p:nvSpPr>
          <p:spPr bwMode="auto">
            <a:xfrm>
              <a:off x="8440738" y="5345376"/>
              <a:ext cx="3090271" cy="257585"/>
            </a:xfrm>
            <a:prstGeom prst="rect">
              <a:avLst/>
            </a:prstGeom>
            <a:no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Others (Scikit-learn, MXNet, Keras, Chainer, Gluon…)</a:t>
              </a:r>
            </a:p>
          </p:txBody>
        </p:sp>
        <p:sp>
          <p:nvSpPr>
            <p:cNvPr id="151" name="Rectangle 150">
              <a:extLst>
                <a:ext uri="{FF2B5EF4-FFF2-40B4-BE49-F238E27FC236}">
                  <a16:creationId xmlns:a16="http://schemas.microsoft.com/office/drawing/2014/main" id="{62936A50-074E-433A-89E2-B17862259435}"/>
                </a:ext>
              </a:extLst>
            </p:cNvPr>
            <p:cNvSpPr/>
            <p:nvPr/>
          </p:nvSpPr>
          <p:spPr bwMode="auto">
            <a:xfrm>
              <a:off x="9789094" y="4224592"/>
              <a:ext cx="1375924" cy="415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50000"/>
                </a:lnSpc>
                <a:spcBef>
                  <a:spcPts val="0"/>
                </a:spcBef>
                <a:spcAft>
                  <a:spcPts val="0"/>
                </a:spcAft>
                <a:buClrTx/>
                <a:buSzTx/>
                <a:buFontTx/>
                <a:buNone/>
                <a:tabLst/>
                <a:defRPr/>
              </a:pPr>
              <a:r>
                <a:rPr kumimoji="0" lang="en-US" sz="1200" b="0"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3rd Party</a:t>
              </a:r>
            </a:p>
          </p:txBody>
        </p:sp>
        <p:sp>
          <p:nvSpPr>
            <p:cNvPr id="152" name="Rectangle 151">
              <a:extLst>
                <a:ext uri="{FF2B5EF4-FFF2-40B4-BE49-F238E27FC236}">
                  <a16:creationId xmlns:a16="http://schemas.microsoft.com/office/drawing/2014/main" id="{642DFB83-ECF9-4A99-9C34-EE75B3419890}"/>
                </a:ext>
              </a:extLst>
            </p:cNvPr>
            <p:cNvSpPr/>
            <p:nvPr/>
          </p:nvSpPr>
          <p:spPr bwMode="auto">
            <a:xfrm>
              <a:off x="8448813" y="3315530"/>
              <a:ext cx="3090271" cy="257585"/>
            </a:xfrm>
            <a:prstGeom prst="rect">
              <a:avLst/>
            </a:prstGeom>
            <a:noFill/>
            <a:ln w="15875">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143387" rIns="91427" bIns="143387" numCol="1" spcCol="0" rtlCol="0" fromWordArt="0" anchor="ctr" anchorCtr="0" forceAA="0" compatLnSpc="1">
              <a:prstTxWarp prst="textNoShape">
                <a:avLst/>
              </a:prstTxWarp>
              <a:noAutofit/>
            </a:bodyPr>
            <a:lstStyle/>
            <a:p>
              <a:pPr marL="0" marR="0" lvl="0" indent="0" algn="l" defTabSz="914016" rtl="0" eaLnBrk="1" fontAlgn="base" latinLnBrk="0" hangingPunct="1">
                <a:lnSpc>
                  <a:spcPct val="150000"/>
                </a:lnSpc>
                <a:spcBef>
                  <a:spcPct val="0"/>
                </a:spcBef>
                <a:spcAft>
                  <a:spcPct val="0"/>
                </a:spcAft>
                <a:buClrTx/>
                <a:buSzTx/>
                <a:buFontTx/>
                <a:buNone/>
                <a:tabLst/>
                <a:defRPr/>
              </a:pPr>
              <a:r>
                <a:rPr kumimoji="0" lang="en-US" sz="1200" b="0" i="0" u="none" strike="noStrike" kern="0" cap="none" spc="0" normalizeH="0" baseline="0" noProof="0">
                  <a:ln>
                    <a:noFill/>
                  </a:ln>
                  <a:gradFill>
                    <a:gsLst>
                      <a:gs pos="63248">
                        <a:srgbClr val="0078D7"/>
                      </a:gs>
                      <a:gs pos="30000">
                        <a:srgbClr val="0078D7"/>
                      </a:gs>
                    </a:gsLst>
                    <a:lin ang="5400000" scaled="1"/>
                  </a:gradFill>
                  <a:effectLst/>
                  <a:uLnTx/>
                  <a:uFillTx/>
                  <a:latin typeface="Segoe UI" panose="020B0502040204020203" pitchFamily="34" charset="0"/>
                  <a:ea typeface="+mn-ea"/>
                  <a:cs typeface="Segoe UI" panose="020B0502040204020203" pitchFamily="34" charset="0"/>
                </a:rPr>
                <a:t>Others (PyCharm, Jupyter Notebooks…)</a:t>
              </a:r>
            </a:p>
          </p:txBody>
        </p:sp>
      </p:grpSp>
      <p:sp>
        <p:nvSpPr>
          <p:cNvPr id="153" name="Rectangle 152">
            <a:extLst>
              <a:ext uri="{FF2B5EF4-FFF2-40B4-BE49-F238E27FC236}">
                <a16:creationId xmlns:a16="http://schemas.microsoft.com/office/drawing/2014/main" id="{5DEFB41C-4134-48B8-BDE6-991FADFB2A5C}"/>
              </a:ext>
            </a:extLst>
          </p:cNvPr>
          <p:cNvSpPr/>
          <p:nvPr/>
        </p:nvSpPr>
        <p:spPr>
          <a:xfrm>
            <a:off x="345830" y="1713409"/>
            <a:ext cx="7907782" cy="594566"/>
          </a:xfrm>
          <a:prstGeom prst="rect">
            <a:avLst/>
          </a:prstGeom>
        </p:spPr>
        <p:txBody>
          <a:bodyPr wrap="square">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rPr>
              <a:t>Azure AI Services</a:t>
            </a:r>
          </a:p>
        </p:txBody>
      </p:sp>
      <p:sp>
        <p:nvSpPr>
          <p:cNvPr id="154" name="Rectangle 153">
            <a:extLst>
              <a:ext uri="{FF2B5EF4-FFF2-40B4-BE49-F238E27FC236}">
                <a16:creationId xmlns:a16="http://schemas.microsoft.com/office/drawing/2014/main" id="{9566CFA7-960E-4FAD-956A-30C717745ACA}"/>
              </a:ext>
            </a:extLst>
          </p:cNvPr>
          <p:cNvSpPr/>
          <p:nvPr/>
        </p:nvSpPr>
        <p:spPr>
          <a:xfrm>
            <a:off x="345830" y="3985162"/>
            <a:ext cx="7907782" cy="594566"/>
          </a:xfrm>
          <a:prstGeom prst="rect">
            <a:avLst/>
          </a:prstGeom>
        </p:spPr>
        <p:txBody>
          <a:bodyPr wrap="square">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rPr>
              <a:t>Azure Infrastructure</a:t>
            </a:r>
          </a:p>
        </p:txBody>
      </p:sp>
      <p:sp>
        <p:nvSpPr>
          <p:cNvPr id="155" name="Rectangle 154">
            <a:extLst>
              <a:ext uri="{FF2B5EF4-FFF2-40B4-BE49-F238E27FC236}">
                <a16:creationId xmlns:a16="http://schemas.microsoft.com/office/drawing/2014/main" id="{D4CBE999-543B-4969-823F-8D86481C51F7}"/>
              </a:ext>
            </a:extLst>
          </p:cNvPr>
          <p:cNvSpPr/>
          <p:nvPr/>
        </p:nvSpPr>
        <p:spPr>
          <a:xfrm>
            <a:off x="8266076" y="2562276"/>
            <a:ext cx="3526972" cy="594566"/>
          </a:xfrm>
          <a:prstGeom prst="rect">
            <a:avLst/>
          </a:prstGeom>
        </p:spPr>
        <p:txBody>
          <a:bodyPr wrap="square">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rPr>
              <a:t>Tools</a:t>
            </a:r>
          </a:p>
        </p:txBody>
      </p:sp>
      <p:grpSp>
        <p:nvGrpSpPr>
          <p:cNvPr id="9" name="Group 8">
            <a:extLst>
              <a:ext uri="{FF2B5EF4-FFF2-40B4-BE49-F238E27FC236}">
                <a16:creationId xmlns:a16="http://schemas.microsoft.com/office/drawing/2014/main" id="{C9CDC1B2-DEA2-4D19-9520-ADA45F5094E2}"/>
              </a:ext>
            </a:extLst>
          </p:cNvPr>
          <p:cNvGrpSpPr/>
          <p:nvPr/>
        </p:nvGrpSpPr>
        <p:grpSpPr>
          <a:xfrm>
            <a:off x="9612158" y="3234503"/>
            <a:ext cx="893344" cy="893344"/>
            <a:chOff x="9612657" y="3234476"/>
            <a:chExt cx="893470" cy="893470"/>
          </a:xfrm>
        </p:grpSpPr>
        <p:sp>
          <p:nvSpPr>
            <p:cNvPr id="2" name="Oval 1">
              <a:extLst>
                <a:ext uri="{FF2B5EF4-FFF2-40B4-BE49-F238E27FC236}">
                  <a16:creationId xmlns:a16="http://schemas.microsoft.com/office/drawing/2014/main" id="{F8FEECFF-E0B5-42C2-A476-E42D680DF292}"/>
                </a:ext>
              </a:extLst>
            </p:cNvPr>
            <p:cNvSpPr/>
            <p:nvPr/>
          </p:nvSpPr>
          <p:spPr bwMode="auto">
            <a:xfrm>
              <a:off x="9612657" y="3234476"/>
              <a:ext cx="893470" cy="89347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tool">
              <a:extLst>
                <a:ext uri="{FF2B5EF4-FFF2-40B4-BE49-F238E27FC236}">
                  <a16:creationId xmlns:a16="http://schemas.microsoft.com/office/drawing/2014/main" id="{2CB7861A-ECE5-41BA-B43C-9E5752DFD93F}"/>
                </a:ext>
              </a:extLst>
            </p:cNvPr>
            <p:cNvSpPr>
              <a:spLocks noChangeAspect="1" noEditPoints="1"/>
            </p:cNvSpPr>
            <p:nvPr/>
          </p:nvSpPr>
          <p:spPr bwMode="auto">
            <a:xfrm>
              <a:off x="9929561" y="3498331"/>
              <a:ext cx="259662" cy="36576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solidFill>
              <a:schemeClr val="bg1"/>
            </a:solidFill>
            <a:ln w="15875" cap="sq">
              <a:solidFill>
                <a:schemeClr val="accent4"/>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16F282D4-7041-42A2-9BA7-9202A5E54469}"/>
              </a:ext>
            </a:extLst>
          </p:cNvPr>
          <p:cNvGrpSpPr/>
          <p:nvPr/>
        </p:nvGrpSpPr>
        <p:grpSpPr>
          <a:xfrm>
            <a:off x="3807404" y="4711331"/>
            <a:ext cx="914270" cy="914270"/>
            <a:chOff x="3807078" y="4711512"/>
            <a:chExt cx="914400" cy="914400"/>
          </a:xfrm>
        </p:grpSpPr>
        <p:sp>
          <p:nvSpPr>
            <p:cNvPr id="51" name="Oval 50">
              <a:extLst>
                <a:ext uri="{FF2B5EF4-FFF2-40B4-BE49-F238E27FC236}">
                  <a16:creationId xmlns:a16="http://schemas.microsoft.com/office/drawing/2014/main" id="{C9B0E76C-F0C7-489D-BE06-6E34DDB0D6B9}"/>
                </a:ext>
              </a:extLst>
            </p:cNvPr>
            <p:cNvSpPr/>
            <p:nvPr/>
          </p:nvSpPr>
          <p:spPr bwMode="auto">
            <a:xfrm>
              <a:off x="3807078" y="4711512"/>
              <a:ext cx="914400" cy="91440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binary">
              <a:extLst>
                <a:ext uri="{FF2B5EF4-FFF2-40B4-BE49-F238E27FC236}">
                  <a16:creationId xmlns:a16="http://schemas.microsoft.com/office/drawing/2014/main" id="{093CDB57-185B-4DA2-B936-E21FAC510EF2}"/>
                </a:ext>
              </a:extLst>
            </p:cNvPr>
            <p:cNvSpPr>
              <a:spLocks noChangeAspect="1" noEditPoints="1"/>
            </p:cNvSpPr>
            <p:nvPr/>
          </p:nvSpPr>
          <p:spPr bwMode="auto">
            <a:xfrm>
              <a:off x="4081398" y="5010796"/>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solidFill>
              <a:schemeClr val="bg1"/>
            </a:solidFill>
            <a:ln w="15875" cap="sq">
              <a:solidFill>
                <a:schemeClr val="accent4"/>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 name="Group 7">
            <a:extLst>
              <a:ext uri="{FF2B5EF4-FFF2-40B4-BE49-F238E27FC236}">
                <a16:creationId xmlns:a16="http://schemas.microsoft.com/office/drawing/2014/main" id="{FDD0A51C-5FFC-4FE8-A638-867B82E92C46}"/>
              </a:ext>
            </a:extLst>
          </p:cNvPr>
          <p:cNvGrpSpPr/>
          <p:nvPr/>
        </p:nvGrpSpPr>
        <p:grpSpPr>
          <a:xfrm>
            <a:off x="3807404" y="2409767"/>
            <a:ext cx="914270" cy="914270"/>
            <a:chOff x="3807078" y="2409622"/>
            <a:chExt cx="914400" cy="914400"/>
          </a:xfrm>
          <a:solidFill>
            <a:schemeClr val="bg1"/>
          </a:solidFill>
        </p:grpSpPr>
        <p:sp>
          <p:nvSpPr>
            <p:cNvPr id="4" name="Oval 3">
              <a:extLst>
                <a:ext uri="{FF2B5EF4-FFF2-40B4-BE49-F238E27FC236}">
                  <a16:creationId xmlns:a16="http://schemas.microsoft.com/office/drawing/2014/main" id="{10EF2D3C-F058-4169-A72F-3F6F96840520}"/>
                </a:ext>
              </a:extLst>
            </p:cNvPr>
            <p:cNvSpPr/>
            <p:nvPr/>
          </p:nvSpPr>
          <p:spPr bwMode="auto">
            <a:xfrm>
              <a:off x="3807078" y="2409622"/>
              <a:ext cx="914400" cy="9144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 name="Freeform: Shape 27">
              <a:extLst>
                <a:ext uri="{FF2B5EF4-FFF2-40B4-BE49-F238E27FC236}">
                  <a16:creationId xmlns:a16="http://schemas.microsoft.com/office/drawing/2014/main" id="{7CDE25D8-8759-44C6-80A8-3F98441330F7}"/>
                </a:ext>
              </a:extLst>
            </p:cNvPr>
            <p:cNvSpPr/>
            <p:nvPr/>
          </p:nvSpPr>
          <p:spPr bwMode="auto">
            <a:xfrm flipV="1">
              <a:off x="3987576" y="2681119"/>
              <a:ext cx="553404" cy="30506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grpFill/>
            <a:ln w="15875" cap="sq">
              <a:solidFill>
                <a:schemeClr val="accent4"/>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53" name="Title 2">
            <a:extLst>
              <a:ext uri="{FF2B5EF4-FFF2-40B4-BE49-F238E27FC236}">
                <a16:creationId xmlns:a16="http://schemas.microsoft.com/office/drawing/2014/main" id="{5F35FCE0-AB7A-4555-A257-A1AFC7AB2305}"/>
              </a:ext>
            </a:extLst>
          </p:cNvPr>
          <p:cNvSpPr txBox="1">
            <a:spLocks/>
          </p:cNvSpPr>
          <p:nvPr/>
        </p:nvSpPr>
        <p:spPr>
          <a:xfrm>
            <a:off x="270066" y="289957"/>
            <a:ext cx="11654187" cy="899537"/>
          </a:xfrm>
          <a:prstGeom prst="rect">
            <a:avLst/>
          </a:prstGeom>
        </p:spPr>
        <p:txBody>
          <a:bodyPr vert="horz" wrap="square" lIns="146284" tIns="91427" rIns="146284" bIns="91427" rtlCol="0" anchor="t">
            <a:noAutofit/>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400" b="0" i="0" u="none" strike="noStrike" kern="1200" cap="all" spc="800" normalizeH="0" baseline="0" noProof="0">
                <a:ln w="3175">
                  <a:noFill/>
                </a:ln>
                <a:solidFill>
                  <a:srgbClr val="0078D7"/>
                </a:solidFill>
                <a:effectLst/>
                <a:uLnTx/>
                <a:uFillTx/>
                <a:latin typeface="Segoe UI Semilight" charset="0"/>
                <a:ea typeface="Segoe UI Semilight" charset="0"/>
                <a:cs typeface="Segoe UI Semilight" charset="0"/>
              </a:rPr>
              <a:t>MICROSOFT AI PLATFORM</a:t>
            </a:r>
            <a:endParaRPr kumimoji="0" lang="en-US" sz="2400" b="0" i="0" u="none" strike="noStrike" kern="1200" cap="all" spc="800" normalizeH="0" baseline="0" noProof="0">
              <a:ln w="3175">
                <a:noFill/>
              </a:ln>
              <a:solidFill>
                <a:srgbClr val="0078D7"/>
              </a:solidFill>
              <a:effectLst/>
              <a:uLnTx/>
              <a:uFillTx/>
              <a:latin typeface="Segoe UI Light"/>
              <a:ea typeface="+mn-ea"/>
              <a:cs typeface="Segoe UI Light" charset="0"/>
            </a:endParaRPr>
          </a:p>
        </p:txBody>
      </p:sp>
    </p:spTree>
    <p:extLst>
      <p:ext uri="{BB962C8B-B14F-4D97-AF65-F5344CB8AC3E}">
        <p14:creationId xmlns:p14="http://schemas.microsoft.com/office/powerpoint/2010/main" val="42699886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4.16667E-6 -1.11111E-6 L -4.16667E-6 -0.03518 " pathEditMode="relative" rAng="0" ptsTypes="AA">
                                      <p:cBhvr>
                                        <p:cTn id="6" dur="500" fill="hold"/>
                                        <p:tgtEl>
                                          <p:spTgt spid="153"/>
                                        </p:tgtEl>
                                        <p:attrNameLst>
                                          <p:attrName>ppt_x</p:attrName>
                                          <p:attrName>ppt_y</p:attrName>
                                        </p:attrNameLst>
                                      </p:cBhvr>
                                      <p:rCtr x="0" y="-1759"/>
                                    </p:animMotion>
                                  </p:childTnLst>
                                </p:cTn>
                              </p:par>
                              <p:par>
                                <p:cTn id="7" presetID="53" presetClass="exit" presetSubtype="32" fill="hold" nodeType="withEffect">
                                  <p:stCondLst>
                                    <p:cond delay="0"/>
                                  </p:stCondLst>
                                  <p:childTnLst>
                                    <p:anim calcmode="lin" valueType="num">
                                      <p:cBhvr>
                                        <p:cTn id="8" dur="500"/>
                                        <p:tgtEl>
                                          <p:spTgt spid="8"/>
                                        </p:tgtEl>
                                        <p:attrNameLst>
                                          <p:attrName>ppt_w</p:attrName>
                                        </p:attrNameLst>
                                      </p:cBhvr>
                                      <p:tavLst>
                                        <p:tav tm="0">
                                          <p:val>
                                            <p:strVal val="ppt_w"/>
                                          </p:val>
                                        </p:tav>
                                        <p:tav tm="100000">
                                          <p:val>
                                            <p:fltVal val="0"/>
                                          </p:val>
                                        </p:tav>
                                      </p:tavLst>
                                    </p:anim>
                                    <p:anim calcmode="lin" valueType="num">
                                      <p:cBhvr>
                                        <p:cTn id="9" dur="500"/>
                                        <p:tgtEl>
                                          <p:spTgt spid="8"/>
                                        </p:tgtEl>
                                        <p:attrNameLst>
                                          <p:attrName>ppt_h</p:attrName>
                                        </p:attrNameLst>
                                      </p:cBhvr>
                                      <p:tavLst>
                                        <p:tav tm="0">
                                          <p:val>
                                            <p:strVal val="ppt_h"/>
                                          </p:val>
                                        </p:tav>
                                        <p:tav tm="100000">
                                          <p:val>
                                            <p:fltVal val="0"/>
                                          </p:val>
                                        </p:tav>
                                      </p:tavLst>
                                    </p:anim>
                                    <p:animEffect transition="out" filter="fade">
                                      <p:cBhvr>
                                        <p:cTn id="10" dur="500"/>
                                        <p:tgtEl>
                                          <p:spTgt spid="8"/>
                                        </p:tgtEl>
                                      </p:cBhvr>
                                    </p:animEffect>
                                    <p:set>
                                      <p:cBhvr>
                                        <p:cTn id="11" dur="1" fill="hold">
                                          <p:stCondLst>
                                            <p:cond delay="499"/>
                                          </p:stCondLst>
                                        </p:cTn>
                                        <p:tgtEl>
                                          <p:spTgt spid="8"/>
                                        </p:tgtEl>
                                        <p:attrNameLst>
                                          <p:attrName>style.visibility</p:attrName>
                                        </p:attrNameLst>
                                      </p:cBhvr>
                                      <p:to>
                                        <p:strVal val="hidden"/>
                                      </p:to>
                                    </p:se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childTnLst>
                          </p:cTn>
                        </p:par>
                      </p:childTnLst>
                    </p:cTn>
                  </p:par>
                  <p:par>
                    <p:cTn id="16" fill="hold">
                      <p:stCondLst>
                        <p:cond delay="indefinite"/>
                      </p:stCondLst>
                      <p:childTnLst>
                        <p:par>
                          <p:cTn id="17" fill="hold">
                            <p:stCondLst>
                              <p:cond delay="0"/>
                            </p:stCondLst>
                            <p:childTnLst>
                              <p:par>
                                <p:cTn id="18" presetID="42" presetClass="path" presetSubtype="0" accel="50000" decel="50000" fill="hold" grpId="0" nodeType="clickEffect">
                                  <p:stCondLst>
                                    <p:cond delay="0"/>
                                  </p:stCondLst>
                                  <p:childTnLst>
                                    <p:animMotion origin="layout" path="M -4.16667E-6 -1.11111E-6 L -4.16667E-6 -0.05509 " pathEditMode="relative" rAng="0" ptsTypes="AA">
                                      <p:cBhvr>
                                        <p:cTn id="19" dur="500" fill="hold"/>
                                        <p:tgtEl>
                                          <p:spTgt spid="154"/>
                                        </p:tgtEl>
                                        <p:attrNameLst>
                                          <p:attrName>ppt_x</p:attrName>
                                          <p:attrName>ppt_y</p:attrName>
                                        </p:attrNameLst>
                                      </p:cBhvr>
                                      <p:rCtr x="0" y="-2755"/>
                                    </p:animMotion>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128"/>
                                        </p:tgtEl>
                                        <p:attrNameLst>
                                          <p:attrName>style.visibility</p:attrName>
                                        </p:attrNameLst>
                                      </p:cBhvr>
                                      <p:to>
                                        <p:strVal val="visible"/>
                                      </p:to>
                                    </p:set>
                                    <p:animEffect transition="in" filter="fade">
                                      <p:cBhvr>
                                        <p:cTn id="23" dur="500"/>
                                        <p:tgtEl>
                                          <p:spTgt spid="128"/>
                                        </p:tgtEl>
                                      </p:cBhvr>
                                    </p:animEffect>
                                  </p:childTnLst>
                                </p:cTn>
                              </p:par>
                              <p:par>
                                <p:cTn id="24" presetID="53" presetClass="exit" presetSubtype="32" fill="hold" nodeType="withEffect">
                                  <p:stCondLst>
                                    <p:cond delay="0"/>
                                  </p:stCondLst>
                                  <p:childTnLst>
                                    <p:anim calcmode="lin" valueType="num">
                                      <p:cBhvr>
                                        <p:cTn id="25" dur="500"/>
                                        <p:tgtEl>
                                          <p:spTgt spid="5"/>
                                        </p:tgtEl>
                                        <p:attrNameLst>
                                          <p:attrName>ppt_w</p:attrName>
                                        </p:attrNameLst>
                                      </p:cBhvr>
                                      <p:tavLst>
                                        <p:tav tm="0">
                                          <p:val>
                                            <p:strVal val="ppt_w"/>
                                          </p:val>
                                        </p:tav>
                                        <p:tav tm="100000">
                                          <p:val>
                                            <p:fltVal val="0"/>
                                          </p:val>
                                        </p:tav>
                                      </p:tavLst>
                                    </p:anim>
                                    <p:anim calcmode="lin" valueType="num">
                                      <p:cBhvr>
                                        <p:cTn id="26" dur="500"/>
                                        <p:tgtEl>
                                          <p:spTgt spid="5"/>
                                        </p:tgtEl>
                                        <p:attrNameLst>
                                          <p:attrName>ppt_h</p:attrName>
                                        </p:attrNameLst>
                                      </p:cBhvr>
                                      <p:tavLst>
                                        <p:tav tm="0">
                                          <p:val>
                                            <p:strVal val="ppt_h"/>
                                          </p:val>
                                        </p:tav>
                                        <p:tav tm="100000">
                                          <p:val>
                                            <p:fltVal val="0"/>
                                          </p:val>
                                        </p:tav>
                                      </p:tavLst>
                                    </p:anim>
                                    <p:animEffect transition="out" filter="fade">
                                      <p:cBhvr>
                                        <p:cTn id="27" dur="500"/>
                                        <p:tgtEl>
                                          <p:spTgt spid="5"/>
                                        </p:tgtEl>
                                      </p:cBhvr>
                                    </p:animEffect>
                                    <p:set>
                                      <p:cBhvr>
                                        <p:cTn id="28" dur="1" fill="hold">
                                          <p:stCondLst>
                                            <p:cond delay="499"/>
                                          </p:stCondLst>
                                        </p:cTn>
                                        <p:tgtEl>
                                          <p:spTgt spid="5"/>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42" presetClass="path" presetSubtype="0" accel="50000" decel="50000" fill="hold" grpId="0" nodeType="clickEffect">
                                  <p:stCondLst>
                                    <p:cond delay="0"/>
                                  </p:stCondLst>
                                  <p:childTnLst>
                                    <p:animMotion origin="layout" path="M 3.75E-6 -3.7037E-6 L 3.75E-6 -0.15787 " pathEditMode="relative" rAng="0" ptsTypes="AA">
                                      <p:cBhvr>
                                        <p:cTn id="32" dur="500" fill="hold"/>
                                        <p:tgtEl>
                                          <p:spTgt spid="155"/>
                                        </p:tgtEl>
                                        <p:attrNameLst>
                                          <p:attrName>ppt_x</p:attrName>
                                          <p:attrName>ppt_y</p:attrName>
                                        </p:attrNameLst>
                                      </p:cBhvr>
                                      <p:rCtr x="0" y="-7894"/>
                                    </p:animMotion>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141"/>
                                        </p:tgtEl>
                                        <p:attrNameLst>
                                          <p:attrName>style.visibility</p:attrName>
                                        </p:attrNameLst>
                                      </p:cBhvr>
                                      <p:to>
                                        <p:strVal val="visible"/>
                                      </p:to>
                                    </p:set>
                                    <p:animEffect transition="in" filter="fade">
                                      <p:cBhvr>
                                        <p:cTn id="36" dur="500"/>
                                        <p:tgtEl>
                                          <p:spTgt spid="141"/>
                                        </p:tgtEl>
                                      </p:cBhvr>
                                    </p:animEffect>
                                  </p:childTnLst>
                                </p:cTn>
                              </p:par>
                              <p:par>
                                <p:cTn id="37" presetID="53" presetClass="exit" presetSubtype="32" fill="hold" nodeType="withEffect">
                                  <p:stCondLst>
                                    <p:cond delay="0"/>
                                  </p:stCondLst>
                                  <p:childTnLst>
                                    <p:anim calcmode="lin" valueType="num">
                                      <p:cBhvr>
                                        <p:cTn id="38" dur="500"/>
                                        <p:tgtEl>
                                          <p:spTgt spid="9"/>
                                        </p:tgtEl>
                                        <p:attrNameLst>
                                          <p:attrName>ppt_w</p:attrName>
                                        </p:attrNameLst>
                                      </p:cBhvr>
                                      <p:tavLst>
                                        <p:tav tm="0">
                                          <p:val>
                                            <p:strVal val="ppt_w"/>
                                          </p:val>
                                        </p:tav>
                                        <p:tav tm="100000">
                                          <p:val>
                                            <p:fltVal val="0"/>
                                          </p:val>
                                        </p:tav>
                                      </p:tavLst>
                                    </p:anim>
                                    <p:anim calcmode="lin" valueType="num">
                                      <p:cBhvr>
                                        <p:cTn id="39" dur="500"/>
                                        <p:tgtEl>
                                          <p:spTgt spid="9"/>
                                        </p:tgtEl>
                                        <p:attrNameLst>
                                          <p:attrName>ppt_h</p:attrName>
                                        </p:attrNameLst>
                                      </p:cBhvr>
                                      <p:tavLst>
                                        <p:tav tm="0">
                                          <p:val>
                                            <p:strVal val="ppt_h"/>
                                          </p:val>
                                        </p:tav>
                                        <p:tav tm="100000">
                                          <p:val>
                                            <p:fltVal val="0"/>
                                          </p:val>
                                        </p:tav>
                                      </p:tavLst>
                                    </p:anim>
                                    <p:animEffect transition="out" filter="fade">
                                      <p:cBhvr>
                                        <p:cTn id="40" dur="500"/>
                                        <p:tgtEl>
                                          <p:spTgt spid="9"/>
                                        </p:tgtEl>
                                      </p:cBhvr>
                                    </p:animEffect>
                                    <p:set>
                                      <p:cBhvr>
                                        <p:cTn id="41"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3" grpId="0"/>
      <p:bldP spid="154" grpId="0"/>
      <p:bldP spid="155"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D24A84-C164-4BE5-98EA-B20A00FDA067}"/>
              </a:ext>
            </a:extLst>
          </p:cNvPr>
          <p:cNvSpPr>
            <a:spLocks noGrp="1"/>
          </p:cNvSpPr>
          <p:nvPr>
            <p:ph type="title"/>
          </p:nvPr>
        </p:nvSpPr>
        <p:spPr/>
        <p:txBody>
          <a:bodyPr/>
          <a:lstStyle/>
          <a:p>
            <a:r>
              <a:rPr lang="en-US" dirty="0"/>
              <a:t>Building blocks for a Data Science Project</a:t>
            </a:r>
          </a:p>
        </p:txBody>
      </p:sp>
      <p:cxnSp>
        <p:nvCxnSpPr>
          <p:cNvPr id="81" name="Straight Arrow Connector 80">
            <a:extLst>
              <a:ext uri="{FF2B5EF4-FFF2-40B4-BE49-F238E27FC236}">
                <a16:creationId xmlns:a16="http://schemas.microsoft.com/office/drawing/2014/main" id="{24A747A7-FE44-45A8-94D3-B5D3BCF96544}"/>
              </a:ext>
            </a:extLst>
          </p:cNvPr>
          <p:cNvCxnSpPr>
            <a:cxnSpLocks/>
          </p:cNvCxnSpPr>
          <p:nvPr/>
        </p:nvCxnSpPr>
        <p:spPr>
          <a:xfrm>
            <a:off x="2993867" y="3945256"/>
            <a:ext cx="319297"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35038E9B-577C-4712-9A55-31085DF490DD}"/>
              </a:ext>
            </a:extLst>
          </p:cNvPr>
          <p:cNvCxnSpPr>
            <a:cxnSpLocks/>
          </p:cNvCxnSpPr>
          <p:nvPr/>
        </p:nvCxnSpPr>
        <p:spPr>
          <a:xfrm>
            <a:off x="5104059" y="3945256"/>
            <a:ext cx="319297"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FED5DCB4-E541-4A4C-8C8E-18580073F554}"/>
              </a:ext>
            </a:extLst>
          </p:cNvPr>
          <p:cNvCxnSpPr>
            <a:cxnSpLocks/>
          </p:cNvCxnSpPr>
          <p:nvPr/>
        </p:nvCxnSpPr>
        <p:spPr>
          <a:xfrm>
            <a:off x="7225772" y="3927258"/>
            <a:ext cx="319297"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7313D4B8-44D4-4119-9670-573BD8BDD19C}"/>
              </a:ext>
            </a:extLst>
          </p:cNvPr>
          <p:cNvCxnSpPr>
            <a:cxnSpLocks/>
          </p:cNvCxnSpPr>
          <p:nvPr/>
        </p:nvCxnSpPr>
        <p:spPr>
          <a:xfrm>
            <a:off x="9364327" y="3919720"/>
            <a:ext cx="319297" cy="0"/>
          </a:xfrm>
          <a:prstGeom prst="straightConnector1">
            <a:avLst/>
          </a:prstGeom>
          <a:ln w="1270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E01BBAB0-3D78-42A0-82F3-BC88A51CF2DD}"/>
              </a:ext>
            </a:extLst>
          </p:cNvPr>
          <p:cNvCxnSpPr>
            <a:cxnSpLocks/>
            <a:stCxn id="78" idx="2"/>
            <a:endCxn id="9" idx="2"/>
          </p:cNvCxnSpPr>
          <p:nvPr/>
        </p:nvCxnSpPr>
        <p:spPr>
          <a:xfrm rot="5400000">
            <a:off x="6441709" y="928212"/>
            <a:ext cx="12450" cy="8462189"/>
          </a:xfrm>
          <a:prstGeom prst="bentConnector3">
            <a:avLst>
              <a:gd name="adj1" fmla="val 3285717"/>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3" name="Group 282">
            <a:extLst>
              <a:ext uri="{FF2B5EF4-FFF2-40B4-BE49-F238E27FC236}">
                <a16:creationId xmlns:a16="http://schemas.microsoft.com/office/drawing/2014/main" id="{A4D0372B-BC89-4EED-8564-DDAC0BE8A516}"/>
              </a:ext>
            </a:extLst>
          </p:cNvPr>
          <p:cNvGrpSpPr/>
          <p:nvPr/>
        </p:nvGrpSpPr>
        <p:grpSpPr>
          <a:xfrm>
            <a:off x="208593" y="3534139"/>
            <a:ext cx="1046890" cy="1027013"/>
            <a:chOff x="212775" y="3604509"/>
            <a:chExt cx="1067882" cy="1047607"/>
          </a:xfrm>
        </p:grpSpPr>
        <p:sp>
          <p:nvSpPr>
            <p:cNvPr id="93" name="Rectangle 92">
              <a:extLst>
                <a:ext uri="{FF2B5EF4-FFF2-40B4-BE49-F238E27FC236}">
                  <a16:creationId xmlns:a16="http://schemas.microsoft.com/office/drawing/2014/main" id="{19888860-1BF3-4A90-99DF-7FE502089451}"/>
                </a:ext>
              </a:extLst>
            </p:cNvPr>
            <p:cNvSpPr/>
            <p:nvPr/>
          </p:nvSpPr>
          <p:spPr>
            <a:xfrm>
              <a:off x="212775" y="4119385"/>
              <a:ext cx="1067882" cy="5327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13" rtlCol="0" anchor="t">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Data sources</a:t>
              </a:r>
            </a:p>
          </p:txBody>
        </p:sp>
        <p:grpSp>
          <p:nvGrpSpPr>
            <p:cNvPr id="94" name="Group 20">
              <a:extLst>
                <a:ext uri="{FF2B5EF4-FFF2-40B4-BE49-F238E27FC236}">
                  <a16:creationId xmlns:a16="http://schemas.microsoft.com/office/drawing/2014/main" id="{C11C2493-B16E-42A0-B345-98647238D8F3}"/>
                </a:ext>
              </a:extLst>
            </p:cNvPr>
            <p:cNvGrpSpPr>
              <a:grpSpLocks noChangeAspect="1"/>
            </p:cNvGrpSpPr>
            <p:nvPr/>
          </p:nvGrpSpPr>
          <p:grpSpPr bwMode="auto">
            <a:xfrm>
              <a:off x="496516" y="3604509"/>
              <a:ext cx="508369" cy="445002"/>
              <a:chOff x="3764" y="3313"/>
              <a:chExt cx="353" cy="309"/>
            </a:xfrm>
            <a:noFill/>
          </p:grpSpPr>
          <p:sp>
            <p:nvSpPr>
              <p:cNvPr id="95" name="Freeform 21">
                <a:extLst>
                  <a:ext uri="{FF2B5EF4-FFF2-40B4-BE49-F238E27FC236}">
                    <a16:creationId xmlns:a16="http://schemas.microsoft.com/office/drawing/2014/main" id="{A1A15F1A-9BE8-49E0-A67C-979D8C37E1B2}"/>
                  </a:ext>
                </a:extLst>
              </p:cNvPr>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6" name="Freeform 22">
                <a:extLst>
                  <a:ext uri="{FF2B5EF4-FFF2-40B4-BE49-F238E27FC236}">
                    <a16:creationId xmlns:a16="http://schemas.microsoft.com/office/drawing/2014/main" id="{2055A2A4-7698-4C40-8086-0FA30B397950}"/>
                  </a:ext>
                </a:extLst>
              </p:cNvPr>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7" name="Freeform 23">
                <a:extLst>
                  <a:ext uri="{FF2B5EF4-FFF2-40B4-BE49-F238E27FC236}">
                    <a16:creationId xmlns:a16="http://schemas.microsoft.com/office/drawing/2014/main" id="{B6B9EC88-EEE8-41A5-978B-AA56CBD4600C}"/>
                  </a:ext>
                </a:extLst>
              </p:cNvPr>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8" name="Freeform 24">
                <a:extLst>
                  <a:ext uri="{FF2B5EF4-FFF2-40B4-BE49-F238E27FC236}">
                    <a16:creationId xmlns:a16="http://schemas.microsoft.com/office/drawing/2014/main" id="{F10AA1AC-9A74-4167-9BBB-F5F2A3C3F74C}"/>
                  </a:ext>
                </a:extLst>
              </p:cNvPr>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9" name="Freeform 25">
                <a:extLst>
                  <a:ext uri="{FF2B5EF4-FFF2-40B4-BE49-F238E27FC236}">
                    <a16:creationId xmlns:a16="http://schemas.microsoft.com/office/drawing/2014/main" id="{CBBBAFC4-EE6F-491D-A1AB-9F80297B20B8}"/>
                  </a:ext>
                </a:extLst>
              </p:cNvPr>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0" name="Freeform 26">
                <a:extLst>
                  <a:ext uri="{FF2B5EF4-FFF2-40B4-BE49-F238E27FC236}">
                    <a16:creationId xmlns:a16="http://schemas.microsoft.com/office/drawing/2014/main" id="{9BCA1333-6B31-414D-8214-1DA282536E18}"/>
                  </a:ext>
                </a:extLst>
              </p:cNvPr>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Freeform 27">
                <a:extLst>
                  <a:ext uri="{FF2B5EF4-FFF2-40B4-BE49-F238E27FC236}">
                    <a16:creationId xmlns:a16="http://schemas.microsoft.com/office/drawing/2014/main" id="{F5401820-80BC-4A1A-B4A7-8A738D8C8AF6}"/>
                  </a:ext>
                </a:extLst>
              </p:cNvPr>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28">
                <a:extLst>
                  <a:ext uri="{FF2B5EF4-FFF2-40B4-BE49-F238E27FC236}">
                    <a16:creationId xmlns:a16="http://schemas.microsoft.com/office/drawing/2014/main" id="{351DAC64-765B-491B-97D4-BA394467AA5D}"/>
                  </a:ext>
                </a:extLst>
              </p:cNvPr>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29">
                <a:extLst>
                  <a:ext uri="{FF2B5EF4-FFF2-40B4-BE49-F238E27FC236}">
                    <a16:creationId xmlns:a16="http://schemas.microsoft.com/office/drawing/2014/main" id="{63F0DE9B-56C6-49AA-B809-8958687B91A2}"/>
                  </a:ext>
                </a:extLst>
              </p:cNvPr>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4" name="Freeform 30">
                <a:extLst>
                  <a:ext uri="{FF2B5EF4-FFF2-40B4-BE49-F238E27FC236}">
                    <a16:creationId xmlns:a16="http://schemas.microsoft.com/office/drawing/2014/main" id="{C8EABEB9-DEDD-4606-BE2C-422BDC665324}"/>
                  </a:ext>
                </a:extLst>
              </p:cNvPr>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5" name="Freeform 31">
                <a:extLst>
                  <a:ext uri="{FF2B5EF4-FFF2-40B4-BE49-F238E27FC236}">
                    <a16:creationId xmlns:a16="http://schemas.microsoft.com/office/drawing/2014/main" id="{435A1456-264C-455D-9B1A-C7D8C632826D}"/>
                  </a:ext>
                </a:extLst>
              </p:cNvPr>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6" name="Freeform 32">
                <a:extLst>
                  <a:ext uri="{FF2B5EF4-FFF2-40B4-BE49-F238E27FC236}">
                    <a16:creationId xmlns:a16="http://schemas.microsoft.com/office/drawing/2014/main" id="{704FA7DF-654D-4CA1-89B2-60AB7EF8CBC6}"/>
                  </a:ext>
                </a:extLst>
              </p:cNvPr>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7" name="Freeform 33">
                <a:extLst>
                  <a:ext uri="{FF2B5EF4-FFF2-40B4-BE49-F238E27FC236}">
                    <a16:creationId xmlns:a16="http://schemas.microsoft.com/office/drawing/2014/main" id="{809E5023-79B9-4D9E-9C80-A79B374E58E7}"/>
                  </a:ext>
                </a:extLst>
              </p:cNvPr>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8" name="Freeform 34">
                <a:extLst>
                  <a:ext uri="{FF2B5EF4-FFF2-40B4-BE49-F238E27FC236}">
                    <a16:creationId xmlns:a16="http://schemas.microsoft.com/office/drawing/2014/main" id="{FABC8410-0D83-43D4-B52A-52ACE393D280}"/>
                  </a:ext>
                </a:extLst>
              </p:cNvPr>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9" name="Freeform 35">
                <a:extLst>
                  <a:ext uri="{FF2B5EF4-FFF2-40B4-BE49-F238E27FC236}">
                    <a16:creationId xmlns:a16="http://schemas.microsoft.com/office/drawing/2014/main" id="{9547E65E-7170-464D-89C1-96883D781184}"/>
                  </a:ext>
                </a:extLst>
              </p:cNvPr>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0" name="Freeform 36">
                <a:extLst>
                  <a:ext uri="{FF2B5EF4-FFF2-40B4-BE49-F238E27FC236}">
                    <a16:creationId xmlns:a16="http://schemas.microsoft.com/office/drawing/2014/main" id="{750A041D-9DA1-4E8D-B3D2-84076CB88162}"/>
                  </a:ext>
                </a:extLst>
              </p:cNvPr>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1" name="Freeform 37">
                <a:extLst>
                  <a:ext uri="{FF2B5EF4-FFF2-40B4-BE49-F238E27FC236}">
                    <a16:creationId xmlns:a16="http://schemas.microsoft.com/office/drawing/2014/main" id="{6AB331B9-A44E-473B-BB29-76F5DACBD00B}"/>
                  </a:ext>
                </a:extLst>
              </p:cNvPr>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2" name="Freeform 38">
                <a:extLst>
                  <a:ext uri="{FF2B5EF4-FFF2-40B4-BE49-F238E27FC236}">
                    <a16:creationId xmlns:a16="http://schemas.microsoft.com/office/drawing/2014/main" id="{68B5B64F-383D-4CB6-950C-0641C9E8732A}"/>
                  </a:ext>
                </a:extLst>
              </p:cNvPr>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113" name="Left Brace 112">
            <a:extLst>
              <a:ext uri="{FF2B5EF4-FFF2-40B4-BE49-F238E27FC236}">
                <a16:creationId xmlns:a16="http://schemas.microsoft.com/office/drawing/2014/main" id="{893EA38A-3513-4FA6-9A9E-4501A9B59F61}"/>
              </a:ext>
            </a:extLst>
          </p:cNvPr>
          <p:cNvSpPr/>
          <p:nvPr/>
        </p:nvSpPr>
        <p:spPr>
          <a:xfrm flipH="1">
            <a:off x="1001324" y="3287378"/>
            <a:ext cx="422553" cy="1316459"/>
          </a:xfrm>
          <a:prstGeom prst="leftBrace">
            <a:avLst>
              <a:gd name="adj1" fmla="val 0"/>
              <a:gd name="adj2" fmla="val 49033"/>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284" name="Group 283">
            <a:extLst>
              <a:ext uri="{FF2B5EF4-FFF2-40B4-BE49-F238E27FC236}">
                <a16:creationId xmlns:a16="http://schemas.microsoft.com/office/drawing/2014/main" id="{A5FF9EF8-86B8-4FEF-B7F6-648AF7466B14}"/>
              </a:ext>
            </a:extLst>
          </p:cNvPr>
          <p:cNvGrpSpPr/>
          <p:nvPr/>
        </p:nvGrpSpPr>
        <p:grpSpPr>
          <a:xfrm>
            <a:off x="1163091" y="2403299"/>
            <a:ext cx="2009401" cy="2768945"/>
            <a:chOff x="1186413" y="2450994"/>
            <a:chExt cx="2049694" cy="2824468"/>
          </a:xfrm>
        </p:grpSpPr>
        <p:sp>
          <p:nvSpPr>
            <p:cNvPr id="114" name="TextBox 113">
              <a:extLst>
                <a:ext uri="{FF2B5EF4-FFF2-40B4-BE49-F238E27FC236}">
                  <a16:creationId xmlns:a16="http://schemas.microsoft.com/office/drawing/2014/main" id="{0075502D-4CE5-4706-82B0-EE40DEA0FB89}"/>
                </a:ext>
              </a:extLst>
            </p:cNvPr>
            <p:cNvSpPr txBox="1"/>
            <p:nvPr/>
          </p:nvSpPr>
          <p:spPr>
            <a:xfrm>
              <a:off x="1186413" y="3765690"/>
              <a:ext cx="2015837" cy="440890"/>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29"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Classical ML</a:t>
              </a:r>
            </a:p>
          </p:txBody>
        </p:sp>
        <p:sp>
          <p:nvSpPr>
            <p:cNvPr id="115" name="TextBox 114">
              <a:extLst>
                <a:ext uri="{FF2B5EF4-FFF2-40B4-BE49-F238E27FC236}">
                  <a16:creationId xmlns:a16="http://schemas.microsoft.com/office/drawing/2014/main" id="{5ADBA8F3-0C55-441D-AAEC-212E43983190}"/>
                </a:ext>
              </a:extLst>
            </p:cNvPr>
            <p:cNvSpPr txBox="1"/>
            <p:nvPr/>
          </p:nvSpPr>
          <p:spPr>
            <a:xfrm>
              <a:off x="1220270" y="4834572"/>
              <a:ext cx="2015837" cy="440890"/>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29"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Deep learning</a:t>
              </a:r>
            </a:p>
          </p:txBody>
        </p:sp>
        <p:grpSp>
          <p:nvGrpSpPr>
            <p:cNvPr id="278" name="Group 277">
              <a:extLst>
                <a:ext uri="{FF2B5EF4-FFF2-40B4-BE49-F238E27FC236}">
                  <a16:creationId xmlns:a16="http://schemas.microsoft.com/office/drawing/2014/main" id="{469EAB50-EBA9-4DEE-90B7-4A9CF5B66647}"/>
                </a:ext>
              </a:extLst>
            </p:cNvPr>
            <p:cNvGrpSpPr/>
            <p:nvPr/>
          </p:nvGrpSpPr>
          <p:grpSpPr>
            <a:xfrm>
              <a:off x="1455981" y="2450994"/>
              <a:ext cx="1599571" cy="2811271"/>
              <a:chOff x="1455981" y="2450994"/>
              <a:chExt cx="1599571" cy="2811271"/>
            </a:xfrm>
          </p:grpSpPr>
          <p:sp>
            <p:nvSpPr>
              <p:cNvPr id="4" name="TextBox 3">
                <a:extLst>
                  <a:ext uri="{FF2B5EF4-FFF2-40B4-BE49-F238E27FC236}">
                    <a16:creationId xmlns:a16="http://schemas.microsoft.com/office/drawing/2014/main" id="{7F0406A5-EE37-49A6-9C8A-06AFEA379762}"/>
                  </a:ext>
                </a:extLst>
              </p:cNvPr>
              <p:cNvSpPr txBox="1"/>
              <p:nvPr/>
            </p:nvSpPr>
            <p:spPr>
              <a:xfrm>
                <a:off x="1455981" y="2450994"/>
                <a:ext cx="1597919" cy="550281"/>
              </a:xfrm>
              <a:prstGeom prst="rect">
                <a:avLst/>
              </a:prstGeom>
              <a:noFill/>
            </p:spPr>
            <p:txBody>
              <a:bodyPr wrap="squar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a:ea typeface="+mn-ea"/>
                    <a:cs typeface="+mn-cs"/>
                  </a:rPr>
                  <a:t>Build and train models </a:t>
                </a:r>
              </a:p>
            </p:txBody>
          </p:sp>
          <p:grpSp>
            <p:nvGrpSpPr>
              <p:cNvPr id="61" name="Group 60">
                <a:extLst>
                  <a:ext uri="{FF2B5EF4-FFF2-40B4-BE49-F238E27FC236}">
                    <a16:creationId xmlns:a16="http://schemas.microsoft.com/office/drawing/2014/main" id="{01595755-F460-4360-98F0-3CAFAAA91CF6}"/>
                  </a:ext>
                </a:extLst>
              </p:cNvPr>
              <p:cNvGrpSpPr/>
              <p:nvPr/>
            </p:nvGrpSpPr>
            <p:grpSpPr>
              <a:xfrm>
                <a:off x="1455981" y="2457539"/>
                <a:ext cx="1599571" cy="2804726"/>
                <a:chOff x="3208859" y="4070542"/>
                <a:chExt cx="1458309" cy="2411828"/>
              </a:xfrm>
            </p:grpSpPr>
            <p:sp>
              <p:nvSpPr>
                <p:cNvPr id="9" name="Rectangle 8">
                  <a:extLst>
                    <a:ext uri="{FF2B5EF4-FFF2-40B4-BE49-F238E27FC236}">
                      <a16:creationId xmlns:a16="http://schemas.microsoft.com/office/drawing/2014/main" id="{0C1F3467-7240-4443-9238-C1B9E33ADBA6}"/>
                    </a:ext>
                  </a:extLst>
                </p:cNvPr>
                <p:cNvSpPr/>
                <p:nvPr/>
              </p:nvSpPr>
              <p:spPr bwMode="auto">
                <a:xfrm>
                  <a:off x="3208859" y="4070542"/>
                  <a:ext cx="1456803" cy="241182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 name="Straight Connector 9">
                  <a:extLst>
                    <a:ext uri="{FF2B5EF4-FFF2-40B4-BE49-F238E27FC236}">
                      <a16:creationId xmlns:a16="http://schemas.microsoft.com/office/drawing/2014/main" id="{89135A93-B12F-461D-BD1D-B1A00D97B82F}"/>
                    </a:ext>
                  </a:extLst>
                </p:cNvPr>
                <p:cNvCxnSpPr>
                  <a:cxnSpLocks/>
                </p:cNvCxnSpPr>
                <p:nvPr/>
              </p:nvCxnSpPr>
              <p:spPr>
                <a:xfrm>
                  <a:off x="3208859" y="4541668"/>
                  <a:ext cx="1458309"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306D6DB3-B9D9-452E-A0D9-5D80F78F7CD0}"/>
                  </a:ext>
                </a:extLst>
              </p:cNvPr>
              <p:cNvGrpSpPr/>
              <p:nvPr/>
            </p:nvGrpSpPr>
            <p:grpSpPr>
              <a:xfrm>
                <a:off x="1977313" y="4260192"/>
                <a:ext cx="604535" cy="514992"/>
                <a:chOff x="3097731" y="3411002"/>
                <a:chExt cx="3912131" cy="3332680"/>
              </a:xfrm>
            </p:grpSpPr>
            <p:sp>
              <p:nvSpPr>
                <p:cNvPr id="117" name="Freeform: Shape 399">
                  <a:extLst>
                    <a:ext uri="{FF2B5EF4-FFF2-40B4-BE49-F238E27FC236}">
                      <a16:creationId xmlns:a16="http://schemas.microsoft.com/office/drawing/2014/main" id="{2FCFA153-7062-4ABB-8E36-6A7B9ABE3017}"/>
                    </a:ext>
                  </a:extLst>
                </p:cNvPr>
                <p:cNvSpPr/>
                <p:nvPr/>
              </p:nvSpPr>
              <p:spPr bwMode="auto">
                <a:xfrm>
                  <a:off x="3097731" y="3411002"/>
                  <a:ext cx="3912131" cy="3326728"/>
                </a:xfrm>
                <a:custGeom>
                  <a:avLst/>
                  <a:gdLst>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009850 w 4510936"/>
                    <a:gd name="connsiteY14" fmla="*/ 3835942 h 3835942"/>
                    <a:gd name="connsiteX15" fmla="*/ 1789458 w 4510936"/>
                    <a:gd name="connsiteY15" fmla="*/ 3835942 h 3835942"/>
                    <a:gd name="connsiteX16" fmla="*/ 1792429 w 4510936"/>
                    <a:gd name="connsiteY16" fmla="*/ 3610035 h 3835942"/>
                    <a:gd name="connsiteX17" fmla="*/ 1770743 w 4510936"/>
                    <a:gd name="connsiteY17" fmla="*/ 2832642 h 3835942"/>
                    <a:gd name="connsiteX18" fmla="*/ 1081314 w 4510936"/>
                    <a:gd name="connsiteY18" fmla="*/ 2061571 h 3835942"/>
                    <a:gd name="connsiteX19" fmla="*/ 1562100 w 4510936"/>
                    <a:gd name="connsiteY19" fmla="*/ 1896471 h 3835942"/>
                    <a:gd name="connsiteX20" fmla="*/ 1034142 w 4510936"/>
                    <a:gd name="connsiteY20" fmla="*/ 1807570 h 3835942"/>
                    <a:gd name="connsiteX21" fmla="*/ 1676400 w 4510936"/>
                    <a:gd name="connsiteY21" fmla="*/ 10963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2674257 w 4510936"/>
                    <a:gd name="connsiteY25" fmla="*/ 1626142 h 3835942"/>
                    <a:gd name="connsiteX26" fmla="*/ 2238828 w 4510936"/>
                    <a:gd name="connsiteY26" fmla="*/ 16515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458028 w 4510936"/>
                    <a:gd name="connsiteY30" fmla="*/ 1742256 h 3835942"/>
                    <a:gd name="connsiteX31" fmla="*/ 3721099 w 4510936"/>
                    <a:gd name="connsiteY31" fmla="*/ 2203084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010556 w 4510936"/>
                    <a:gd name="connsiteY42" fmla="*/ 677270 h 3835942"/>
                    <a:gd name="connsiteX43" fmla="*/ 1248228 w 4510936"/>
                    <a:gd name="connsiteY43" fmla="*/ 994770 h 3835942"/>
                    <a:gd name="connsiteX44" fmla="*/ 801914 w 4510936"/>
                    <a:gd name="connsiteY44" fmla="*/ 1571713 h 3835942"/>
                    <a:gd name="connsiteX45" fmla="*/ 542471 w 4510936"/>
                    <a:gd name="connsiteY45" fmla="*/ 1132656 h 3835942"/>
                    <a:gd name="connsiteX46" fmla="*/ 812800 w 4510936"/>
                    <a:gd name="connsiteY46" fmla="*/ 1843856 h 3835942"/>
                    <a:gd name="connsiteX47" fmla="*/ 925285 w 4510936"/>
                    <a:gd name="connsiteY47" fmla="*/ 2235742 h 3835942"/>
                    <a:gd name="connsiteX48" fmla="*/ 651328 w 4510936"/>
                    <a:gd name="connsiteY48" fmla="*/ 2607670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556657 w 4510936"/>
                    <a:gd name="connsiteY49" fmla="*/ 2852599 h 3835942"/>
                    <a:gd name="connsiteX50" fmla="*/ 1580115 w 4510936"/>
                    <a:gd name="connsiteY50" fmla="*/ 3729193 h 3835942"/>
                    <a:gd name="connsiteX51" fmla="*/ 1581642 w 4510936"/>
                    <a:gd name="connsiteY51" fmla="*/ 3835942 h 3835942"/>
                    <a:gd name="connsiteX52" fmla="*/ 1113971 w 4510936"/>
                    <a:gd name="connsiteY52" fmla="*/ 3835942 h 3835942"/>
                    <a:gd name="connsiteX53" fmla="*/ 836413 w 4510936"/>
                    <a:gd name="connsiteY53" fmla="*/ 3086585 h 3835942"/>
                    <a:gd name="connsiteX54" fmla="*/ 116170 w 4510936"/>
                    <a:gd name="connsiteY54" fmla="*/ 2308285 h 3835942"/>
                    <a:gd name="connsiteX55" fmla="*/ 118297 w 4510936"/>
                    <a:gd name="connsiteY55" fmla="*/ 2287181 h 3835942"/>
                    <a:gd name="connsiteX56" fmla="*/ 98842 w 4510936"/>
                    <a:gd name="connsiteY56" fmla="*/ 2263602 h 3835942"/>
                    <a:gd name="connsiteX57" fmla="*/ 0 w 4510936"/>
                    <a:gd name="connsiteY57" fmla="*/ 1940013 h 3835942"/>
                    <a:gd name="connsiteX58" fmla="*/ 98842 w 4510936"/>
                    <a:gd name="connsiteY58" fmla="*/ 1616424 h 3835942"/>
                    <a:gd name="connsiteX59" fmla="*/ 158494 w 4510936"/>
                    <a:gd name="connsiteY59" fmla="*/ 1544125 h 3835942"/>
                    <a:gd name="connsiteX60" fmla="*/ 138294 w 4510936"/>
                    <a:gd name="connsiteY60" fmla="*/ 1479051 h 3835942"/>
                    <a:gd name="connsiteX61" fmla="*/ 124645 w 4510936"/>
                    <a:gd name="connsiteY61" fmla="*/ 1343654 h 3835942"/>
                    <a:gd name="connsiteX62" fmla="*/ 534966 w 4510936"/>
                    <a:gd name="connsiteY62" fmla="*/ 724623 h 3835942"/>
                    <a:gd name="connsiteX63" fmla="*/ 655270 w 4510936"/>
                    <a:gd name="connsiteY63" fmla="*/ 687278 h 3835942"/>
                    <a:gd name="connsiteX64" fmla="*/ 663127 w 4510936"/>
                    <a:gd name="connsiteY64" fmla="*/ 661967 h 3835942"/>
                    <a:gd name="connsiteX65" fmla="*/ 1282159 w 4510936"/>
                    <a:gd name="connsiteY65" fmla="*/ 251645 h 3835942"/>
                    <a:gd name="connsiteX66" fmla="*/ 1417556 w 4510936"/>
                    <a:gd name="connsiteY66" fmla="*/ 265294 h 3835942"/>
                    <a:gd name="connsiteX67" fmla="*/ 1421411 w 4510936"/>
                    <a:gd name="connsiteY67" fmla="*/ 266491 h 3835942"/>
                    <a:gd name="connsiteX68" fmla="*/ 1478933 w 4510936"/>
                    <a:gd name="connsiteY68" fmla="*/ 196773 h 3835942"/>
                    <a:gd name="connsiteX69" fmla="*/ 1953986 w 4510936"/>
                    <a:gd name="connsiteY6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1556657 w 4510936"/>
                    <a:gd name="connsiteY48" fmla="*/ 2852599 h 3835942"/>
                    <a:gd name="connsiteX49" fmla="*/ 1580115 w 4510936"/>
                    <a:gd name="connsiteY49" fmla="*/ 3729193 h 3835942"/>
                    <a:gd name="connsiteX50" fmla="*/ 1581642 w 4510936"/>
                    <a:gd name="connsiteY50" fmla="*/ 3835942 h 3835942"/>
                    <a:gd name="connsiteX51" fmla="*/ 1113971 w 4510936"/>
                    <a:gd name="connsiteY51" fmla="*/ 3835942 h 3835942"/>
                    <a:gd name="connsiteX52" fmla="*/ 836413 w 4510936"/>
                    <a:gd name="connsiteY52" fmla="*/ 3086585 h 3835942"/>
                    <a:gd name="connsiteX53" fmla="*/ 116170 w 4510936"/>
                    <a:gd name="connsiteY53" fmla="*/ 2308285 h 3835942"/>
                    <a:gd name="connsiteX54" fmla="*/ 118297 w 4510936"/>
                    <a:gd name="connsiteY54" fmla="*/ 2287181 h 3835942"/>
                    <a:gd name="connsiteX55" fmla="*/ 98842 w 4510936"/>
                    <a:gd name="connsiteY55" fmla="*/ 2263602 h 3835942"/>
                    <a:gd name="connsiteX56" fmla="*/ 0 w 4510936"/>
                    <a:gd name="connsiteY56" fmla="*/ 1940013 h 3835942"/>
                    <a:gd name="connsiteX57" fmla="*/ 98842 w 4510936"/>
                    <a:gd name="connsiteY57" fmla="*/ 1616424 h 3835942"/>
                    <a:gd name="connsiteX58" fmla="*/ 158494 w 4510936"/>
                    <a:gd name="connsiteY58" fmla="*/ 1544125 h 3835942"/>
                    <a:gd name="connsiteX59" fmla="*/ 138294 w 4510936"/>
                    <a:gd name="connsiteY59" fmla="*/ 1479051 h 3835942"/>
                    <a:gd name="connsiteX60" fmla="*/ 124645 w 4510936"/>
                    <a:gd name="connsiteY60" fmla="*/ 1343654 h 3835942"/>
                    <a:gd name="connsiteX61" fmla="*/ 534966 w 4510936"/>
                    <a:gd name="connsiteY61" fmla="*/ 724623 h 3835942"/>
                    <a:gd name="connsiteX62" fmla="*/ 655270 w 4510936"/>
                    <a:gd name="connsiteY62" fmla="*/ 687278 h 3835942"/>
                    <a:gd name="connsiteX63" fmla="*/ 663127 w 4510936"/>
                    <a:gd name="connsiteY63" fmla="*/ 661967 h 3835942"/>
                    <a:gd name="connsiteX64" fmla="*/ 1282159 w 4510936"/>
                    <a:gd name="connsiteY64" fmla="*/ 251645 h 3835942"/>
                    <a:gd name="connsiteX65" fmla="*/ 1417556 w 4510936"/>
                    <a:gd name="connsiteY65" fmla="*/ 265294 h 3835942"/>
                    <a:gd name="connsiteX66" fmla="*/ 1421411 w 4510936"/>
                    <a:gd name="connsiteY66" fmla="*/ 266491 h 3835942"/>
                    <a:gd name="connsiteX67" fmla="*/ 1478933 w 4510936"/>
                    <a:gd name="connsiteY67" fmla="*/ 196773 h 3835942"/>
                    <a:gd name="connsiteX68" fmla="*/ 1953986 w 4510936"/>
                    <a:gd name="connsiteY6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1556657 w 4510936"/>
                    <a:gd name="connsiteY47" fmla="*/ 2852599 h 3835942"/>
                    <a:gd name="connsiteX48" fmla="*/ 1580115 w 4510936"/>
                    <a:gd name="connsiteY48" fmla="*/ 3729193 h 3835942"/>
                    <a:gd name="connsiteX49" fmla="*/ 1581642 w 4510936"/>
                    <a:gd name="connsiteY49" fmla="*/ 3835942 h 3835942"/>
                    <a:gd name="connsiteX50" fmla="*/ 1113971 w 4510936"/>
                    <a:gd name="connsiteY50" fmla="*/ 3835942 h 3835942"/>
                    <a:gd name="connsiteX51" fmla="*/ 836413 w 4510936"/>
                    <a:gd name="connsiteY51" fmla="*/ 3086585 h 3835942"/>
                    <a:gd name="connsiteX52" fmla="*/ 116170 w 4510936"/>
                    <a:gd name="connsiteY52" fmla="*/ 2308285 h 3835942"/>
                    <a:gd name="connsiteX53" fmla="*/ 118297 w 4510936"/>
                    <a:gd name="connsiteY53" fmla="*/ 2287181 h 3835942"/>
                    <a:gd name="connsiteX54" fmla="*/ 98842 w 4510936"/>
                    <a:gd name="connsiteY54" fmla="*/ 2263602 h 3835942"/>
                    <a:gd name="connsiteX55" fmla="*/ 0 w 4510936"/>
                    <a:gd name="connsiteY55" fmla="*/ 1940013 h 3835942"/>
                    <a:gd name="connsiteX56" fmla="*/ 98842 w 4510936"/>
                    <a:gd name="connsiteY56" fmla="*/ 1616424 h 3835942"/>
                    <a:gd name="connsiteX57" fmla="*/ 158494 w 4510936"/>
                    <a:gd name="connsiteY57" fmla="*/ 1544125 h 3835942"/>
                    <a:gd name="connsiteX58" fmla="*/ 138294 w 4510936"/>
                    <a:gd name="connsiteY58" fmla="*/ 1479051 h 3835942"/>
                    <a:gd name="connsiteX59" fmla="*/ 124645 w 4510936"/>
                    <a:gd name="connsiteY59" fmla="*/ 1343654 h 3835942"/>
                    <a:gd name="connsiteX60" fmla="*/ 534966 w 4510936"/>
                    <a:gd name="connsiteY60" fmla="*/ 724623 h 3835942"/>
                    <a:gd name="connsiteX61" fmla="*/ 655270 w 4510936"/>
                    <a:gd name="connsiteY61" fmla="*/ 687278 h 3835942"/>
                    <a:gd name="connsiteX62" fmla="*/ 663127 w 4510936"/>
                    <a:gd name="connsiteY62" fmla="*/ 661967 h 3835942"/>
                    <a:gd name="connsiteX63" fmla="*/ 1282159 w 4510936"/>
                    <a:gd name="connsiteY63" fmla="*/ 251645 h 3835942"/>
                    <a:gd name="connsiteX64" fmla="*/ 1417556 w 4510936"/>
                    <a:gd name="connsiteY64" fmla="*/ 265294 h 3835942"/>
                    <a:gd name="connsiteX65" fmla="*/ 1421411 w 4510936"/>
                    <a:gd name="connsiteY65" fmla="*/ 266491 h 3835942"/>
                    <a:gd name="connsiteX66" fmla="*/ 1478933 w 4510936"/>
                    <a:gd name="connsiteY66" fmla="*/ 196773 h 3835942"/>
                    <a:gd name="connsiteX67" fmla="*/ 1953986 w 4510936"/>
                    <a:gd name="connsiteY6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1556657 w 4510936"/>
                    <a:gd name="connsiteY46" fmla="*/ 2852599 h 3835942"/>
                    <a:gd name="connsiteX47" fmla="*/ 1580115 w 4510936"/>
                    <a:gd name="connsiteY47" fmla="*/ 3729193 h 3835942"/>
                    <a:gd name="connsiteX48" fmla="*/ 1581642 w 4510936"/>
                    <a:gd name="connsiteY48" fmla="*/ 3835942 h 3835942"/>
                    <a:gd name="connsiteX49" fmla="*/ 1113971 w 4510936"/>
                    <a:gd name="connsiteY49" fmla="*/ 3835942 h 3835942"/>
                    <a:gd name="connsiteX50" fmla="*/ 836413 w 4510936"/>
                    <a:gd name="connsiteY50" fmla="*/ 3086585 h 3835942"/>
                    <a:gd name="connsiteX51" fmla="*/ 116170 w 4510936"/>
                    <a:gd name="connsiteY51" fmla="*/ 2308285 h 3835942"/>
                    <a:gd name="connsiteX52" fmla="*/ 118297 w 4510936"/>
                    <a:gd name="connsiteY52" fmla="*/ 2287181 h 3835942"/>
                    <a:gd name="connsiteX53" fmla="*/ 98842 w 4510936"/>
                    <a:gd name="connsiteY53" fmla="*/ 2263602 h 3835942"/>
                    <a:gd name="connsiteX54" fmla="*/ 0 w 4510936"/>
                    <a:gd name="connsiteY54" fmla="*/ 1940013 h 3835942"/>
                    <a:gd name="connsiteX55" fmla="*/ 98842 w 4510936"/>
                    <a:gd name="connsiteY55" fmla="*/ 1616424 h 3835942"/>
                    <a:gd name="connsiteX56" fmla="*/ 158494 w 4510936"/>
                    <a:gd name="connsiteY56" fmla="*/ 1544125 h 3835942"/>
                    <a:gd name="connsiteX57" fmla="*/ 138294 w 4510936"/>
                    <a:gd name="connsiteY57" fmla="*/ 1479051 h 3835942"/>
                    <a:gd name="connsiteX58" fmla="*/ 124645 w 4510936"/>
                    <a:gd name="connsiteY58" fmla="*/ 1343654 h 3835942"/>
                    <a:gd name="connsiteX59" fmla="*/ 534966 w 4510936"/>
                    <a:gd name="connsiteY59" fmla="*/ 724623 h 3835942"/>
                    <a:gd name="connsiteX60" fmla="*/ 655270 w 4510936"/>
                    <a:gd name="connsiteY60" fmla="*/ 687278 h 3835942"/>
                    <a:gd name="connsiteX61" fmla="*/ 663127 w 4510936"/>
                    <a:gd name="connsiteY61" fmla="*/ 661967 h 3835942"/>
                    <a:gd name="connsiteX62" fmla="*/ 1282159 w 4510936"/>
                    <a:gd name="connsiteY62" fmla="*/ 251645 h 3835942"/>
                    <a:gd name="connsiteX63" fmla="*/ 1417556 w 4510936"/>
                    <a:gd name="connsiteY63" fmla="*/ 265294 h 3835942"/>
                    <a:gd name="connsiteX64" fmla="*/ 1421411 w 4510936"/>
                    <a:gd name="connsiteY64" fmla="*/ 266491 h 3835942"/>
                    <a:gd name="connsiteX65" fmla="*/ 1478933 w 4510936"/>
                    <a:gd name="connsiteY65" fmla="*/ 196773 h 3835942"/>
                    <a:gd name="connsiteX66" fmla="*/ 1953986 w 4510936"/>
                    <a:gd name="connsiteY6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1556657 w 4510936"/>
                    <a:gd name="connsiteY45" fmla="*/ 2852599 h 3835942"/>
                    <a:gd name="connsiteX46" fmla="*/ 1580115 w 4510936"/>
                    <a:gd name="connsiteY46" fmla="*/ 3729193 h 3835942"/>
                    <a:gd name="connsiteX47" fmla="*/ 1581642 w 4510936"/>
                    <a:gd name="connsiteY47" fmla="*/ 3835942 h 3835942"/>
                    <a:gd name="connsiteX48" fmla="*/ 1113971 w 4510936"/>
                    <a:gd name="connsiteY48" fmla="*/ 3835942 h 3835942"/>
                    <a:gd name="connsiteX49" fmla="*/ 836413 w 4510936"/>
                    <a:gd name="connsiteY49" fmla="*/ 3086585 h 3835942"/>
                    <a:gd name="connsiteX50" fmla="*/ 116170 w 4510936"/>
                    <a:gd name="connsiteY50" fmla="*/ 2308285 h 3835942"/>
                    <a:gd name="connsiteX51" fmla="*/ 118297 w 4510936"/>
                    <a:gd name="connsiteY51" fmla="*/ 2287181 h 3835942"/>
                    <a:gd name="connsiteX52" fmla="*/ 98842 w 4510936"/>
                    <a:gd name="connsiteY52" fmla="*/ 2263602 h 3835942"/>
                    <a:gd name="connsiteX53" fmla="*/ 0 w 4510936"/>
                    <a:gd name="connsiteY53" fmla="*/ 1940013 h 3835942"/>
                    <a:gd name="connsiteX54" fmla="*/ 98842 w 4510936"/>
                    <a:gd name="connsiteY54" fmla="*/ 1616424 h 3835942"/>
                    <a:gd name="connsiteX55" fmla="*/ 158494 w 4510936"/>
                    <a:gd name="connsiteY55" fmla="*/ 1544125 h 3835942"/>
                    <a:gd name="connsiteX56" fmla="*/ 138294 w 4510936"/>
                    <a:gd name="connsiteY56" fmla="*/ 1479051 h 3835942"/>
                    <a:gd name="connsiteX57" fmla="*/ 124645 w 4510936"/>
                    <a:gd name="connsiteY57" fmla="*/ 1343654 h 3835942"/>
                    <a:gd name="connsiteX58" fmla="*/ 534966 w 4510936"/>
                    <a:gd name="connsiteY58" fmla="*/ 724623 h 3835942"/>
                    <a:gd name="connsiteX59" fmla="*/ 655270 w 4510936"/>
                    <a:gd name="connsiteY59" fmla="*/ 687278 h 3835942"/>
                    <a:gd name="connsiteX60" fmla="*/ 663127 w 4510936"/>
                    <a:gd name="connsiteY60" fmla="*/ 661967 h 3835942"/>
                    <a:gd name="connsiteX61" fmla="*/ 1282159 w 4510936"/>
                    <a:gd name="connsiteY61" fmla="*/ 251645 h 3835942"/>
                    <a:gd name="connsiteX62" fmla="*/ 1417556 w 4510936"/>
                    <a:gd name="connsiteY62" fmla="*/ 265294 h 3835942"/>
                    <a:gd name="connsiteX63" fmla="*/ 1421411 w 4510936"/>
                    <a:gd name="connsiteY63" fmla="*/ 266491 h 3835942"/>
                    <a:gd name="connsiteX64" fmla="*/ 1478933 w 4510936"/>
                    <a:gd name="connsiteY64" fmla="*/ 196773 h 3835942"/>
                    <a:gd name="connsiteX65" fmla="*/ 1953986 w 4510936"/>
                    <a:gd name="connsiteY6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556657 w 4510936"/>
                    <a:gd name="connsiteY44" fmla="*/ 2852599 h 3835942"/>
                    <a:gd name="connsiteX45" fmla="*/ 1580115 w 4510936"/>
                    <a:gd name="connsiteY45" fmla="*/ 3729193 h 3835942"/>
                    <a:gd name="connsiteX46" fmla="*/ 1581642 w 4510936"/>
                    <a:gd name="connsiteY46" fmla="*/ 3835942 h 3835942"/>
                    <a:gd name="connsiteX47" fmla="*/ 1113971 w 4510936"/>
                    <a:gd name="connsiteY47" fmla="*/ 3835942 h 3835942"/>
                    <a:gd name="connsiteX48" fmla="*/ 836413 w 4510936"/>
                    <a:gd name="connsiteY48" fmla="*/ 3086585 h 3835942"/>
                    <a:gd name="connsiteX49" fmla="*/ 116170 w 4510936"/>
                    <a:gd name="connsiteY49" fmla="*/ 2308285 h 3835942"/>
                    <a:gd name="connsiteX50" fmla="*/ 118297 w 4510936"/>
                    <a:gd name="connsiteY50" fmla="*/ 2287181 h 3835942"/>
                    <a:gd name="connsiteX51" fmla="*/ 98842 w 4510936"/>
                    <a:gd name="connsiteY51" fmla="*/ 2263602 h 3835942"/>
                    <a:gd name="connsiteX52" fmla="*/ 0 w 4510936"/>
                    <a:gd name="connsiteY52" fmla="*/ 1940013 h 3835942"/>
                    <a:gd name="connsiteX53" fmla="*/ 98842 w 4510936"/>
                    <a:gd name="connsiteY53" fmla="*/ 1616424 h 3835942"/>
                    <a:gd name="connsiteX54" fmla="*/ 158494 w 4510936"/>
                    <a:gd name="connsiteY54" fmla="*/ 1544125 h 3835942"/>
                    <a:gd name="connsiteX55" fmla="*/ 138294 w 4510936"/>
                    <a:gd name="connsiteY55" fmla="*/ 1479051 h 3835942"/>
                    <a:gd name="connsiteX56" fmla="*/ 124645 w 4510936"/>
                    <a:gd name="connsiteY56" fmla="*/ 1343654 h 3835942"/>
                    <a:gd name="connsiteX57" fmla="*/ 534966 w 4510936"/>
                    <a:gd name="connsiteY57" fmla="*/ 724623 h 3835942"/>
                    <a:gd name="connsiteX58" fmla="*/ 655270 w 4510936"/>
                    <a:gd name="connsiteY58" fmla="*/ 687278 h 3835942"/>
                    <a:gd name="connsiteX59" fmla="*/ 663127 w 4510936"/>
                    <a:gd name="connsiteY59" fmla="*/ 661967 h 3835942"/>
                    <a:gd name="connsiteX60" fmla="*/ 1282159 w 4510936"/>
                    <a:gd name="connsiteY60" fmla="*/ 251645 h 3835942"/>
                    <a:gd name="connsiteX61" fmla="*/ 1417556 w 4510936"/>
                    <a:gd name="connsiteY61" fmla="*/ 265294 h 3835942"/>
                    <a:gd name="connsiteX62" fmla="*/ 1421411 w 4510936"/>
                    <a:gd name="connsiteY62" fmla="*/ 266491 h 3835942"/>
                    <a:gd name="connsiteX63" fmla="*/ 1478933 w 4510936"/>
                    <a:gd name="connsiteY63" fmla="*/ 196773 h 3835942"/>
                    <a:gd name="connsiteX64" fmla="*/ 1953986 w 4510936"/>
                    <a:gd name="connsiteY6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556657 w 4510936"/>
                    <a:gd name="connsiteY43" fmla="*/ 2852599 h 3835942"/>
                    <a:gd name="connsiteX44" fmla="*/ 1580115 w 4510936"/>
                    <a:gd name="connsiteY44" fmla="*/ 3729193 h 3835942"/>
                    <a:gd name="connsiteX45" fmla="*/ 1581642 w 4510936"/>
                    <a:gd name="connsiteY45" fmla="*/ 3835942 h 3835942"/>
                    <a:gd name="connsiteX46" fmla="*/ 1113971 w 4510936"/>
                    <a:gd name="connsiteY46" fmla="*/ 3835942 h 3835942"/>
                    <a:gd name="connsiteX47" fmla="*/ 836413 w 4510936"/>
                    <a:gd name="connsiteY47" fmla="*/ 3086585 h 3835942"/>
                    <a:gd name="connsiteX48" fmla="*/ 116170 w 4510936"/>
                    <a:gd name="connsiteY48" fmla="*/ 2308285 h 3835942"/>
                    <a:gd name="connsiteX49" fmla="*/ 118297 w 4510936"/>
                    <a:gd name="connsiteY49" fmla="*/ 2287181 h 3835942"/>
                    <a:gd name="connsiteX50" fmla="*/ 98842 w 4510936"/>
                    <a:gd name="connsiteY50" fmla="*/ 2263602 h 3835942"/>
                    <a:gd name="connsiteX51" fmla="*/ 0 w 4510936"/>
                    <a:gd name="connsiteY51" fmla="*/ 1940013 h 3835942"/>
                    <a:gd name="connsiteX52" fmla="*/ 98842 w 4510936"/>
                    <a:gd name="connsiteY52" fmla="*/ 1616424 h 3835942"/>
                    <a:gd name="connsiteX53" fmla="*/ 158494 w 4510936"/>
                    <a:gd name="connsiteY53" fmla="*/ 1544125 h 3835942"/>
                    <a:gd name="connsiteX54" fmla="*/ 138294 w 4510936"/>
                    <a:gd name="connsiteY54" fmla="*/ 1479051 h 3835942"/>
                    <a:gd name="connsiteX55" fmla="*/ 124645 w 4510936"/>
                    <a:gd name="connsiteY55" fmla="*/ 1343654 h 3835942"/>
                    <a:gd name="connsiteX56" fmla="*/ 534966 w 4510936"/>
                    <a:gd name="connsiteY56" fmla="*/ 724623 h 3835942"/>
                    <a:gd name="connsiteX57" fmla="*/ 655270 w 4510936"/>
                    <a:gd name="connsiteY57" fmla="*/ 687278 h 3835942"/>
                    <a:gd name="connsiteX58" fmla="*/ 663127 w 4510936"/>
                    <a:gd name="connsiteY58" fmla="*/ 661967 h 3835942"/>
                    <a:gd name="connsiteX59" fmla="*/ 1282159 w 4510936"/>
                    <a:gd name="connsiteY59" fmla="*/ 251645 h 3835942"/>
                    <a:gd name="connsiteX60" fmla="*/ 1417556 w 4510936"/>
                    <a:gd name="connsiteY60" fmla="*/ 265294 h 3835942"/>
                    <a:gd name="connsiteX61" fmla="*/ 1421411 w 4510936"/>
                    <a:gd name="connsiteY61" fmla="*/ 266491 h 3835942"/>
                    <a:gd name="connsiteX62" fmla="*/ 1478933 w 4510936"/>
                    <a:gd name="connsiteY62" fmla="*/ 196773 h 3835942"/>
                    <a:gd name="connsiteX63" fmla="*/ 1953986 w 4510936"/>
                    <a:gd name="connsiteY6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556657 w 4510936"/>
                    <a:gd name="connsiteY42" fmla="*/ 2852599 h 3835942"/>
                    <a:gd name="connsiteX43" fmla="*/ 1580115 w 4510936"/>
                    <a:gd name="connsiteY43" fmla="*/ 3729193 h 3835942"/>
                    <a:gd name="connsiteX44" fmla="*/ 1581642 w 4510936"/>
                    <a:gd name="connsiteY44" fmla="*/ 3835942 h 3835942"/>
                    <a:gd name="connsiteX45" fmla="*/ 1113971 w 4510936"/>
                    <a:gd name="connsiteY45" fmla="*/ 3835942 h 3835942"/>
                    <a:gd name="connsiteX46" fmla="*/ 836413 w 4510936"/>
                    <a:gd name="connsiteY46" fmla="*/ 3086585 h 3835942"/>
                    <a:gd name="connsiteX47" fmla="*/ 116170 w 4510936"/>
                    <a:gd name="connsiteY47" fmla="*/ 2308285 h 3835942"/>
                    <a:gd name="connsiteX48" fmla="*/ 118297 w 4510936"/>
                    <a:gd name="connsiteY48" fmla="*/ 2287181 h 3835942"/>
                    <a:gd name="connsiteX49" fmla="*/ 98842 w 4510936"/>
                    <a:gd name="connsiteY49" fmla="*/ 2263602 h 3835942"/>
                    <a:gd name="connsiteX50" fmla="*/ 0 w 4510936"/>
                    <a:gd name="connsiteY50" fmla="*/ 1940013 h 3835942"/>
                    <a:gd name="connsiteX51" fmla="*/ 98842 w 4510936"/>
                    <a:gd name="connsiteY51" fmla="*/ 1616424 h 3835942"/>
                    <a:gd name="connsiteX52" fmla="*/ 158494 w 4510936"/>
                    <a:gd name="connsiteY52" fmla="*/ 1544125 h 3835942"/>
                    <a:gd name="connsiteX53" fmla="*/ 138294 w 4510936"/>
                    <a:gd name="connsiteY53" fmla="*/ 1479051 h 3835942"/>
                    <a:gd name="connsiteX54" fmla="*/ 124645 w 4510936"/>
                    <a:gd name="connsiteY54" fmla="*/ 1343654 h 3835942"/>
                    <a:gd name="connsiteX55" fmla="*/ 534966 w 4510936"/>
                    <a:gd name="connsiteY55" fmla="*/ 724623 h 3835942"/>
                    <a:gd name="connsiteX56" fmla="*/ 655270 w 4510936"/>
                    <a:gd name="connsiteY56" fmla="*/ 687278 h 3835942"/>
                    <a:gd name="connsiteX57" fmla="*/ 663127 w 4510936"/>
                    <a:gd name="connsiteY57" fmla="*/ 661967 h 3835942"/>
                    <a:gd name="connsiteX58" fmla="*/ 1282159 w 4510936"/>
                    <a:gd name="connsiteY58" fmla="*/ 251645 h 3835942"/>
                    <a:gd name="connsiteX59" fmla="*/ 1417556 w 4510936"/>
                    <a:gd name="connsiteY59" fmla="*/ 265294 h 3835942"/>
                    <a:gd name="connsiteX60" fmla="*/ 1421411 w 4510936"/>
                    <a:gd name="connsiteY60" fmla="*/ 266491 h 3835942"/>
                    <a:gd name="connsiteX61" fmla="*/ 1478933 w 4510936"/>
                    <a:gd name="connsiteY61" fmla="*/ 196773 h 3835942"/>
                    <a:gd name="connsiteX62" fmla="*/ 1953986 w 4510936"/>
                    <a:gd name="connsiteY6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599542 w 4510936"/>
                    <a:gd name="connsiteY31" fmla="*/ 1528170 h 3835942"/>
                    <a:gd name="connsiteX32" fmla="*/ 3900714 w 4510936"/>
                    <a:gd name="connsiteY32" fmla="*/ 1212485 h 3835942"/>
                    <a:gd name="connsiteX33" fmla="*/ 3358243 w 4510936"/>
                    <a:gd name="connsiteY33" fmla="*/ 1319527 h 3835942"/>
                    <a:gd name="connsiteX34" fmla="*/ 2895600 w 4510936"/>
                    <a:gd name="connsiteY34" fmla="*/ 1132656 h 3835942"/>
                    <a:gd name="connsiteX35" fmla="*/ 3218542 w 4510936"/>
                    <a:gd name="connsiteY35" fmla="*/ 617399 h 3835942"/>
                    <a:gd name="connsiteX36" fmla="*/ 2715985 w 4510936"/>
                    <a:gd name="connsiteY36" fmla="*/ 947598 h 3835942"/>
                    <a:gd name="connsiteX37" fmla="*/ 1948542 w 4510936"/>
                    <a:gd name="connsiteY37" fmla="*/ 925827 h 3835942"/>
                    <a:gd name="connsiteX38" fmla="*/ 2062843 w 4510936"/>
                    <a:gd name="connsiteY38" fmla="*/ 403313 h 3835942"/>
                    <a:gd name="connsiteX39" fmla="*/ 1816101 w 4510936"/>
                    <a:gd name="connsiteY39" fmla="*/ 780685 h 3835942"/>
                    <a:gd name="connsiteX40" fmla="*/ 1455057 w 4510936"/>
                    <a:gd name="connsiteY40" fmla="*/ 898614 h 3835942"/>
                    <a:gd name="connsiteX41" fmla="*/ 1556657 w 4510936"/>
                    <a:gd name="connsiteY41" fmla="*/ 2852599 h 3835942"/>
                    <a:gd name="connsiteX42" fmla="*/ 1580115 w 4510936"/>
                    <a:gd name="connsiteY42" fmla="*/ 3729193 h 3835942"/>
                    <a:gd name="connsiteX43" fmla="*/ 1581642 w 4510936"/>
                    <a:gd name="connsiteY43" fmla="*/ 3835942 h 3835942"/>
                    <a:gd name="connsiteX44" fmla="*/ 1113971 w 4510936"/>
                    <a:gd name="connsiteY44" fmla="*/ 3835942 h 3835942"/>
                    <a:gd name="connsiteX45" fmla="*/ 836413 w 4510936"/>
                    <a:gd name="connsiteY45" fmla="*/ 3086585 h 3835942"/>
                    <a:gd name="connsiteX46" fmla="*/ 116170 w 4510936"/>
                    <a:gd name="connsiteY46" fmla="*/ 2308285 h 3835942"/>
                    <a:gd name="connsiteX47" fmla="*/ 118297 w 4510936"/>
                    <a:gd name="connsiteY47" fmla="*/ 2287181 h 3835942"/>
                    <a:gd name="connsiteX48" fmla="*/ 98842 w 4510936"/>
                    <a:gd name="connsiteY48" fmla="*/ 2263602 h 3835942"/>
                    <a:gd name="connsiteX49" fmla="*/ 0 w 4510936"/>
                    <a:gd name="connsiteY49" fmla="*/ 1940013 h 3835942"/>
                    <a:gd name="connsiteX50" fmla="*/ 98842 w 4510936"/>
                    <a:gd name="connsiteY50" fmla="*/ 1616424 h 3835942"/>
                    <a:gd name="connsiteX51" fmla="*/ 158494 w 4510936"/>
                    <a:gd name="connsiteY51" fmla="*/ 1544125 h 3835942"/>
                    <a:gd name="connsiteX52" fmla="*/ 138294 w 4510936"/>
                    <a:gd name="connsiteY52" fmla="*/ 1479051 h 3835942"/>
                    <a:gd name="connsiteX53" fmla="*/ 124645 w 4510936"/>
                    <a:gd name="connsiteY53" fmla="*/ 1343654 h 3835942"/>
                    <a:gd name="connsiteX54" fmla="*/ 534966 w 4510936"/>
                    <a:gd name="connsiteY54" fmla="*/ 724623 h 3835942"/>
                    <a:gd name="connsiteX55" fmla="*/ 655270 w 4510936"/>
                    <a:gd name="connsiteY55" fmla="*/ 687278 h 3835942"/>
                    <a:gd name="connsiteX56" fmla="*/ 663127 w 4510936"/>
                    <a:gd name="connsiteY56" fmla="*/ 661967 h 3835942"/>
                    <a:gd name="connsiteX57" fmla="*/ 1282159 w 4510936"/>
                    <a:gd name="connsiteY57" fmla="*/ 251645 h 3835942"/>
                    <a:gd name="connsiteX58" fmla="*/ 1417556 w 4510936"/>
                    <a:gd name="connsiteY58" fmla="*/ 265294 h 3835942"/>
                    <a:gd name="connsiteX59" fmla="*/ 1421411 w 4510936"/>
                    <a:gd name="connsiteY59" fmla="*/ 266491 h 3835942"/>
                    <a:gd name="connsiteX60" fmla="*/ 1478933 w 4510936"/>
                    <a:gd name="connsiteY60" fmla="*/ 196773 h 3835942"/>
                    <a:gd name="connsiteX61" fmla="*/ 1953986 w 4510936"/>
                    <a:gd name="connsiteY6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900714 w 4510936"/>
                    <a:gd name="connsiteY31" fmla="*/ 1212485 h 3835942"/>
                    <a:gd name="connsiteX32" fmla="*/ 3358243 w 4510936"/>
                    <a:gd name="connsiteY32" fmla="*/ 1319527 h 3835942"/>
                    <a:gd name="connsiteX33" fmla="*/ 2895600 w 4510936"/>
                    <a:gd name="connsiteY33" fmla="*/ 1132656 h 3835942"/>
                    <a:gd name="connsiteX34" fmla="*/ 3218542 w 4510936"/>
                    <a:gd name="connsiteY34" fmla="*/ 617399 h 3835942"/>
                    <a:gd name="connsiteX35" fmla="*/ 2715985 w 4510936"/>
                    <a:gd name="connsiteY35" fmla="*/ 947598 h 3835942"/>
                    <a:gd name="connsiteX36" fmla="*/ 1948542 w 4510936"/>
                    <a:gd name="connsiteY36" fmla="*/ 925827 h 3835942"/>
                    <a:gd name="connsiteX37" fmla="*/ 2062843 w 4510936"/>
                    <a:gd name="connsiteY37" fmla="*/ 403313 h 3835942"/>
                    <a:gd name="connsiteX38" fmla="*/ 1816101 w 4510936"/>
                    <a:gd name="connsiteY38" fmla="*/ 780685 h 3835942"/>
                    <a:gd name="connsiteX39" fmla="*/ 1455057 w 4510936"/>
                    <a:gd name="connsiteY39" fmla="*/ 898614 h 3835942"/>
                    <a:gd name="connsiteX40" fmla="*/ 1556657 w 4510936"/>
                    <a:gd name="connsiteY40" fmla="*/ 2852599 h 3835942"/>
                    <a:gd name="connsiteX41" fmla="*/ 1580115 w 4510936"/>
                    <a:gd name="connsiteY41" fmla="*/ 3729193 h 3835942"/>
                    <a:gd name="connsiteX42" fmla="*/ 1581642 w 4510936"/>
                    <a:gd name="connsiteY42" fmla="*/ 3835942 h 3835942"/>
                    <a:gd name="connsiteX43" fmla="*/ 1113971 w 4510936"/>
                    <a:gd name="connsiteY43" fmla="*/ 3835942 h 3835942"/>
                    <a:gd name="connsiteX44" fmla="*/ 836413 w 4510936"/>
                    <a:gd name="connsiteY44" fmla="*/ 3086585 h 3835942"/>
                    <a:gd name="connsiteX45" fmla="*/ 116170 w 4510936"/>
                    <a:gd name="connsiteY45" fmla="*/ 2308285 h 3835942"/>
                    <a:gd name="connsiteX46" fmla="*/ 118297 w 4510936"/>
                    <a:gd name="connsiteY46" fmla="*/ 2287181 h 3835942"/>
                    <a:gd name="connsiteX47" fmla="*/ 98842 w 4510936"/>
                    <a:gd name="connsiteY47" fmla="*/ 2263602 h 3835942"/>
                    <a:gd name="connsiteX48" fmla="*/ 0 w 4510936"/>
                    <a:gd name="connsiteY48" fmla="*/ 1940013 h 3835942"/>
                    <a:gd name="connsiteX49" fmla="*/ 98842 w 4510936"/>
                    <a:gd name="connsiteY49" fmla="*/ 1616424 h 3835942"/>
                    <a:gd name="connsiteX50" fmla="*/ 158494 w 4510936"/>
                    <a:gd name="connsiteY50" fmla="*/ 1544125 h 3835942"/>
                    <a:gd name="connsiteX51" fmla="*/ 138294 w 4510936"/>
                    <a:gd name="connsiteY51" fmla="*/ 1479051 h 3835942"/>
                    <a:gd name="connsiteX52" fmla="*/ 124645 w 4510936"/>
                    <a:gd name="connsiteY52" fmla="*/ 1343654 h 3835942"/>
                    <a:gd name="connsiteX53" fmla="*/ 534966 w 4510936"/>
                    <a:gd name="connsiteY53" fmla="*/ 724623 h 3835942"/>
                    <a:gd name="connsiteX54" fmla="*/ 655270 w 4510936"/>
                    <a:gd name="connsiteY54" fmla="*/ 687278 h 3835942"/>
                    <a:gd name="connsiteX55" fmla="*/ 663127 w 4510936"/>
                    <a:gd name="connsiteY55" fmla="*/ 661967 h 3835942"/>
                    <a:gd name="connsiteX56" fmla="*/ 1282159 w 4510936"/>
                    <a:gd name="connsiteY56" fmla="*/ 251645 h 3835942"/>
                    <a:gd name="connsiteX57" fmla="*/ 1417556 w 4510936"/>
                    <a:gd name="connsiteY57" fmla="*/ 265294 h 3835942"/>
                    <a:gd name="connsiteX58" fmla="*/ 1421411 w 4510936"/>
                    <a:gd name="connsiteY58" fmla="*/ 266491 h 3835942"/>
                    <a:gd name="connsiteX59" fmla="*/ 1478933 w 4510936"/>
                    <a:gd name="connsiteY59" fmla="*/ 196773 h 3835942"/>
                    <a:gd name="connsiteX60" fmla="*/ 1953986 w 4510936"/>
                    <a:gd name="connsiteY6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358243 w 4510936"/>
                    <a:gd name="connsiteY31" fmla="*/ 1319527 h 3835942"/>
                    <a:gd name="connsiteX32" fmla="*/ 2895600 w 4510936"/>
                    <a:gd name="connsiteY32" fmla="*/ 1132656 h 3835942"/>
                    <a:gd name="connsiteX33" fmla="*/ 3218542 w 4510936"/>
                    <a:gd name="connsiteY33" fmla="*/ 617399 h 3835942"/>
                    <a:gd name="connsiteX34" fmla="*/ 2715985 w 4510936"/>
                    <a:gd name="connsiteY34" fmla="*/ 947598 h 3835942"/>
                    <a:gd name="connsiteX35" fmla="*/ 1948542 w 4510936"/>
                    <a:gd name="connsiteY35" fmla="*/ 925827 h 3835942"/>
                    <a:gd name="connsiteX36" fmla="*/ 2062843 w 4510936"/>
                    <a:gd name="connsiteY36" fmla="*/ 403313 h 3835942"/>
                    <a:gd name="connsiteX37" fmla="*/ 1816101 w 4510936"/>
                    <a:gd name="connsiteY37" fmla="*/ 780685 h 3835942"/>
                    <a:gd name="connsiteX38" fmla="*/ 1455057 w 4510936"/>
                    <a:gd name="connsiteY38" fmla="*/ 898614 h 3835942"/>
                    <a:gd name="connsiteX39" fmla="*/ 1556657 w 4510936"/>
                    <a:gd name="connsiteY39" fmla="*/ 2852599 h 3835942"/>
                    <a:gd name="connsiteX40" fmla="*/ 1580115 w 4510936"/>
                    <a:gd name="connsiteY40" fmla="*/ 3729193 h 3835942"/>
                    <a:gd name="connsiteX41" fmla="*/ 1581642 w 4510936"/>
                    <a:gd name="connsiteY41" fmla="*/ 3835942 h 3835942"/>
                    <a:gd name="connsiteX42" fmla="*/ 1113971 w 4510936"/>
                    <a:gd name="connsiteY42" fmla="*/ 3835942 h 3835942"/>
                    <a:gd name="connsiteX43" fmla="*/ 836413 w 4510936"/>
                    <a:gd name="connsiteY43" fmla="*/ 3086585 h 3835942"/>
                    <a:gd name="connsiteX44" fmla="*/ 116170 w 4510936"/>
                    <a:gd name="connsiteY44" fmla="*/ 2308285 h 3835942"/>
                    <a:gd name="connsiteX45" fmla="*/ 118297 w 4510936"/>
                    <a:gd name="connsiteY45" fmla="*/ 2287181 h 3835942"/>
                    <a:gd name="connsiteX46" fmla="*/ 98842 w 4510936"/>
                    <a:gd name="connsiteY46" fmla="*/ 2263602 h 3835942"/>
                    <a:gd name="connsiteX47" fmla="*/ 0 w 4510936"/>
                    <a:gd name="connsiteY47" fmla="*/ 1940013 h 3835942"/>
                    <a:gd name="connsiteX48" fmla="*/ 98842 w 4510936"/>
                    <a:gd name="connsiteY48" fmla="*/ 1616424 h 3835942"/>
                    <a:gd name="connsiteX49" fmla="*/ 158494 w 4510936"/>
                    <a:gd name="connsiteY49" fmla="*/ 1544125 h 3835942"/>
                    <a:gd name="connsiteX50" fmla="*/ 138294 w 4510936"/>
                    <a:gd name="connsiteY50" fmla="*/ 1479051 h 3835942"/>
                    <a:gd name="connsiteX51" fmla="*/ 124645 w 4510936"/>
                    <a:gd name="connsiteY51" fmla="*/ 1343654 h 3835942"/>
                    <a:gd name="connsiteX52" fmla="*/ 534966 w 4510936"/>
                    <a:gd name="connsiteY52" fmla="*/ 724623 h 3835942"/>
                    <a:gd name="connsiteX53" fmla="*/ 655270 w 4510936"/>
                    <a:gd name="connsiteY53" fmla="*/ 687278 h 3835942"/>
                    <a:gd name="connsiteX54" fmla="*/ 663127 w 4510936"/>
                    <a:gd name="connsiteY54" fmla="*/ 661967 h 3835942"/>
                    <a:gd name="connsiteX55" fmla="*/ 1282159 w 4510936"/>
                    <a:gd name="connsiteY55" fmla="*/ 251645 h 3835942"/>
                    <a:gd name="connsiteX56" fmla="*/ 1417556 w 4510936"/>
                    <a:gd name="connsiteY56" fmla="*/ 265294 h 3835942"/>
                    <a:gd name="connsiteX57" fmla="*/ 1421411 w 4510936"/>
                    <a:gd name="connsiteY57" fmla="*/ 266491 h 3835942"/>
                    <a:gd name="connsiteX58" fmla="*/ 1478933 w 4510936"/>
                    <a:gd name="connsiteY58" fmla="*/ 196773 h 3835942"/>
                    <a:gd name="connsiteX59" fmla="*/ 1953986 w 4510936"/>
                    <a:gd name="connsiteY5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2895600 w 4510936"/>
                    <a:gd name="connsiteY31" fmla="*/ 1132656 h 3835942"/>
                    <a:gd name="connsiteX32" fmla="*/ 3218542 w 4510936"/>
                    <a:gd name="connsiteY32" fmla="*/ 617399 h 3835942"/>
                    <a:gd name="connsiteX33" fmla="*/ 2715985 w 4510936"/>
                    <a:gd name="connsiteY33" fmla="*/ 947598 h 3835942"/>
                    <a:gd name="connsiteX34" fmla="*/ 1948542 w 4510936"/>
                    <a:gd name="connsiteY34" fmla="*/ 925827 h 3835942"/>
                    <a:gd name="connsiteX35" fmla="*/ 2062843 w 4510936"/>
                    <a:gd name="connsiteY35" fmla="*/ 403313 h 3835942"/>
                    <a:gd name="connsiteX36" fmla="*/ 1816101 w 4510936"/>
                    <a:gd name="connsiteY36" fmla="*/ 780685 h 3835942"/>
                    <a:gd name="connsiteX37" fmla="*/ 1455057 w 4510936"/>
                    <a:gd name="connsiteY37" fmla="*/ 898614 h 3835942"/>
                    <a:gd name="connsiteX38" fmla="*/ 1556657 w 4510936"/>
                    <a:gd name="connsiteY38" fmla="*/ 2852599 h 3835942"/>
                    <a:gd name="connsiteX39" fmla="*/ 1580115 w 4510936"/>
                    <a:gd name="connsiteY39" fmla="*/ 3729193 h 3835942"/>
                    <a:gd name="connsiteX40" fmla="*/ 1581642 w 4510936"/>
                    <a:gd name="connsiteY40" fmla="*/ 3835942 h 3835942"/>
                    <a:gd name="connsiteX41" fmla="*/ 1113971 w 4510936"/>
                    <a:gd name="connsiteY41" fmla="*/ 3835942 h 3835942"/>
                    <a:gd name="connsiteX42" fmla="*/ 836413 w 4510936"/>
                    <a:gd name="connsiteY42" fmla="*/ 3086585 h 3835942"/>
                    <a:gd name="connsiteX43" fmla="*/ 116170 w 4510936"/>
                    <a:gd name="connsiteY43" fmla="*/ 2308285 h 3835942"/>
                    <a:gd name="connsiteX44" fmla="*/ 118297 w 4510936"/>
                    <a:gd name="connsiteY44" fmla="*/ 2287181 h 3835942"/>
                    <a:gd name="connsiteX45" fmla="*/ 98842 w 4510936"/>
                    <a:gd name="connsiteY45" fmla="*/ 2263602 h 3835942"/>
                    <a:gd name="connsiteX46" fmla="*/ 0 w 4510936"/>
                    <a:gd name="connsiteY46" fmla="*/ 1940013 h 3835942"/>
                    <a:gd name="connsiteX47" fmla="*/ 98842 w 4510936"/>
                    <a:gd name="connsiteY47" fmla="*/ 1616424 h 3835942"/>
                    <a:gd name="connsiteX48" fmla="*/ 158494 w 4510936"/>
                    <a:gd name="connsiteY48" fmla="*/ 1544125 h 3835942"/>
                    <a:gd name="connsiteX49" fmla="*/ 138294 w 4510936"/>
                    <a:gd name="connsiteY49" fmla="*/ 1479051 h 3835942"/>
                    <a:gd name="connsiteX50" fmla="*/ 124645 w 4510936"/>
                    <a:gd name="connsiteY50" fmla="*/ 1343654 h 3835942"/>
                    <a:gd name="connsiteX51" fmla="*/ 534966 w 4510936"/>
                    <a:gd name="connsiteY51" fmla="*/ 724623 h 3835942"/>
                    <a:gd name="connsiteX52" fmla="*/ 655270 w 4510936"/>
                    <a:gd name="connsiteY52" fmla="*/ 687278 h 3835942"/>
                    <a:gd name="connsiteX53" fmla="*/ 663127 w 4510936"/>
                    <a:gd name="connsiteY53" fmla="*/ 661967 h 3835942"/>
                    <a:gd name="connsiteX54" fmla="*/ 1282159 w 4510936"/>
                    <a:gd name="connsiteY54" fmla="*/ 251645 h 3835942"/>
                    <a:gd name="connsiteX55" fmla="*/ 1417556 w 4510936"/>
                    <a:gd name="connsiteY55" fmla="*/ 265294 h 3835942"/>
                    <a:gd name="connsiteX56" fmla="*/ 1421411 w 4510936"/>
                    <a:gd name="connsiteY56" fmla="*/ 266491 h 3835942"/>
                    <a:gd name="connsiteX57" fmla="*/ 1478933 w 4510936"/>
                    <a:gd name="connsiteY57" fmla="*/ 196773 h 3835942"/>
                    <a:gd name="connsiteX58" fmla="*/ 1953986 w 4510936"/>
                    <a:gd name="connsiteY5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218542 w 4510936"/>
                    <a:gd name="connsiteY31" fmla="*/ 617399 h 3835942"/>
                    <a:gd name="connsiteX32" fmla="*/ 2715985 w 4510936"/>
                    <a:gd name="connsiteY32" fmla="*/ 947598 h 3835942"/>
                    <a:gd name="connsiteX33" fmla="*/ 1948542 w 4510936"/>
                    <a:gd name="connsiteY33" fmla="*/ 925827 h 3835942"/>
                    <a:gd name="connsiteX34" fmla="*/ 2062843 w 4510936"/>
                    <a:gd name="connsiteY34" fmla="*/ 403313 h 3835942"/>
                    <a:gd name="connsiteX35" fmla="*/ 1816101 w 4510936"/>
                    <a:gd name="connsiteY35" fmla="*/ 780685 h 3835942"/>
                    <a:gd name="connsiteX36" fmla="*/ 1455057 w 4510936"/>
                    <a:gd name="connsiteY36" fmla="*/ 898614 h 3835942"/>
                    <a:gd name="connsiteX37" fmla="*/ 1556657 w 4510936"/>
                    <a:gd name="connsiteY37" fmla="*/ 2852599 h 3835942"/>
                    <a:gd name="connsiteX38" fmla="*/ 1580115 w 4510936"/>
                    <a:gd name="connsiteY38" fmla="*/ 3729193 h 3835942"/>
                    <a:gd name="connsiteX39" fmla="*/ 1581642 w 4510936"/>
                    <a:gd name="connsiteY39" fmla="*/ 3835942 h 3835942"/>
                    <a:gd name="connsiteX40" fmla="*/ 1113971 w 4510936"/>
                    <a:gd name="connsiteY40" fmla="*/ 3835942 h 3835942"/>
                    <a:gd name="connsiteX41" fmla="*/ 836413 w 4510936"/>
                    <a:gd name="connsiteY41" fmla="*/ 3086585 h 3835942"/>
                    <a:gd name="connsiteX42" fmla="*/ 116170 w 4510936"/>
                    <a:gd name="connsiteY42" fmla="*/ 2308285 h 3835942"/>
                    <a:gd name="connsiteX43" fmla="*/ 118297 w 4510936"/>
                    <a:gd name="connsiteY43" fmla="*/ 2287181 h 3835942"/>
                    <a:gd name="connsiteX44" fmla="*/ 98842 w 4510936"/>
                    <a:gd name="connsiteY44" fmla="*/ 2263602 h 3835942"/>
                    <a:gd name="connsiteX45" fmla="*/ 0 w 4510936"/>
                    <a:gd name="connsiteY45" fmla="*/ 1940013 h 3835942"/>
                    <a:gd name="connsiteX46" fmla="*/ 98842 w 4510936"/>
                    <a:gd name="connsiteY46" fmla="*/ 1616424 h 3835942"/>
                    <a:gd name="connsiteX47" fmla="*/ 158494 w 4510936"/>
                    <a:gd name="connsiteY47" fmla="*/ 1544125 h 3835942"/>
                    <a:gd name="connsiteX48" fmla="*/ 138294 w 4510936"/>
                    <a:gd name="connsiteY48" fmla="*/ 1479051 h 3835942"/>
                    <a:gd name="connsiteX49" fmla="*/ 124645 w 4510936"/>
                    <a:gd name="connsiteY49" fmla="*/ 1343654 h 3835942"/>
                    <a:gd name="connsiteX50" fmla="*/ 534966 w 4510936"/>
                    <a:gd name="connsiteY50" fmla="*/ 724623 h 3835942"/>
                    <a:gd name="connsiteX51" fmla="*/ 655270 w 4510936"/>
                    <a:gd name="connsiteY51" fmla="*/ 687278 h 3835942"/>
                    <a:gd name="connsiteX52" fmla="*/ 663127 w 4510936"/>
                    <a:gd name="connsiteY52" fmla="*/ 661967 h 3835942"/>
                    <a:gd name="connsiteX53" fmla="*/ 1282159 w 4510936"/>
                    <a:gd name="connsiteY53" fmla="*/ 251645 h 3835942"/>
                    <a:gd name="connsiteX54" fmla="*/ 1417556 w 4510936"/>
                    <a:gd name="connsiteY54" fmla="*/ 265294 h 3835942"/>
                    <a:gd name="connsiteX55" fmla="*/ 1421411 w 4510936"/>
                    <a:gd name="connsiteY55" fmla="*/ 266491 h 3835942"/>
                    <a:gd name="connsiteX56" fmla="*/ 1478933 w 4510936"/>
                    <a:gd name="connsiteY56" fmla="*/ 196773 h 3835942"/>
                    <a:gd name="connsiteX57" fmla="*/ 1953986 w 4510936"/>
                    <a:gd name="connsiteY5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218542 w 4510936"/>
                    <a:gd name="connsiteY30" fmla="*/ 617399 h 3835942"/>
                    <a:gd name="connsiteX31" fmla="*/ 2715985 w 4510936"/>
                    <a:gd name="connsiteY31" fmla="*/ 947598 h 3835942"/>
                    <a:gd name="connsiteX32" fmla="*/ 1948542 w 4510936"/>
                    <a:gd name="connsiteY32" fmla="*/ 925827 h 3835942"/>
                    <a:gd name="connsiteX33" fmla="*/ 2062843 w 4510936"/>
                    <a:gd name="connsiteY33" fmla="*/ 403313 h 3835942"/>
                    <a:gd name="connsiteX34" fmla="*/ 1816101 w 4510936"/>
                    <a:gd name="connsiteY34" fmla="*/ 780685 h 3835942"/>
                    <a:gd name="connsiteX35" fmla="*/ 1455057 w 4510936"/>
                    <a:gd name="connsiteY35" fmla="*/ 898614 h 3835942"/>
                    <a:gd name="connsiteX36" fmla="*/ 1556657 w 4510936"/>
                    <a:gd name="connsiteY36" fmla="*/ 2852599 h 3835942"/>
                    <a:gd name="connsiteX37" fmla="*/ 1580115 w 4510936"/>
                    <a:gd name="connsiteY37" fmla="*/ 3729193 h 3835942"/>
                    <a:gd name="connsiteX38" fmla="*/ 1581642 w 4510936"/>
                    <a:gd name="connsiteY38" fmla="*/ 3835942 h 3835942"/>
                    <a:gd name="connsiteX39" fmla="*/ 1113971 w 4510936"/>
                    <a:gd name="connsiteY39" fmla="*/ 3835942 h 3835942"/>
                    <a:gd name="connsiteX40" fmla="*/ 836413 w 4510936"/>
                    <a:gd name="connsiteY40" fmla="*/ 3086585 h 3835942"/>
                    <a:gd name="connsiteX41" fmla="*/ 116170 w 4510936"/>
                    <a:gd name="connsiteY41" fmla="*/ 2308285 h 3835942"/>
                    <a:gd name="connsiteX42" fmla="*/ 118297 w 4510936"/>
                    <a:gd name="connsiteY42" fmla="*/ 2287181 h 3835942"/>
                    <a:gd name="connsiteX43" fmla="*/ 98842 w 4510936"/>
                    <a:gd name="connsiteY43" fmla="*/ 2263602 h 3835942"/>
                    <a:gd name="connsiteX44" fmla="*/ 0 w 4510936"/>
                    <a:gd name="connsiteY44" fmla="*/ 1940013 h 3835942"/>
                    <a:gd name="connsiteX45" fmla="*/ 98842 w 4510936"/>
                    <a:gd name="connsiteY45" fmla="*/ 1616424 h 3835942"/>
                    <a:gd name="connsiteX46" fmla="*/ 158494 w 4510936"/>
                    <a:gd name="connsiteY46" fmla="*/ 1544125 h 3835942"/>
                    <a:gd name="connsiteX47" fmla="*/ 138294 w 4510936"/>
                    <a:gd name="connsiteY47" fmla="*/ 1479051 h 3835942"/>
                    <a:gd name="connsiteX48" fmla="*/ 124645 w 4510936"/>
                    <a:gd name="connsiteY48" fmla="*/ 1343654 h 3835942"/>
                    <a:gd name="connsiteX49" fmla="*/ 534966 w 4510936"/>
                    <a:gd name="connsiteY49" fmla="*/ 724623 h 3835942"/>
                    <a:gd name="connsiteX50" fmla="*/ 655270 w 4510936"/>
                    <a:gd name="connsiteY50" fmla="*/ 687278 h 3835942"/>
                    <a:gd name="connsiteX51" fmla="*/ 663127 w 4510936"/>
                    <a:gd name="connsiteY51" fmla="*/ 661967 h 3835942"/>
                    <a:gd name="connsiteX52" fmla="*/ 1282159 w 4510936"/>
                    <a:gd name="connsiteY52" fmla="*/ 251645 h 3835942"/>
                    <a:gd name="connsiteX53" fmla="*/ 1417556 w 4510936"/>
                    <a:gd name="connsiteY53" fmla="*/ 265294 h 3835942"/>
                    <a:gd name="connsiteX54" fmla="*/ 1421411 w 4510936"/>
                    <a:gd name="connsiteY54" fmla="*/ 266491 h 3835942"/>
                    <a:gd name="connsiteX55" fmla="*/ 1478933 w 4510936"/>
                    <a:gd name="connsiteY55" fmla="*/ 196773 h 3835942"/>
                    <a:gd name="connsiteX56" fmla="*/ 1953986 w 4510936"/>
                    <a:gd name="connsiteY5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623457 w 4510936"/>
                    <a:gd name="connsiteY27" fmla="*/ 1212485 h 3835942"/>
                    <a:gd name="connsiteX28" fmla="*/ 3131457 w 4510936"/>
                    <a:gd name="connsiteY28" fmla="*/ 1528170 h 3835942"/>
                    <a:gd name="connsiteX29" fmla="*/ 3218542 w 4510936"/>
                    <a:gd name="connsiteY29" fmla="*/ 617399 h 3835942"/>
                    <a:gd name="connsiteX30" fmla="*/ 2715985 w 4510936"/>
                    <a:gd name="connsiteY30" fmla="*/ 947598 h 3835942"/>
                    <a:gd name="connsiteX31" fmla="*/ 1948542 w 4510936"/>
                    <a:gd name="connsiteY31" fmla="*/ 925827 h 3835942"/>
                    <a:gd name="connsiteX32" fmla="*/ 2062843 w 4510936"/>
                    <a:gd name="connsiteY32" fmla="*/ 403313 h 3835942"/>
                    <a:gd name="connsiteX33" fmla="*/ 1816101 w 4510936"/>
                    <a:gd name="connsiteY33" fmla="*/ 780685 h 3835942"/>
                    <a:gd name="connsiteX34" fmla="*/ 1455057 w 4510936"/>
                    <a:gd name="connsiteY34" fmla="*/ 898614 h 3835942"/>
                    <a:gd name="connsiteX35" fmla="*/ 1556657 w 4510936"/>
                    <a:gd name="connsiteY35" fmla="*/ 2852599 h 3835942"/>
                    <a:gd name="connsiteX36" fmla="*/ 1580115 w 4510936"/>
                    <a:gd name="connsiteY36" fmla="*/ 3729193 h 3835942"/>
                    <a:gd name="connsiteX37" fmla="*/ 1581642 w 4510936"/>
                    <a:gd name="connsiteY37" fmla="*/ 3835942 h 3835942"/>
                    <a:gd name="connsiteX38" fmla="*/ 1113971 w 4510936"/>
                    <a:gd name="connsiteY38" fmla="*/ 3835942 h 3835942"/>
                    <a:gd name="connsiteX39" fmla="*/ 836413 w 4510936"/>
                    <a:gd name="connsiteY39" fmla="*/ 3086585 h 3835942"/>
                    <a:gd name="connsiteX40" fmla="*/ 116170 w 4510936"/>
                    <a:gd name="connsiteY40" fmla="*/ 2308285 h 3835942"/>
                    <a:gd name="connsiteX41" fmla="*/ 118297 w 4510936"/>
                    <a:gd name="connsiteY41" fmla="*/ 2287181 h 3835942"/>
                    <a:gd name="connsiteX42" fmla="*/ 98842 w 4510936"/>
                    <a:gd name="connsiteY42" fmla="*/ 2263602 h 3835942"/>
                    <a:gd name="connsiteX43" fmla="*/ 0 w 4510936"/>
                    <a:gd name="connsiteY43" fmla="*/ 1940013 h 3835942"/>
                    <a:gd name="connsiteX44" fmla="*/ 98842 w 4510936"/>
                    <a:gd name="connsiteY44" fmla="*/ 1616424 h 3835942"/>
                    <a:gd name="connsiteX45" fmla="*/ 158494 w 4510936"/>
                    <a:gd name="connsiteY45" fmla="*/ 1544125 h 3835942"/>
                    <a:gd name="connsiteX46" fmla="*/ 138294 w 4510936"/>
                    <a:gd name="connsiteY46" fmla="*/ 1479051 h 3835942"/>
                    <a:gd name="connsiteX47" fmla="*/ 124645 w 4510936"/>
                    <a:gd name="connsiteY47" fmla="*/ 1343654 h 3835942"/>
                    <a:gd name="connsiteX48" fmla="*/ 534966 w 4510936"/>
                    <a:gd name="connsiteY48" fmla="*/ 724623 h 3835942"/>
                    <a:gd name="connsiteX49" fmla="*/ 655270 w 4510936"/>
                    <a:gd name="connsiteY49" fmla="*/ 687278 h 3835942"/>
                    <a:gd name="connsiteX50" fmla="*/ 663127 w 4510936"/>
                    <a:gd name="connsiteY50" fmla="*/ 661967 h 3835942"/>
                    <a:gd name="connsiteX51" fmla="*/ 1282159 w 4510936"/>
                    <a:gd name="connsiteY51" fmla="*/ 251645 h 3835942"/>
                    <a:gd name="connsiteX52" fmla="*/ 1417556 w 4510936"/>
                    <a:gd name="connsiteY52" fmla="*/ 265294 h 3835942"/>
                    <a:gd name="connsiteX53" fmla="*/ 1421411 w 4510936"/>
                    <a:gd name="connsiteY53" fmla="*/ 266491 h 3835942"/>
                    <a:gd name="connsiteX54" fmla="*/ 1478933 w 4510936"/>
                    <a:gd name="connsiteY54" fmla="*/ 196773 h 3835942"/>
                    <a:gd name="connsiteX55" fmla="*/ 1953986 w 4510936"/>
                    <a:gd name="connsiteY5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3131457 w 4510936"/>
                    <a:gd name="connsiteY27" fmla="*/ 1528170 h 3835942"/>
                    <a:gd name="connsiteX28" fmla="*/ 3218542 w 4510936"/>
                    <a:gd name="connsiteY28" fmla="*/ 617399 h 3835942"/>
                    <a:gd name="connsiteX29" fmla="*/ 2715985 w 4510936"/>
                    <a:gd name="connsiteY29" fmla="*/ 947598 h 3835942"/>
                    <a:gd name="connsiteX30" fmla="*/ 1948542 w 4510936"/>
                    <a:gd name="connsiteY30" fmla="*/ 925827 h 3835942"/>
                    <a:gd name="connsiteX31" fmla="*/ 2062843 w 4510936"/>
                    <a:gd name="connsiteY31" fmla="*/ 403313 h 3835942"/>
                    <a:gd name="connsiteX32" fmla="*/ 1816101 w 4510936"/>
                    <a:gd name="connsiteY32" fmla="*/ 780685 h 3835942"/>
                    <a:gd name="connsiteX33" fmla="*/ 1455057 w 4510936"/>
                    <a:gd name="connsiteY33" fmla="*/ 898614 h 3835942"/>
                    <a:gd name="connsiteX34" fmla="*/ 1556657 w 4510936"/>
                    <a:gd name="connsiteY34" fmla="*/ 2852599 h 3835942"/>
                    <a:gd name="connsiteX35" fmla="*/ 1580115 w 4510936"/>
                    <a:gd name="connsiteY35" fmla="*/ 3729193 h 3835942"/>
                    <a:gd name="connsiteX36" fmla="*/ 1581642 w 4510936"/>
                    <a:gd name="connsiteY36" fmla="*/ 3835942 h 3835942"/>
                    <a:gd name="connsiteX37" fmla="*/ 1113971 w 4510936"/>
                    <a:gd name="connsiteY37" fmla="*/ 3835942 h 3835942"/>
                    <a:gd name="connsiteX38" fmla="*/ 836413 w 4510936"/>
                    <a:gd name="connsiteY38" fmla="*/ 3086585 h 3835942"/>
                    <a:gd name="connsiteX39" fmla="*/ 116170 w 4510936"/>
                    <a:gd name="connsiteY39" fmla="*/ 2308285 h 3835942"/>
                    <a:gd name="connsiteX40" fmla="*/ 118297 w 4510936"/>
                    <a:gd name="connsiteY40" fmla="*/ 2287181 h 3835942"/>
                    <a:gd name="connsiteX41" fmla="*/ 98842 w 4510936"/>
                    <a:gd name="connsiteY41" fmla="*/ 2263602 h 3835942"/>
                    <a:gd name="connsiteX42" fmla="*/ 0 w 4510936"/>
                    <a:gd name="connsiteY42" fmla="*/ 1940013 h 3835942"/>
                    <a:gd name="connsiteX43" fmla="*/ 98842 w 4510936"/>
                    <a:gd name="connsiteY43" fmla="*/ 1616424 h 3835942"/>
                    <a:gd name="connsiteX44" fmla="*/ 158494 w 4510936"/>
                    <a:gd name="connsiteY44" fmla="*/ 1544125 h 3835942"/>
                    <a:gd name="connsiteX45" fmla="*/ 138294 w 4510936"/>
                    <a:gd name="connsiteY45" fmla="*/ 1479051 h 3835942"/>
                    <a:gd name="connsiteX46" fmla="*/ 124645 w 4510936"/>
                    <a:gd name="connsiteY46" fmla="*/ 1343654 h 3835942"/>
                    <a:gd name="connsiteX47" fmla="*/ 534966 w 4510936"/>
                    <a:gd name="connsiteY47" fmla="*/ 724623 h 3835942"/>
                    <a:gd name="connsiteX48" fmla="*/ 655270 w 4510936"/>
                    <a:gd name="connsiteY48" fmla="*/ 687278 h 3835942"/>
                    <a:gd name="connsiteX49" fmla="*/ 663127 w 4510936"/>
                    <a:gd name="connsiteY49" fmla="*/ 661967 h 3835942"/>
                    <a:gd name="connsiteX50" fmla="*/ 1282159 w 4510936"/>
                    <a:gd name="connsiteY50" fmla="*/ 251645 h 3835942"/>
                    <a:gd name="connsiteX51" fmla="*/ 1417556 w 4510936"/>
                    <a:gd name="connsiteY51" fmla="*/ 265294 h 3835942"/>
                    <a:gd name="connsiteX52" fmla="*/ 1421411 w 4510936"/>
                    <a:gd name="connsiteY52" fmla="*/ 266491 h 3835942"/>
                    <a:gd name="connsiteX53" fmla="*/ 1478933 w 4510936"/>
                    <a:gd name="connsiteY53" fmla="*/ 196773 h 3835942"/>
                    <a:gd name="connsiteX54" fmla="*/ 1953986 w 4510936"/>
                    <a:gd name="connsiteY5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131457 w 4510936"/>
                    <a:gd name="connsiteY26" fmla="*/ 1528170 h 3835942"/>
                    <a:gd name="connsiteX27" fmla="*/ 3218542 w 4510936"/>
                    <a:gd name="connsiteY27" fmla="*/ 617399 h 3835942"/>
                    <a:gd name="connsiteX28" fmla="*/ 2715985 w 4510936"/>
                    <a:gd name="connsiteY28" fmla="*/ 947598 h 3835942"/>
                    <a:gd name="connsiteX29" fmla="*/ 1948542 w 4510936"/>
                    <a:gd name="connsiteY29" fmla="*/ 925827 h 3835942"/>
                    <a:gd name="connsiteX30" fmla="*/ 2062843 w 4510936"/>
                    <a:gd name="connsiteY30" fmla="*/ 403313 h 3835942"/>
                    <a:gd name="connsiteX31" fmla="*/ 1816101 w 4510936"/>
                    <a:gd name="connsiteY31" fmla="*/ 780685 h 3835942"/>
                    <a:gd name="connsiteX32" fmla="*/ 1455057 w 4510936"/>
                    <a:gd name="connsiteY32" fmla="*/ 898614 h 3835942"/>
                    <a:gd name="connsiteX33" fmla="*/ 1556657 w 4510936"/>
                    <a:gd name="connsiteY33" fmla="*/ 2852599 h 3835942"/>
                    <a:gd name="connsiteX34" fmla="*/ 1580115 w 4510936"/>
                    <a:gd name="connsiteY34" fmla="*/ 3729193 h 3835942"/>
                    <a:gd name="connsiteX35" fmla="*/ 1581642 w 4510936"/>
                    <a:gd name="connsiteY35" fmla="*/ 3835942 h 3835942"/>
                    <a:gd name="connsiteX36" fmla="*/ 1113971 w 4510936"/>
                    <a:gd name="connsiteY36" fmla="*/ 3835942 h 3835942"/>
                    <a:gd name="connsiteX37" fmla="*/ 836413 w 4510936"/>
                    <a:gd name="connsiteY37" fmla="*/ 3086585 h 3835942"/>
                    <a:gd name="connsiteX38" fmla="*/ 116170 w 4510936"/>
                    <a:gd name="connsiteY38" fmla="*/ 2308285 h 3835942"/>
                    <a:gd name="connsiteX39" fmla="*/ 118297 w 4510936"/>
                    <a:gd name="connsiteY39" fmla="*/ 2287181 h 3835942"/>
                    <a:gd name="connsiteX40" fmla="*/ 98842 w 4510936"/>
                    <a:gd name="connsiteY40" fmla="*/ 2263602 h 3835942"/>
                    <a:gd name="connsiteX41" fmla="*/ 0 w 4510936"/>
                    <a:gd name="connsiteY41" fmla="*/ 1940013 h 3835942"/>
                    <a:gd name="connsiteX42" fmla="*/ 98842 w 4510936"/>
                    <a:gd name="connsiteY42" fmla="*/ 1616424 h 3835942"/>
                    <a:gd name="connsiteX43" fmla="*/ 158494 w 4510936"/>
                    <a:gd name="connsiteY43" fmla="*/ 1544125 h 3835942"/>
                    <a:gd name="connsiteX44" fmla="*/ 138294 w 4510936"/>
                    <a:gd name="connsiteY44" fmla="*/ 1479051 h 3835942"/>
                    <a:gd name="connsiteX45" fmla="*/ 124645 w 4510936"/>
                    <a:gd name="connsiteY45" fmla="*/ 1343654 h 3835942"/>
                    <a:gd name="connsiteX46" fmla="*/ 534966 w 4510936"/>
                    <a:gd name="connsiteY46" fmla="*/ 724623 h 3835942"/>
                    <a:gd name="connsiteX47" fmla="*/ 655270 w 4510936"/>
                    <a:gd name="connsiteY47" fmla="*/ 687278 h 3835942"/>
                    <a:gd name="connsiteX48" fmla="*/ 663127 w 4510936"/>
                    <a:gd name="connsiteY48" fmla="*/ 661967 h 3835942"/>
                    <a:gd name="connsiteX49" fmla="*/ 1282159 w 4510936"/>
                    <a:gd name="connsiteY49" fmla="*/ 251645 h 3835942"/>
                    <a:gd name="connsiteX50" fmla="*/ 1417556 w 4510936"/>
                    <a:gd name="connsiteY50" fmla="*/ 265294 h 3835942"/>
                    <a:gd name="connsiteX51" fmla="*/ 1421411 w 4510936"/>
                    <a:gd name="connsiteY51" fmla="*/ 266491 h 3835942"/>
                    <a:gd name="connsiteX52" fmla="*/ 1478933 w 4510936"/>
                    <a:gd name="connsiteY52" fmla="*/ 196773 h 3835942"/>
                    <a:gd name="connsiteX53" fmla="*/ 1953986 w 4510936"/>
                    <a:gd name="connsiteY5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218542 w 4510936"/>
                    <a:gd name="connsiteY26" fmla="*/ 617399 h 3835942"/>
                    <a:gd name="connsiteX27" fmla="*/ 2715985 w 4510936"/>
                    <a:gd name="connsiteY27" fmla="*/ 947598 h 3835942"/>
                    <a:gd name="connsiteX28" fmla="*/ 1948542 w 4510936"/>
                    <a:gd name="connsiteY28" fmla="*/ 925827 h 3835942"/>
                    <a:gd name="connsiteX29" fmla="*/ 2062843 w 4510936"/>
                    <a:gd name="connsiteY29" fmla="*/ 403313 h 3835942"/>
                    <a:gd name="connsiteX30" fmla="*/ 1816101 w 4510936"/>
                    <a:gd name="connsiteY30" fmla="*/ 780685 h 3835942"/>
                    <a:gd name="connsiteX31" fmla="*/ 1455057 w 4510936"/>
                    <a:gd name="connsiteY31" fmla="*/ 898614 h 3835942"/>
                    <a:gd name="connsiteX32" fmla="*/ 1556657 w 4510936"/>
                    <a:gd name="connsiteY32" fmla="*/ 2852599 h 3835942"/>
                    <a:gd name="connsiteX33" fmla="*/ 1580115 w 4510936"/>
                    <a:gd name="connsiteY33" fmla="*/ 3729193 h 3835942"/>
                    <a:gd name="connsiteX34" fmla="*/ 1581642 w 4510936"/>
                    <a:gd name="connsiteY34" fmla="*/ 3835942 h 3835942"/>
                    <a:gd name="connsiteX35" fmla="*/ 1113971 w 4510936"/>
                    <a:gd name="connsiteY35" fmla="*/ 3835942 h 3835942"/>
                    <a:gd name="connsiteX36" fmla="*/ 836413 w 4510936"/>
                    <a:gd name="connsiteY36" fmla="*/ 3086585 h 3835942"/>
                    <a:gd name="connsiteX37" fmla="*/ 116170 w 4510936"/>
                    <a:gd name="connsiteY37" fmla="*/ 2308285 h 3835942"/>
                    <a:gd name="connsiteX38" fmla="*/ 118297 w 4510936"/>
                    <a:gd name="connsiteY38" fmla="*/ 2287181 h 3835942"/>
                    <a:gd name="connsiteX39" fmla="*/ 98842 w 4510936"/>
                    <a:gd name="connsiteY39" fmla="*/ 2263602 h 3835942"/>
                    <a:gd name="connsiteX40" fmla="*/ 0 w 4510936"/>
                    <a:gd name="connsiteY40" fmla="*/ 1940013 h 3835942"/>
                    <a:gd name="connsiteX41" fmla="*/ 98842 w 4510936"/>
                    <a:gd name="connsiteY41" fmla="*/ 1616424 h 3835942"/>
                    <a:gd name="connsiteX42" fmla="*/ 158494 w 4510936"/>
                    <a:gd name="connsiteY42" fmla="*/ 1544125 h 3835942"/>
                    <a:gd name="connsiteX43" fmla="*/ 138294 w 4510936"/>
                    <a:gd name="connsiteY43" fmla="*/ 1479051 h 3835942"/>
                    <a:gd name="connsiteX44" fmla="*/ 124645 w 4510936"/>
                    <a:gd name="connsiteY44" fmla="*/ 1343654 h 3835942"/>
                    <a:gd name="connsiteX45" fmla="*/ 534966 w 4510936"/>
                    <a:gd name="connsiteY45" fmla="*/ 724623 h 3835942"/>
                    <a:gd name="connsiteX46" fmla="*/ 655270 w 4510936"/>
                    <a:gd name="connsiteY46" fmla="*/ 687278 h 3835942"/>
                    <a:gd name="connsiteX47" fmla="*/ 663127 w 4510936"/>
                    <a:gd name="connsiteY47" fmla="*/ 661967 h 3835942"/>
                    <a:gd name="connsiteX48" fmla="*/ 1282159 w 4510936"/>
                    <a:gd name="connsiteY48" fmla="*/ 251645 h 3835942"/>
                    <a:gd name="connsiteX49" fmla="*/ 1417556 w 4510936"/>
                    <a:gd name="connsiteY49" fmla="*/ 265294 h 3835942"/>
                    <a:gd name="connsiteX50" fmla="*/ 1421411 w 4510936"/>
                    <a:gd name="connsiteY50" fmla="*/ 266491 h 3835942"/>
                    <a:gd name="connsiteX51" fmla="*/ 1478933 w 4510936"/>
                    <a:gd name="connsiteY51" fmla="*/ 196773 h 3835942"/>
                    <a:gd name="connsiteX52" fmla="*/ 1953986 w 4510936"/>
                    <a:gd name="connsiteY5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715985 w 4510936"/>
                    <a:gd name="connsiteY26" fmla="*/ 947598 h 3835942"/>
                    <a:gd name="connsiteX27" fmla="*/ 1948542 w 4510936"/>
                    <a:gd name="connsiteY27" fmla="*/ 925827 h 3835942"/>
                    <a:gd name="connsiteX28" fmla="*/ 2062843 w 4510936"/>
                    <a:gd name="connsiteY28" fmla="*/ 403313 h 3835942"/>
                    <a:gd name="connsiteX29" fmla="*/ 1816101 w 4510936"/>
                    <a:gd name="connsiteY29" fmla="*/ 780685 h 3835942"/>
                    <a:gd name="connsiteX30" fmla="*/ 1455057 w 4510936"/>
                    <a:gd name="connsiteY30" fmla="*/ 898614 h 3835942"/>
                    <a:gd name="connsiteX31" fmla="*/ 1556657 w 4510936"/>
                    <a:gd name="connsiteY31" fmla="*/ 2852599 h 3835942"/>
                    <a:gd name="connsiteX32" fmla="*/ 1580115 w 4510936"/>
                    <a:gd name="connsiteY32" fmla="*/ 3729193 h 3835942"/>
                    <a:gd name="connsiteX33" fmla="*/ 1581642 w 4510936"/>
                    <a:gd name="connsiteY33" fmla="*/ 3835942 h 3835942"/>
                    <a:gd name="connsiteX34" fmla="*/ 1113971 w 4510936"/>
                    <a:gd name="connsiteY34" fmla="*/ 3835942 h 3835942"/>
                    <a:gd name="connsiteX35" fmla="*/ 836413 w 4510936"/>
                    <a:gd name="connsiteY35" fmla="*/ 3086585 h 3835942"/>
                    <a:gd name="connsiteX36" fmla="*/ 116170 w 4510936"/>
                    <a:gd name="connsiteY36" fmla="*/ 2308285 h 3835942"/>
                    <a:gd name="connsiteX37" fmla="*/ 118297 w 4510936"/>
                    <a:gd name="connsiteY37" fmla="*/ 2287181 h 3835942"/>
                    <a:gd name="connsiteX38" fmla="*/ 98842 w 4510936"/>
                    <a:gd name="connsiteY38" fmla="*/ 2263602 h 3835942"/>
                    <a:gd name="connsiteX39" fmla="*/ 0 w 4510936"/>
                    <a:gd name="connsiteY39" fmla="*/ 1940013 h 3835942"/>
                    <a:gd name="connsiteX40" fmla="*/ 98842 w 4510936"/>
                    <a:gd name="connsiteY40" fmla="*/ 1616424 h 3835942"/>
                    <a:gd name="connsiteX41" fmla="*/ 158494 w 4510936"/>
                    <a:gd name="connsiteY41" fmla="*/ 1544125 h 3835942"/>
                    <a:gd name="connsiteX42" fmla="*/ 138294 w 4510936"/>
                    <a:gd name="connsiteY42" fmla="*/ 1479051 h 3835942"/>
                    <a:gd name="connsiteX43" fmla="*/ 124645 w 4510936"/>
                    <a:gd name="connsiteY43" fmla="*/ 1343654 h 3835942"/>
                    <a:gd name="connsiteX44" fmla="*/ 534966 w 4510936"/>
                    <a:gd name="connsiteY44" fmla="*/ 724623 h 3835942"/>
                    <a:gd name="connsiteX45" fmla="*/ 655270 w 4510936"/>
                    <a:gd name="connsiteY45" fmla="*/ 687278 h 3835942"/>
                    <a:gd name="connsiteX46" fmla="*/ 663127 w 4510936"/>
                    <a:gd name="connsiteY46" fmla="*/ 661967 h 3835942"/>
                    <a:gd name="connsiteX47" fmla="*/ 1282159 w 4510936"/>
                    <a:gd name="connsiteY47" fmla="*/ 251645 h 3835942"/>
                    <a:gd name="connsiteX48" fmla="*/ 1417556 w 4510936"/>
                    <a:gd name="connsiteY48" fmla="*/ 265294 h 3835942"/>
                    <a:gd name="connsiteX49" fmla="*/ 1421411 w 4510936"/>
                    <a:gd name="connsiteY49" fmla="*/ 266491 h 3835942"/>
                    <a:gd name="connsiteX50" fmla="*/ 1478933 w 4510936"/>
                    <a:gd name="connsiteY50" fmla="*/ 196773 h 3835942"/>
                    <a:gd name="connsiteX51" fmla="*/ 1953986 w 4510936"/>
                    <a:gd name="connsiteY5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948542 w 4510936"/>
                    <a:gd name="connsiteY26" fmla="*/ 925827 h 3835942"/>
                    <a:gd name="connsiteX27" fmla="*/ 2062843 w 4510936"/>
                    <a:gd name="connsiteY27" fmla="*/ 403313 h 3835942"/>
                    <a:gd name="connsiteX28" fmla="*/ 1816101 w 4510936"/>
                    <a:gd name="connsiteY28" fmla="*/ 780685 h 3835942"/>
                    <a:gd name="connsiteX29" fmla="*/ 1455057 w 4510936"/>
                    <a:gd name="connsiteY29" fmla="*/ 898614 h 3835942"/>
                    <a:gd name="connsiteX30" fmla="*/ 1556657 w 4510936"/>
                    <a:gd name="connsiteY30" fmla="*/ 2852599 h 3835942"/>
                    <a:gd name="connsiteX31" fmla="*/ 1580115 w 4510936"/>
                    <a:gd name="connsiteY31" fmla="*/ 3729193 h 3835942"/>
                    <a:gd name="connsiteX32" fmla="*/ 1581642 w 4510936"/>
                    <a:gd name="connsiteY32" fmla="*/ 3835942 h 3835942"/>
                    <a:gd name="connsiteX33" fmla="*/ 1113971 w 4510936"/>
                    <a:gd name="connsiteY33" fmla="*/ 3835942 h 3835942"/>
                    <a:gd name="connsiteX34" fmla="*/ 836413 w 4510936"/>
                    <a:gd name="connsiteY34" fmla="*/ 3086585 h 3835942"/>
                    <a:gd name="connsiteX35" fmla="*/ 116170 w 4510936"/>
                    <a:gd name="connsiteY35" fmla="*/ 2308285 h 3835942"/>
                    <a:gd name="connsiteX36" fmla="*/ 118297 w 4510936"/>
                    <a:gd name="connsiteY36" fmla="*/ 2287181 h 3835942"/>
                    <a:gd name="connsiteX37" fmla="*/ 98842 w 4510936"/>
                    <a:gd name="connsiteY37" fmla="*/ 2263602 h 3835942"/>
                    <a:gd name="connsiteX38" fmla="*/ 0 w 4510936"/>
                    <a:gd name="connsiteY38" fmla="*/ 1940013 h 3835942"/>
                    <a:gd name="connsiteX39" fmla="*/ 98842 w 4510936"/>
                    <a:gd name="connsiteY39" fmla="*/ 1616424 h 3835942"/>
                    <a:gd name="connsiteX40" fmla="*/ 158494 w 4510936"/>
                    <a:gd name="connsiteY40" fmla="*/ 1544125 h 3835942"/>
                    <a:gd name="connsiteX41" fmla="*/ 138294 w 4510936"/>
                    <a:gd name="connsiteY41" fmla="*/ 1479051 h 3835942"/>
                    <a:gd name="connsiteX42" fmla="*/ 124645 w 4510936"/>
                    <a:gd name="connsiteY42" fmla="*/ 1343654 h 3835942"/>
                    <a:gd name="connsiteX43" fmla="*/ 534966 w 4510936"/>
                    <a:gd name="connsiteY43" fmla="*/ 724623 h 3835942"/>
                    <a:gd name="connsiteX44" fmla="*/ 655270 w 4510936"/>
                    <a:gd name="connsiteY44" fmla="*/ 687278 h 3835942"/>
                    <a:gd name="connsiteX45" fmla="*/ 663127 w 4510936"/>
                    <a:gd name="connsiteY45" fmla="*/ 661967 h 3835942"/>
                    <a:gd name="connsiteX46" fmla="*/ 1282159 w 4510936"/>
                    <a:gd name="connsiteY46" fmla="*/ 251645 h 3835942"/>
                    <a:gd name="connsiteX47" fmla="*/ 1417556 w 4510936"/>
                    <a:gd name="connsiteY47" fmla="*/ 265294 h 3835942"/>
                    <a:gd name="connsiteX48" fmla="*/ 1421411 w 4510936"/>
                    <a:gd name="connsiteY48" fmla="*/ 266491 h 3835942"/>
                    <a:gd name="connsiteX49" fmla="*/ 1478933 w 4510936"/>
                    <a:gd name="connsiteY49" fmla="*/ 196773 h 3835942"/>
                    <a:gd name="connsiteX50" fmla="*/ 1953986 w 4510936"/>
                    <a:gd name="connsiteY5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062843 w 4510936"/>
                    <a:gd name="connsiteY26" fmla="*/ 403313 h 3835942"/>
                    <a:gd name="connsiteX27" fmla="*/ 1816101 w 4510936"/>
                    <a:gd name="connsiteY27" fmla="*/ 780685 h 3835942"/>
                    <a:gd name="connsiteX28" fmla="*/ 1455057 w 4510936"/>
                    <a:gd name="connsiteY28" fmla="*/ 898614 h 3835942"/>
                    <a:gd name="connsiteX29" fmla="*/ 1556657 w 4510936"/>
                    <a:gd name="connsiteY29" fmla="*/ 2852599 h 3835942"/>
                    <a:gd name="connsiteX30" fmla="*/ 1580115 w 4510936"/>
                    <a:gd name="connsiteY30" fmla="*/ 3729193 h 3835942"/>
                    <a:gd name="connsiteX31" fmla="*/ 1581642 w 4510936"/>
                    <a:gd name="connsiteY31" fmla="*/ 3835942 h 3835942"/>
                    <a:gd name="connsiteX32" fmla="*/ 1113971 w 4510936"/>
                    <a:gd name="connsiteY32" fmla="*/ 3835942 h 3835942"/>
                    <a:gd name="connsiteX33" fmla="*/ 836413 w 4510936"/>
                    <a:gd name="connsiteY33" fmla="*/ 3086585 h 3835942"/>
                    <a:gd name="connsiteX34" fmla="*/ 116170 w 4510936"/>
                    <a:gd name="connsiteY34" fmla="*/ 2308285 h 3835942"/>
                    <a:gd name="connsiteX35" fmla="*/ 118297 w 4510936"/>
                    <a:gd name="connsiteY35" fmla="*/ 2287181 h 3835942"/>
                    <a:gd name="connsiteX36" fmla="*/ 98842 w 4510936"/>
                    <a:gd name="connsiteY36" fmla="*/ 2263602 h 3835942"/>
                    <a:gd name="connsiteX37" fmla="*/ 0 w 4510936"/>
                    <a:gd name="connsiteY37" fmla="*/ 1940013 h 3835942"/>
                    <a:gd name="connsiteX38" fmla="*/ 98842 w 4510936"/>
                    <a:gd name="connsiteY38" fmla="*/ 1616424 h 3835942"/>
                    <a:gd name="connsiteX39" fmla="*/ 158494 w 4510936"/>
                    <a:gd name="connsiteY39" fmla="*/ 1544125 h 3835942"/>
                    <a:gd name="connsiteX40" fmla="*/ 138294 w 4510936"/>
                    <a:gd name="connsiteY40" fmla="*/ 1479051 h 3835942"/>
                    <a:gd name="connsiteX41" fmla="*/ 124645 w 4510936"/>
                    <a:gd name="connsiteY41" fmla="*/ 1343654 h 3835942"/>
                    <a:gd name="connsiteX42" fmla="*/ 534966 w 4510936"/>
                    <a:gd name="connsiteY42" fmla="*/ 724623 h 3835942"/>
                    <a:gd name="connsiteX43" fmla="*/ 655270 w 4510936"/>
                    <a:gd name="connsiteY43" fmla="*/ 687278 h 3835942"/>
                    <a:gd name="connsiteX44" fmla="*/ 663127 w 4510936"/>
                    <a:gd name="connsiteY44" fmla="*/ 661967 h 3835942"/>
                    <a:gd name="connsiteX45" fmla="*/ 1282159 w 4510936"/>
                    <a:gd name="connsiteY45" fmla="*/ 251645 h 3835942"/>
                    <a:gd name="connsiteX46" fmla="*/ 1417556 w 4510936"/>
                    <a:gd name="connsiteY46" fmla="*/ 265294 h 3835942"/>
                    <a:gd name="connsiteX47" fmla="*/ 1421411 w 4510936"/>
                    <a:gd name="connsiteY47" fmla="*/ 266491 h 3835942"/>
                    <a:gd name="connsiteX48" fmla="*/ 1478933 w 4510936"/>
                    <a:gd name="connsiteY48" fmla="*/ 196773 h 3835942"/>
                    <a:gd name="connsiteX49" fmla="*/ 1953986 w 4510936"/>
                    <a:gd name="connsiteY4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816101 w 4510936"/>
                    <a:gd name="connsiteY26" fmla="*/ 780685 h 3835942"/>
                    <a:gd name="connsiteX27" fmla="*/ 1455057 w 4510936"/>
                    <a:gd name="connsiteY27" fmla="*/ 898614 h 3835942"/>
                    <a:gd name="connsiteX28" fmla="*/ 1556657 w 4510936"/>
                    <a:gd name="connsiteY28" fmla="*/ 2852599 h 3835942"/>
                    <a:gd name="connsiteX29" fmla="*/ 1580115 w 4510936"/>
                    <a:gd name="connsiteY29" fmla="*/ 3729193 h 3835942"/>
                    <a:gd name="connsiteX30" fmla="*/ 1581642 w 4510936"/>
                    <a:gd name="connsiteY30" fmla="*/ 3835942 h 3835942"/>
                    <a:gd name="connsiteX31" fmla="*/ 1113971 w 4510936"/>
                    <a:gd name="connsiteY31" fmla="*/ 3835942 h 3835942"/>
                    <a:gd name="connsiteX32" fmla="*/ 836413 w 4510936"/>
                    <a:gd name="connsiteY32" fmla="*/ 3086585 h 3835942"/>
                    <a:gd name="connsiteX33" fmla="*/ 116170 w 4510936"/>
                    <a:gd name="connsiteY33" fmla="*/ 2308285 h 3835942"/>
                    <a:gd name="connsiteX34" fmla="*/ 118297 w 4510936"/>
                    <a:gd name="connsiteY34" fmla="*/ 2287181 h 3835942"/>
                    <a:gd name="connsiteX35" fmla="*/ 98842 w 4510936"/>
                    <a:gd name="connsiteY35" fmla="*/ 2263602 h 3835942"/>
                    <a:gd name="connsiteX36" fmla="*/ 0 w 4510936"/>
                    <a:gd name="connsiteY36" fmla="*/ 1940013 h 3835942"/>
                    <a:gd name="connsiteX37" fmla="*/ 98842 w 4510936"/>
                    <a:gd name="connsiteY37" fmla="*/ 1616424 h 3835942"/>
                    <a:gd name="connsiteX38" fmla="*/ 158494 w 4510936"/>
                    <a:gd name="connsiteY38" fmla="*/ 1544125 h 3835942"/>
                    <a:gd name="connsiteX39" fmla="*/ 138294 w 4510936"/>
                    <a:gd name="connsiteY39" fmla="*/ 1479051 h 3835942"/>
                    <a:gd name="connsiteX40" fmla="*/ 124645 w 4510936"/>
                    <a:gd name="connsiteY40" fmla="*/ 1343654 h 3835942"/>
                    <a:gd name="connsiteX41" fmla="*/ 534966 w 4510936"/>
                    <a:gd name="connsiteY41" fmla="*/ 724623 h 3835942"/>
                    <a:gd name="connsiteX42" fmla="*/ 655270 w 4510936"/>
                    <a:gd name="connsiteY42" fmla="*/ 687278 h 3835942"/>
                    <a:gd name="connsiteX43" fmla="*/ 663127 w 4510936"/>
                    <a:gd name="connsiteY43" fmla="*/ 661967 h 3835942"/>
                    <a:gd name="connsiteX44" fmla="*/ 1282159 w 4510936"/>
                    <a:gd name="connsiteY44" fmla="*/ 251645 h 3835942"/>
                    <a:gd name="connsiteX45" fmla="*/ 1417556 w 4510936"/>
                    <a:gd name="connsiteY45" fmla="*/ 265294 h 3835942"/>
                    <a:gd name="connsiteX46" fmla="*/ 1421411 w 4510936"/>
                    <a:gd name="connsiteY46" fmla="*/ 266491 h 3835942"/>
                    <a:gd name="connsiteX47" fmla="*/ 1478933 w 4510936"/>
                    <a:gd name="connsiteY47" fmla="*/ 196773 h 3835942"/>
                    <a:gd name="connsiteX48" fmla="*/ 1953986 w 4510936"/>
                    <a:gd name="connsiteY4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455057 w 4510936"/>
                    <a:gd name="connsiteY26" fmla="*/ 898614 h 3835942"/>
                    <a:gd name="connsiteX27" fmla="*/ 1556657 w 4510936"/>
                    <a:gd name="connsiteY27" fmla="*/ 2852599 h 3835942"/>
                    <a:gd name="connsiteX28" fmla="*/ 1580115 w 4510936"/>
                    <a:gd name="connsiteY28" fmla="*/ 3729193 h 3835942"/>
                    <a:gd name="connsiteX29" fmla="*/ 1581642 w 4510936"/>
                    <a:gd name="connsiteY29" fmla="*/ 3835942 h 3835942"/>
                    <a:gd name="connsiteX30" fmla="*/ 1113971 w 4510936"/>
                    <a:gd name="connsiteY30" fmla="*/ 3835942 h 3835942"/>
                    <a:gd name="connsiteX31" fmla="*/ 836413 w 4510936"/>
                    <a:gd name="connsiteY31" fmla="*/ 3086585 h 3835942"/>
                    <a:gd name="connsiteX32" fmla="*/ 116170 w 4510936"/>
                    <a:gd name="connsiteY32" fmla="*/ 2308285 h 3835942"/>
                    <a:gd name="connsiteX33" fmla="*/ 118297 w 4510936"/>
                    <a:gd name="connsiteY33" fmla="*/ 2287181 h 3835942"/>
                    <a:gd name="connsiteX34" fmla="*/ 98842 w 4510936"/>
                    <a:gd name="connsiteY34" fmla="*/ 2263602 h 3835942"/>
                    <a:gd name="connsiteX35" fmla="*/ 0 w 4510936"/>
                    <a:gd name="connsiteY35" fmla="*/ 1940013 h 3835942"/>
                    <a:gd name="connsiteX36" fmla="*/ 98842 w 4510936"/>
                    <a:gd name="connsiteY36" fmla="*/ 1616424 h 3835942"/>
                    <a:gd name="connsiteX37" fmla="*/ 158494 w 4510936"/>
                    <a:gd name="connsiteY37" fmla="*/ 1544125 h 3835942"/>
                    <a:gd name="connsiteX38" fmla="*/ 138294 w 4510936"/>
                    <a:gd name="connsiteY38" fmla="*/ 1479051 h 3835942"/>
                    <a:gd name="connsiteX39" fmla="*/ 124645 w 4510936"/>
                    <a:gd name="connsiteY39" fmla="*/ 1343654 h 3835942"/>
                    <a:gd name="connsiteX40" fmla="*/ 534966 w 4510936"/>
                    <a:gd name="connsiteY40" fmla="*/ 724623 h 3835942"/>
                    <a:gd name="connsiteX41" fmla="*/ 655270 w 4510936"/>
                    <a:gd name="connsiteY41" fmla="*/ 687278 h 3835942"/>
                    <a:gd name="connsiteX42" fmla="*/ 663127 w 4510936"/>
                    <a:gd name="connsiteY42" fmla="*/ 661967 h 3835942"/>
                    <a:gd name="connsiteX43" fmla="*/ 1282159 w 4510936"/>
                    <a:gd name="connsiteY43" fmla="*/ 251645 h 3835942"/>
                    <a:gd name="connsiteX44" fmla="*/ 1417556 w 4510936"/>
                    <a:gd name="connsiteY44" fmla="*/ 265294 h 3835942"/>
                    <a:gd name="connsiteX45" fmla="*/ 1421411 w 4510936"/>
                    <a:gd name="connsiteY45" fmla="*/ 266491 h 3835942"/>
                    <a:gd name="connsiteX46" fmla="*/ 1478933 w 4510936"/>
                    <a:gd name="connsiteY46" fmla="*/ 196773 h 3835942"/>
                    <a:gd name="connsiteX47" fmla="*/ 1953986 w 4510936"/>
                    <a:gd name="connsiteY4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556657 w 4510936"/>
                    <a:gd name="connsiteY26" fmla="*/ 2852599 h 3835942"/>
                    <a:gd name="connsiteX27" fmla="*/ 1580115 w 4510936"/>
                    <a:gd name="connsiteY27" fmla="*/ 3729193 h 3835942"/>
                    <a:gd name="connsiteX28" fmla="*/ 1581642 w 4510936"/>
                    <a:gd name="connsiteY28" fmla="*/ 3835942 h 3835942"/>
                    <a:gd name="connsiteX29" fmla="*/ 1113971 w 4510936"/>
                    <a:gd name="connsiteY29" fmla="*/ 3835942 h 3835942"/>
                    <a:gd name="connsiteX30" fmla="*/ 836413 w 4510936"/>
                    <a:gd name="connsiteY30" fmla="*/ 3086585 h 3835942"/>
                    <a:gd name="connsiteX31" fmla="*/ 116170 w 4510936"/>
                    <a:gd name="connsiteY31" fmla="*/ 2308285 h 3835942"/>
                    <a:gd name="connsiteX32" fmla="*/ 118297 w 4510936"/>
                    <a:gd name="connsiteY32" fmla="*/ 2287181 h 3835942"/>
                    <a:gd name="connsiteX33" fmla="*/ 98842 w 4510936"/>
                    <a:gd name="connsiteY33" fmla="*/ 2263602 h 3835942"/>
                    <a:gd name="connsiteX34" fmla="*/ 0 w 4510936"/>
                    <a:gd name="connsiteY34" fmla="*/ 1940013 h 3835942"/>
                    <a:gd name="connsiteX35" fmla="*/ 98842 w 4510936"/>
                    <a:gd name="connsiteY35" fmla="*/ 1616424 h 3835942"/>
                    <a:gd name="connsiteX36" fmla="*/ 158494 w 4510936"/>
                    <a:gd name="connsiteY36" fmla="*/ 1544125 h 3835942"/>
                    <a:gd name="connsiteX37" fmla="*/ 138294 w 4510936"/>
                    <a:gd name="connsiteY37" fmla="*/ 1479051 h 3835942"/>
                    <a:gd name="connsiteX38" fmla="*/ 124645 w 4510936"/>
                    <a:gd name="connsiteY38" fmla="*/ 1343654 h 3835942"/>
                    <a:gd name="connsiteX39" fmla="*/ 534966 w 4510936"/>
                    <a:gd name="connsiteY39" fmla="*/ 724623 h 3835942"/>
                    <a:gd name="connsiteX40" fmla="*/ 655270 w 4510936"/>
                    <a:gd name="connsiteY40" fmla="*/ 687278 h 3835942"/>
                    <a:gd name="connsiteX41" fmla="*/ 663127 w 4510936"/>
                    <a:gd name="connsiteY41" fmla="*/ 661967 h 3835942"/>
                    <a:gd name="connsiteX42" fmla="*/ 1282159 w 4510936"/>
                    <a:gd name="connsiteY42" fmla="*/ 251645 h 3835942"/>
                    <a:gd name="connsiteX43" fmla="*/ 1417556 w 4510936"/>
                    <a:gd name="connsiteY43" fmla="*/ 265294 h 3835942"/>
                    <a:gd name="connsiteX44" fmla="*/ 1421411 w 4510936"/>
                    <a:gd name="connsiteY44" fmla="*/ 266491 h 3835942"/>
                    <a:gd name="connsiteX45" fmla="*/ 1478933 w 4510936"/>
                    <a:gd name="connsiteY45" fmla="*/ 196773 h 3835942"/>
                    <a:gd name="connsiteX46" fmla="*/ 1953986 w 4510936"/>
                    <a:gd name="connsiteY4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1556657 w 4510936"/>
                    <a:gd name="connsiteY25" fmla="*/ 2852599 h 3835942"/>
                    <a:gd name="connsiteX26" fmla="*/ 1580115 w 4510936"/>
                    <a:gd name="connsiteY26" fmla="*/ 3729193 h 3835942"/>
                    <a:gd name="connsiteX27" fmla="*/ 1581642 w 4510936"/>
                    <a:gd name="connsiteY27" fmla="*/ 3835942 h 3835942"/>
                    <a:gd name="connsiteX28" fmla="*/ 1113971 w 4510936"/>
                    <a:gd name="connsiteY28" fmla="*/ 3835942 h 3835942"/>
                    <a:gd name="connsiteX29" fmla="*/ 836413 w 4510936"/>
                    <a:gd name="connsiteY29" fmla="*/ 3086585 h 3835942"/>
                    <a:gd name="connsiteX30" fmla="*/ 116170 w 4510936"/>
                    <a:gd name="connsiteY30" fmla="*/ 2308285 h 3835942"/>
                    <a:gd name="connsiteX31" fmla="*/ 118297 w 4510936"/>
                    <a:gd name="connsiteY31" fmla="*/ 2287181 h 3835942"/>
                    <a:gd name="connsiteX32" fmla="*/ 98842 w 4510936"/>
                    <a:gd name="connsiteY32" fmla="*/ 2263602 h 3835942"/>
                    <a:gd name="connsiteX33" fmla="*/ 0 w 4510936"/>
                    <a:gd name="connsiteY33" fmla="*/ 1940013 h 3835942"/>
                    <a:gd name="connsiteX34" fmla="*/ 98842 w 4510936"/>
                    <a:gd name="connsiteY34" fmla="*/ 1616424 h 3835942"/>
                    <a:gd name="connsiteX35" fmla="*/ 158494 w 4510936"/>
                    <a:gd name="connsiteY35" fmla="*/ 1544125 h 3835942"/>
                    <a:gd name="connsiteX36" fmla="*/ 138294 w 4510936"/>
                    <a:gd name="connsiteY36" fmla="*/ 1479051 h 3835942"/>
                    <a:gd name="connsiteX37" fmla="*/ 124645 w 4510936"/>
                    <a:gd name="connsiteY37" fmla="*/ 1343654 h 3835942"/>
                    <a:gd name="connsiteX38" fmla="*/ 534966 w 4510936"/>
                    <a:gd name="connsiteY38" fmla="*/ 724623 h 3835942"/>
                    <a:gd name="connsiteX39" fmla="*/ 655270 w 4510936"/>
                    <a:gd name="connsiteY39" fmla="*/ 687278 h 3835942"/>
                    <a:gd name="connsiteX40" fmla="*/ 663127 w 4510936"/>
                    <a:gd name="connsiteY40" fmla="*/ 661967 h 3835942"/>
                    <a:gd name="connsiteX41" fmla="*/ 1282159 w 4510936"/>
                    <a:gd name="connsiteY41" fmla="*/ 251645 h 3835942"/>
                    <a:gd name="connsiteX42" fmla="*/ 1417556 w 4510936"/>
                    <a:gd name="connsiteY42" fmla="*/ 265294 h 3835942"/>
                    <a:gd name="connsiteX43" fmla="*/ 1421411 w 4510936"/>
                    <a:gd name="connsiteY43" fmla="*/ 266491 h 3835942"/>
                    <a:gd name="connsiteX44" fmla="*/ 1478933 w 4510936"/>
                    <a:gd name="connsiteY44" fmla="*/ 196773 h 3835942"/>
                    <a:gd name="connsiteX45" fmla="*/ 1953986 w 4510936"/>
                    <a:gd name="connsiteY4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850570 w 4510936"/>
                    <a:gd name="connsiteY22" fmla="*/ 2130513 h 3835942"/>
                    <a:gd name="connsiteX23" fmla="*/ 2148114 w 4510936"/>
                    <a:gd name="connsiteY23" fmla="*/ 1901913 h 3835942"/>
                    <a:gd name="connsiteX24" fmla="*/ 1556657 w 4510936"/>
                    <a:gd name="connsiteY24" fmla="*/ 2852599 h 3835942"/>
                    <a:gd name="connsiteX25" fmla="*/ 1580115 w 4510936"/>
                    <a:gd name="connsiteY25" fmla="*/ 3729193 h 3835942"/>
                    <a:gd name="connsiteX26" fmla="*/ 1581642 w 4510936"/>
                    <a:gd name="connsiteY26" fmla="*/ 3835942 h 3835942"/>
                    <a:gd name="connsiteX27" fmla="*/ 1113971 w 4510936"/>
                    <a:gd name="connsiteY27" fmla="*/ 3835942 h 3835942"/>
                    <a:gd name="connsiteX28" fmla="*/ 836413 w 4510936"/>
                    <a:gd name="connsiteY28" fmla="*/ 3086585 h 3835942"/>
                    <a:gd name="connsiteX29" fmla="*/ 116170 w 4510936"/>
                    <a:gd name="connsiteY29" fmla="*/ 2308285 h 3835942"/>
                    <a:gd name="connsiteX30" fmla="*/ 118297 w 4510936"/>
                    <a:gd name="connsiteY30" fmla="*/ 2287181 h 3835942"/>
                    <a:gd name="connsiteX31" fmla="*/ 98842 w 4510936"/>
                    <a:gd name="connsiteY31" fmla="*/ 2263602 h 3835942"/>
                    <a:gd name="connsiteX32" fmla="*/ 0 w 4510936"/>
                    <a:gd name="connsiteY32" fmla="*/ 1940013 h 3835942"/>
                    <a:gd name="connsiteX33" fmla="*/ 98842 w 4510936"/>
                    <a:gd name="connsiteY33" fmla="*/ 1616424 h 3835942"/>
                    <a:gd name="connsiteX34" fmla="*/ 158494 w 4510936"/>
                    <a:gd name="connsiteY34" fmla="*/ 1544125 h 3835942"/>
                    <a:gd name="connsiteX35" fmla="*/ 138294 w 4510936"/>
                    <a:gd name="connsiteY35" fmla="*/ 1479051 h 3835942"/>
                    <a:gd name="connsiteX36" fmla="*/ 124645 w 4510936"/>
                    <a:gd name="connsiteY36" fmla="*/ 1343654 h 3835942"/>
                    <a:gd name="connsiteX37" fmla="*/ 534966 w 4510936"/>
                    <a:gd name="connsiteY37" fmla="*/ 724623 h 3835942"/>
                    <a:gd name="connsiteX38" fmla="*/ 655270 w 4510936"/>
                    <a:gd name="connsiteY38" fmla="*/ 687278 h 3835942"/>
                    <a:gd name="connsiteX39" fmla="*/ 663127 w 4510936"/>
                    <a:gd name="connsiteY39" fmla="*/ 661967 h 3835942"/>
                    <a:gd name="connsiteX40" fmla="*/ 1282159 w 4510936"/>
                    <a:gd name="connsiteY40" fmla="*/ 251645 h 3835942"/>
                    <a:gd name="connsiteX41" fmla="*/ 1417556 w 4510936"/>
                    <a:gd name="connsiteY41" fmla="*/ 265294 h 3835942"/>
                    <a:gd name="connsiteX42" fmla="*/ 1421411 w 4510936"/>
                    <a:gd name="connsiteY42" fmla="*/ 266491 h 3835942"/>
                    <a:gd name="connsiteX43" fmla="*/ 1478933 w 4510936"/>
                    <a:gd name="connsiteY43" fmla="*/ 196773 h 3835942"/>
                    <a:gd name="connsiteX44" fmla="*/ 1953986 w 4510936"/>
                    <a:gd name="connsiteY4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850570 w 4510936"/>
                    <a:gd name="connsiteY21" fmla="*/ 2130513 h 3835942"/>
                    <a:gd name="connsiteX22" fmla="*/ 2148114 w 4510936"/>
                    <a:gd name="connsiteY22" fmla="*/ 1901913 h 3835942"/>
                    <a:gd name="connsiteX23" fmla="*/ 1556657 w 4510936"/>
                    <a:gd name="connsiteY23" fmla="*/ 2852599 h 3835942"/>
                    <a:gd name="connsiteX24" fmla="*/ 1580115 w 4510936"/>
                    <a:gd name="connsiteY24" fmla="*/ 3729193 h 3835942"/>
                    <a:gd name="connsiteX25" fmla="*/ 1581642 w 4510936"/>
                    <a:gd name="connsiteY25" fmla="*/ 3835942 h 3835942"/>
                    <a:gd name="connsiteX26" fmla="*/ 1113971 w 4510936"/>
                    <a:gd name="connsiteY26" fmla="*/ 3835942 h 3835942"/>
                    <a:gd name="connsiteX27" fmla="*/ 836413 w 4510936"/>
                    <a:gd name="connsiteY27" fmla="*/ 3086585 h 3835942"/>
                    <a:gd name="connsiteX28" fmla="*/ 116170 w 4510936"/>
                    <a:gd name="connsiteY28" fmla="*/ 2308285 h 3835942"/>
                    <a:gd name="connsiteX29" fmla="*/ 118297 w 4510936"/>
                    <a:gd name="connsiteY29" fmla="*/ 2287181 h 3835942"/>
                    <a:gd name="connsiteX30" fmla="*/ 98842 w 4510936"/>
                    <a:gd name="connsiteY30" fmla="*/ 2263602 h 3835942"/>
                    <a:gd name="connsiteX31" fmla="*/ 0 w 4510936"/>
                    <a:gd name="connsiteY31" fmla="*/ 1940013 h 3835942"/>
                    <a:gd name="connsiteX32" fmla="*/ 98842 w 4510936"/>
                    <a:gd name="connsiteY32" fmla="*/ 1616424 h 3835942"/>
                    <a:gd name="connsiteX33" fmla="*/ 158494 w 4510936"/>
                    <a:gd name="connsiteY33" fmla="*/ 1544125 h 3835942"/>
                    <a:gd name="connsiteX34" fmla="*/ 138294 w 4510936"/>
                    <a:gd name="connsiteY34" fmla="*/ 1479051 h 3835942"/>
                    <a:gd name="connsiteX35" fmla="*/ 124645 w 4510936"/>
                    <a:gd name="connsiteY35" fmla="*/ 1343654 h 3835942"/>
                    <a:gd name="connsiteX36" fmla="*/ 534966 w 4510936"/>
                    <a:gd name="connsiteY36" fmla="*/ 724623 h 3835942"/>
                    <a:gd name="connsiteX37" fmla="*/ 655270 w 4510936"/>
                    <a:gd name="connsiteY37" fmla="*/ 687278 h 3835942"/>
                    <a:gd name="connsiteX38" fmla="*/ 663127 w 4510936"/>
                    <a:gd name="connsiteY38" fmla="*/ 661967 h 3835942"/>
                    <a:gd name="connsiteX39" fmla="*/ 1282159 w 4510936"/>
                    <a:gd name="connsiteY39" fmla="*/ 251645 h 3835942"/>
                    <a:gd name="connsiteX40" fmla="*/ 1417556 w 4510936"/>
                    <a:gd name="connsiteY40" fmla="*/ 265294 h 3835942"/>
                    <a:gd name="connsiteX41" fmla="*/ 1421411 w 4510936"/>
                    <a:gd name="connsiteY41" fmla="*/ 266491 h 3835942"/>
                    <a:gd name="connsiteX42" fmla="*/ 1478933 w 4510936"/>
                    <a:gd name="connsiteY42" fmla="*/ 196773 h 3835942"/>
                    <a:gd name="connsiteX43" fmla="*/ 1953986 w 4510936"/>
                    <a:gd name="connsiteY4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850570 w 4510936"/>
                    <a:gd name="connsiteY20" fmla="*/ 2130513 h 3835942"/>
                    <a:gd name="connsiteX21" fmla="*/ 2148114 w 4510936"/>
                    <a:gd name="connsiteY21" fmla="*/ 1901913 h 3835942"/>
                    <a:gd name="connsiteX22" fmla="*/ 1556657 w 4510936"/>
                    <a:gd name="connsiteY22" fmla="*/ 2852599 h 3835942"/>
                    <a:gd name="connsiteX23" fmla="*/ 1580115 w 4510936"/>
                    <a:gd name="connsiteY23" fmla="*/ 3729193 h 3835942"/>
                    <a:gd name="connsiteX24" fmla="*/ 1581642 w 4510936"/>
                    <a:gd name="connsiteY24" fmla="*/ 3835942 h 3835942"/>
                    <a:gd name="connsiteX25" fmla="*/ 1113971 w 4510936"/>
                    <a:gd name="connsiteY25" fmla="*/ 3835942 h 3835942"/>
                    <a:gd name="connsiteX26" fmla="*/ 836413 w 4510936"/>
                    <a:gd name="connsiteY26" fmla="*/ 3086585 h 3835942"/>
                    <a:gd name="connsiteX27" fmla="*/ 116170 w 4510936"/>
                    <a:gd name="connsiteY27" fmla="*/ 2308285 h 3835942"/>
                    <a:gd name="connsiteX28" fmla="*/ 118297 w 4510936"/>
                    <a:gd name="connsiteY28" fmla="*/ 2287181 h 3835942"/>
                    <a:gd name="connsiteX29" fmla="*/ 98842 w 4510936"/>
                    <a:gd name="connsiteY29" fmla="*/ 2263602 h 3835942"/>
                    <a:gd name="connsiteX30" fmla="*/ 0 w 4510936"/>
                    <a:gd name="connsiteY30" fmla="*/ 1940013 h 3835942"/>
                    <a:gd name="connsiteX31" fmla="*/ 98842 w 4510936"/>
                    <a:gd name="connsiteY31" fmla="*/ 1616424 h 3835942"/>
                    <a:gd name="connsiteX32" fmla="*/ 158494 w 4510936"/>
                    <a:gd name="connsiteY32" fmla="*/ 1544125 h 3835942"/>
                    <a:gd name="connsiteX33" fmla="*/ 138294 w 4510936"/>
                    <a:gd name="connsiteY33" fmla="*/ 1479051 h 3835942"/>
                    <a:gd name="connsiteX34" fmla="*/ 124645 w 4510936"/>
                    <a:gd name="connsiteY34" fmla="*/ 1343654 h 3835942"/>
                    <a:gd name="connsiteX35" fmla="*/ 534966 w 4510936"/>
                    <a:gd name="connsiteY35" fmla="*/ 724623 h 3835942"/>
                    <a:gd name="connsiteX36" fmla="*/ 655270 w 4510936"/>
                    <a:gd name="connsiteY36" fmla="*/ 687278 h 3835942"/>
                    <a:gd name="connsiteX37" fmla="*/ 663127 w 4510936"/>
                    <a:gd name="connsiteY37" fmla="*/ 661967 h 3835942"/>
                    <a:gd name="connsiteX38" fmla="*/ 1282159 w 4510936"/>
                    <a:gd name="connsiteY38" fmla="*/ 251645 h 3835942"/>
                    <a:gd name="connsiteX39" fmla="*/ 1417556 w 4510936"/>
                    <a:gd name="connsiteY39" fmla="*/ 265294 h 3835942"/>
                    <a:gd name="connsiteX40" fmla="*/ 1421411 w 4510936"/>
                    <a:gd name="connsiteY40" fmla="*/ 266491 h 3835942"/>
                    <a:gd name="connsiteX41" fmla="*/ 1478933 w 4510936"/>
                    <a:gd name="connsiteY41" fmla="*/ 196773 h 3835942"/>
                    <a:gd name="connsiteX42" fmla="*/ 1953986 w 4510936"/>
                    <a:gd name="connsiteY4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850570 w 4510936"/>
                    <a:gd name="connsiteY19" fmla="*/ 2130513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33865 w 4510936"/>
                    <a:gd name="connsiteY19" fmla="*/ 1977965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33865 w 4510936"/>
                    <a:gd name="connsiteY18" fmla="*/ 1977965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48114 w 4510936"/>
                    <a:gd name="connsiteY18" fmla="*/ 1901913 h 3835942"/>
                    <a:gd name="connsiteX19" fmla="*/ 1556657 w 4510936"/>
                    <a:gd name="connsiteY19" fmla="*/ 2852599 h 3835942"/>
                    <a:gd name="connsiteX20" fmla="*/ 1580115 w 4510936"/>
                    <a:gd name="connsiteY20" fmla="*/ 3729193 h 3835942"/>
                    <a:gd name="connsiteX21" fmla="*/ 1581642 w 4510936"/>
                    <a:gd name="connsiteY21" fmla="*/ 3835942 h 3835942"/>
                    <a:gd name="connsiteX22" fmla="*/ 1113971 w 4510936"/>
                    <a:gd name="connsiteY22" fmla="*/ 3835942 h 3835942"/>
                    <a:gd name="connsiteX23" fmla="*/ 836413 w 4510936"/>
                    <a:gd name="connsiteY23" fmla="*/ 3086585 h 3835942"/>
                    <a:gd name="connsiteX24" fmla="*/ 116170 w 4510936"/>
                    <a:gd name="connsiteY24" fmla="*/ 2308285 h 3835942"/>
                    <a:gd name="connsiteX25" fmla="*/ 118297 w 4510936"/>
                    <a:gd name="connsiteY25" fmla="*/ 2287181 h 3835942"/>
                    <a:gd name="connsiteX26" fmla="*/ 98842 w 4510936"/>
                    <a:gd name="connsiteY26" fmla="*/ 2263602 h 3835942"/>
                    <a:gd name="connsiteX27" fmla="*/ 0 w 4510936"/>
                    <a:gd name="connsiteY27" fmla="*/ 1940013 h 3835942"/>
                    <a:gd name="connsiteX28" fmla="*/ 98842 w 4510936"/>
                    <a:gd name="connsiteY28" fmla="*/ 1616424 h 3835942"/>
                    <a:gd name="connsiteX29" fmla="*/ 158494 w 4510936"/>
                    <a:gd name="connsiteY29" fmla="*/ 1544125 h 3835942"/>
                    <a:gd name="connsiteX30" fmla="*/ 138294 w 4510936"/>
                    <a:gd name="connsiteY30" fmla="*/ 1479051 h 3835942"/>
                    <a:gd name="connsiteX31" fmla="*/ 124645 w 4510936"/>
                    <a:gd name="connsiteY31" fmla="*/ 1343654 h 3835942"/>
                    <a:gd name="connsiteX32" fmla="*/ 534966 w 4510936"/>
                    <a:gd name="connsiteY32" fmla="*/ 724623 h 3835942"/>
                    <a:gd name="connsiteX33" fmla="*/ 655270 w 4510936"/>
                    <a:gd name="connsiteY33" fmla="*/ 687278 h 3835942"/>
                    <a:gd name="connsiteX34" fmla="*/ 663127 w 4510936"/>
                    <a:gd name="connsiteY34" fmla="*/ 661967 h 3835942"/>
                    <a:gd name="connsiteX35" fmla="*/ 1282159 w 4510936"/>
                    <a:gd name="connsiteY35" fmla="*/ 251645 h 3835942"/>
                    <a:gd name="connsiteX36" fmla="*/ 1417556 w 4510936"/>
                    <a:gd name="connsiteY36" fmla="*/ 265294 h 3835942"/>
                    <a:gd name="connsiteX37" fmla="*/ 1421411 w 4510936"/>
                    <a:gd name="connsiteY37" fmla="*/ 266491 h 3835942"/>
                    <a:gd name="connsiteX38" fmla="*/ 1478933 w 4510936"/>
                    <a:gd name="connsiteY38" fmla="*/ 196773 h 3835942"/>
                    <a:gd name="connsiteX39" fmla="*/ 1953986 w 4510936"/>
                    <a:gd name="connsiteY3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556657 w 4510936"/>
                    <a:gd name="connsiteY18" fmla="*/ 2852599 h 3835942"/>
                    <a:gd name="connsiteX19" fmla="*/ 1580115 w 4510936"/>
                    <a:gd name="connsiteY19" fmla="*/ 3729193 h 3835942"/>
                    <a:gd name="connsiteX20" fmla="*/ 1581642 w 4510936"/>
                    <a:gd name="connsiteY20" fmla="*/ 3835942 h 3835942"/>
                    <a:gd name="connsiteX21" fmla="*/ 1113971 w 4510936"/>
                    <a:gd name="connsiteY21" fmla="*/ 3835942 h 3835942"/>
                    <a:gd name="connsiteX22" fmla="*/ 836413 w 4510936"/>
                    <a:gd name="connsiteY22" fmla="*/ 3086585 h 3835942"/>
                    <a:gd name="connsiteX23" fmla="*/ 116170 w 4510936"/>
                    <a:gd name="connsiteY23" fmla="*/ 2308285 h 3835942"/>
                    <a:gd name="connsiteX24" fmla="*/ 118297 w 4510936"/>
                    <a:gd name="connsiteY24" fmla="*/ 2287181 h 3835942"/>
                    <a:gd name="connsiteX25" fmla="*/ 98842 w 4510936"/>
                    <a:gd name="connsiteY25" fmla="*/ 2263602 h 3835942"/>
                    <a:gd name="connsiteX26" fmla="*/ 0 w 4510936"/>
                    <a:gd name="connsiteY26" fmla="*/ 1940013 h 3835942"/>
                    <a:gd name="connsiteX27" fmla="*/ 98842 w 4510936"/>
                    <a:gd name="connsiteY27" fmla="*/ 1616424 h 3835942"/>
                    <a:gd name="connsiteX28" fmla="*/ 158494 w 4510936"/>
                    <a:gd name="connsiteY28" fmla="*/ 1544125 h 3835942"/>
                    <a:gd name="connsiteX29" fmla="*/ 138294 w 4510936"/>
                    <a:gd name="connsiteY29" fmla="*/ 1479051 h 3835942"/>
                    <a:gd name="connsiteX30" fmla="*/ 124645 w 4510936"/>
                    <a:gd name="connsiteY30" fmla="*/ 1343654 h 3835942"/>
                    <a:gd name="connsiteX31" fmla="*/ 534966 w 4510936"/>
                    <a:gd name="connsiteY31" fmla="*/ 724623 h 3835942"/>
                    <a:gd name="connsiteX32" fmla="*/ 655270 w 4510936"/>
                    <a:gd name="connsiteY32" fmla="*/ 687278 h 3835942"/>
                    <a:gd name="connsiteX33" fmla="*/ 663127 w 4510936"/>
                    <a:gd name="connsiteY33" fmla="*/ 661967 h 3835942"/>
                    <a:gd name="connsiteX34" fmla="*/ 1282159 w 4510936"/>
                    <a:gd name="connsiteY34" fmla="*/ 251645 h 3835942"/>
                    <a:gd name="connsiteX35" fmla="*/ 1417556 w 4510936"/>
                    <a:gd name="connsiteY35" fmla="*/ 265294 h 3835942"/>
                    <a:gd name="connsiteX36" fmla="*/ 1421411 w 4510936"/>
                    <a:gd name="connsiteY36" fmla="*/ 266491 h 3835942"/>
                    <a:gd name="connsiteX37" fmla="*/ 1478933 w 4510936"/>
                    <a:gd name="connsiteY37" fmla="*/ 196773 h 3835942"/>
                    <a:gd name="connsiteX38" fmla="*/ 1953986 w 4510936"/>
                    <a:gd name="connsiteY3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0115 w 4510936"/>
                    <a:gd name="connsiteY18" fmla="*/ 3729193 h 3835942"/>
                    <a:gd name="connsiteX19" fmla="*/ 1581642 w 4510936"/>
                    <a:gd name="connsiteY19" fmla="*/ 3835942 h 3835942"/>
                    <a:gd name="connsiteX20" fmla="*/ 1113971 w 4510936"/>
                    <a:gd name="connsiteY20" fmla="*/ 3835942 h 3835942"/>
                    <a:gd name="connsiteX21" fmla="*/ 836413 w 4510936"/>
                    <a:gd name="connsiteY21" fmla="*/ 3086585 h 3835942"/>
                    <a:gd name="connsiteX22" fmla="*/ 116170 w 4510936"/>
                    <a:gd name="connsiteY22" fmla="*/ 2308285 h 3835942"/>
                    <a:gd name="connsiteX23" fmla="*/ 118297 w 4510936"/>
                    <a:gd name="connsiteY23" fmla="*/ 2287181 h 3835942"/>
                    <a:gd name="connsiteX24" fmla="*/ 98842 w 4510936"/>
                    <a:gd name="connsiteY24" fmla="*/ 2263602 h 3835942"/>
                    <a:gd name="connsiteX25" fmla="*/ 0 w 4510936"/>
                    <a:gd name="connsiteY25" fmla="*/ 1940013 h 3835942"/>
                    <a:gd name="connsiteX26" fmla="*/ 98842 w 4510936"/>
                    <a:gd name="connsiteY26" fmla="*/ 1616424 h 3835942"/>
                    <a:gd name="connsiteX27" fmla="*/ 158494 w 4510936"/>
                    <a:gd name="connsiteY27" fmla="*/ 1544125 h 3835942"/>
                    <a:gd name="connsiteX28" fmla="*/ 138294 w 4510936"/>
                    <a:gd name="connsiteY28" fmla="*/ 1479051 h 3835942"/>
                    <a:gd name="connsiteX29" fmla="*/ 124645 w 4510936"/>
                    <a:gd name="connsiteY29" fmla="*/ 1343654 h 3835942"/>
                    <a:gd name="connsiteX30" fmla="*/ 534966 w 4510936"/>
                    <a:gd name="connsiteY30" fmla="*/ 724623 h 3835942"/>
                    <a:gd name="connsiteX31" fmla="*/ 655270 w 4510936"/>
                    <a:gd name="connsiteY31" fmla="*/ 687278 h 3835942"/>
                    <a:gd name="connsiteX32" fmla="*/ 663127 w 4510936"/>
                    <a:gd name="connsiteY32" fmla="*/ 661967 h 3835942"/>
                    <a:gd name="connsiteX33" fmla="*/ 1282159 w 4510936"/>
                    <a:gd name="connsiteY33" fmla="*/ 251645 h 3835942"/>
                    <a:gd name="connsiteX34" fmla="*/ 1417556 w 4510936"/>
                    <a:gd name="connsiteY34" fmla="*/ 265294 h 3835942"/>
                    <a:gd name="connsiteX35" fmla="*/ 1421411 w 4510936"/>
                    <a:gd name="connsiteY35" fmla="*/ 266491 h 3835942"/>
                    <a:gd name="connsiteX36" fmla="*/ 1478933 w 4510936"/>
                    <a:gd name="connsiteY36" fmla="*/ 196773 h 3835942"/>
                    <a:gd name="connsiteX37" fmla="*/ 1953986 w 4510936"/>
                    <a:gd name="connsiteY3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1642 w 4510936"/>
                    <a:gd name="connsiteY18" fmla="*/ 3835942 h 3835942"/>
                    <a:gd name="connsiteX19" fmla="*/ 1113971 w 4510936"/>
                    <a:gd name="connsiteY19" fmla="*/ 3835942 h 3835942"/>
                    <a:gd name="connsiteX20" fmla="*/ 836413 w 4510936"/>
                    <a:gd name="connsiteY20" fmla="*/ 3086585 h 3835942"/>
                    <a:gd name="connsiteX21" fmla="*/ 116170 w 4510936"/>
                    <a:gd name="connsiteY21" fmla="*/ 2308285 h 3835942"/>
                    <a:gd name="connsiteX22" fmla="*/ 118297 w 4510936"/>
                    <a:gd name="connsiteY22" fmla="*/ 2287181 h 3835942"/>
                    <a:gd name="connsiteX23" fmla="*/ 98842 w 4510936"/>
                    <a:gd name="connsiteY23" fmla="*/ 2263602 h 3835942"/>
                    <a:gd name="connsiteX24" fmla="*/ 0 w 4510936"/>
                    <a:gd name="connsiteY24" fmla="*/ 1940013 h 3835942"/>
                    <a:gd name="connsiteX25" fmla="*/ 98842 w 4510936"/>
                    <a:gd name="connsiteY25" fmla="*/ 1616424 h 3835942"/>
                    <a:gd name="connsiteX26" fmla="*/ 158494 w 4510936"/>
                    <a:gd name="connsiteY26" fmla="*/ 1544125 h 3835942"/>
                    <a:gd name="connsiteX27" fmla="*/ 138294 w 4510936"/>
                    <a:gd name="connsiteY27" fmla="*/ 1479051 h 3835942"/>
                    <a:gd name="connsiteX28" fmla="*/ 124645 w 4510936"/>
                    <a:gd name="connsiteY28" fmla="*/ 1343654 h 3835942"/>
                    <a:gd name="connsiteX29" fmla="*/ 534966 w 4510936"/>
                    <a:gd name="connsiteY29" fmla="*/ 724623 h 3835942"/>
                    <a:gd name="connsiteX30" fmla="*/ 655270 w 4510936"/>
                    <a:gd name="connsiteY30" fmla="*/ 687278 h 3835942"/>
                    <a:gd name="connsiteX31" fmla="*/ 663127 w 4510936"/>
                    <a:gd name="connsiteY31" fmla="*/ 661967 h 3835942"/>
                    <a:gd name="connsiteX32" fmla="*/ 1282159 w 4510936"/>
                    <a:gd name="connsiteY32" fmla="*/ 251645 h 3835942"/>
                    <a:gd name="connsiteX33" fmla="*/ 1417556 w 4510936"/>
                    <a:gd name="connsiteY33" fmla="*/ 265294 h 3835942"/>
                    <a:gd name="connsiteX34" fmla="*/ 1421411 w 4510936"/>
                    <a:gd name="connsiteY34" fmla="*/ 266491 h 3835942"/>
                    <a:gd name="connsiteX35" fmla="*/ 1478933 w 4510936"/>
                    <a:gd name="connsiteY35" fmla="*/ 196773 h 3835942"/>
                    <a:gd name="connsiteX36" fmla="*/ 1953986 w 4510936"/>
                    <a:gd name="connsiteY3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81642 w 4510936"/>
                    <a:gd name="connsiteY17" fmla="*/ 3835942 h 3835942"/>
                    <a:gd name="connsiteX18" fmla="*/ 1113971 w 4510936"/>
                    <a:gd name="connsiteY18" fmla="*/ 3835942 h 3835942"/>
                    <a:gd name="connsiteX19" fmla="*/ 836413 w 4510936"/>
                    <a:gd name="connsiteY19" fmla="*/ 3086585 h 3835942"/>
                    <a:gd name="connsiteX20" fmla="*/ 116170 w 4510936"/>
                    <a:gd name="connsiteY20" fmla="*/ 2308285 h 3835942"/>
                    <a:gd name="connsiteX21" fmla="*/ 118297 w 4510936"/>
                    <a:gd name="connsiteY21" fmla="*/ 2287181 h 3835942"/>
                    <a:gd name="connsiteX22" fmla="*/ 98842 w 4510936"/>
                    <a:gd name="connsiteY22" fmla="*/ 2263602 h 3835942"/>
                    <a:gd name="connsiteX23" fmla="*/ 0 w 4510936"/>
                    <a:gd name="connsiteY23" fmla="*/ 1940013 h 3835942"/>
                    <a:gd name="connsiteX24" fmla="*/ 98842 w 4510936"/>
                    <a:gd name="connsiteY24" fmla="*/ 1616424 h 3835942"/>
                    <a:gd name="connsiteX25" fmla="*/ 158494 w 4510936"/>
                    <a:gd name="connsiteY25" fmla="*/ 1544125 h 3835942"/>
                    <a:gd name="connsiteX26" fmla="*/ 138294 w 4510936"/>
                    <a:gd name="connsiteY26" fmla="*/ 1479051 h 3835942"/>
                    <a:gd name="connsiteX27" fmla="*/ 124645 w 4510936"/>
                    <a:gd name="connsiteY27" fmla="*/ 1343654 h 3835942"/>
                    <a:gd name="connsiteX28" fmla="*/ 534966 w 4510936"/>
                    <a:gd name="connsiteY28" fmla="*/ 724623 h 3835942"/>
                    <a:gd name="connsiteX29" fmla="*/ 655270 w 4510936"/>
                    <a:gd name="connsiteY29" fmla="*/ 687278 h 3835942"/>
                    <a:gd name="connsiteX30" fmla="*/ 663127 w 4510936"/>
                    <a:gd name="connsiteY30" fmla="*/ 661967 h 3835942"/>
                    <a:gd name="connsiteX31" fmla="*/ 1282159 w 4510936"/>
                    <a:gd name="connsiteY31" fmla="*/ 251645 h 3835942"/>
                    <a:gd name="connsiteX32" fmla="*/ 1417556 w 4510936"/>
                    <a:gd name="connsiteY32" fmla="*/ 265294 h 3835942"/>
                    <a:gd name="connsiteX33" fmla="*/ 1421411 w 4510936"/>
                    <a:gd name="connsiteY33" fmla="*/ 266491 h 3835942"/>
                    <a:gd name="connsiteX34" fmla="*/ 1478933 w 4510936"/>
                    <a:gd name="connsiteY34" fmla="*/ 196773 h 3835942"/>
                    <a:gd name="connsiteX35" fmla="*/ 1953986 w 4510936"/>
                    <a:gd name="connsiteY35" fmla="*/ 0 h 3835942"/>
                    <a:gd name="connsiteX0" fmla="*/ 1581642 w 4510936"/>
                    <a:gd name="connsiteY0" fmla="*/ 3835942 h 4045762"/>
                    <a:gd name="connsiteX1" fmla="*/ 1113971 w 4510936"/>
                    <a:gd name="connsiteY1" fmla="*/ 3835942 h 4045762"/>
                    <a:gd name="connsiteX2" fmla="*/ 836413 w 4510936"/>
                    <a:gd name="connsiteY2" fmla="*/ 3086585 h 4045762"/>
                    <a:gd name="connsiteX3" fmla="*/ 116170 w 4510936"/>
                    <a:gd name="connsiteY3" fmla="*/ 2308285 h 4045762"/>
                    <a:gd name="connsiteX4" fmla="*/ 118297 w 4510936"/>
                    <a:gd name="connsiteY4" fmla="*/ 2287181 h 4045762"/>
                    <a:gd name="connsiteX5" fmla="*/ 98842 w 4510936"/>
                    <a:gd name="connsiteY5" fmla="*/ 2263602 h 4045762"/>
                    <a:gd name="connsiteX6" fmla="*/ 0 w 4510936"/>
                    <a:gd name="connsiteY6" fmla="*/ 1940013 h 4045762"/>
                    <a:gd name="connsiteX7" fmla="*/ 98842 w 4510936"/>
                    <a:gd name="connsiteY7" fmla="*/ 1616424 h 4045762"/>
                    <a:gd name="connsiteX8" fmla="*/ 158494 w 4510936"/>
                    <a:gd name="connsiteY8" fmla="*/ 1544125 h 4045762"/>
                    <a:gd name="connsiteX9" fmla="*/ 138294 w 4510936"/>
                    <a:gd name="connsiteY9" fmla="*/ 1479051 h 4045762"/>
                    <a:gd name="connsiteX10" fmla="*/ 124645 w 4510936"/>
                    <a:gd name="connsiteY10" fmla="*/ 1343654 h 4045762"/>
                    <a:gd name="connsiteX11" fmla="*/ 534966 w 4510936"/>
                    <a:gd name="connsiteY11" fmla="*/ 724623 h 4045762"/>
                    <a:gd name="connsiteX12" fmla="*/ 655270 w 4510936"/>
                    <a:gd name="connsiteY12" fmla="*/ 687278 h 4045762"/>
                    <a:gd name="connsiteX13" fmla="*/ 663127 w 4510936"/>
                    <a:gd name="connsiteY13" fmla="*/ 661967 h 4045762"/>
                    <a:gd name="connsiteX14" fmla="*/ 1282159 w 4510936"/>
                    <a:gd name="connsiteY14" fmla="*/ 251645 h 4045762"/>
                    <a:gd name="connsiteX15" fmla="*/ 1417556 w 4510936"/>
                    <a:gd name="connsiteY15" fmla="*/ 265294 h 4045762"/>
                    <a:gd name="connsiteX16" fmla="*/ 1421411 w 4510936"/>
                    <a:gd name="connsiteY16" fmla="*/ 266491 h 4045762"/>
                    <a:gd name="connsiteX17" fmla="*/ 1478933 w 4510936"/>
                    <a:gd name="connsiteY17" fmla="*/ 196773 h 4045762"/>
                    <a:gd name="connsiteX18" fmla="*/ 1953986 w 4510936"/>
                    <a:gd name="connsiteY18" fmla="*/ 0 h 4045762"/>
                    <a:gd name="connsiteX19" fmla="*/ 2329611 w 4510936"/>
                    <a:gd name="connsiteY19" fmla="*/ 114738 h 4045762"/>
                    <a:gd name="connsiteX20" fmla="*/ 2418153 w 4510936"/>
                    <a:gd name="connsiteY20" fmla="*/ 187791 h 4045762"/>
                    <a:gd name="connsiteX21" fmla="*/ 2436328 w 4510936"/>
                    <a:gd name="connsiteY21" fmla="*/ 172795 h 4045762"/>
                    <a:gd name="connsiteX22" fmla="*/ 2811953 w 4510936"/>
                    <a:gd name="connsiteY22" fmla="*/ 58057 h 4045762"/>
                    <a:gd name="connsiteX23" fmla="*/ 3430985 w 4510936"/>
                    <a:gd name="connsiteY23" fmla="*/ 468379 h 4045762"/>
                    <a:gd name="connsiteX24" fmla="*/ 3439052 w 4510936"/>
                    <a:gd name="connsiteY24" fmla="*/ 494366 h 4045762"/>
                    <a:gd name="connsiteX25" fmla="*/ 3483780 w 4510936"/>
                    <a:gd name="connsiteY25" fmla="*/ 489857 h 4045762"/>
                    <a:gd name="connsiteX26" fmla="*/ 4155607 w 4510936"/>
                    <a:gd name="connsiteY26" fmla="*/ 1161684 h 4045762"/>
                    <a:gd name="connsiteX27" fmla="*/ 4153309 w 4510936"/>
                    <a:gd name="connsiteY27" fmla="*/ 1184483 h 4045762"/>
                    <a:gd name="connsiteX28" fmla="*/ 4214734 w 4510936"/>
                    <a:gd name="connsiteY28" fmla="*/ 1217823 h 4045762"/>
                    <a:gd name="connsiteX29" fmla="*/ 4510936 w 4510936"/>
                    <a:gd name="connsiteY29" fmla="*/ 1774913 h 4045762"/>
                    <a:gd name="connsiteX30" fmla="*/ 3839109 w 4510936"/>
                    <a:gd name="connsiteY30" fmla="*/ 2446740 h 4045762"/>
                    <a:gd name="connsiteX31" fmla="*/ 2763472 w 4510936"/>
                    <a:gd name="connsiteY31" fmla="*/ 2548740 h 4045762"/>
                    <a:gd name="connsiteX32" fmla="*/ 2130180 w 4510936"/>
                    <a:gd name="connsiteY32" fmla="*/ 2990785 h 4045762"/>
                    <a:gd name="connsiteX33" fmla="*/ 2009850 w 4510936"/>
                    <a:gd name="connsiteY33" fmla="*/ 3835942 h 4045762"/>
                    <a:gd name="connsiteX34" fmla="*/ 1789458 w 4510936"/>
                    <a:gd name="connsiteY34" fmla="*/ 3835942 h 4045762"/>
                    <a:gd name="connsiteX35" fmla="*/ 1791461 w 4510936"/>
                    <a:gd name="connsiteY35" fmla="*/ 4045762 h 404576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34" fmla="*/ 1789458 w 4510936"/>
                    <a:gd name="connsiteY34" fmla="*/ 3835942 h 383594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10936" h="3835942">
                      <a:moveTo>
                        <a:pt x="1113971" y="3835942"/>
                      </a:moveTo>
                      <a:cubicBezTo>
                        <a:pt x="1117004" y="3353928"/>
                        <a:pt x="1047465" y="3115028"/>
                        <a:pt x="836413" y="3086585"/>
                      </a:cubicBezTo>
                      <a:cubicBezTo>
                        <a:pt x="446170" y="3033993"/>
                        <a:pt x="116170" y="2702056"/>
                        <a:pt x="116170" y="2308285"/>
                      </a:cubicBezTo>
                      <a:lnTo>
                        <a:pt x="118297" y="2287181"/>
                      </a:lnTo>
                      <a:lnTo>
                        <a:pt x="98842" y="2263602"/>
                      </a:lnTo>
                      <a:cubicBezTo>
                        <a:pt x="36438" y="2171232"/>
                        <a:pt x="0" y="2059878"/>
                        <a:pt x="0" y="1940013"/>
                      </a:cubicBezTo>
                      <a:cubicBezTo>
                        <a:pt x="0" y="1820148"/>
                        <a:pt x="36438" y="1708794"/>
                        <a:pt x="98842" y="1616424"/>
                      </a:cubicBezTo>
                      <a:lnTo>
                        <a:pt x="158494" y="1544125"/>
                      </a:lnTo>
                      <a:lnTo>
                        <a:pt x="138294" y="1479051"/>
                      </a:lnTo>
                      <a:cubicBezTo>
                        <a:pt x="129345" y="1435316"/>
                        <a:pt x="124645" y="1390034"/>
                        <a:pt x="124645" y="1343654"/>
                      </a:cubicBezTo>
                      <a:cubicBezTo>
                        <a:pt x="124645" y="1065374"/>
                        <a:pt x="293838" y="826611"/>
                        <a:pt x="534966" y="724623"/>
                      </a:cubicBezTo>
                      <a:lnTo>
                        <a:pt x="655270" y="687278"/>
                      </a:lnTo>
                      <a:lnTo>
                        <a:pt x="663127" y="661967"/>
                      </a:lnTo>
                      <a:cubicBezTo>
                        <a:pt x="765116" y="420838"/>
                        <a:pt x="1003879" y="251645"/>
                        <a:pt x="1282159" y="251645"/>
                      </a:cubicBezTo>
                      <a:cubicBezTo>
                        <a:pt x="1328539" y="251645"/>
                        <a:pt x="1373822" y="256345"/>
                        <a:pt x="1417556" y="265294"/>
                      </a:cubicBezTo>
                      <a:lnTo>
                        <a:pt x="1421411" y="266491"/>
                      </a:lnTo>
                      <a:lnTo>
                        <a:pt x="1478933" y="196773"/>
                      </a:lnTo>
                      <a:cubicBezTo>
                        <a:pt x="1600510" y="75197"/>
                        <a:pt x="1768466" y="0"/>
                        <a:pt x="1953986" y="0"/>
                      </a:cubicBezTo>
                      <a:cubicBezTo>
                        <a:pt x="2093126" y="0"/>
                        <a:pt x="2222387" y="42298"/>
                        <a:pt x="2329611" y="114738"/>
                      </a:cubicBezTo>
                      <a:lnTo>
                        <a:pt x="2418153" y="187791"/>
                      </a:lnTo>
                      <a:lnTo>
                        <a:pt x="2436328" y="172795"/>
                      </a:lnTo>
                      <a:cubicBezTo>
                        <a:pt x="2543553" y="100355"/>
                        <a:pt x="2672813" y="58057"/>
                        <a:pt x="2811953" y="58057"/>
                      </a:cubicBezTo>
                      <a:cubicBezTo>
                        <a:pt x="3090233" y="58057"/>
                        <a:pt x="3328996" y="227250"/>
                        <a:pt x="3430985" y="468379"/>
                      </a:cubicBezTo>
                      <a:lnTo>
                        <a:pt x="3439052" y="494366"/>
                      </a:lnTo>
                      <a:lnTo>
                        <a:pt x="3483780" y="489857"/>
                      </a:lnTo>
                      <a:cubicBezTo>
                        <a:pt x="3854820" y="489857"/>
                        <a:pt x="4155607" y="790644"/>
                        <a:pt x="4155607" y="1161684"/>
                      </a:cubicBezTo>
                      <a:lnTo>
                        <a:pt x="4153309" y="1184483"/>
                      </a:lnTo>
                      <a:lnTo>
                        <a:pt x="4214734" y="1217823"/>
                      </a:lnTo>
                      <a:cubicBezTo>
                        <a:pt x="4393441" y="1338556"/>
                        <a:pt x="4510936" y="1543013"/>
                        <a:pt x="4510936" y="1774913"/>
                      </a:cubicBezTo>
                      <a:cubicBezTo>
                        <a:pt x="4510936" y="2145953"/>
                        <a:pt x="4124085" y="2449471"/>
                        <a:pt x="3839109" y="2446740"/>
                      </a:cubicBezTo>
                      <a:cubicBezTo>
                        <a:pt x="3585495" y="2638428"/>
                        <a:pt x="3061074" y="2617143"/>
                        <a:pt x="2763472" y="2548740"/>
                      </a:cubicBezTo>
                      <a:cubicBezTo>
                        <a:pt x="2701568" y="2771878"/>
                        <a:pt x="2355083" y="3064742"/>
                        <a:pt x="2130180" y="2990785"/>
                      </a:cubicBezTo>
                      <a:cubicBezTo>
                        <a:pt x="2055794" y="3192776"/>
                        <a:pt x="1994823" y="3676349"/>
                        <a:pt x="2009850" y="3835942"/>
                      </a:cubicBezTo>
                    </a:path>
                  </a:pathLst>
                </a:custGeom>
                <a:noFill/>
                <a:ln w="12700"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8" name="Group 117">
                  <a:extLst>
                    <a:ext uri="{FF2B5EF4-FFF2-40B4-BE49-F238E27FC236}">
                      <a16:creationId xmlns:a16="http://schemas.microsoft.com/office/drawing/2014/main" id="{03A88CFF-E7CD-4C75-BE75-333D16586191}"/>
                    </a:ext>
                  </a:extLst>
                </p:cNvPr>
                <p:cNvGrpSpPr/>
                <p:nvPr/>
              </p:nvGrpSpPr>
              <p:grpSpPr>
                <a:xfrm>
                  <a:off x="3558863" y="3838170"/>
                  <a:ext cx="2873016" cy="2905512"/>
                  <a:chOff x="3440120" y="3859753"/>
                  <a:chExt cx="2873016" cy="2905512"/>
                </a:xfrm>
              </p:grpSpPr>
              <p:sp>
                <p:nvSpPr>
                  <p:cNvPr id="119" name="Freeform: Shape 935">
                    <a:extLst>
                      <a:ext uri="{FF2B5EF4-FFF2-40B4-BE49-F238E27FC236}">
                        <a16:creationId xmlns:a16="http://schemas.microsoft.com/office/drawing/2014/main" id="{74D47607-800B-495E-8562-09B6CE273C03}"/>
                      </a:ext>
                    </a:extLst>
                  </p:cNvPr>
                  <p:cNvSpPr/>
                  <p:nvPr/>
                </p:nvSpPr>
                <p:spPr bwMode="auto">
                  <a:xfrm>
                    <a:off x="3729167" y="3859753"/>
                    <a:ext cx="1024256" cy="2905512"/>
                  </a:xfrm>
                  <a:custGeom>
                    <a:avLst/>
                    <a:gdLst>
                      <a:gd name="connsiteX0" fmla="*/ 343153 w 511882"/>
                      <a:gd name="connsiteY0" fmla="*/ 1460046 h 1460046"/>
                      <a:gd name="connsiteX1" fmla="*/ 334989 w 511882"/>
                      <a:gd name="connsiteY1" fmla="*/ 1013732 h 1460046"/>
                      <a:gd name="connsiteX2" fmla="*/ 253 w 511882"/>
                      <a:gd name="connsiteY2" fmla="*/ 511628 h 1460046"/>
                      <a:gd name="connsiteX3" fmla="*/ 394861 w 511882"/>
                      <a:gd name="connsiteY3" fmla="*/ 198664 h 1460046"/>
                      <a:gd name="connsiteX4" fmla="*/ 511882 w 511882"/>
                      <a:gd name="connsiteY4" fmla="*/ 0 h 1460046"/>
                      <a:gd name="connsiteX0" fmla="*/ 343139 w 511868"/>
                      <a:gd name="connsiteY0" fmla="*/ 1460046 h 1460046"/>
                      <a:gd name="connsiteX1" fmla="*/ 334975 w 511868"/>
                      <a:gd name="connsiteY1" fmla="*/ 1013732 h 1460046"/>
                      <a:gd name="connsiteX2" fmla="*/ 239 w 511868"/>
                      <a:gd name="connsiteY2" fmla="*/ 511628 h 1460046"/>
                      <a:gd name="connsiteX3" fmla="*/ 394847 w 511868"/>
                      <a:gd name="connsiteY3" fmla="*/ 198664 h 1460046"/>
                      <a:gd name="connsiteX4" fmla="*/ 511868 w 511868"/>
                      <a:gd name="connsiteY4" fmla="*/ 0 h 1460046"/>
                      <a:gd name="connsiteX0" fmla="*/ 346813 w 515542"/>
                      <a:gd name="connsiteY0" fmla="*/ 1460046 h 1460046"/>
                      <a:gd name="connsiteX1" fmla="*/ 338649 w 515542"/>
                      <a:gd name="connsiteY1" fmla="*/ 1013732 h 1460046"/>
                      <a:gd name="connsiteX2" fmla="*/ 3913 w 515542"/>
                      <a:gd name="connsiteY2" fmla="*/ 511628 h 1460046"/>
                      <a:gd name="connsiteX3" fmla="*/ 398521 w 515542"/>
                      <a:gd name="connsiteY3" fmla="*/ 198664 h 1460046"/>
                      <a:gd name="connsiteX4" fmla="*/ 515542 w 515542"/>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698" h="1460046">
                        <a:moveTo>
                          <a:pt x="345969" y="1460046"/>
                        </a:moveTo>
                        <a:cubicBezTo>
                          <a:pt x="343247" y="1279185"/>
                          <a:pt x="359576" y="1110571"/>
                          <a:pt x="337805" y="1013732"/>
                        </a:cubicBezTo>
                        <a:cubicBezTo>
                          <a:pt x="301287" y="851299"/>
                          <a:pt x="-35485" y="768576"/>
                          <a:pt x="3069" y="511628"/>
                        </a:cubicBezTo>
                        <a:cubicBezTo>
                          <a:pt x="41623" y="254680"/>
                          <a:pt x="312406" y="245835"/>
                          <a:pt x="397677" y="198664"/>
                        </a:cubicBezTo>
                        <a:cubicBezTo>
                          <a:pt x="482948" y="151493"/>
                          <a:pt x="507712" y="62166"/>
                          <a:pt x="514698" y="0"/>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0" name="Freeform: Shape 936">
                    <a:extLst>
                      <a:ext uri="{FF2B5EF4-FFF2-40B4-BE49-F238E27FC236}">
                        <a16:creationId xmlns:a16="http://schemas.microsoft.com/office/drawing/2014/main" id="{8BAB20D3-D675-41B6-88F3-520C44D0D802}"/>
                      </a:ext>
                    </a:extLst>
                  </p:cNvPr>
                  <p:cNvSpPr/>
                  <p:nvPr/>
                </p:nvSpPr>
                <p:spPr bwMode="auto">
                  <a:xfrm>
                    <a:off x="4475931" y="4041179"/>
                    <a:ext cx="1233358" cy="351610"/>
                  </a:xfrm>
                  <a:custGeom>
                    <a:avLst/>
                    <a:gdLst>
                      <a:gd name="connsiteX0" fmla="*/ 640896 w 640896"/>
                      <a:gd name="connsiteY0" fmla="*/ 0 h 180184"/>
                      <a:gd name="connsiteX1" fmla="*/ 336096 w 640896"/>
                      <a:gd name="connsiteY1" fmla="*/ 176892 h 180184"/>
                      <a:gd name="connsiteX2" fmla="*/ 0 w 640896"/>
                      <a:gd name="connsiteY2" fmla="*/ 122464 h 180184"/>
                      <a:gd name="connsiteX0" fmla="*/ 640896 w 640896"/>
                      <a:gd name="connsiteY0" fmla="*/ 0 h 181666"/>
                      <a:gd name="connsiteX1" fmla="*/ 336096 w 640896"/>
                      <a:gd name="connsiteY1" fmla="*/ 176892 h 181666"/>
                      <a:gd name="connsiteX2" fmla="*/ 0 w 640896"/>
                      <a:gd name="connsiteY2" fmla="*/ 122464 h 181666"/>
                      <a:gd name="connsiteX0" fmla="*/ 640896 w 640896"/>
                      <a:gd name="connsiteY0" fmla="*/ 0 h 122464"/>
                      <a:gd name="connsiteX1" fmla="*/ 0 w 640896"/>
                      <a:gd name="connsiteY1" fmla="*/ 122464 h 122464"/>
                      <a:gd name="connsiteX0" fmla="*/ 640896 w 640896"/>
                      <a:gd name="connsiteY0" fmla="*/ 0 h 150251"/>
                      <a:gd name="connsiteX1" fmla="*/ 0 w 640896"/>
                      <a:gd name="connsiteY1" fmla="*/ 122464 h 150251"/>
                      <a:gd name="connsiteX0" fmla="*/ 640896 w 640896"/>
                      <a:gd name="connsiteY0" fmla="*/ 0 h 179415"/>
                      <a:gd name="connsiteX1" fmla="*/ 0 w 640896"/>
                      <a:gd name="connsiteY1" fmla="*/ 122464 h 179415"/>
                      <a:gd name="connsiteX0" fmla="*/ 625928 w 625928"/>
                      <a:gd name="connsiteY0" fmla="*/ 0 h 176687"/>
                      <a:gd name="connsiteX1" fmla="*/ 0 w 625928"/>
                      <a:gd name="connsiteY1" fmla="*/ 118381 h 176687"/>
                      <a:gd name="connsiteX0" fmla="*/ 619774 w 619774"/>
                      <a:gd name="connsiteY0" fmla="*/ 0 h 176687"/>
                      <a:gd name="connsiteX1" fmla="*/ 0 w 619774"/>
                      <a:gd name="connsiteY1" fmla="*/ 118381 h 176687"/>
                    </a:gdLst>
                    <a:ahLst/>
                    <a:cxnLst>
                      <a:cxn ang="0">
                        <a:pos x="connsiteX0" y="connsiteY0"/>
                      </a:cxn>
                      <a:cxn ang="0">
                        <a:pos x="connsiteX1" y="connsiteY1"/>
                      </a:cxn>
                    </a:cxnLst>
                    <a:rect l="l" t="t" r="r" b="b"/>
                    <a:pathLst>
                      <a:path w="619774" h="176687">
                        <a:moveTo>
                          <a:pt x="619774" y="0"/>
                        </a:moveTo>
                        <a:cubicBezTo>
                          <a:pt x="554460" y="204107"/>
                          <a:pt x="205468" y="213631"/>
                          <a:pt x="0" y="118381"/>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1" name="Freeform: Shape 937">
                    <a:extLst>
                      <a:ext uri="{FF2B5EF4-FFF2-40B4-BE49-F238E27FC236}">
                        <a16:creationId xmlns:a16="http://schemas.microsoft.com/office/drawing/2014/main" id="{3629BF8F-93AB-46CB-9E0B-98A24FBF0CF5}"/>
                      </a:ext>
                    </a:extLst>
                  </p:cNvPr>
                  <p:cNvSpPr/>
                  <p:nvPr/>
                </p:nvSpPr>
                <p:spPr bwMode="auto">
                  <a:xfrm>
                    <a:off x="3903160" y="4041179"/>
                    <a:ext cx="285801" cy="322233"/>
                  </a:xfrm>
                  <a:custGeom>
                    <a:avLst/>
                    <a:gdLst>
                      <a:gd name="connsiteX0" fmla="*/ 0 w 136071"/>
                      <a:gd name="connsiteY0" fmla="*/ 0 h 171450"/>
                      <a:gd name="connsiteX1" fmla="*/ 108857 w 136071"/>
                      <a:gd name="connsiteY1" fmla="*/ 76200 h 171450"/>
                      <a:gd name="connsiteX2" fmla="*/ 136071 w 136071"/>
                      <a:gd name="connsiteY2"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Lst>
                    <a:ahLst/>
                    <a:cxnLst>
                      <a:cxn ang="0">
                        <a:pos x="connsiteX0" y="connsiteY0"/>
                      </a:cxn>
                      <a:cxn ang="0">
                        <a:pos x="connsiteX1" y="connsiteY1"/>
                      </a:cxn>
                    </a:cxnLst>
                    <a:rect l="l" t="t" r="r" b="b"/>
                    <a:pathLst>
                      <a:path w="136071" h="171450">
                        <a:moveTo>
                          <a:pt x="0" y="0"/>
                        </a:moveTo>
                        <a:cubicBezTo>
                          <a:pt x="90058" y="31810"/>
                          <a:pt x="113388" y="112852"/>
                          <a:pt x="136071" y="171450"/>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2" name="Freeform: Shape 938">
                    <a:extLst>
                      <a:ext uri="{FF2B5EF4-FFF2-40B4-BE49-F238E27FC236}">
                        <a16:creationId xmlns:a16="http://schemas.microsoft.com/office/drawing/2014/main" id="{93FA97AF-40F5-4DFF-BE51-F84C2D34D408}"/>
                      </a:ext>
                    </a:extLst>
                  </p:cNvPr>
                  <p:cNvSpPr/>
                  <p:nvPr/>
                </p:nvSpPr>
                <p:spPr bwMode="auto">
                  <a:xfrm>
                    <a:off x="3440120" y="4482556"/>
                    <a:ext cx="289738" cy="446794"/>
                  </a:xfrm>
                  <a:custGeom>
                    <a:avLst/>
                    <a:gdLst>
                      <a:gd name="connsiteX0" fmla="*/ 0 w 145596"/>
                      <a:gd name="connsiteY0" fmla="*/ 0 h 230238"/>
                      <a:gd name="connsiteX1" fmla="*/ 85725 w 145596"/>
                      <a:gd name="connsiteY1" fmla="*/ 201386 h 230238"/>
                      <a:gd name="connsiteX2" fmla="*/ 145596 w 145596"/>
                      <a:gd name="connsiteY2" fmla="*/ 224518 h 23023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Lst>
                    <a:ahLst/>
                    <a:cxnLst>
                      <a:cxn ang="0">
                        <a:pos x="connsiteX0" y="connsiteY0"/>
                      </a:cxn>
                      <a:cxn ang="0">
                        <a:pos x="connsiteX1" y="connsiteY1"/>
                      </a:cxn>
                    </a:cxnLst>
                    <a:rect l="l" t="t" r="r" b="b"/>
                    <a:pathLst>
                      <a:path w="145596" h="224518">
                        <a:moveTo>
                          <a:pt x="0" y="0"/>
                        </a:moveTo>
                        <a:cubicBezTo>
                          <a:pt x="12976" y="98771"/>
                          <a:pt x="56722" y="206432"/>
                          <a:pt x="145596" y="224518"/>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3" name="Freeform: Shape 939">
                    <a:extLst>
                      <a:ext uri="{FF2B5EF4-FFF2-40B4-BE49-F238E27FC236}">
                        <a16:creationId xmlns:a16="http://schemas.microsoft.com/office/drawing/2014/main" id="{0E5A4423-E8E2-42AC-99A6-ECB28EA65FFD}"/>
                      </a:ext>
                    </a:extLst>
                  </p:cNvPr>
                  <p:cNvSpPr/>
                  <p:nvPr/>
                </p:nvSpPr>
                <p:spPr bwMode="auto">
                  <a:xfrm>
                    <a:off x="3770503" y="5061350"/>
                    <a:ext cx="452182" cy="87336"/>
                  </a:xfrm>
                  <a:custGeom>
                    <a:avLst/>
                    <a:gdLst>
                      <a:gd name="connsiteX0" fmla="*/ 0 w 229961"/>
                      <a:gd name="connsiteY0" fmla="*/ 46002 h 46002"/>
                      <a:gd name="connsiteX1" fmla="*/ 111579 w 229961"/>
                      <a:gd name="connsiteY1" fmla="*/ 2459 h 46002"/>
                      <a:gd name="connsiteX2" fmla="*/ 229961 w 229961"/>
                      <a:gd name="connsiteY2" fmla="*/ 9262 h 46002"/>
                      <a:gd name="connsiteX0" fmla="*/ 0 w 227226"/>
                      <a:gd name="connsiteY0" fmla="*/ 46002 h 46002"/>
                      <a:gd name="connsiteX1" fmla="*/ 108844 w 227226"/>
                      <a:gd name="connsiteY1" fmla="*/ 2459 h 46002"/>
                      <a:gd name="connsiteX2" fmla="*/ 227226 w 227226"/>
                      <a:gd name="connsiteY2" fmla="*/ 9262 h 46002"/>
                      <a:gd name="connsiteX0" fmla="*/ 0 w 227226"/>
                      <a:gd name="connsiteY0" fmla="*/ 36740 h 36740"/>
                      <a:gd name="connsiteX1" fmla="*/ 227226 w 227226"/>
                      <a:gd name="connsiteY1" fmla="*/ 0 h 36740"/>
                      <a:gd name="connsiteX0" fmla="*/ 0 w 227226"/>
                      <a:gd name="connsiteY0" fmla="*/ 36740 h 36740"/>
                      <a:gd name="connsiteX1" fmla="*/ 227226 w 227226"/>
                      <a:gd name="connsiteY1" fmla="*/ 0 h 36740"/>
                      <a:gd name="connsiteX0" fmla="*/ 0 w 227226"/>
                      <a:gd name="connsiteY0" fmla="*/ 43887 h 43887"/>
                      <a:gd name="connsiteX1" fmla="*/ 227226 w 227226"/>
                      <a:gd name="connsiteY1" fmla="*/ 7147 h 43887"/>
                    </a:gdLst>
                    <a:ahLst/>
                    <a:cxnLst>
                      <a:cxn ang="0">
                        <a:pos x="connsiteX0" y="connsiteY0"/>
                      </a:cxn>
                      <a:cxn ang="0">
                        <a:pos x="connsiteX1" y="connsiteY1"/>
                      </a:cxn>
                    </a:cxnLst>
                    <a:rect l="l" t="t" r="r" b="b"/>
                    <a:pathLst>
                      <a:path w="227226" h="43887">
                        <a:moveTo>
                          <a:pt x="0" y="43887"/>
                        </a:moveTo>
                        <a:cubicBezTo>
                          <a:pt x="82580" y="4289"/>
                          <a:pt x="148065" y="-10008"/>
                          <a:pt x="227226" y="7147"/>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4" name="Freeform: Shape 940">
                    <a:extLst>
                      <a:ext uri="{FF2B5EF4-FFF2-40B4-BE49-F238E27FC236}">
                        <a16:creationId xmlns:a16="http://schemas.microsoft.com/office/drawing/2014/main" id="{B177B2FD-2DA6-466F-99F0-B7450E4FFE96}"/>
                      </a:ext>
                    </a:extLst>
                  </p:cNvPr>
                  <p:cNvSpPr/>
                  <p:nvPr/>
                </p:nvSpPr>
                <p:spPr bwMode="auto">
                  <a:xfrm>
                    <a:off x="3587852" y="5344832"/>
                    <a:ext cx="315308" cy="304679"/>
                  </a:xfrm>
                  <a:custGeom>
                    <a:avLst/>
                    <a:gdLst>
                      <a:gd name="connsiteX0" fmla="*/ 0 w 171450"/>
                      <a:gd name="connsiteY0" fmla="*/ 163285 h 163285"/>
                      <a:gd name="connsiteX1" fmla="*/ 137432 w 171450"/>
                      <a:gd name="connsiteY1" fmla="*/ 59871 h 163285"/>
                      <a:gd name="connsiteX2" fmla="*/ 171450 w 171450"/>
                      <a:gd name="connsiteY2" fmla="*/ 0 h 163285"/>
                      <a:gd name="connsiteX0" fmla="*/ 0 w 155969"/>
                      <a:gd name="connsiteY0" fmla="*/ 151135 h 151135"/>
                      <a:gd name="connsiteX1" fmla="*/ 121951 w 155969"/>
                      <a:gd name="connsiteY1" fmla="*/ 59871 h 151135"/>
                      <a:gd name="connsiteX2" fmla="*/ 155969 w 155969"/>
                      <a:gd name="connsiteY2"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Lst>
                    <a:ahLst/>
                    <a:cxnLst>
                      <a:cxn ang="0">
                        <a:pos x="connsiteX0" y="connsiteY0"/>
                      </a:cxn>
                      <a:cxn ang="0">
                        <a:pos x="connsiteX1" y="connsiteY1"/>
                      </a:cxn>
                    </a:cxnLst>
                    <a:rect l="l" t="t" r="r" b="b"/>
                    <a:pathLst>
                      <a:path w="155969" h="151135">
                        <a:moveTo>
                          <a:pt x="0" y="151135"/>
                        </a:moveTo>
                        <a:cubicBezTo>
                          <a:pt x="67471" y="118307"/>
                          <a:pt x="120134" y="58477"/>
                          <a:pt x="155969" y="0"/>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5" name="Freeform: Shape 941">
                    <a:extLst>
                      <a:ext uri="{FF2B5EF4-FFF2-40B4-BE49-F238E27FC236}">
                        <a16:creationId xmlns:a16="http://schemas.microsoft.com/office/drawing/2014/main" id="{DBC7548A-FAB9-4300-9939-5F4560ACAC6D}"/>
                      </a:ext>
                    </a:extLst>
                  </p:cNvPr>
                  <p:cNvSpPr/>
                  <p:nvPr/>
                </p:nvSpPr>
                <p:spPr bwMode="auto">
                  <a:xfrm>
                    <a:off x="4642401" y="4363411"/>
                    <a:ext cx="179213" cy="831307"/>
                  </a:xfrm>
                  <a:custGeom>
                    <a:avLst/>
                    <a:gdLst>
                      <a:gd name="connsiteX0" fmla="*/ 0 w 100249"/>
                      <a:gd name="connsiteY0" fmla="*/ 421822 h 421822"/>
                      <a:gd name="connsiteX1" fmla="*/ 99332 w 100249"/>
                      <a:gd name="connsiteY1" fmla="*/ 201386 h 421822"/>
                      <a:gd name="connsiteX2" fmla="*/ 48985 w 100249"/>
                      <a:gd name="connsiteY2" fmla="*/ 0 h 421822"/>
                      <a:gd name="connsiteX0" fmla="*/ 0 w 48985"/>
                      <a:gd name="connsiteY0" fmla="*/ 421822 h 421822"/>
                      <a:gd name="connsiteX1" fmla="*/ 48985 w 48985"/>
                      <a:gd name="connsiteY1" fmla="*/ 0 h 421822"/>
                      <a:gd name="connsiteX0" fmla="*/ 0 w 52272"/>
                      <a:gd name="connsiteY0" fmla="*/ 421822 h 421822"/>
                      <a:gd name="connsiteX1" fmla="*/ 48985 w 52272"/>
                      <a:gd name="connsiteY1" fmla="*/ 0 h 421822"/>
                      <a:gd name="connsiteX0" fmla="*/ 0 w 89757"/>
                      <a:gd name="connsiteY0" fmla="*/ 421822 h 421822"/>
                      <a:gd name="connsiteX1" fmla="*/ 48985 w 89757"/>
                      <a:gd name="connsiteY1" fmla="*/ 0 h 421822"/>
                      <a:gd name="connsiteX0" fmla="*/ 0 w 90056"/>
                      <a:gd name="connsiteY0" fmla="*/ 421822 h 421822"/>
                      <a:gd name="connsiteX1" fmla="*/ 48985 w 90056"/>
                      <a:gd name="connsiteY1" fmla="*/ 0 h 421822"/>
                    </a:gdLst>
                    <a:ahLst/>
                    <a:cxnLst>
                      <a:cxn ang="0">
                        <a:pos x="connsiteX0" y="connsiteY0"/>
                      </a:cxn>
                      <a:cxn ang="0">
                        <a:pos x="connsiteX1" y="connsiteY1"/>
                      </a:cxn>
                    </a:cxnLst>
                    <a:rect l="l" t="t" r="r" b="b"/>
                    <a:pathLst>
                      <a:path w="90056" h="421822">
                        <a:moveTo>
                          <a:pt x="0" y="421822"/>
                        </a:moveTo>
                        <a:cubicBezTo>
                          <a:pt x="90175" y="294333"/>
                          <a:pt x="123598" y="206200"/>
                          <a:pt x="48985" y="0"/>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6" name="Freeform: Shape 942">
                    <a:extLst>
                      <a:ext uri="{FF2B5EF4-FFF2-40B4-BE49-F238E27FC236}">
                        <a16:creationId xmlns:a16="http://schemas.microsoft.com/office/drawing/2014/main" id="{BA84792D-1D49-4D15-969B-2150E476AD3D}"/>
                      </a:ext>
                    </a:extLst>
                  </p:cNvPr>
                  <p:cNvSpPr/>
                  <p:nvPr/>
                </p:nvSpPr>
                <p:spPr bwMode="auto">
                  <a:xfrm>
                    <a:off x="4785632" y="4875193"/>
                    <a:ext cx="414582" cy="100715"/>
                  </a:xfrm>
                  <a:custGeom>
                    <a:avLst/>
                    <a:gdLst>
                      <a:gd name="connsiteX0" fmla="*/ 213632 w 213632"/>
                      <a:gd name="connsiteY0" fmla="*/ 0 h 55831"/>
                      <a:gd name="connsiteX1" fmla="*/ 84364 w 213632"/>
                      <a:gd name="connsiteY1" fmla="*/ 53067 h 55831"/>
                      <a:gd name="connsiteX2" fmla="*/ 0 w 213632"/>
                      <a:gd name="connsiteY2" fmla="*/ 43542 h 55831"/>
                      <a:gd name="connsiteX0" fmla="*/ 213632 w 213632"/>
                      <a:gd name="connsiteY0" fmla="*/ 0 h 43542"/>
                      <a:gd name="connsiteX1" fmla="*/ 0 w 213632"/>
                      <a:gd name="connsiteY1" fmla="*/ 43542 h 43542"/>
                      <a:gd name="connsiteX0" fmla="*/ 213632 w 213632"/>
                      <a:gd name="connsiteY0" fmla="*/ 0 h 48873"/>
                      <a:gd name="connsiteX1" fmla="*/ 0 w 213632"/>
                      <a:gd name="connsiteY1" fmla="*/ 43542 h 48873"/>
                      <a:gd name="connsiteX0" fmla="*/ 213632 w 213632"/>
                      <a:gd name="connsiteY0" fmla="*/ 0 h 51702"/>
                      <a:gd name="connsiteX1" fmla="*/ 0 w 213632"/>
                      <a:gd name="connsiteY1" fmla="*/ 43542 h 51702"/>
                      <a:gd name="connsiteX0" fmla="*/ 213632 w 213632"/>
                      <a:gd name="connsiteY0" fmla="*/ 0 h 50610"/>
                      <a:gd name="connsiteX1" fmla="*/ 0 w 213632"/>
                      <a:gd name="connsiteY1" fmla="*/ 43542 h 50610"/>
                    </a:gdLst>
                    <a:ahLst/>
                    <a:cxnLst>
                      <a:cxn ang="0">
                        <a:pos x="connsiteX0" y="connsiteY0"/>
                      </a:cxn>
                      <a:cxn ang="0">
                        <a:pos x="connsiteX1" y="connsiteY1"/>
                      </a:cxn>
                    </a:cxnLst>
                    <a:rect l="l" t="t" r="r" b="b"/>
                    <a:pathLst>
                      <a:path w="213632" h="50610">
                        <a:moveTo>
                          <a:pt x="213632" y="0"/>
                        </a:moveTo>
                        <a:cubicBezTo>
                          <a:pt x="168195" y="32976"/>
                          <a:pt x="91725" y="65268"/>
                          <a:pt x="0" y="43542"/>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7" name="Freeform: Shape 943">
                    <a:extLst>
                      <a:ext uri="{FF2B5EF4-FFF2-40B4-BE49-F238E27FC236}">
                        <a16:creationId xmlns:a16="http://schemas.microsoft.com/office/drawing/2014/main" id="{9811BB00-A8AF-4859-A4CC-0EEF1B60011D}"/>
                      </a:ext>
                    </a:extLst>
                  </p:cNvPr>
                  <p:cNvSpPr/>
                  <p:nvPr/>
                </p:nvSpPr>
                <p:spPr bwMode="auto">
                  <a:xfrm>
                    <a:off x="5311236" y="4363412"/>
                    <a:ext cx="1001900" cy="308046"/>
                  </a:xfrm>
                  <a:custGeom>
                    <a:avLst/>
                    <a:gdLst>
                      <a:gd name="connsiteX0" fmla="*/ 503464 w 503464"/>
                      <a:gd name="connsiteY0" fmla="*/ 106135 h 154882"/>
                      <a:gd name="connsiteX1" fmla="*/ 216354 w 503464"/>
                      <a:gd name="connsiteY1" fmla="*/ 149678 h 154882"/>
                      <a:gd name="connsiteX2" fmla="*/ 0 w 503464"/>
                      <a:gd name="connsiteY2" fmla="*/ 0 h 154882"/>
                      <a:gd name="connsiteX0" fmla="*/ 503464 w 503464"/>
                      <a:gd name="connsiteY0" fmla="*/ 106135 h 106135"/>
                      <a:gd name="connsiteX1" fmla="*/ 0 w 503464"/>
                      <a:gd name="connsiteY1" fmla="*/ 0 h 106135"/>
                      <a:gd name="connsiteX0" fmla="*/ 503464 w 503464"/>
                      <a:gd name="connsiteY0" fmla="*/ 106135 h 106135"/>
                      <a:gd name="connsiteX1" fmla="*/ 0 w 503464"/>
                      <a:gd name="connsiteY1" fmla="*/ 0 h 106135"/>
                      <a:gd name="connsiteX0" fmla="*/ 503464 w 503464"/>
                      <a:gd name="connsiteY0" fmla="*/ 106135 h 154796"/>
                      <a:gd name="connsiteX1" fmla="*/ 0 w 503464"/>
                      <a:gd name="connsiteY1" fmla="*/ 0 h 154796"/>
                    </a:gdLst>
                    <a:ahLst/>
                    <a:cxnLst>
                      <a:cxn ang="0">
                        <a:pos x="connsiteX0" y="connsiteY0"/>
                      </a:cxn>
                      <a:cxn ang="0">
                        <a:pos x="connsiteX1" y="connsiteY1"/>
                      </a:cxn>
                    </a:cxnLst>
                    <a:rect l="l" t="t" r="r" b="b"/>
                    <a:pathLst>
                      <a:path w="503464" h="154796">
                        <a:moveTo>
                          <a:pt x="503464" y="106135"/>
                        </a:moveTo>
                        <a:cubicBezTo>
                          <a:pt x="387609" y="195203"/>
                          <a:pt x="72093" y="163243"/>
                          <a:pt x="0" y="0"/>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8" name="Freeform: Shape 944">
                    <a:extLst>
                      <a:ext uri="{FF2B5EF4-FFF2-40B4-BE49-F238E27FC236}">
                        <a16:creationId xmlns:a16="http://schemas.microsoft.com/office/drawing/2014/main" id="{71C101D3-6B05-4504-9334-3B4EBFF439DB}"/>
                      </a:ext>
                    </a:extLst>
                  </p:cNvPr>
                  <p:cNvSpPr/>
                  <p:nvPr/>
                </p:nvSpPr>
                <p:spPr bwMode="auto">
                  <a:xfrm>
                    <a:off x="5863318" y="4671458"/>
                    <a:ext cx="349629" cy="604494"/>
                  </a:xfrm>
                  <a:custGeom>
                    <a:avLst/>
                    <a:gdLst>
                      <a:gd name="connsiteX0" fmla="*/ 187779 w 187779"/>
                      <a:gd name="connsiteY0" fmla="*/ 318407 h 318407"/>
                      <a:gd name="connsiteX1" fmla="*/ 99333 w 187779"/>
                      <a:gd name="connsiteY1" fmla="*/ 110218 h 318407"/>
                      <a:gd name="connsiteX2" fmla="*/ 0 w 187779"/>
                      <a:gd name="connsiteY2"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Lst>
                    <a:ahLst/>
                    <a:cxnLst>
                      <a:cxn ang="0">
                        <a:pos x="connsiteX0" y="connsiteY0"/>
                      </a:cxn>
                      <a:cxn ang="0">
                        <a:pos x="connsiteX1" y="connsiteY1"/>
                      </a:cxn>
                    </a:cxnLst>
                    <a:rect l="l" t="t" r="r" b="b"/>
                    <a:pathLst>
                      <a:path w="187779" h="318407">
                        <a:moveTo>
                          <a:pt x="187779" y="318407"/>
                        </a:moveTo>
                        <a:cubicBezTo>
                          <a:pt x="179997" y="236640"/>
                          <a:pt x="132751" y="105419"/>
                          <a:pt x="0" y="0"/>
                        </a:cubicBezTo>
                      </a:path>
                    </a:pathLst>
                  </a:custGeom>
                  <a:noFill/>
                  <a:ln w="12700" cap="rnd" cmpd="sng" algn="ctr">
                    <a:solidFill>
                      <a:schemeClr val="tx2"/>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129" name="Group 128">
                <a:extLst>
                  <a:ext uri="{FF2B5EF4-FFF2-40B4-BE49-F238E27FC236}">
                    <a16:creationId xmlns:a16="http://schemas.microsoft.com/office/drawing/2014/main" id="{398550EE-58C5-475B-9366-5696A7B2E8A0}"/>
                  </a:ext>
                </a:extLst>
              </p:cNvPr>
              <p:cNvGrpSpPr/>
              <p:nvPr/>
            </p:nvGrpSpPr>
            <p:grpSpPr>
              <a:xfrm>
                <a:off x="1826397" y="3179833"/>
                <a:ext cx="764471" cy="606801"/>
                <a:chOff x="4223626" y="2353385"/>
                <a:chExt cx="1173971" cy="931848"/>
              </a:xfrm>
            </p:grpSpPr>
            <p:grpSp>
              <p:nvGrpSpPr>
                <p:cNvPr id="130" name="Group 129">
                  <a:extLst>
                    <a:ext uri="{FF2B5EF4-FFF2-40B4-BE49-F238E27FC236}">
                      <a16:creationId xmlns:a16="http://schemas.microsoft.com/office/drawing/2014/main" id="{C1ED8025-2371-4DE7-83C8-F154E9CF56FC}"/>
                    </a:ext>
                  </a:extLst>
                </p:cNvPr>
                <p:cNvGrpSpPr/>
                <p:nvPr/>
              </p:nvGrpSpPr>
              <p:grpSpPr>
                <a:xfrm>
                  <a:off x="4273550" y="2402418"/>
                  <a:ext cx="1079500" cy="840315"/>
                  <a:chOff x="4273550" y="2402418"/>
                  <a:chExt cx="1079500" cy="840315"/>
                </a:xfrm>
              </p:grpSpPr>
              <p:cxnSp>
                <p:nvCxnSpPr>
                  <p:cNvPr id="139" name="Straight Connector 138">
                    <a:extLst>
                      <a:ext uri="{FF2B5EF4-FFF2-40B4-BE49-F238E27FC236}">
                        <a16:creationId xmlns:a16="http://schemas.microsoft.com/office/drawing/2014/main" id="{DECF136F-693D-46DE-9723-DECECA9AA19D}"/>
                      </a:ext>
                    </a:extLst>
                  </p:cNvPr>
                  <p:cNvCxnSpPr>
                    <a:cxnSpLocks/>
                  </p:cNvCxnSpPr>
                  <p:nvPr/>
                </p:nvCxnSpPr>
                <p:spPr>
                  <a:xfrm>
                    <a:off x="4997450" y="2413000"/>
                    <a:ext cx="355600" cy="23283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0" name="Straight Connector 139">
                    <a:extLst>
                      <a:ext uri="{FF2B5EF4-FFF2-40B4-BE49-F238E27FC236}">
                        <a16:creationId xmlns:a16="http://schemas.microsoft.com/office/drawing/2014/main" id="{EBC41110-E004-42A9-B8D0-573A774103A1}"/>
                      </a:ext>
                    </a:extLst>
                  </p:cNvPr>
                  <p:cNvCxnSpPr>
                    <a:cxnSpLocks/>
                  </p:cNvCxnSpPr>
                  <p:nvPr/>
                </p:nvCxnSpPr>
                <p:spPr>
                  <a:xfrm>
                    <a:off x="4997450" y="2413000"/>
                    <a:ext cx="296333" cy="72178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1" name="Straight Connector 140">
                    <a:extLst>
                      <a:ext uri="{FF2B5EF4-FFF2-40B4-BE49-F238E27FC236}">
                        <a16:creationId xmlns:a16="http://schemas.microsoft.com/office/drawing/2014/main" id="{09206B78-3035-4784-82F1-43FC922563B5}"/>
                      </a:ext>
                    </a:extLst>
                  </p:cNvPr>
                  <p:cNvCxnSpPr>
                    <a:cxnSpLocks/>
                  </p:cNvCxnSpPr>
                  <p:nvPr/>
                </p:nvCxnSpPr>
                <p:spPr>
                  <a:xfrm flipV="1">
                    <a:off x="4762500" y="3143250"/>
                    <a:ext cx="520700" cy="8678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2" name="Straight Connector 141">
                    <a:extLst>
                      <a:ext uri="{FF2B5EF4-FFF2-40B4-BE49-F238E27FC236}">
                        <a16:creationId xmlns:a16="http://schemas.microsoft.com/office/drawing/2014/main" id="{139012D2-29C2-4AF3-B084-E6065CCECE69}"/>
                      </a:ext>
                    </a:extLst>
                  </p:cNvPr>
                  <p:cNvCxnSpPr>
                    <a:cxnSpLocks/>
                  </p:cNvCxnSpPr>
                  <p:nvPr/>
                </p:nvCxnSpPr>
                <p:spPr>
                  <a:xfrm flipV="1">
                    <a:off x="5039783" y="2641600"/>
                    <a:ext cx="300567" cy="241300"/>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3" name="Straight Connector 142">
                    <a:extLst>
                      <a:ext uri="{FF2B5EF4-FFF2-40B4-BE49-F238E27FC236}">
                        <a16:creationId xmlns:a16="http://schemas.microsoft.com/office/drawing/2014/main" id="{8F45E352-67F0-4415-934C-7E7FB6ACEC39}"/>
                      </a:ext>
                    </a:extLst>
                  </p:cNvPr>
                  <p:cNvCxnSpPr>
                    <a:cxnSpLocks/>
                  </p:cNvCxnSpPr>
                  <p:nvPr/>
                </p:nvCxnSpPr>
                <p:spPr>
                  <a:xfrm flipV="1">
                    <a:off x="4413250" y="2413001"/>
                    <a:ext cx="571500" cy="126999"/>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4" name="Straight Connector 143">
                    <a:extLst>
                      <a:ext uri="{FF2B5EF4-FFF2-40B4-BE49-F238E27FC236}">
                        <a16:creationId xmlns:a16="http://schemas.microsoft.com/office/drawing/2014/main" id="{F1C7B16A-C721-4661-B87C-2A2BF6B1519E}"/>
                      </a:ext>
                    </a:extLst>
                  </p:cNvPr>
                  <p:cNvCxnSpPr>
                    <a:cxnSpLocks/>
                  </p:cNvCxnSpPr>
                  <p:nvPr/>
                </p:nvCxnSpPr>
                <p:spPr>
                  <a:xfrm flipV="1">
                    <a:off x="4703233" y="2450099"/>
                    <a:ext cx="251425" cy="248651"/>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5" name="Straight Connector 144">
                    <a:extLst>
                      <a:ext uri="{FF2B5EF4-FFF2-40B4-BE49-F238E27FC236}">
                        <a16:creationId xmlns:a16="http://schemas.microsoft.com/office/drawing/2014/main" id="{77EFB8EE-9676-45EC-8354-08F2EF9BF053}"/>
                      </a:ext>
                    </a:extLst>
                  </p:cNvPr>
                  <p:cNvCxnSpPr>
                    <a:cxnSpLocks/>
                  </p:cNvCxnSpPr>
                  <p:nvPr/>
                </p:nvCxnSpPr>
                <p:spPr>
                  <a:xfrm flipV="1">
                    <a:off x="4762500" y="2402418"/>
                    <a:ext cx="232833" cy="821265"/>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6" name="Straight Connector 145">
                    <a:extLst>
                      <a:ext uri="{FF2B5EF4-FFF2-40B4-BE49-F238E27FC236}">
                        <a16:creationId xmlns:a16="http://schemas.microsoft.com/office/drawing/2014/main" id="{26545596-D48C-477C-B9A6-B563F110720C}"/>
                      </a:ext>
                    </a:extLst>
                  </p:cNvPr>
                  <p:cNvCxnSpPr>
                    <a:cxnSpLocks/>
                  </p:cNvCxnSpPr>
                  <p:nvPr/>
                </p:nvCxnSpPr>
                <p:spPr>
                  <a:xfrm flipH="1" flipV="1">
                    <a:off x="4273550" y="2984500"/>
                    <a:ext cx="495300" cy="25188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7" name="Straight Connector 146">
                    <a:extLst>
                      <a:ext uri="{FF2B5EF4-FFF2-40B4-BE49-F238E27FC236}">
                        <a16:creationId xmlns:a16="http://schemas.microsoft.com/office/drawing/2014/main" id="{3B3965A5-2268-462C-AAC2-8C532CF94990}"/>
                      </a:ext>
                    </a:extLst>
                  </p:cNvPr>
                  <p:cNvCxnSpPr>
                    <a:cxnSpLocks/>
                  </p:cNvCxnSpPr>
                  <p:nvPr/>
                </p:nvCxnSpPr>
                <p:spPr>
                  <a:xfrm flipH="1" flipV="1">
                    <a:off x="4417483" y="2537884"/>
                    <a:ext cx="647700" cy="338666"/>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8" name="Straight Connector 147">
                    <a:extLst>
                      <a:ext uri="{FF2B5EF4-FFF2-40B4-BE49-F238E27FC236}">
                        <a16:creationId xmlns:a16="http://schemas.microsoft.com/office/drawing/2014/main" id="{76625647-74C3-483E-B553-3BD23EE3C39C}"/>
                      </a:ext>
                    </a:extLst>
                  </p:cNvPr>
                  <p:cNvCxnSpPr>
                    <a:cxnSpLocks/>
                  </p:cNvCxnSpPr>
                  <p:nvPr/>
                </p:nvCxnSpPr>
                <p:spPr>
                  <a:xfrm flipV="1">
                    <a:off x="4277783" y="2874433"/>
                    <a:ext cx="770467" cy="107950"/>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9" name="Straight Connector 148">
                    <a:extLst>
                      <a:ext uri="{FF2B5EF4-FFF2-40B4-BE49-F238E27FC236}">
                        <a16:creationId xmlns:a16="http://schemas.microsoft.com/office/drawing/2014/main" id="{09044013-54C9-4EE3-8E08-C44346EFE6B7}"/>
                      </a:ext>
                    </a:extLst>
                  </p:cNvPr>
                  <p:cNvCxnSpPr>
                    <a:cxnSpLocks/>
                  </p:cNvCxnSpPr>
                  <p:nvPr/>
                </p:nvCxnSpPr>
                <p:spPr>
                  <a:xfrm flipH="1" flipV="1">
                    <a:off x="4413250" y="2531533"/>
                    <a:ext cx="353483" cy="698500"/>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0" name="Straight Connector 149">
                    <a:extLst>
                      <a:ext uri="{FF2B5EF4-FFF2-40B4-BE49-F238E27FC236}">
                        <a16:creationId xmlns:a16="http://schemas.microsoft.com/office/drawing/2014/main" id="{489AB49B-AC85-46CB-9BDF-911217A1F0E0}"/>
                      </a:ext>
                    </a:extLst>
                  </p:cNvPr>
                  <p:cNvCxnSpPr>
                    <a:cxnSpLocks/>
                  </p:cNvCxnSpPr>
                  <p:nvPr/>
                </p:nvCxnSpPr>
                <p:spPr>
                  <a:xfrm flipH="1" flipV="1">
                    <a:off x="4715933" y="2698750"/>
                    <a:ext cx="50800" cy="54398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1" name="Straight Connector 150">
                    <a:extLst>
                      <a:ext uri="{FF2B5EF4-FFF2-40B4-BE49-F238E27FC236}">
                        <a16:creationId xmlns:a16="http://schemas.microsoft.com/office/drawing/2014/main" id="{7CDF5EC2-9B50-48AC-8CFF-3BA8569B91E0}"/>
                      </a:ext>
                    </a:extLst>
                  </p:cNvPr>
                  <p:cNvCxnSpPr>
                    <a:cxnSpLocks/>
                  </p:cNvCxnSpPr>
                  <p:nvPr/>
                </p:nvCxnSpPr>
                <p:spPr>
                  <a:xfrm flipH="1" flipV="1">
                    <a:off x="5052483" y="2899834"/>
                    <a:ext cx="234950" cy="218016"/>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52" name="Straight Connector 151">
                    <a:extLst>
                      <a:ext uri="{FF2B5EF4-FFF2-40B4-BE49-F238E27FC236}">
                        <a16:creationId xmlns:a16="http://schemas.microsoft.com/office/drawing/2014/main" id="{086DF099-9E6D-45F2-B1AC-8D4457B315CF}"/>
                      </a:ext>
                    </a:extLst>
                  </p:cNvPr>
                  <p:cNvCxnSpPr>
                    <a:cxnSpLocks/>
                  </p:cNvCxnSpPr>
                  <p:nvPr/>
                </p:nvCxnSpPr>
                <p:spPr>
                  <a:xfrm flipV="1">
                    <a:off x="4762500" y="2876550"/>
                    <a:ext cx="292101" cy="34078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131" name="Oval 19">
                  <a:extLst>
                    <a:ext uri="{FF2B5EF4-FFF2-40B4-BE49-F238E27FC236}">
                      <a16:creationId xmlns:a16="http://schemas.microsoft.com/office/drawing/2014/main" id="{98B32F2A-2956-494C-BA2B-0B953A533129}"/>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a:ea typeface="+mn-ea"/>
                    <a:cs typeface="+mn-cs"/>
                  </a:endParaRPr>
                </a:p>
              </p:txBody>
            </p:sp>
            <p:sp useBgFill="1">
              <p:nvSpPr>
                <p:cNvPr id="132" name="Oval 19">
                  <a:extLst>
                    <a:ext uri="{FF2B5EF4-FFF2-40B4-BE49-F238E27FC236}">
                      <a16:creationId xmlns:a16="http://schemas.microsoft.com/office/drawing/2014/main" id="{6283AD0F-AEE6-4B7D-8F27-D9C50E91CFB3}"/>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a:ea typeface="+mn-ea"/>
                    <a:cs typeface="+mn-cs"/>
                  </a:endParaRPr>
                </a:p>
              </p:txBody>
            </p:sp>
            <p:sp useBgFill="1">
              <p:nvSpPr>
                <p:cNvPr id="133" name="Oval 19">
                  <a:extLst>
                    <a:ext uri="{FF2B5EF4-FFF2-40B4-BE49-F238E27FC236}">
                      <a16:creationId xmlns:a16="http://schemas.microsoft.com/office/drawing/2014/main" id="{418B66E4-8AF5-4FB7-A6E3-42FB954005B6}"/>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a:ea typeface="+mn-ea"/>
                    <a:cs typeface="+mn-cs"/>
                  </a:endParaRPr>
                </a:p>
              </p:txBody>
            </p:sp>
            <p:sp useBgFill="1">
              <p:nvSpPr>
                <p:cNvPr id="134" name="Oval 19">
                  <a:extLst>
                    <a:ext uri="{FF2B5EF4-FFF2-40B4-BE49-F238E27FC236}">
                      <a16:creationId xmlns:a16="http://schemas.microsoft.com/office/drawing/2014/main" id="{6EF27885-61FA-4C1A-8E94-257E7DEF4014}"/>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a:ea typeface="+mn-ea"/>
                    <a:cs typeface="+mn-cs"/>
                  </a:endParaRPr>
                </a:p>
              </p:txBody>
            </p:sp>
            <p:sp useBgFill="1">
              <p:nvSpPr>
                <p:cNvPr id="135" name="Oval 19">
                  <a:extLst>
                    <a:ext uri="{FF2B5EF4-FFF2-40B4-BE49-F238E27FC236}">
                      <a16:creationId xmlns:a16="http://schemas.microsoft.com/office/drawing/2014/main" id="{1C404463-BFC6-469A-9A78-1D3B65A0D0D1}"/>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a:ea typeface="+mn-ea"/>
                    <a:cs typeface="+mn-cs"/>
                  </a:endParaRPr>
                </a:p>
              </p:txBody>
            </p:sp>
            <p:sp useBgFill="1">
              <p:nvSpPr>
                <p:cNvPr id="136" name="Oval 19">
                  <a:extLst>
                    <a:ext uri="{FF2B5EF4-FFF2-40B4-BE49-F238E27FC236}">
                      <a16:creationId xmlns:a16="http://schemas.microsoft.com/office/drawing/2014/main" id="{116CDCBA-2113-4B1B-B931-C3123FC21A22}"/>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a:ea typeface="+mn-ea"/>
                    <a:cs typeface="+mn-cs"/>
                  </a:endParaRPr>
                </a:p>
              </p:txBody>
            </p:sp>
            <p:sp useBgFill="1">
              <p:nvSpPr>
                <p:cNvPr id="137" name="Oval 19">
                  <a:extLst>
                    <a:ext uri="{FF2B5EF4-FFF2-40B4-BE49-F238E27FC236}">
                      <a16:creationId xmlns:a16="http://schemas.microsoft.com/office/drawing/2014/main" id="{4B3B48D0-4EB6-4702-BEE9-D05FE0A52556}"/>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a:ea typeface="+mn-ea"/>
                    <a:cs typeface="+mn-cs"/>
                  </a:endParaRPr>
                </a:p>
              </p:txBody>
            </p:sp>
            <p:sp useBgFill="1">
              <p:nvSpPr>
                <p:cNvPr id="138" name="Oval 19">
                  <a:extLst>
                    <a:ext uri="{FF2B5EF4-FFF2-40B4-BE49-F238E27FC236}">
                      <a16:creationId xmlns:a16="http://schemas.microsoft.com/office/drawing/2014/main" id="{D975F671-6AF6-404E-A13A-06C36978D96F}"/>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a:ea typeface="+mn-ea"/>
                    <a:cs typeface="+mn-cs"/>
                  </a:endParaRPr>
                </a:p>
              </p:txBody>
            </p:sp>
          </p:grpSp>
        </p:grpSp>
      </p:grpSp>
      <p:grpSp>
        <p:nvGrpSpPr>
          <p:cNvPr id="280" name="Group 279">
            <a:extLst>
              <a:ext uri="{FF2B5EF4-FFF2-40B4-BE49-F238E27FC236}">
                <a16:creationId xmlns:a16="http://schemas.microsoft.com/office/drawing/2014/main" id="{DBA38EA2-A2F2-4E7B-B255-961B6B1DA799}"/>
              </a:ext>
            </a:extLst>
          </p:cNvPr>
          <p:cNvGrpSpPr/>
          <p:nvPr/>
        </p:nvGrpSpPr>
        <p:grpSpPr>
          <a:xfrm>
            <a:off x="5648099" y="2409716"/>
            <a:ext cx="1577673" cy="2749591"/>
            <a:chOff x="5761354" y="2457539"/>
            <a:chExt cx="1609309" cy="2804726"/>
          </a:xfrm>
        </p:grpSpPr>
        <p:sp>
          <p:nvSpPr>
            <p:cNvPr id="66" name="TextBox 65">
              <a:extLst>
                <a:ext uri="{FF2B5EF4-FFF2-40B4-BE49-F238E27FC236}">
                  <a16:creationId xmlns:a16="http://schemas.microsoft.com/office/drawing/2014/main" id="{0E7FAD95-104D-4DEC-A86A-F36C73BACFA1}"/>
                </a:ext>
              </a:extLst>
            </p:cNvPr>
            <p:cNvSpPr txBox="1"/>
            <p:nvPr/>
          </p:nvSpPr>
          <p:spPr>
            <a:xfrm>
              <a:off x="5772744" y="2463820"/>
              <a:ext cx="1597919" cy="550281"/>
            </a:xfrm>
            <a:prstGeom prst="rect">
              <a:avLst/>
            </a:prstGeom>
            <a:noFill/>
          </p:spPr>
          <p:txBody>
            <a:bodyPr wrap="squar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a:ea typeface="+mn-ea"/>
                  <a:cs typeface="+mn-cs"/>
                </a:rPr>
                <a:t>Experimentation and pipelines</a:t>
              </a:r>
            </a:p>
          </p:txBody>
        </p:sp>
        <p:grpSp>
          <p:nvGrpSpPr>
            <p:cNvPr id="67" name="Group 66">
              <a:extLst>
                <a:ext uri="{FF2B5EF4-FFF2-40B4-BE49-F238E27FC236}">
                  <a16:creationId xmlns:a16="http://schemas.microsoft.com/office/drawing/2014/main" id="{D7B3C6ED-23D6-4C8B-9EA8-0154B6174B55}"/>
                </a:ext>
              </a:extLst>
            </p:cNvPr>
            <p:cNvGrpSpPr/>
            <p:nvPr/>
          </p:nvGrpSpPr>
          <p:grpSpPr>
            <a:xfrm>
              <a:off x="5761354" y="2457539"/>
              <a:ext cx="1599571" cy="2804726"/>
              <a:chOff x="3208859" y="4070542"/>
              <a:chExt cx="1458309" cy="2411828"/>
            </a:xfrm>
          </p:grpSpPr>
          <p:sp>
            <p:nvSpPr>
              <p:cNvPr id="68" name="Rectangle 67">
                <a:extLst>
                  <a:ext uri="{FF2B5EF4-FFF2-40B4-BE49-F238E27FC236}">
                    <a16:creationId xmlns:a16="http://schemas.microsoft.com/office/drawing/2014/main" id="{D7E27CF5-4175-4508-9FA1-C4819E3A18BA}"/>
                  </a:ext>
                </a:extLst>
              </p:cNvPr>
              <p:cNvSpPr/>
              <p:nvPr/>
            </p:nvSpPr>
            <p:spPr bwMode="auto">
              <a:xfrm>
                <a:off x="3208859" y="4070542"/>
                <a:ext cx="1456803" cy="241182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0FD65F42-2853-4B2A-935A-2DA3680A374D}"/>
                  </a:ext>
                </a:extLst>
              </p:cNvPr>
              <p:cNvCxnSpPr>
                <a:cxnSpLocks/>
              </p:cNvCxnSpPr>
              <p:nvPr/>
            </p:nvCxnSpPr>
            <p:spPr>
              <a:xfrm>
                <a:off x="3208859" y="4541668"/>
                <a:ext cx="1458309"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4" name="Group 153">
              <a:extLst>
                <a:ext uri="{FF2B5EF4-FFF2-40B4-BE49-F238E27FC236}">
                  <a16:creationId xmlns:a16="http://schemas.microsoft.com/office/drawing/2014/main" id="{309C420D-11C2-476C-ACBA-9DE2341111F3}"/>
                </a:ext>
              </a:extLst>
            </p:cNvPr>
            <p:cNvGrpSpPr/>
            <p:nvPr/>
          </p:nvGrpSpPr>
          <p:grpSpPr>
            <a:xfrm rot="16200000">
              <a:off x="5954942" y="3927503"/>
              <a:ext cx="1233524" cy="911785"/>
              <a:chOff x="3863969" y="5013705"/>
              <a:chExt cx="909508" cy="505347"/>
            </a:xfrm>
          </p:grpSpPr>
          <p:sp>
            <p:nvSpPr>
              <p:cNvPr id="155" name="Cylinder 828">
                <a:extLst>
                  <a:ext uri="{FF2B5EF4-FFF2-40B4-BE49-F238E27FC236}">
                    <a16:creationId xmlns:a16="http://schemas.microsoft.com/office/drawing/2014/main" id="{692D54D6-9563-4F2A-8EF4-ACDE5FBC049F}"/>
                  </a:ext>
                </a:extLst>
              </p:cNvPr>
              <p:cNvSpPr/>
              <p:nvPr/>
            </p:nvSpPr>
            <p:spPr bwMode="auto">
              <a:xfrm rot="5400000">
                <a:off x="3732837" y="5144837"/>
                <a:ext cx="505346" cy="243081"/>
              </a:xfrm>
              <a:prstGeom prst="can">
                <a:avLst>
                  <a:gd name="adj" fmla="val 5000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0078D4"/>
                  </a:solidFill>
                  <a:effectLst/>
                  <a:uLnTx/>
                  <a:uFillTx/>
                  <a:latin typeface="Segoe UI Semibold"/>
                  <a:ea typeface="Segoe UI" pitchFamily="34" charset="0"/>
                  <a:cs typeface="Segoe UI" pitchFamily="34" charset="0"/>
                </a:endParaRPr>
              </a:p>
            </p:txBody>
          </p:sp>
          <p:sp>
            <p:nvSpPr>
              <p:cNvPr id="156" name="Cylinder 828">
                <a:extLst>
                  <a:ext uri="{FF2B5EF4-FFF2-40B4-BE49-F238E27FC236}">
                    <a16:creationId xmlns:a16="http://schemas.microsoft.com/office/drawing/2014/main" id="{404CC736-C870-44FC-B064-B22B4EA36B05}"/>
                  </a:ext>
                </a:extLst>
              </p:cNvPr>
              <p:cNvSpPr/>
              <p:nvPr/>
            </p:nvSpPr>
            <p:spPr bwMode="auto">
              <a:xfrm rot="5400000">
                <a:off x="4110202" y="4958596"/>
                <a:ext cx="430050" cy="615564"/>
              </a:xfrm>
              <a:prstGeom prst="can">
                <a:avLst>
                  <a:gd name="adj" fmla="val 17907"/>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0078D4"/>
                  </a:solidFill>
                  <a:effectLst/>
                  <a:uLnTx/>
                  <a:uFillTx/>
                  <a:latin typeface="Segoe UI Semibold"/>
                  <a:ea typeface="Segoe UI" pitchFamily="34" charset="0"/>
                  <a:cs typeface="Segoe UI" pitchFamily="34" charset="0"/>
                </a:endParaRPr>
              </a:p>
            </p:txBody>
          </p:sp>
          <p:sp>
            <p:nvSpPr>
              <p:cNvPr id="157" name="Cylinder 828">
                <a:extLst>
                  <a:ext uri="{FF2B5EF4-FFF2-40B4-BE49-F238E27FC236}">
                    <a16:creationId xmlns:a16="http://schemas.microsoft.com/office/drawing/2014/main" id="{CC3B40B5-2BE6-48A6-9A93-EC073419C0EE}"/>
                  </a:ext>
                </a:extLst>
              </p:cNvPr>
              <p:cNvSpPr/>
              <p:nvPr/>
            </p:nvSpPr>
            <p:spPr bwMode="auto">
              <a:xfrm rot="5400000">
                <a:off x="4399264" y="5144838"/>
                <a:ext cx="505346" cy="243081"/>
              </a:xfrm>
              <a:prstGeom prst="can">
                <a:avLst>
                  <a:gd name="adj" fmla="val 5000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0078D4"/>
                  </a:solidFill>
                  <a:effectLst/>
                  <a:uLnTx/>
                  <a:uFillTx/>
                  <a:latin typeface="Segoe UI Semibold"/>
                  <a:ea typeface="Segoe UI" pitchFamily="34" charset="0"/>
                  <a:cs typeface="Segoe UI" pitchFamily="34" charset="0"/>
                </a:endParaRPr>
              </a:p>
            </p:txBody>
          </p:sp>
        </p:grpSp>
        <p:grpSp>
          <p:nvGrpSpPr>
            <p:cNvPr id="158" name="Group 20">
              <a:extLst>
                <a:ext uri="{FF2B5EF4-FFF2-40B4-BE49-F238E27FC236}">
                  <a16:creationId xmlns:a16="http://schemas.microsoft.com/office/drawing/2014/main" id="{B905EE4C-5620-496A-A0AB-08374E607BAC}"/>
                </a:ext>
              </a:extLst>
            </p:cNvPr>
            <p:cNvGrpSpPr>
              <a:grpSpLocks noChangeAspect="1"/>
            </p:cNvGrpSpPr>
            <p:nvPr/>
          </p:nvGrpSpPr>
          <p:grpSpPr bwMode="auto">
            <a:xfrm>
              <a:off x="6352732" y="3464312"/>
              <a:ext cx="479602" cy="419822"/>
              <a:chOff x="3764" y="3313"/>
              <a:chExt cx="353" cy="309"/>
            </a:xfrm>
          </p:grpSpPr>
          <p:sp>
            <p:nvSpPr>
              <p:cNvPr id="159" name="Freeform 21">
                <a:extLst>
                  <a:ext uri="{FF2B5EF4-FFF2-40B4-BE49-F238E27FC236}">
                    <a16:creationId xmlns:a16="http://schemas.microsoft.com/office/drawing/2014/main" id="{87E8DC1C-13C8-4661-AEAE-D78A878F468E}"/>
                  </a:ext>
                </a:extLst>
              </p:cNvPr>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0" name="Freeform 22">
                <a:extLst>
                  <a:ext uri="{FF2B5EF4-FFF2-40B4-BE49-F238E27FC236}">
                    <a16:creationId xmlns:a16="http://schemas.microsoft.com/office/drawing/2014/main" id="{0E901512-1AB8-4975-947B-FB5A4DAA2BD6}"/>
                  </a:ext>
                </a:extLst>
              </p:cNvPr>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23">
                <a:extLst>
                  <a:ext uri="{FF2B5EF4-FFF2-40B4-BE49-F238E27FC236}">
                    <a16:creationId xmlns:a16="http://schemas.microsoft.com/office/drawing/2014/main" id="{E2897025-3D68-4B8B-9A92-E10568E963EC}"/>
                  </a:ext>
                </a:extLst>
              </p:cNvPr>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24">
                <a:extLst>
                  <a:ext uri="{FF2B5EF4-FFF2-40B4-BE49-F238E27FC236}">
                    <a16:creationId xmlns:a16="http://schemas.microsoft.com/office/drawing/2014/main" id="{F01F5F08-0371-48FA-8F4F-834ED7A6A332}"/>
                  </a:ext>
                </a:extLst>
              </p:cNvPr>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25">
                <a:extLst>
                  <a:ext uri="{FF2B5EF4-FFF2-40B4-BE49-F238E27FC236}">
                    <a16:creationId xmlns:a16="http://schemas.microsoft.com/office/drawing/2014/main" id="{04107197-6220-4514-B9F7-F0B78CE435D4}"/>
                  </a:ext>
                </a:extLst>
              </p:cNvPr>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26">
                <a:extLst>
                  <a:ext uri="{FF2B5EF4-FFF2-40B4-BE49-F238E27FC236}">
                    <a16:creationId xmlns:a16="http://schemas.microsoft.com/office/drawing/2014/main" id="{2FC3C904-2195-49C9-A92E-1CF512A73F9E}"/>
                  </a:ext>
                </a:extLst>
              </p:cNvPr>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5" name="Freeform 27">
                <a:extLst>
                  <a:ext uri="{FF2B5EF4-FFF2-40B4-BE49-F238E27FC236}">
                    <a16:creationId xmlns:a16="http://schemas.microsoft.com/office/drawing/2014/main" id="{32D4F55D-D688-4248-990E-33BB8BBF322B}"/>
                  </a:ext>
                </a:extLst>
              </p:cNvPr>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6" name="Freeform 28">
                <a:extLst>
                  <a:ext uri="{FF2B5EF4-FFF2-40B4-BE49-F238E27FC236}">
                    <a16:creationId xmlns:a16="http://schemas.microsoft.com/office/drawing/2014/main" id="{A54DAA4C-9B02-4AB8-866A-90B802D4BA4A}"/>
                  </a:ext>
                </a:extLst>
              </p:cNvPr>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7" name="Freeform 29">
                <a:extLst>
                  <a:ext uri="{FF2B5EF4-FFF2-40B4-BE49-F238E27FC236}">
                    <a16:creationId xmlns:a16="http://schemas.microsoft.com/office/drawing/2014/main" id="{02E70F45-9F3C-43AF-B958-B936701DA19D}"/>
                  </a:ext>
                </a:extLst>
              </p:cNvPr>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8" name="Freeform 30">
                <a:extLst>
                  <a:ext uri="{FF2B5EF4-FFF2-40B4-BE49-F238E27FC236}">
                    <a16:creationId xmlns:a16="http://schemas.microsoft.com/office/drawing/2014/main" id="{2626286D-8A71-4B38-B462-19F0E8AD4E56}"/>
                  </a:ext>
                </a:extLst>
              </p:cNvPr>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9" name="Freeform 31">
                <a:extLst>
                  <a:ext uri="{FF2B5EF4-FFF2-40B4-BE49-F238E27FC236}">
                    <a16:creationId xmlns:a16="http://schemas.microsoft.com/office/drawing/2014/main" id="{53058B24-0583-4555-AF95-12DD68395D3B}"/>
                  </a:ext>
                </a:extLst>
              </p:cNvPr>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0" name="Freeform 32">
                <a:extLst>
                  <a:ext uri="{FF2B5EF4-FFF2-40B4-BE49-F238E27FC236}">
                    <a16:creationId xmlns:a16="http://schemas.microsoft.com/office/drawing/2014/main" id="{8760C7AC-99F3-4B52-AD34-7652FF5C1BC0}"/>
                  </a:ext>
                </a:extLst>
              </p:cNvPr>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1" name="Freeform 33">
                <a:extLst>
                  <a:ext uri="{FF2B5EF4-FFF2-40B4-BE49-F238E27FC236}">
                    <a16:creationId xmlns:a16="http://schemas.microsoft.com/office/drawing/2014/main" id="{7EF4DD0E-9C9B-4590-B568-FD9893DAFE56}"/>
                  </a:ext>
                </a:extLst>
              </p:cNvPr>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2" name="Freeform 34">
                <a:extLst>
                  <a:ext uri="{FF2B5EF4-FFF2-40B4-BE49-F238E27FC236}">
                    <a16:creationId xmlns:a16="http://schemas.microsoft.com/office/drawing/2014/main" id="{14146093-CC9E-423E-A189-C832D27FE89D}"/>
                  </a:ext>
                </a:extLst>
              </p:cNvPr>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3" name="Freeform 35">
                <a:extLst>
                  <a:ext uri="{FF2B5EF4-FFF2-40B4-BE49-F238E27FC236}">
                    <a16:creationId xmlns:a16="http://schemas.microsoft.com/office/drawing/2014/main" id="{9F144BF0-C7B6-4336-B3FE-E9E26CC64D5C}"/>
                  </a:ext>
                </a:extLst>
              </p:cNvPr>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4" name="Freeform 36">
                <a:extLst>
                  <a:ext uri="{FF2B5EF4-FFF2-40B4-BE49-F238E27FC236}">
                    <a16:creationId xmlns:a16="http://schemas.microsoft.com/office/drawing/2014/main" id="{F43B98CE-2FFC-4414-A519-7F72D5018542}"/>
                  </a:ext>
                </a:extLst>
              </p:cNvPr>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5" name="Freeform 37">
                <a:extLst>
                  <a:ext uri="{FF2B5EF4-FFF2-40B4-BE49-F238E27FC236}">
                    <a16:creationId xmlns:a16="http://schemas.microsoft.com/office/drawing/2014/main" id="{910B94DC-2976-4D25-B2A7-C520786836A7}"/>
                  </a:ext>
                </a:extLst>
              </p:cNvPr>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6" name="Freeform 38">
                <a:extLst>
                  <a:ext uri="{FF2B5EF4-FFF2-40B4-BE49-F238E27FC236}">
                    <a16:creationId xmlns:a16="http://schemas.microsoft.com/office/drawing/2014/main" id="{FC6B3C98-7AAD-4AFE-A18F-D380B0E6F2A9}"/>
                  </a:ext>
                </a:extLst>
              </p:cNvPr>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279" name="Group 278">
            <a:extLst>
              <a:ext uri="{FF2B5EF4-FFF2-40B4-BE49-F238E27FC236}">
                <a16:creationId xmlns:a16="http://schemas.microsoft.com/office/drawing/2014/main" id="{15EB0153-84BE-4F40-8A25-120098F23108}"/>
              </a:ext>
            </a:extLst>
          </p:cNvPr>
          <p:cNvGrpSpPr/>
          <p:nvPr/>
        </p:nvGrpSpPr>
        <p:grpSpPr>
          <a:xfrm>
            <a:off x="3537552" y="2415666"/>
            <a:ext cx="1568127" cy="2756007"/>
            <a:chOff x="3608486" y="2463608"/>
            <a:chExt cx="1599571" cy="2811271"/>
          </a:xfrm>
        </p:grpSpPr>
        <p:sp>
          <p:nvSpPr>
            <p:cNvPr id="62" name="TextBox 61">
              <a:extLst>
                <a:ext uri="{FF2B5EF4-FFF2-40B4-BE49-F238E27FC236}">
                  <a16:creationId xmlns:a16="http://schemas.microsoft.com/office/drawing/2014/main" id="{E69A5B79-85F3-4A1A-9303-B28CA49A33B5}"/>
                </a:ext>
              </a:extLst>
            </p:cNvPr>
            <p:cNvSpPr txBox="1"/>
            <p:nvPr/>
          </p:nvSpPr>
          <p:spPr>
            <a:xfrm>
              <a:off x="3608486" y="2463608"/>
              <a:ext cx="1597919" cy="550281"/>
            </a:xfrm>
            <a:prstGeom prst="rect">
              <a:avLst/>
            </a:prstGeom>
            <a:noFill/>
          </p:spPr>
          <p:txBody>
            <a:bodyPr wrap="squar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a:ea typeface="+mn-ea"/>
                  <a:cs typeface="+mn-cs"/>
                </a:rPr>
                <a:t>Hyperparameter tuning </a:t>
              </a:r>
            </a:p>
          </p:txBody>
        </p:sp>
        <p:grpSp>
          <p:nvGrpSpPr>
            <p:cNvPr id="63" name="Group 62">
              <a:extLst>
                <a:ext uri="{FF2B5EF4-FFF2-40B4-BE49-F238E27FC236}">
                  <a16:creationId xmlns:a16="http://schemas.microsoft.com/office/drawing/2014/main" id="{9AA4F058-4864-4C86-9A04-0ECFDAAAF48B}"/>
                </a:ext>
              </a:extLst>
            </p:cNvPr>
            <p:cNvGrpSpPr/>
            <p:nvPr/>
          </p:nvGrpSpPr>
          <p:grpSpPr>
            <a:xfrm>
              <a:off x="3608486" y="2470153"/>
              <a:ext cx="1599571" cy="2804726"/>
              <a:chOff x="3208859" y="4070542"/>
              <a:chExt cx="1458309" cy="2411828"/>
            </a:xfrm>
          </p:grpSpPr>
          <p:sp>
            <p:nvSpPr>
              <p:cNvPr id="64" name="Rectangle 63">
                <a:extLst>
                  <a:ext uri="{FF2B5EF4-FFF2-40B4-BE49-F238E27FC236}">
                    <a16:creationId xmlns:a16="http://schemas.microsoft.com/office/drawing/2014/main" id="{6E466891-BC17-4D06-AA59-CB1A445B801B}"/>
                  </a:ext>
                </a:extLst>
              </p:cNvPr>
              <p:cNvSpPr/>
              <p:nvPr/>
            </p:nvSpPr>
            <p:spPr bwMode="auto">
              <a:xfrm>
                <a:off x="3208859" y="4070542"/>
                <a:ext cx="1456803" cy="241182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5" name="Straight Connector 64">
                <a:extLst>
                  <a:ext uri="{FF2B5EF4-FFF2-40B4-BE49-F238E27FC236}">
                    <a16:creationId xmlns:a16="http://schemas.microsoft.com/office/drawing/2014/main" id="{F80081D5-60DC-47B3-B05B-5AA9F79AAD17}"/>
                  </a:ext>
                </a:extLst>
              </p:cNvPr>
              <p:cNvCxnSpPr>
                <a:cxnSpLocks/>
              </p:cNvCxnSpPr>
              <p:nvPr/>
            </p:nvCxnSpPr>
            <p:spPr>
              <a:xfrm>
                <a:off x="3208859" y="4541668"/>
                <a:ext cx="1458309"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53" name="Freeform 17">
              <a:extLst>
                <a:ext uri="{FF2B5EF4-FFF2-40B4-BE49-F238E27FC236}">
                  <a16:creationId xmlns:a16="http://schemas.microsoft.com/office/drawing/2014/main" id="{0B0BEFD6-2684-4FF0-8B8A-62D1BD1BB8A2}"/>
                </a:ext>
              </a:extLst>
            </p:cNvPr>
            <p:cNvSpPr>
              <a:spLocks noEditPoints="1"/>
            </p:cNvSpPr>
            <p:nvPr/>
          </p:nvSpPr>
          <p:spPr bwMode="auto">
            <a:xfrm>
              <a:off x="3915354" y="3352113"/>
              <a:ext cx="846553" cy="780935"/>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nvGrpSpPr>
            <p:cNvPr id="177" name="Group 176">
              <a:extLst>
                <a:ext uri="{FF2B5EF4-FFF2-40B4-BE49-F238E27FC236}">
                  <a16:creationId xmlns:a16="http://schemas.microsoft.com/office/drawing/2014/main" id="{63C74CE1-33EF-4468-AC5C-72DD310B38F8}"/>
                </a:ext>
              </a:extLst>
            </p:cNvPr>
            <p:cNvGrpSpPr/>
            <p:nvPr/>
          </p:nvGrpSpPr>
          <p:grpSpPr>
            <a:xfrm>
              <a:off x="3972610" y="4239763"/>
              <a:ext cx="823081" cy="723675"/>
              <a:chOff x="5378450" y="2388754"/>
              <a:chExt cx="1314450" cy="1155700"/>
            </a:xfrm>
          </p:grpSpPr>
          <p:cxnSp>
            <p:nvCxnSpPr>
              <p:cNvPr id="178" name="Straight Connector 177">
                <a:extLst>
                  <a:ext uri="{FF2B5EF4-FFF2-40B4-BE49-F238E27FC236}">
                    <a16:creationId xmlns:a16="http://schemas.microsoft.com/office/drawing/2014/main" id="{D2B611D1-CF9D-4BC0-A2DF-56FCB6304F50}"/>
                  </a:ext>
                </a:extLst>
              </p:cNvPr>
              <p:cNvCxnSpPr/>
              <p:nvPr/>
            </p:nvCxnSpPr>
            <p:spPr>
              <a:xfrm>
                <a:off x="6035675" y="2388754"/>
                <a:ext cx="0" cy="1155700"/>
              </a:xfrm>
              <a:prstGeom prst="line">
                <a:avLst/>
              </a:prstGeom>
              <a:noFill/>
              <a:ln w="12700" cap="flat" cmpd="sng" algn="ctr">
                <a:solidFill>
                  <a:schemeClr val="tx2"/>
                </a:solidFill>
                <a:prstDash val="solid"/>
                <a:headEnd type="none"/>
                <a:tailEnd type="none"/>
              </a:ln>
              <a:effectLst/>
            </p:spPr>
          </p:cxnSp>
          <p:sp>
            <p:nvSpPr>
              <p:cNvPr id="179" name="check">
                <a:extLst>
                  <a:ext uri="{FF2B5EF4-FFF2-40B4-BE49-F238E27FC236}">
                    <a16:creationId xmlns:a16="http://schemas.microsoft.com/office/drawing/2014/main" id="{A7DD95C6-8CAF-4CBC-B09D-45C455828E0C}"/>
                  </a:ext>
                </a:extLst>
              </p:cNvPr>
              <p:cNvSpPr>
                <a:spLocks noChangeAspect="1"/>
              </p:cNvSpPr>
              <p:nvPr/>
            </p:nvSpPr>
            <p:spPr bwMode="auto">
              <a:xfrm>
                <a:off x="5565996" y="2490522"/>
                <a:ext cx="276004" cy="19489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80" name="check">
                <a:extLst>
                  <a:ext uri="{FF2B5EF4-FFF2-40B4-BE49-F238E27FC236}">
                    <a16:creationId xmlns:a16="http://schemas.microsoft.com/office/drawing/2014/main" id="{F12D4298-5B90-4B47-807F-C8517611DC01}"/>
                  </a:ext>
                </a:extLst>
              </p:cNvPr>
              <p:cNvSpPr>
                <a:spLocks noChangeAspect="1"/>
              </p:cNvSpPr>
              <p:nvPr/>
            </p:nvSpPr>
            <p:spPr bwMode="auto">
              <a:xfrm>
                <a:off x="6213696" y="2490522"/>
                <a:ext cx="276004" cy="19489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81" name="check">
                <a:extLst>
                  <a:ext uri="{FF2B5EF4-FFF2-40B4-BE49-F238E27FC236}">
                    <a16:creationId xmlns:a16="http://schemas.microsoft.com/office/drawing/2014/main" id="{385925B6-6EB4-4937-90C9-F32B5694C7FA}"/>
                  </a:ext>
                </a:extLst>
              </p:cNvPr>
              <p:cNvSpPr>
                <a:spLocks noChangeAspect="1"/>
              </p:cNvSpPr>
              <p:nvPr/>
            </p:nvSpPr>
            <p:spPr bwMode="auto">
              <a:xfrm>
                <a:off x="5565996" y="2858822"/>
                <a:ext cx="276004" cy="19489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82" name="check">
                <a:extLst>
                  <a:ext uri="{FF2B5EF4-FFF2-40B4-BE49-F238E27FC236}">
                    <a16:creationId xmlns:a16="http://schemas.microsoft.com/office/drawing/2014/main" id="{58CDAF87-473E-492F-80A0-D922B7E8C650}"/>
                  </a:ext>
                </a:extLst>
              </p:cNvPr>
              <p:cNvSpPr>
                <a:spLocks noChangeAspect="1"/>
              </p:cNvSpPr>
              <p:nvPr/>
            </p:nvSpPr>
            <p:spPr bwMode="auto">
              <a:xfrm>
                <a:off x="5565996" y="3252522"/>
                <a:ext cx="276004" cy="19489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83" name="check">
                <a:extLst>
                  <a:ext uri="{FF2B5EF4-FFF2-40B4-BE49-F238E27FC236}">
                    <a16:creationId xmlns:a16="http://schemas.microsoft.com/office/drawing/2014/main" id="{062D8735-9872-4BFB-B13B-1E4E51884F63}"/>
                  </a:ext>
                </a:extLst>
              </p:cNvPr>
              <p:cNvSpPr>
                <a:spLocks noChangeAspect="1"/>
              </p:cNvSpPr>
              <p:nvPr/>
            </p:nvSpPr>
            <p:spPr bwMode="auto">
              <a:xfrm>
                <a:off x="6213696" y="3252522"/>
                <a:ext cx="276004" cy="19489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184" name="Group 183">
                <a:extLst>
                  <a:ext uri="{FF2B5EF4-FFF2-40B4-BE49-F238E27FC236}">
                    <a16:creationId xmlns:a16="http://schemas.microsoft.com/office/drawing/2014/main" id="{0C33CE1A-07BA-4D3A-AE8F-F8CF993B6E60}"/>
                  </a:ext>
                </a:extLst>
              </p:cNvPr>
              <p:cNvGrpSpPr/>
              <p:nvPr/>
            </p:nvGrpSpPr>
            <p:grpSpPr>
              <a:xfrm>
                <a:off x="5378450" y="2782454"/>
                <a:ext cx="1314450" cy="368300"/>
                <a:chOff x="1873250" y="3079750"/>
                <a:chExt cx="1314450" cy="368300"/>
              </a:xfrm>
            </p:grpSpPr>
            <p:cxnSp>
              <p:nvCxnSpPr>
                <p:cNvPr id="185" name="Straight Connector 184">
                  <a:extLst>
                    <a:ext uri="{FF2B5EF4-FFF2-40B4-BE49-F238E27FC236}">
                      <a16:creationId xmlns:a16="http://schemas.microsoft.com/office/drawing/2014/main" id="{12F0A4C1-0DF8-4C97-B521-D8813885485F}"/>
                    </a:ext>
                  </a:extLst>
                </p:cNvPr>
                <p:cNvCxnSpPr/>
                <p:nvPr/>
              </p:nvCxnSpPr>
              <p:spPr>
                <a:xfrm>
                  <a:off x="1873250" y="3079750"/>
                  <a:ext cx="1314450" cy="0"/>
                </a:xfrm>
                <a:prstGeom prst="line">
                  <a:avLst/>
                </a:prstGeom>
                <a:noFill/>
                <a:ln w="12700" cap="flat" cmpd="sng" algn="ctr">
                  <a:solidFill>
                    <a:schemeClr val="tx2"/>
                  </a:solidFill>
                  <a:prstDash val="solid"/>
                  <a:headEnd type="none"/>
                  <a:tailEnd type="none"/>
                </a:ln>
                <a:effectLst/>
              </p:spPr>
            </p:cxnSp>
            <p:cxnSp>
              <p:nvCxnSpPr>
                <p:cNvPr id="186" name="Straight Connector 185">
                  <a:extLst>
                    <a:ext uri="{FF2B5EF4-FFF2-40B4-BE49-F238E27FC236}">
                      <a16:creationId xmlns:a16="http://schemas.microsoft.com/office/drawing/2014/main" id="{DFFF190A-B32F-4534-8763-C7198380DFB7}"/>
                    </a:ext>
                  </a:extLst>
                </p:cNvPr>
                <p:cNvCxnSpPr/>
                <p:nvPr/>
              </p:nvCxnSpPr>
              <p:spPr>
                <a:xfrm>
                  <a:off x="1873250" y="3448050"/>
                  <a:ext cx="1314450" cy="0"/>
                </a:xfrm>
                <a:prstGeom prst="line">
                  <a:avLst/>
                </a:prstGeom>
                <a:noFill/>
                <a:ln w="12700" cap="flat" cmpd="sng" algn="ctr">
                  <a:solidFill>
                    <a:schemeClr val="tx2"/>
                  </a:solidFill>
                  <a:prstDash val="solid"/>
                  <a:headEnd type="none"/>
                  <a:tailEnd type="none"/>
                </a:ln>
                <a:effectLst/>
              </p:spPr>
            </p:cxnSp>
          </p:grpSp>
        </p:grpSp>
      </p:grpSp>
      <p:grpSp>
        <p:nvGrpSpPr>
          <p:cNvPr id="282" name="Group 281">
            <a:extLst>
              <a:ext uri="{FF2B5EF4-FFF2-40B4-BE49-F238E27FC236}">
                <a16:creationId xmlns:a16="http://schemas.microsoft.com/office/drawing/2014/main" id="{37A3A77A-BB79-46FF-A4A8-62EAB264557C}"/>
              </a:ext>
            </a:extLst>
          </p:cNvPr>
          <p:cNvGrpSpPr/>
          <p:nvPr/>
        </p:nvGrpSpPr>
        <p:grpSpPr>
          <a:xfrm>
            <a:off x="9889549" y="2409716"/>
            <a:ext cx="1585325" cy="2749591"/>
            <a:chOff x="10087855" y="2457539"/>
            <a:chExt cx="1617114" cy="2804726"/>
          </a:xfrm>
        </p:grpSpPr>
        <p:grpSp>
          <p:nvGrpSpPr>
            <p:cNvPr id="75" name="Group 74">
              <a:extLst>
                <a:ext uri="{FF2B5EF4-FFF2-40B4-BE49-F238E27FC236}">
                  <a16:creationId xmlns:a16="http://schemas.microsoft.com/office/drawing/2014/main" id="{7C76C57F-AC0C-4D38-AB3A-896FAE91AAC6}"/>
                </a:ext>
              </a:extLst>
            </p:cNvPr>
            <p:cNvGrpSpPr/>
            <p:nvPr/>
          </p:nvGrpSpPr>
          <p:grpSpPr>
            <a:xfrm>
              <a:off x="10087855" y="2457539"/>
              <a:ext cx="1617114" cy="2804726"/>
              <a:chOff x="8107209" y="3065834"/>
              <a:chExt cx="1617114" cy="2804726"/>
            </a:xfrm>
          </p:grpSpPr>
          <p:grpSp>
            <p:nvGrpSpPr>
              <p:cNvPr id="76" name="Group 75">
                <a:extLst>
                  <a:ext uri="{FF2B5EF4-FFF2-40B4-BE49-F238E27FC236}">
                    <a16:creationId xmlns:a16="http://schemas.microsoft.com/office/drawing/2014/main" id="{D74D0C9C-009E-4C10-A7A3-B12A7C055179}"/>
                  </a:ext>
                </a:extLst>
              </p:cNvPr>
              <p:cNvGrpSpPr/>
              <p:nvPr/>
            </p:nvGrpSpPr>
            <p:grpSpPr>
              <a:xfrm>
                <a:off x="8107209" y="3065834"/>
                <a:ext cx="1599571" cy="2804726"/>
                <a:chOff x="3208859" y="4070542"/>
                <a:chExt cx="1458309" cy="2411828"/>
              </a:xfrm>
            </p:grpSpPr>
            <p:sp>
              <p:nvSpPr>
                <p:cNvPr id="78" name="Rectangle 77">
                  <a:extLst>
                    <a:ext uri="{FF2B5EF4-FFF2-40B4-BE49-F238E27FC236}">
                      <a16:creationId xmlns:a16="http://schemas.microsoft.com/office/drawing/2014/main" id="{A4787C52-8EE0-4FB7-A5FB-D932E60E3E80}"/>
                    </a:ext>
                  </a:extLst>
                </p:cNvPr>
                <p:cNvSpPr/>
                <p:nvPr/>
              </p:nvSpPr>
              <p:spPr bwMode="auto">
                <a:xfrm>
                  <a:off x="3208859" y="4070542"/>
                  <a:ext cx="1456803" cy="241182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9" name="Straight Connector 78">
                  <a:extLst>
                    <a:ext uri="{FF2B5EF4-FFF2-40B4-BE49-F238E27FC236}">
                      <a16:creationId xmlns:a16="http://schemas.microsoft.com/office/drawing/2014/main" id="{B6AADBBA-B6E4-4FB2-8E5E-34F06BC98129}"/>
                    </a:ext>
                  </a:extLst>
                </p:cNvPr>
                <p:cNvCxnSpPr>
                  <a:cxnSpLocks/>
                </p:cNvCxnSpPr>
                <p:nvPr/>
              </p:nvCxnSpPr>
              <p:spPr>
                <a:xfrm>
                  <a:off x="3208859" y="4541668"/>
                  <a:ext cx="1458309"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7" name="TextBox 76">
                <a:extLst>
                  <a:ext uri="{FF2B5EF4-FFF2-40B4-BE49-F238E27FC236}">
                    <a16:creationId xmlns:a16="http://schemas.microsoft.com/office/drawing/2014/main" id="{7F72A909-8D53-466B-A8FB-46CADD19FC3C}"/>
                  </a:ext>
                </a:extLst>
              </p:cNvPr>
              <p:cNvSpPr txBox="1"/>
              <p:nvPr/>
            </p:nvSpPr>
            <p:spPr>
              <a:xfrm>
                <a:off x="8126404" y="3065834"/>
                <a:ext cx="1597919" cy="550281"/>
              </a:xfrm>
              <a:prstGeom prst="rect">
                <a:avLst/>
              </a:prstGeom>
              <a:noFill/>
            </p:spPr>
            <p:txBody>
              <a:bodyPr wrap="squar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a:ea typeface="+mn-ea"/>
                    <a:cs typeface="+mn-cs"/>
                  </a:rPr>
                  <a:t>DevOps for data science</a:t>
                </a:r>
              </a:p>
            </p:txBody>
          </p:sp>
        </p:grpSp>
        <p:grpSp>
          <p:nvGrpSpPr>
            <p:cNvPr id="187" name="Group 186">
              <a:extLst>
                <a:ext uri="{FF2B5EF4-FFF2-40B4-BE49-F238E27FC236}">
                  <a16:creationId xmlns:a16="http://schemas.microsoft.com/office/drawing/2014/main" id="{97A7E32B-2DE1-409A-BF3E-1AC682462DCD}"/>
                </a:ext>
              </a:extLst>
            </p:cNvPr>
            <p:cNvGrpSpPr/>
            <p:nvPr/>
          </p:nvGrpSpPr>
          <p:grpSpPr>
            <a:xfrm>
              <a:off x="10356988" y="3378050"/>
              <a:ext cx="1119682" cy="1403911"/>
              <a:chOff x="13906501" y="3886200"/>
              <a:chExt cx="619125" cy="776287"/>
            </a:xfrm>
          </p:grpSpPr>
          <p:sp>
            <p:nvSpPr>
              <p:cNvPr id="188" name="Freeform 17">
                <a:extLst>
                  <a:ext uri="{FF2B5EF4-FFF2-40B4-BE49-F238E27FC236}">
                    <a16:creationId xmlns:a16="http://schemas.microsoft.com/office/drawing/2014/main" id="{EA44C9BD-17EE-4A88-91BB-3FB26F95980F}"/>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189" name="Freeform 18">
                <a:extLst>
                  <a:ext uri="{FF2B5EF4-FFF2-40B4-BE49-F238E27FC236}">
                    <a16:creationId xmlns:a16="http://schemas.microsoft.com/office/drawing/2014/main" id="{1A033CA0-3674-44D6-BE5D-3125550C3FCE}"/>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190" name="Line 19">
                <a:extLst>
                  <a:ext uri="{FF2B5EF4-FFF2-40B4-BE49-F238E27FC236}">
                    <a16:creationId xmlns:a16="http://schemas.microsoft.com/office/drawing/2014/main" id="{3D09CCB7-59D4-4368-87D8-D77D580943A1}"/>
                  </a:ext>
                </a:extLst>
              </p:cNvPr>
              <p:cNvSpPr>
                <a:spLocks noChangeShapeType="1"/>
              </p:cNvSpPr>
              <p:nvPr/>
            </p:nvSpPr>
            <p:spPr bwMode="auto">
              <a:xfrm>
                <a:off x="14216063" y="4221163"/>
                <a:ext cx="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191" name="Freeform 20">
                <a:extLst>
                  <a:ext uri="{FF2B5EF4-FFF2-40B4-BE49-F238E27FC236}">
                    <a16:creationId xmlns:a16="http://schemas.microsoft.com/office/drawing/2014/main" id="{0EE4CAA5-AE95-4D57-87B1-47156C139616}"/>
                  </a:ext>
                </a:extLst>
              </p:cNvPr>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192" name="Line 21">
                <a:extLst>
                  <a:ext uri="{FF2B5EF4-FFF2-40B4-BE49-F238E27FC236}">
                    <a16:creationId xmlns:a16="http://schemas.microsoft.com/office/drawing/2014/main" id="{52C99023-E9EB-44E6-B091-F83944E50972}"/>
                  </a:ext>
                </a:extLst>
              </p:cNvPr>
              <p:cNvSpPr>
                <a:spLocks noChangeShapeType="1"/>
              </p:cNvSpPr>
              <p:nvPr/>
            </p:nvSpPr>
            <p:spPr bwMode="auto">
              <a:xfrm>
                <a:off x="14216063" y="3967163"/>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193" name="Freeform 22">
                <a:extLst>
                  <a:ext uri="{FF2B5EF4-FFF2-40B4-BE49-F238E27FC236}">
                    <a16:creationId xmlns:a16="http://schemas.microsoft.com/office/drawing/2014/main" id="{0B856B7B-A532-493D-9E34-092FDE929B65}"/>
                  </a:ext>
                </a:extLst>
              </p:cNvPr>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194" name="Line 23">
                <a:extLst>
                  <a:ext uri="{FF2B5EF4-FFF2-40B4-BE49-F238E27FC236}">
                    <a16:creationId xmlns:a16="http://schemas.microsoft.com/office/drawing/2014/main" id="{2C1A2F20-22E3-48E4-85EF-16D67668E635}"/>
                  </a:ext>
                </a:extLst>
              </p:cNvPr>
              <p:cNvSpPr>
                <a:spLocks noChangeShapeType="1"/>
              </p:cNvSpPr>
              <p:nvPr/>
            </p:nvSpPr>
            <p:spPr bwMode="auto">
              <a:xfrm flipH="1">
                <a:off x="14177963" y="4581525"/>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grpSp>
        <p:grpSp>
          <p:nvGrpSpPr>
            <p:cNvPr id="249" name="Group 248">
              <a:extLst>
                <a:ext uri="{FF2B5EF4-FFF2-40B4-BE49-F238E27FC236}">
                  <a16:creationId xmlns:a16="http://schemas.microsoft.com/office/drawing/2014/main" id="{C5718830-4759-43C1-9989-9D60B785CC69}"/>
                </a:ext>
              </a:extLst>
            </p:cNvPr>
            <p:cNvGrpSpPr/>
            <p:nvPr/>
          </p:nvGrpSpPr>
          <p:grpSpPr>
            <a:xfrm>
              <a:off x="10704931" y="3715311"/>
              <a:ext cx="441410" cy="653002"/>
              <a:chOff x="7961123" y="2412912"/>
              <a:chExt cx="826716" cy="1223007"/>
            </a:xfrm>
          </p:grpSpPr>
          <p:grpSp>
            <p:nvGrpSpPr>
              <p:cNvPr id="250" name="Group 249">
                <a:extLst>
                  <a:ext uri="{FF2B5EF4-FFF2-40B4-BE49-F238E27FC236}">
                    <a16:creationId xmlns:a16="http://schemas.microsoft.com/office/drawing/2014/main" id="{46439029-7E0A-42D7-8F07-BE8A939AF371}"/>
                  </a:ext>
                </a:extLst>
              </p:cNvPr>
              <p:cNvGrpSpPr/>
              <p:nvPr/>
            </p:nvGrpSpPr>
            <p:grpSpPr>
              <a:xfrm>
                <a:off x="7961123" y="2735181"/>
                <a:ext cx="826716" cy="900738"/>
                <a:chOff x="514349" y="3279731"/>
                <a:chExt cx="2565735" cy="2795467"/>
              </a:xfrm>
            </p:grpSpPr>
            <p:sp>
              <p:nvSpPr>
                <p:cNvPr id="254" name="Line 14">
                  <a:extLst>
                    <a:ext uri="{FF2B5EF4-FFF2-40B4-BE49-F238E27FC236}">
                      <a16:creationId xmlns:a16="http://schemas.microsoft.com/office/drawing/2014/main" id="{5EF87FE7-EE48-43F9-B474-5EE906422D4E}"/>
                    </a:ext>
                  </a:extLst>
                </p:cNvPr>
                <p:cNvSpPr>
                  <a:spLocks noChangeShapeType="1"/>
                </p:cNvSpPr>
                <p:nvPr/>
              </p:nvSpPr>
              <p:spPr bwMode="auto">
                <a:xfrm>
                  <a:off x="1934666" y="3784356"/>
                  <a:ext cx="36653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55" name="Line 15">
                  <a:extLst>
                    <a:ext uri="{FF2B5EF4-FFF2-40B4-BE49-F238E27FC236}">
                      <a16:creationId xmlns:a16="http://schemas.microsoft.com/office/drawing/2014/main" id="{7CCEF1EA-872A-4D9E-9C1B-F3EAD7F4A526}"/>
                    </a:ext>
                  </a:extLst>
                </p:cNvPr>
                <p:cNvSpPr>
                  <a:spLocks noChangeShapeType="1"/>
                </p:cNvSpPr>
                <p:nvPr/>
              </p:nvSpPr>
              <p:spPr bwMode="auto">
                <a:xfrm>
                  <a:off x="1934666" y="4288341"/>
                  <a:ext cx="36653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56" name="Line 16">
                  <a:extLst>
                    <a:ext uri="{FF2B5EF4-FFF2-40B4-BE49-F238E27FC236}">
                      <a16:creationId xmlns:a16="http://schemas.microsoft.com/office/drawing/2014/main" id="{B05DB525-C127-44B2-BACB-2CC7CDB2A7BA}"/>
                    </a:ext>
                  </a:extLst>
                </p:cNvPr>
                <p:cNvSpPr>
                  <a:spLocks noChangeShapeType="1"/>
                </p:cNvSpPr>
                <p:nvPr/>
              </p:nvSpPr>
              <p:spPr bwMode="auto">
                <a:xfrm>
                  <a:off x="1934666" y="4815238"/>
                  <a:ext cx="595617"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57" name="Line 13">
                  <a:extLst>
                    <a:ext uri="{FF2B5EF4-FFF2-40B4-BE49-F238E27FC236}">
                      <a16:creationId xmlns:a16="http://schemas.microsoft.com/office/drawing/2014/main" id="{C3D315E1-1CDC-4C47-822E-1606B9693287}"/>
                    </a:ext>
                  </a:extLst>
                </p:cNvPr>
                <p:cNvSpPr>
                  <a:spLocks noChangeShapeType="1"/>
                </p:cNvSpPr>
                <p:nvPr/>
              </p:nvSpPr>
              <p:spPr bwMode="auto">
                <a:xfrm>
                  <a:off x="1064149" y="3279731"/>
                  <a:ext cx="1438419"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258" name="Freeform 12">
                  <a:extLst>
                    <a:ext uri="{FF2B5EF4-FFF2-40B4-BE49-F238E27FC236}">
                      <a16:creationId xmlns:a16="http://schemas.microsoft.com/office/drawing/2014/main" id="{B7CEF0D5-B0E9-417F-AB86-A757BAA1CB95}"/>
                    </a:ext>
                  </a:extLst>
                </p:cNvPr>
                <p:cNvSpPr>
                  <a:spLocks/>
                </p:cNvSpPr>
                <p:nvPr/>
              </p:nvSpPr>
              <p:spPr bwMode="auto">
                <a:xfrm>
                  <a:off x="514349" y="3280373"/>
                  <a:ext cx="2565735" cy="2794825"/>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251" name="Freeform 199">
                <a:extLst>
                  <a:ext uri="{FF2B5EF4-FFF2-40B4-BE49-F238E27FC236}">
                    <a16:creationId xmlns:a16="http://schemas.microsoft.com/office/drawing/2014/main" id="{AA49ACA8-FDDD-49C9-9674-5A98BBD1D59F}"/>
                  </a:ext>
                </a:extLst>
              </p:cNvPr>
              <p:cNvSpPr/>
              <p:nvPr/>
            </p:nvSpPr>
            <p:spPr bwMode="auto">
              <a:xfrm>
                <a:off x="8293354" y="2634916"/>
                <a:ext cx="128338" cy="100401"/>
              </a:xfrm>
              <a:custGeom>
                <a:avLst/>
                <a:gdLst>
                  <a:gd name="connsiteX0" fmla="*/ 64169 w 128338"/>
                  <a:gd name="connsiteY0" fmla="*/ 0 h 100401"/>
                  <a:gd name="connsiteX1" fmla="*/ 128338 w 128338"/>
                  <a:gd name="connsiteY1" fmla="*/ 64169 h 100401"/>
                  <a:gd name="connsiteX2" fmla="*/ 123295 w 128338"/>
                  <a:gd name="connsiteY2" fmla="*/ 89147 h 100401"/>
                  <a:gd name="connsiteX3" fmla="*/ 115708 w 128338"/>
                  <a:gd name="connsiteY3" fmla="*/ 100401 h 100401"/>
                  <a:gd name="connsiteX4" fmla="*/ 12631 w 128338"/>
                  <a:gd name="connsiteY4" fmla="*/ 100401 h 100401"/>
                  <a:gd name="connsiteX5" fmla="*/ 5043 w 128338"/>
                  <a:gd name="connsiteY5" fmla="*/ 89147 h 100401"/>
                  <a:gd name="connsiteX6" fmla="*/ 0 w 128338"/>
                  <a:gd name="connsiteY6" fmla="*/ 64169 h 100401"/>
                  <a:gd name="connsiteX7" fmla="*/ 64169 w 128338"/>
                  <a:gd name="connsiteY7" fmla="*/ 0 h 100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338" h="100401">
                    <a:moveTo>
                      <a:pt x="64169" y="0"/>
                    </a:moveTo>
                    <a:cubicBezTo>
                      <a:pt x="99609" y="0"/>
                      <a:pt x="128338" y="28729"/>
                      <a:pt x="128338" y="64169"/>
                    </a:cubicBezTo>
                    <a:cubicBezTo>
                      <a:pt x="128338" y="73029"/>
                      <a:pt x="126542" y="81469"/>
                      <a:pt x="123295" y="89147"/>
                    </a:cubicBezTo>
                    <a:lnTo>
                      <a:pt x="115708" y="100401"/>
                    </a:lnTo>
                    <a:lnTo>
                      <a:pt x="12631" y="100401"/>
                    </a:lnTo>
                    <a:lnTo>
                      <a:pt x="5043" y="89147"/>
                    </a:lnTo>
                    <a:cubicBezTo>
                      <a:pt x="1796" y="81469"/>
                      <a:pt x="0" y="73029"/>
                      <a:pt x="0" y="64169"/>
                    </a:cubicBezTo>
                    <a:cubicBezTo>
                      <a:pt x="0" y="28729"/>
                      <a:pt x="28729" y="0"/>
                      <a:pt x="64169" y="0"/>
                    </a:cubicBezTo>
                    <a:close/>
                  </a:path>
                </a:pathLst>
              </a:custGeom>
              <a:noFill/>
              <a:ln w="12700" cap="rnd">
                <a:solidFill>
                  <a:schemeClr val="tx2"/>
                </a:solidFill>
                <a:miter lim="800000"/>
                <a:headEnd/>
                <a:tailEnd/>
              </a:ln>
              <a:effectLst/>
            </p:spPr>
            <p:txBody>
              <a:bodyPr wrap="square" lIns="89642" tIns="44821" rIns="89642" bIns="44821" numCol="1" spcCol="0" rtlCol="0" fromWordArt="0" anchor="ctr" anchorCtr="0" forceAA="0" compatLnSpc="1"/>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2" name="Oval 251">
                <a:extLst>
                  <a:ext uri="{FF2B5EF4-FFF2-40B4-BE49-F238E27FC236}">
                    <a16:creationId xmlns:a16="http://schemas.microsoft.com/office/drawing/2014/main" id="{952CE89D-6827-492F-ACB9-7AFB5BF1EEAF}"/>
                  </a:ext>
                </a:extLst>
              </p:cNvPr>
              <p:cNvSpPr/>
              <p:nvPr/>
            </p:nvSpPr>
            <p:spPr bwMode="auto">
              <a:xfrm>
                <a:off x="8406962" y="2522482"/>
                <a:ext cx="55180" cy="55180"/>
              </a:xfrm>
              <a:prstGeom prst="ellipse">
                <a:avLst/>
              </a:prstGeom>
              <a:noFill/>
              <a:ln w="12700" cap="rnd">
                <a:solidFill>
                  <a:schemeClr val="tx2"/>
                </a:solidFill>
                <a:miter lim="800000"/>
                <a:headEnd/>
                <a:tailEnd/>
              </a:ln>
              <a:effectLst/>
            </p:spPr>
            <p:txBody>
              <a:bodyPr wrap="none" rtlCol="0"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3" name="Oval 252">
                <a:extLst>
                  <a:ext uri="{FF2B5EF4-FFF2-40B4-BE49-F238E27FC236}">
                    <a16:creationId xmlns:a16="http://schemas.microsoft.com/office/drawing/2014/main" id="{420A2DA6-1B33-4026-A6A6-A68B905796BB}"/>
                  </a:ext>
                </a:extLst>
              </p:cNvPr>
              <p:cNvSpPr/>
              <p:nvPr/>
            </p:nvSpPr>
            <p:spPr bwMode="auto">
              <a:xfrm>
                <a:off x="8321040" y="2412912"/>
                <a:ext cx="45720" cy="45720"/>
              </a:xfrm>
              <a:prstGeom prst="ellipse">
                <a:avLst/>
              </a:prstGeom>
              <a:noFill/>
              <a:ln w="12700" cap="rnd">
                <a:solidFill>
                  <a:schemeClr val="tx2"/>
                </a:solidFill>
                <a:miter lim="800000"/>
                <a:headEnd/>
                <a:tailEnd/>
              </a:ln>
              <a:effectLst/>
            </p:spPr>
            <p:txBody>
              <a:bodyPr wrap="none" rtlCol="0"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grpSp>
        <p:nvGrpSpPr>
          <p:cNvPr id="281" name="Group 280">
            <a:extLst>
              <a:ext uri="{FF2B5EF4-FFF2-40B4-BE49-F238E27FC236}">
                <a16:creationId xmlns:a16="http://schemas.microsoft.com/office/drawing/2014/main" id="{45A032EA-068C-481F-9A30-87CC2F888CF5}"/>
              </a:ext>
            </a:extLst>
          </p:cNvPr>
          <p:cNvGrpSpPr/>
          <p:nvPr/>
        </p:nvGrpSpPr>
        <p:grpSpPr>
          <a:xfrm>
            <a:off x="7779002" y="2422082"/>
            <a:ext cx="1585325" cy="2749591"/>
            <a:chOff x="7934987" y="2470153"/>
            <a:chExt cx="1617114" cy="2804726"/>
          </a:xfrm>
        </p:grpSpPr>
        <p:grpSp>
          <p:nvGrpSpPr>
            <p:cNvPr id="74" name="Group 73">
              <a:extLst>
                <a:ext uri="{FF2B5EF4-FFF2-40B4-BE49-F238E27FC236}">
                  <a16:creationId xmlns:a16="http://schemas.microsoft.com/office/drawing/2014/main" id="{4EB548B6-4225-43C8-918C-A852FBF0785C}"/>
                </a:ext>
              </a:extLst>
            </p:cNvPr>
            <p:cNvGrpSpPr/>
            <p:nvPr/>
          </p:nvGrpSpPr>
          <p:grpSpPr>
            <a:xfrm>
              <a:off x="7934987" y="2470153"/>
              <a:ext cx="1617114" cy="2804726"/>
              <a:chOff x="8107209" y="3065834"/>
              <a:chExt cx="1617114" cy="2804726"/>
            </a:xfrm>
          </p:grpSpPr>
          <p:grpSp>
            <p:nvGrpSpPr>
              <p:cNvPr id="70" name="Group 69">
                <a:extLst>
                  <a:ext uri="{FF2B5EF4-FFF2-40B4-BE49-F238E27FC236}">
                    <a16:creationId xmlns:a16="http://schemas.microsoft.com/office/drawing/2014/main" id="{65E5FA80-5F6C-47EF-B945-A24C8E25BEE7}"/>
                  </a:ext>
                </a:extLst>
              </p:cNvPr>
              <p:cNvGrpSpPr/>
              <p:nvPr/>
            </p:nvGrpSpPr>
            <p:grpSpPr>
              <a:xfrm>
                <a:off x="8107209" y="3065834"/>
                <a:ext cx="1599571" cy="2804726"/>
                <a:chOff x="3208859" y="4070542"/>
                <a:chExt cx="1458309" cy="2411828"/>
              </a:xfrm>
            </p:grpSpPr>
            <p:sp>
              <p:nvSpPr>
                <p:cNvPr id="71" name="Rectangle 70">
                  <a:extLst>
                    <a:ext uri="{FF2B5EF4-FFF2-40B4-BE49-F238E27FC236}">
                      <a16:creationId xmlns:a16="http://schemas.microsoft.com/office/drawing/2014/main" id="{0391B1BC-9EE6-46A7-943E-43C5649F6CFF}"/>
                    </a:ext>
                  </a:extLst>
                </p:cNvPr>
                <p:cNvSpPr/>
                <p:nvPr/>
              </p:nvSpPr>
              <p:spPr bwMode="auto">
                <a:xfrm>
                  <a:off x="3208859" y="4070542"/>
                  <a:ext cx="1456803" cy="241182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2FA53280-A008-4DF8-9868-32ED03DE5000}"/>
                    </a:ext>
                  </a:extLst>
                </p:cNvPr>
                <p:cNvCxnSpPr>
                  <a:cxnSpLocks/>
                </p:cNvCxnSpPr>
                <p:nvPr/>
              </p:nvCxnSpPr>
              <p:spPr>
                <a:xfrm>
                  <a:off x="3208859" y="4541668"/>
                  <a:ext cx="1458309"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3" name="TextBox 72">
                <a:extLst>
                  <a:ext uri="{FF2B5EF4-FFF2-40B4-BE49-F238E27FC236}">
                    <a16:creationId xmlns:a16="http://schemas.microsoft.com/office/drawing/2014/main" id="{883B726D-D2F0-4EAB-819F-BB5A8371F394}"/>
                  </a:ext>
                </a:extLst>
              </p:cNvPr>
              <p:cNvSpPr txBox="1"/>
              <p:nvPr/>
            </p:nvSpPr>
            <p:spPr>
              <a:xfrm>
                <a:off x="8126404" y="3065834"/>
                <a:ext cx="1597919" cy="550281"/>
              </a:xfrm>
              <a:prstGeom prst="rect">
                <a:avLst/>
              </a:prstGeom>
              <a:noFill/>
            </p:spPr>
            <p:txBody>
              <a:bodyPr wrap="squar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a:ea typeface="+mn-ea"/>
                    <a:cs typeface="+mn-cs"/>
                  </a:rPr>
                  <a:t>Deployment</a:t>
                </a:r>
              </a:p>
            </p:txBody>
          </p:sp>
        </p:grpSp>
        <p:grpSp>
          <p:nvGrpSpPr>
            <p:cNvPr id="265" name="Group 264">
              <a:extLst>
                <a:ext uri="{FF2B5EF4-FFF2-40B4-BE49-F238E27FC236}">
                  <a16:creationId xmlns:a16="http://schemas.microsoft.com/office/drawing/2014/main" id="{C973E2FA-B57B-4216-8514-8170E05A836D}"/>
                </a:ext>
              </a:extLst>
            </p:cNvPr>
            <p:cNvGrpSpPr/>
            <p:nvPr/>
          </p:nvGrpSpPr>
          <p:grpSpPr>
            <a:xfrm>
              <a:off x="8240993" y="4177631"/>
              <a:ext cx="965141" cy="797842"/>
              <a:chOff x="9524460" y="2632636"/>
              <a:chExt cx="2021177" cy="1670823"/>
            </a:xfrm>
          </p:grpSpPr>
          <p:sp>
            <p:nvSpPr>
              <p:cNvPr id="269" name="gear_3">
                <a:extLst>
                  <a:ext uri="{FF2B5EF4-FFF2-40B4-BE49-F238E27FC236}">
                    <a16:creationId xmlns:a16="http://schemas.microsoft.com/office/drawing/2014/main" id="{F1038FE7-0D38-4FC9-8A9A-F9D9C7D13F9A}"/>
                  </a:ext>
                </a:extLst>
              </p:cNvPr>
              <p:cNvSpPr>
                <a:spLocks noChangeAspect="1" noEditPoints="1"/>
              </p:cNvSpPr>
              <p:nvPr/>
            </p:nvSpPr>
            <p:spPr bwMode="auto">
              <a:xfrm>
                <a:off x="9524460" y="3183698"/>
                <a:ext cx="1110355" cy="111976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0" name="gear_3">
                <a:extLst>
                  <a:ext uri="{FF2B5EF4-FFF2-40B4-BE49-F238E27FC236}">
                    <a16:creationId xmlns:a16="http://schemas.microsoft.com/office/drawing/2014/main" id="{B5659DF4-C1CA-44A3-A382-863AF26594EC}"/>
                  </a:ext>
                </a:extLst>
              </p:cNvPr>
              <p:cNvSpPr>
                <a:spLocks noChangeAspect="1" noEditPoints="1"/>
              </p:cNvSpPr>
              <p:nvPr/>
            </p:nvSpPr>
            <p:spPr bwMode="auto">
              <a:xfrm>
                <a:off x="10421433" y="2632636"/>
                <a:ext cx="735342" cy="74157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1" name="gear_3">
                <a:extLst>
                  <a:ext uri="{FF2B5EF4-FFF2-40B4-BE49-F238E27FC236}">
                    <a16:creationId xmlns:a16="http://schemas.microsoft.com/office/drawing/2014/main" id="{E831E26D-75A9-4384-BA61-D0A554EE551B}"/>
                  </a:ext>
                </a:extLst>
              </p:cNvPr>
              <p:cNvSpPr>
                <a:spLocks noChangeAspect="1" noEditPoints="1"/>
              </p:cNvSpPr>
              <p:nvPr/>
            </p:nvSpPr>
            <p:spPr bwMode="auto">
              <a:xfrm>
                <a:off x="11022746" y="3309209"/>
                <a:ext cx="522891" cy="527320"/>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272" name="Group 271">
              <a:extLst>
                <a:ext uri="{FF2B5EF4-FFF2-40B4-BE49-F238E27FC236}">
                  <a16:creationId xmlns:a16="http://schemas.microsoft.com/office/drawing/2014/main" id="{2E359A57-19B3-43D4-97C4-A8C59AA47825}"/>
                </a:ext>
              </a:extLst>
            </p:cNvPr>
            <p:cNvGrpSpPr/>
            <p:nvPr/>
          </p:nvGrpSpPr>
          <p:grpSpPr>
            <a:xfrm>
              <a:off x="8249297" y="3399195"/>
              <a:ext cx="849131" cy="627807"/>
              <a:chOff x="10902845" y="2693238"/>
              <a:chExt cx="644231" cy="476314"/>
            </a:xfrm>
          </p:grpSpPr>
          <p:sp>
            <p:nvSpPr>
              <p:cNvPr id="273" name="Freeform 146">
                <a:extLst>
                  <a:ext uri="{FF2B5EF4-FFF2-40B4-BE49-F238E27FC236}">
                    <a16:creationId xmlns:a16="http://schemas.microsoft.com/office/drawing/2014/main" id="{B4462F19-E371-4BB6-AB3C-09EFE5F88B12}"/>
                  </a:ext>
                </a:extLst>
              </p:cNvPr>
              <p:cNvSpPr>
                <a:spLocks noChangeAspect="1"/>
              </p:cNvSpPr>
              <p:nvPr/>
            </p:nvSpPr>
            <p:spPr bwMode="auto">
              <a:xfrm>
                <a:off x="10902845" y="2693238"/>
                <a:ext cx="644231" cy="40799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marL="0" marR="0" lvl="0" indent="0" algn="ctr" defTabSz="895751" rtl="0" eaLnBrk="1" fontAlgn="base" latinLnBrk="0" hangingPunct="1">
                  <a:lnSpc>
                    <a:spcPct val="90000"/>
                  </a:lnSpc>
                  <a:spcBef>
                    <a:spcPct val="0"/>
                  </a:spcBef>
                  <a:spcAft>
                    <a:spcPct val="0"/>
                  </a:spcAft>
                  <a:buClrTx/>
                  <a:buSzTx/>
                  <a:buFontTx/>
                  <a:buNone/>
                  <a:tabLst/>
                  <a:defRPr/>
                </a:pPr>
                <a:endParaRPr kumimoji="0" lang="en-IN" sz="192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74" name="Rectangle 273">
                <a:extLst>
                  <a:ext uri="{FF2B5EF4-FFF2-40B4-BE49-F238E27FC236}">
                    <a16:creationId xmlns:a16="http://schemas.microsoft.com/office/drawing/2014/main" id="{1A385601-8155-4550-9224-F0930CB64496}"/>
                  </a:ext>
                </a:extLst>
              </p:cNvPr>
              <p:cNvSpPr/>
              <p:nvPr/>
            </p:nvSpPr>
            <p:spPr bwMode="auto">
              <a:xfrm>
                <a:off x="11138157" y="3021086"/>
                <a:ext cx="205040" cy="1484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76" name="Arrow: Up 275">
              <a:extLst>
                <a:ext uri="{FF2B5EF4-FFF2-40B4-BE49-F238E27FC236}">
                  <a16:creationId xmlns:a16="http://schemas.microsoft.com/office/drawing/2014/main" id="{7A9FB5B8-D87A-4426-AD99-85783A7A3DAA}"/>
                </a:ext>
              </a:extLst>
            </p:cNvPr>
            <p:cNvSpPr/>
            <p:nvPr/>
          </p:nvSpPr>
          <p:spPr bwMode="auto">
            <a:xfrm>
              <a:off x="8586063" y="3675127"/>
              <a:ext cx="217029" cy="438275"/>
            </a:xfrm>
            <a:prstGeom prst="upArrow">
              <a:avLst>
                <a:gd name="adj1" fmla="val 50000"/>
                <a:gd name="adj2" fmla="val 69446"/>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102243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3"/>
                                        </p:tgtEl>
                                        <p:attrNameLst>
                                          <p:attrName>style.visibility</p:attrName>
                                        </p:attrNameLst>
                                      </p:cBhvr>
                                      <p:to>
                                        <p:strVal val="visible"/>
                                      </p:to>
                                    </p:set>
                                    <p:animEffect transition="in" filter="fade">
                                      <p:cBhvr>
                                        <p:cTn id="7" dur="500"/>
                                        <p:tgtEl>
                                          <p:spTgt spid="28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3"/>
                                        </p:tgtEl>
                                        <p:attrNameLst>
                                          <p:attrName>style.visibility</p:attrName>
                                        </p:attrNameLst>
                                      </p:cBhvr>
                                      <p:to>
                                        <p:strVal val="visible"/>
                                      </p:to>
                                    </p:set>
                                    <p:animEffect transition="in" filter="wipe(left)">
                                      <p:cBhvr>
                                        <p:cTn id="11" dur="500"/>
                                        <p:tgtEl>
                                          <p:spTgt spid="11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84"/>
                                        </p:tgtEl>
                                        <p:attrNameLst>
                                          <p:attrName>style.visibility</p:attrName>
                                        </p:attrNameLst>
                                      </p:cBhvr>
                                      <p:to>
                                        <p:strVal val="visible"/>
                                      </p:to>
                                    </p:set>
                                    <p:animEffect transition="in" filter="fade">
                                      <p:cBhvr>
                                        <p:cTn id="15" dur="500"/>
                                        <p:tgtEl>
                                          <p:spTgt spid="284"/>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81"/>
                                        </p:tgtEl>
                                        <p:attrNameLst>
                                          <p:attrName>style.visibility</p:attrName>
                                        </p:attrNameLst>
                                      </p:cBhvr>
                                      <p:to>
                                        <p:strVal val="visible"/>
                                      </p:to>
                                    </p:set>
                                    <p:animEffect transition="in" filter="wipe(left)">
                                      <p:cBhvr>
                                        <p:cTn id="19" dur="500"/>
                                        <p:tgtEl>
                                          <p:spTgt spid="8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79"/>
                                        </p:tgtEl>
                                        <p:attrNameLst>
                                          <p:attrName>style.visibility</p:attrName>
                                        </p:attrNameLst>
                                      </p:cBhvr>
                                      <p:to>
                                        <p:strVal val="visible"/>
                                      </p:to>
                                    </p:set>
                                    <p:animEffect transition="in" filter="fade">
                                      <p:cBhvr>
                                        <p:cTn id="23" dur="500"/>
                                        <p:tgtEl>
                                          <p:spTgt spid="279"/>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82"/>
                                        </p:tgtEl>
                                        <p:attrNameLst>
                                          <p:attrName>style.visibility</p:attrName>
                                        </p:attrNameLst>
                                      </p:cBhvr>
                                      <p:to>
                                        <p:strVal val="visible"/>
                                      </p:to>
                                    </p:set>
                                    <p:animEffect transition="in" filter="wipe(left)">
                                      <p:cBhvr>
                                        <p:cTn id="27" dur="500"/>
                                        <p:tgtEl>
                                          <p:spTgt spid="82"/>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280"/>
                                        </p:tgtEl>
                                        <p:attrNameLst>
                                          <p:attrName>style.visibility</p:attrName>
                                        </p:attrNameLst>
                                      </p:cBhvr>
                                      <p:to>
                                        <p:strVal val="visible"/>
                                      </p:to>
                                    </p:set>
                                    <p:animEffect transition="in" filter="fade">
                                      <p:cBhvr>
                                        <p:cTn id="31" dur="500"/>
                                        <p:tgtEl>
                                          <p:spTgt spid="280"/>
                                        </p:tgtEl>
                                      </p:cBhvr>
                                    </p:animEffect>
                                  </p:childTnLst>
                                </p:cTn>
                              </p:par>
                            </p:childTnLst>
                          </p:cTn>
                        </p:par>
                        <p:par>
                          <p:cTn id="32" fill="hold">
                            <p:stCondLst>
                              <p:cond delay="3500"/>
                            </p:stCondLst>
                            <p:childTnLst>
                              <p:par>
                                <p:cTn id="33" presetID="22" presetClass="entr" presetSubtype="8" fill="hold" nodeType="afterEffect">
                                  <p:stCondLst>
                                    <p:cond delay="0"/>
                                  </p:stCondLst>
                                  <p:childTnLst>
                                    <p:set>
                                      <p:cBhvr>
                                        <p:cTn id="34" dur="1" fill="hold">
                                          <p:stCondLst>
                                            <p:cond delay="0"/>
                                          </p:stCondLst>
                                        </p:cTn>
                                        <p:tgtEl>
                                          <p:spTgt spid="83"/>
                                        </p:tgtEl>
                                        <p:attrNameLst>
                                          <p:attrName>style.visibility</p:attrName>
                                        </p:attrNameLst>
                                      </p:cBhvr>
                                      <p:to>
                                        <p:strVal val="visible"/>
                                      </p:to>
                                    </p:set>
                                    <p:animEffect transition="in" filter="wipe(left)">
                                      <p:cBhvr>
                                        <p:cTn id="35" dur="500"/>
                                        <p:tgtEl>
                                          <p:spTgt spid="83"/>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281"/>
                                        </p:tgtEl>
                                        <p:attrNameLst>
                                          <p:attrName>style.visibility</p:attrName>
                                        </p:attrNameLst>
                                      </p:cBhvr>
                                      <p:to>
                                        <p:strVal val="visible"/>
                                      </p:to>
                                    </p:set>
                                    <p:animEffect transition="in" filter="fade">
                                      <p:cBhvr>
                                        <p:cTn id="39" dur="500"/>
                                        <p:tgtEl>
                                          <p:spTgt spid="281"/>
                                        </p:tgtEl>
                                      </p:cBhvr>
                                    </p:animEffect>
                                  </p:childTnLst>
                                </p:cTn>
                              </p:par>
                            </p:childTnLst>
                          </p:cTn>
                        </p:par>
                        <p:par>
                          <p:cTn id="40" fill="hold">
                            <p:stCondLst>
                              <p:cond delay="4500"/>
                            </p:stCondLst>
                            <p:childTnLst>
                              <p:par>
                                <p:cTn id="41" presetID="22" presetClass="entr" presetSubtype="8" fill="hold" nodeType="afterEffect">
                                  <p:stCondLst>
                                    <p:cond delay="0"/>
                                  </p:stCondLst>
                                  <p:childTnLst>
                                    <p:set>
                                      <p:cBhvr>
                                        <p:cTn id="42" dur="1" fill="hold">
                                          <p:stCondLst>
                                            <p:cond delay="0"/>
                                          </p:stCondLst>
                                        </p:cTn>
                                        <p:tgtEl>
                                          <p:spTgt spid="84"/>
                                        </p:tgtEl>
                                        <p:attrNameLst>
                                          <p:attrName>style.visibility</p:attrName>
                                        </p:attrNameLst>
                                      </p:cBhvr>
                                      <p:to>
                                        <p:strVal val="visible"/>
                                      </p:to>
                                    </p:set>
                                    <p:animEffect transition="in" filter="wipe(left)">
                                      <p:cBhvr>
                                        <p:cTn id="43" dur="500"/>
                                        <p:tgtEl>
                                          <p:spTgt spid="84"/>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282"/>
                                        </p:tgtEl>
                                        <p:attrNameLst>
                                          <p:attrName>style.visibility</p:attrName>
                                        </p:attrNameLst>
                                      </p:cBhvr>
                                      <p:to>
                                        <p:strVal val="visible"/>
                                      </p:to>
                                    </p:set>
                                    <p:animEffect transition="in" filter="fade">
                                      <p:cBhvr>
                                        <p:cTn id="47" dur="500"/>
                                        <p:tgtEl>
                                          <p:spTgt spid="282"/>
                                        </p:tgtEl>
                                      </p:cBhvr>
                                    </p:animEffect>
                                  </p:childTnLst>
                                </p:cTn>
                              </p:par>
                            </p:childTnLst>
                          </p:cTn>
                        </p:par>
                        <p:par>
                          <p:cTn id="48" fill="hold">
                            <p:stCondLst>
                              <p:cond delay="5500"/>
                            </p:stCondLst>
                            <p:childTnLst>
                              <p:par>
                                <p:cTn id="49" presetID="22" presetClass="entr" presetSubtype="2" fill="hold" nodeType="afterEffect">
                                  <p:stCondLst>
                                    <p:cond delay="0"/>
                                  </p:stCondLst>
                                  <p:childTnLst>
                                    <p:set>
                                      <p:cBhvr>
                                        <p:cTn id="50" dur="1" fill="hold">
                                          <p:stCondLst>
                                            <p:cond delay="0"/>
                                          </p:stCondLst>
                                        </p:cTn>
                                        <p:tgtEl>
                                          <p:spTgt spid="86"/>
                                        </p:tgtEl>
                                        <p:attrNameLst>
                                          <p:attrName>style.visibility</p:attrName>
                                        </p:attrNameLst>
                                      </p:cBhvr>
                                      <p:to>
                                        <p:strVal val="visible"/>
                                      </p:to>
                                    </p:set>
                                    <p:animEffect transition="in" filter="wipe(right)">
                                      <p:cBhvr>
                                        <p:cTn id="51"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7002CB-0CBF-474F-8180-EAFEB351F98A}"/>
              </a:ext>
            </a:extLst>
          </p:cNvPr>
          <p:cNvSpPr>
            <a:spLocks noGrp="1"/>
          </p:cNvSpPr>
          <p:nvPr>
            <p:ph type="title"/>
          </p:nvPr>
        </p:nvSpPr>
        <p:spPr/>
        <p:txBody>
          <a:bodyPr/>
          <a:lstStyle/>
          <a:p>
            <a:pPr algn="ctr"/>
            <a:r>
              <a:rPr lang="en-US" dirty="0"/>
              <a:t>Azure Machine Learning service</a:t>
            </a:r>
          </a:p>
        </p:txBody>
      </p:sp>
      <p:sp>
        <p:nvSpPr>
          <p:cNvPr id="14" name="TextBox 13">
            <a:extLst>
              <a:ext uri="{FF2B5EF4-FFF2-40B4-BE49-F238E27FC236}">
                <a16:creationId xmlns:a16="http://schemas.microsoft.com/office/drawing/2014/main" id="{2506B1C6-3B75-41F5-898D-8EF93163B5B5}"/>
              </a:ext>
            </a:extLst>
          </p:cNvPr>
          <p:cNvSpPr txBox="1"/>
          <p:nvPr/>
        </p:nvSpPr>
        <p:spPr>
          <a:xfrm>
            <a:off x="2595910" y="2249195"/>
            <a:ext cx="2460352" cy="73866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Light"/>
                <a:ea typeface="+mn-ea"/>
                <a:cs typeface="Segoe UI Semilight" panose="020B0402040204020203" pitchFamily="34" charset="0"/>
              </a:rPr>
              <a:t>Set of Azure Cloud Services</a:t>
            </a:r>
          </a:p>
        </p:txBody>
      </p:sp>
      <p:sp>
        <p:nvSpPr>
          <p:cNvPr id="15" name="TextBox 14">
            <a:extLst>
              <a:ext uri="{FF2B5EF4-FFF2-40B4-BE49-F238E27FC236}">
                <a16:creationId xmlns:a16="http://schemas.microsoft.com/office/drawing/2014/main" id="{E03340C8-4572-4242-8F0A-5D981F1288F4}"/>
              </a:ext>
            </a:extLst>
          </p:cNvPr>
          <p:cNvSpPr txBox="1"/>
          <p:nvPr/>
        </p:nvSpPr>
        <p:spPr>
          <a:xfrm>
            <a:off x="7106112" y="2273401"/>
            <a:ext cx="2105561" cy="73866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Light"/>
                <a:ea typeface="+mn-ea"/>
                <a:cs typeface="Segoe UI Semilight" panose="020B0402040204020203" pitchFamily="34" charset="0"/>
              </a:rPr>
              <a:t>Python </a:t>
            </a:r>
            <a:br>
              <a:rPr kumimoji="0" lang="en-US" sz="2400" b="0" i="0" u="none" strike="noStrike" kern="1200" cap="none" spc="0" normalizeH="0" baseline="0" noProof="0" dirty="0">
                <a:ln>
                  <a:noFill/>
                </a:ln>
                <a:solidFill>
                  <a:srgbClr val="0078D7"/>
                </a:solidFill>
                <a:effectLst/>
                <a:uLnTx/>
                <a:uFillTx/>
                <a:latin typeface="Segoe UI Light"/>
                <a:ea typeface="+mn-ea"/>
                <a:cs typeface="Segoe UI Semilight" panose="020B0402040204020203" pitchFamily="34" charset="0"/>
              </a:rPr>
            </a:br>
            <a:r>
              <a:rPr kumimoji="0" lang="en-US" sz="2400" b="0" i="0" u="none" strike="noStrike" kern="1200" cap="none" spc="0" normalizeH="0" baseline="0" noProof="0" dirty="0">
                <a:ln>
                  <a:noFill/>
                </a:ln>
                <a:solidFill>
                  <a:srgbClr val="0078D7"/>
                </a:solidFill>
                <a:effectLst/>
                <a:uLnTx/>
                <a:uFillTx/>
                <a:latin typeface="Segoe UI Light"/>
                <a:ea typeface="+mn-ea"/>
                <a:cs typeface="Segoe UI Semilight" panose="020B0402040204020203" pitchFamily="34" charset="0"/>
              </a:rPr>
              <a:t>SDK</a:t>
            </a:r>
          </a:p>
        </p:txBody>
      </p:sp>
      <p:sp>
        <p:nvSpPr>
          <p:cNvPr id="8" name="Plus Sign 7">
            <a:extLst>
              <a:ext uri="{FF2B5EF4-FFF2-40B4-BE49-F238E27FC236}">
                <a16:creationId xmlns:a16="http://schemas.microsoft.com/office/drawing/2014/main" id="{D2C09A9D-DD74-46D2-9B55-CF9457478808}"/>
              </a:ext>
            </a:extLst>
          </p:cNvPr>
          <p:cNvSpPr/>
          <p:nvPr/>
        </p:nvSpPr>
        <p:spPr bwMode="auto">
          <a:xfrm>
            <a:off x="5536375" y="2043259"/>
            <a:ext cx="1116137" cy="1150430"/>
          </a:xfrm>
          <a:prstGeom prst="mathPlus">
            <a:avLst>
              <a:gd name="adj1" fmla="val 6144"/>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p:txBody>
      </p:sp>
      <p:grpSp>
        <p:nvGrpSpPr>
          <p:cNvPr id="18" name="Group 17">
            <a:extLst>
              <a:ext uri="{FF2B5EF4-FFF2-40B4-BE49-F238E27FC236}">
                <a16:creationId xmlns:a16="http://schemas.microsoft.com/office/drawing/2014/main" id="{8438306B-38DB-4092-B616-C5D958CE069F}"/>
              </a:ext>
            </a:extLst>
          </p:cNvPr>
          <p:cNvGrpSpPr/>
          <p:nvPr/>
        </p:nvGrpSpPr>
        <p:grpSpPr>
          <a:xfrm>
            <a:off x="3044165" y="4867676"/>
            <a:ext cx="6531501" cy="1033790"/>
            <a:chOff x="4152559" y="4043525"/>
            <a:chExt cx="6532427" cy="1033937"/>
          </a:xfrm>
        </p:grpSpPr>
        <p:sp>
          <p:nvSpPr>
            <p:cNvPr id="10" name="TextBox 9">
              <a:extLst>
                <a:ext uri="{FF2B5EF4-FFF2-40B4-BE49-F238E27FC236}">
                  <a16:creationId xmlns:a16="http://schemas.microsoft.com/office/drawing/2014/main" id="{32DD1468-FECB-41FA-AC16-3408551EDADE}"/>
                </a:ext>
              </a:extLst>
            </p:cNvPr>
            <p:cNvSpPr txBox="1"/>
            <p:nvPr/>
          </p:nvSpPr>
          <p:spPr>
            <a:xfrm>
              <a:off x="4152559" y="4043525"/>
              <a:ext cx="2441570" cy="941604"/>
            </a:xfrm>
            <a:prstGeom prst="rect">
              <a:avLst/>
            </a:prstGeom>
            <a:noFill/>
          </p:spPr>
          <p:txBody>
            <a:bodyPr wrap="square" lIns="0" tIns="0" rIns="0" bIns="0" rtlCol="0">
              <a:spAutoFit/>
            </a:bodyPr>
            <a:lstStyle/>
            <a:p>
              <a:pPr marL="231730" marR="0" lvl="0" indent="-231730" algn="l" defTabSz="914367" rtl="0" eaLnBrk="1" fontAlgn="auto" latinLnBrk="0" hangingPunct="1">
                <a:lnSpc>
                  <a:spcPct val="100000"/>
                </a:lnSpc>
                <a:spcBef>
                  <a:spcPts val="0"/>
                </a:spcBef>
                <a:spcAft>
                  <a:spcPts val="300"/>
                </a:spcAft>
                <a:buClr>
                  <a:srgbClr val="0078D7"/>
                </a:buClr>
                <a:buSzTx/>
                <a:buFont typeface="Wingdings" panose="05000000000000000000" pitchFamily="2" charset="2"/>
                <a:buChar char="ü"/>
                <a:tabLst/>
                <a:defRPr/>
              </a:pPr>
              <a:r>
                <a:rPr kumimoji="0" lang="en-US" sz="1836" b="0" i="0" u="none" strike="noStrike" kern="0" cap="none" spc="0" normalizeH="0" baseline="0" noProof="0" dirty="0">
                  <a:ln>
                    <a:noFill/>
                  </a:ln>
                  <a:solidFill>
                    <a:srgbClr val="1A1A1A"/>
                  </a:solidFill>
                  <a:effectLst/>
                  <a:uLnTx/>
                  <a:uFillTx/>
                  <a:latin typeface="Segoe UI Semilight"/>
                  <a:ea typeface="+mn-ea"/>
                  <a:cs typeface="Segoe UI" pitchFamily="34" charset="0"/>
                </a:rPr>
                <a:t>Prepare Data</a:t>
              </a:r>
            </a:p>
            <a:p>
              <a:pPr marL="231730" marR="0" lvl="0" indent="-231730" algn="l" defTabSz="914367" rtl="0" eaLnBrk="1" fontAlgn="auto" latinLnBrk="0" hangingPunct="1">
                <a:lnSpc>
                  <a:spcPct val="100000"/>
                </a:lnSpc>
                <a:spcBef>
                  <a:spcPts val="0"/>
                </a:spcBef>
                <a:spcAft>
                  <a:spcPts val="300"/>
                </a:spcAft>
                <a:buClr>
                  <a:srgbClr val="0078D7"/>
                </a:buClr>
                <a:buSzTx/>
                <a:buFont typeface="Wingdings" panose="05000000000000000000" pitchFamily="2" charset="2"/>
                <a:buChar char="ü"/>
                <a:tabLst/>
                <a:defRPr/>
              </a:pPr>
              <a:r>
                <a:rPr kumimoji="0" lang="en-US" sz="1836" b="0" i="0" u="none" strike="noStrike" kern="0" cap="none" spc="0" normalizeH="0" baseline="0" noProof="0" dirty="0">
                  <a:ln>
                    <a:noFill/>
                  </a:ln>
                  <a:solidFill>
                    <a:srgbClr val="1A1A1A"/>
                  </a:solidFill>
                  <a:effectLst/>
                  <a:uLnTx/>
                  <a:uFillTx/>
                  <a:latin typeface="Segoe UI Semilight"/>
                  <a:ea typeface="+mn-ea"/>
                  <a:cs typeface="Segoe UI" pitchFamily="34" charset="0"/>
                </a:rPr>
                <a:t>Build Models</a:t>
              </a:r>
            </a:p>
            <a:p>
              <a:pPr marL="231730" marR="0" lvl="0" indent="-231730" algn="l" defTabSz="914367" rtl="0" eaLnBrk="1" fontAlgn="auto" latinLnBrk="0" hangingPunct="1">
                <a:lnSpc>
                  <a:spcPct val="100000"/>
                </a:lnSpc>
                <a:spcBef>
                  <a:spcPts val="0"/>
                </a:spcBef>
                <a:spcAft>
                  <a:spcPts val="300"/>
                </a:spcAft>
                <a:buClr>
                  <a:srgbClr val="0078D7"/>
                </a:buClr>
                <a:buSzTx/>
                <a:buFont typeface="Wingdings" panose="05000000000000000000" pitchFamily="2" charset="2"/>
                <a:buChar char="ü"/>
                <a:tabLst/>
                <a:defRPr/>
              </a:pPr>
              <a:r>
                <a:rPr kumimoji="0" lang="en-US" sz="1836" b="0" i="0" u="none" strike="noStrike" kern="0" cap="none" spc="0" normalizeH="0" baseline="0" noProof="0" dirty="0">
                  <a:ln>
                    <a:noFill/>
                  </a:ln>
                  <a:solidFill>
                    <a:srgbClr val="1A1A1A"/>
                  </a:solidFill>
                  <a:effectLst/>
                  <a:uLnTx/>
                  <a:uFillTx/>
                  <a:latin typeface="Segoe UI Semilight"/>
                  <a:ea typeface="+mn-ea"/>
                  <a:cs typeface="Segoe UI" pitchFamily="34" charset="0"/>
                </a:rPr>
                <a:t>Train Models</a:t>
              </a:r>
            </a:p>
          </p:txBody>
        </p:sp>
        <p:sp>
          <p:nvSpPr>
            <p:cNvPr id="16" name="Rectangle 15">
              <a:extLst>
                <a:ext uri="{FF2B5EF4-FFF2-40B4-BE49-F238E27FC236}">
                  <a16:creationId xmlns:a16="http://schemas.microsoft.com/office/drawing/2014/main" id="{616A81F2-AA71-44BD-B31A-D0C4E6C248C4}"/>
                </a:ext>
              </a:extLst>
            </p:cNvPr>
            <p:cNvSpPr/>
            <p:nvPr/>
          </p:nvSpPr>
          <p:spPr>
            <a:xfrm>
              <a:off x="8108079" y="4043525"/>
              <a:ext cx="2576907" cy="1033937"/>
            </a:xfrm>
            <a:prstGeom prst="rect">
              <a:avLst/>
            </a:prstGeom>
          </p:spPr>
          <p:txBody>
            <a:bodyPr wrap="square">
              <a:spAutoFit/>
            </a:bodyPr>
            <a:lstStyle/>
            <a:p>
              <a:pPr marL="231730" marR="0" lvl="0" indent="-231730" algn="l" defTabSz="914367" rtl="0" eaLnBrk="1" fontAlgn="auto" latinLnBrk="0" hangingPunct="1">
                <a:lnSpc>
                  <a:spcPct val="100000"/>
                </a:lnSpc>
                <a:spcBef>
                  <a:spcPts val="0"/>
                </a:spcBef>
                <a:spcAft>
                  <a:spcPts val="300"/>
                </a:spcAft>
                <a:buClr>
                  <a:srgbClr val="0078D7"/>
                </a:buClr>
                <a:buSzTx/>
                <a:buFont typeface="Wingdings" panose="05000000000000000000" pitchFamily="2" charset="2"/>
                <a:buChar char="ü"/>
                <a:tabLst/>
                <a:defRPr/>
              </a:pPr>
              <a:r>
                <a:rPr kumimoji="0" lang="en-US" sz="1836" b="0" i="0" u="none" strike="noStrike" kern="0" cap="none" spc="0" normalizeH="0" baseline="0" noProof="0" dirty="0">
                  <a:ln>
                    <a:noFill/>
                  </a:ln>
                  <a:solidFill>
                    <a:srgbClr val="1A1A1A"/>
                  </a:solidFill>
                  <a:effectLst/>
                  <a:uLnTx/>
                  <a:uFillTx/>
                  <a:latin typeface="Segoe UI Semilight"/>
                  <a:ea typeface="+mn-ea"/>
                  <a:cs typeface="Segoe UI" pitchFamily="34" charset="0"/>
                </a:rPr>
                <a:t>Manage Models</a:t>
              </a:r>
            </a:p>
            <a:p>
              <a:pPr marL="231730" marR="0" lvl="0" indent="-231730" algn="l" defTabSz="914367" rtl="0" eaLnBrk="1" fontAlgn="auto" latinLnBrk="0" hangingPunct="1">
                <a:lnSpc>
                  <a:spcPct val="100000"/>
                </a:lnSpc>
                <a:spcBef>
                  <a:spcPts val="0"/>
                </a:spcBef>
                <a:spcAft>
                  <a:spcPts val="300"/>
                </a:spcAft>
                <a:buClr>
                  <a:srgbClr val="0078D7"/>
                </a:buClr>
                <a:buSzTx/>
                <a:buFont typeface="Wingdings" panose="05000000000000000000" pitchFamily="2" charset="2"/>
                <a:buChar char="ü"/>
                <a:tabLst/>
                <a:defRPr/>
              </a:pPr>
              <a:r>
                <a:rPr kumimoji="0" lang="en-US" sz="1836" b="0" i="0" u="none" strike="noStrike" kern="0" cap="none" spc="0" normalizeH="0" baseline="0" noProof="0" dirty="0">
                  <a:ln>
                    <a:noFill/>
                  </a:ln>
                  <a:solidFill>
                    <a:srgbClr val="1A1A1A"/>
                  </a:solidFill>
                  <a:effectLst/>
                  <a:uLnTx/>
                  <a:uFillTx/>
                  <a:latin typeface="Segoe UI Semilight"/>
                  <a:ea typeface="+mn-ea"/>
                  <a:cs typeface="Segoe UI" pitchFamily="34" charset="0"/>
                </a:rPr>
                <a:t>Track Experiments</a:t>
              </a:r>
            </a:p>
            <a:p>
              <a:pPr marL="231730" marR="0" lvl="0" indent="-231730" algn="l" defTabSz="914367" rtl="0" eaLnBrk="1" fontAlgn="auto" latinLnBrk="0" hangingPunct="1">
                <a:lnSpc>
                  <a:spcPct val="100000"/>
                </a:lnSpc>
                <a:spcBef>
                  <a:spcPts val="0"/>
                </a:spcBef>
                <a:spcAft>
                  <a:spcPts val="300"/>
                </a:spcAft>
                <a:buClr>
                  <a:srgbClr val="0078D7"/>
                </a:buClr>
                <a:buSzTx/>
                <a:buFont typeface="Wingdings" panose="05000000000000000000" pitchFamily="2" charset="2"/>
                <a:buChar char="ü"/>
                <a:tabLst/>
                <a:defRPr/>
              </a:pPr>
              <a:r>
                <a:rPr kumimoji="0" lang="en-US" sz="1836" b="0" i="0" u="none" strike="noStrike" kern="0" cap="none" spc="0" normalizeH="0" baseline="0" noProof="0" dirty="0">
                  <a:ln>
                    <a:noFill/>
                  </a:ln>
                  <a:solidFill>
                    <a:srgbClr val="1A1A1A"/>
                  </a:solidFill>
                  <a:effectLst/>
                  <a:uLnTx/>
                  <a:uFillTx/>
                  <a:latin typeface="Segoe UI Semilight"/>
                  <a:ea typeface="+mn-ea"/>
                  <a:cs typeface="Segoe UI" pitchFamily="34" charset="0"/>
                </a:rPr>
                <a:t>Deploy Models</a:t>
              </a:r>
            </a:p>
          </p:txBody>
        </p:sp>
      </p:grpSp>
      <p:sp>
        <p:nvSpPr>
          <p:cNvPr id="17" name="TextBox 16">
            <a:extLst>
              <a:ext uri="{FF2B5EF4-FFF2-40B4-BE49-F238E27FC236}">
                <a16:creationId xmlns:a16="http://schemas.microsoft.com/office/drawing/2014/main" id="{A435112E-427D-457D-B471-D56A56E6D248}"/>
              </a:ext>
            </a:extLst>
          </p:cNvPr>
          <p:cNvSpPr txBox="1"/>
          <p:nvPr/>
        </p:nvSpPr>
        <p:spPr>
          <a:xfrm>
            <a:off x="4579409" y="4179271"/>
            <a:ext cx="3030069" cy="36930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Light"/>
                <a:ea typeface="+mn-ea"/>
                <a:cs typeface="Segoe UI Semilight" panose="020B0402040204020203" pitchFamily="34" charset="0"/>
              </a:rPr>
              <a:t>That enables you to:</a:t>
            </a:r>
          </a:p>
        </p:txBody>
      </p:sp>
      <p:cxnSp>
        <p:nvCxnSpPr>
          <p:cNvPr id="5" name="Straight Connector 4">
            <a:extLst>
              <a:ext uri="{FF2B5EF4-FFF2-40B4-BE49-F238E27FC236}">
                <a16:creationId xmlns:a16="http://schemas.microsoft.com/office/drawing/2014/main" id="{6B067330-F922-44F0-AE63-9489E74C395C}"/>
              </a:ext>
            </a:extLst>
          </p:cNvPr>
          <p:cNvCxnSpPr>
            <a:cxnSpLocks/>
          </p:cNvCxnSpPr>
          <p:nvPr/>
        </p:nvCxnSpPr>
        <p:spPr>
          <a:xfrm>
            <a:off x="1664059" y="3541249"/>
            <a:ext cx="8578578" cy="0"/>
          </a:xfrm>
          <a:prstGeom prst="line">
            <a:avLst/>
          </a:prstGeom>
          <a:solidFill>
            <a:schemeClr val="accent5"/>
          </a:solid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367665774"/>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DCA9FBC-B523-4A93-BB0D-5DD7C8AC44B9}"/>
              </a:ext>
            </a:extLst>
          </p:cNvPr>
          <p:cNvSpPr/>
          <p:nvPr/>
        </p:nvSpPr>
        <p:spPr>
          <a:xfrm>
            <a:off x="1135110" y="4705161"/>
            <a:ext cx="1777357"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Prepare data</a:t>
            </a:r>
          </a:p>
        </p:txBody>
      </p:sp>
      <p:sp>
        <p:nvSpPr>
          <p:cNvPr id="166" name="Rectangle 165">
            <a:extLst>
              <a:ext uri="{FF2B5EF4-FFF2-40B4-BE49-F238E27FC236}">
                <a16:creationId xmlns:a16="http://schemas.microsoft.com/office/drawing/2014/main" id="{9EFE15A1-E885-4535-BFBD-E19E41773C02}"/>
              </a:ext>
            </a:extLst>
          </p:cNvPr>
          <p:cNvSpPr/>
          <p:nvPr/>
        </p:nvSpPr>
        <p:spPr>
          <a:xfrm>
            <a:off x="4989205" y="4705161"/>
            <a:ext cx="2025966"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Build and train</a:t>
            </a:r>
          </a:p>
        </p:txBody>
      </p:sp>
      <p:sp>
        <p:nvSpPr>
          <p:cNvPr id="167" name="Rectangle 166">
            <a:extLst>
              <a:ext uri="{FF2B5EF4-FFF2-40B4-BE49-F238E27FC236}">
                <a16:creationId xmlns:a16="http://schemas.microsoft.com/office/drawing/2014/main" id="{E6DAEA1B-DC96-4B5D-BFC5-75B256D4D14F}"/>
              </a:ext>
            </a:extLst>
          </p:cNvPr>
          <p:cNvSpPr/>
          <p:nvPr/>
        </p:nvSpPr>
        <p:spPr>
          <a:xfrm>
            <a:off x="9468437" y="4705161"/>
            <a:ext cx="1070500"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Deploy</a:t>
            </a:r>
          </a:p>
        </p:txBody>
      </p:sp>
      <p:sp>
        <p:nvSpPr>
          <p:cNvPr id="3" name="Title 2">
            <a:extLst>
              <a:ext uri="{FF2B5EF4-FFF2-40B4-BE49-F238E27FC236}">
                <a16:creationId xmlns:a16="http://schemas.microsoft.com/office/drawing/2014/main" id="{A53E7BBA-9986-5F47-9056-ED32C5F563EC}"/>
              </a:ext>
            </a:extLst>
          </p:cNvPr>
          <p:cNvSpPr>
            <a:spLocks noGrp="1"/>
          </p:cNvSpPr>
          <p:nvPr>
            <p:ph type="title"/>
          </p:nvPr>
        </p:nvSpPr>
        <p:spPr/>
        <p:txBody>
          <a:bodyPr/>
          <a:lstStyle/>
          <a:p>
            <a:r>
              <a:rPr lang="en-US" dirty="0"/>
              <a:t>Building your own AI models</a:t>
            </a:r>
          </a:p>
        </p:txBody>
      </p:sp>
      <p:sp>
        <p:nvSpPr>
          <p:cNvPr id="4" name="Text Placeholder 3">
            <a:extLst>
              <a:ext uri="{FF2B5EF4-FFF2-40B4-BE49-F238E27FC236}">
                <a16:creationId xmlns:a16="http://schemas.microsoft.com/office/drawing/2014/main" id="{1F4684A0-6FA0-8B40-9754-1BB61EFFC6BB}"/>
              </a:ext>
            </a:extLst>
          </p:cNvPr>
          <p:cNvSpPr>
            <a:spLocks noGrp="1"/>
          </p:cNvSpPr>
          <p:nvPr>
            <p:ph type="body" sz="quarter" idx="12"/>
          </p:nvPr>
        </p:nvSpPr>
        <p:spPr/>
        <p:txBody>
          <a:bodyPr/>
          <a:lstStyle/>
          <a:p>
            <a:r>
              <a:rPr lang="en-US" dirty="0"/>
              <a:t>Transforming data into intelligence</a:t>
            </a:r>
          </a:p>
        </p:txBody>
      </p:sp>
      <p:grpSp>
        <p:nvGrpSpPr>
          <p:cNvPr id="9" name="Group 8">
            <a:extLst>
              <a:ext uri="{FF2B5EF4-FFF2-40B4-BE49-F238E27FC236}">
                <a16:creationId xmlns:a16="http://schemas.microsoft.com/office/drawing/2014/main" id="{99BF8526-DA0A-4647-B3D7-5991EF756188}"/>
              </a:ext>
            </a:extLst>
          </p:cNvPr>
          <p:cNvGrpSpPr/>
          <p:nvPr/>
        </p:nvGrpSpPr>
        <p:grpSpPr>
          <a:xfrm>
            <a:off x="9012965" y="2581371"/>
            <a:ext cx="1981445" cy="1637978"/>
            <a:chOff x="9524460" y="2632636"/>
            <a:chExt cx="2021177" cy="1670823"/>
          </a:xfrm>
        </p:grpSpPr>
        <p:sp>
          <p:nvSpPr>
            <p:cNvPr id="60" name="gear_3">
              <a:extLst>
                <a:ext uri="{FF2B5EF4-FFF2-40B4-BE49-F238E27FC236}">
                  <a16:creationId xmlns:a16="http://schemas.microsoft.com/office/drawing/2014/main" id="{67050993-F9B5-8240-AAD9-B11E05FAE48F}"/>
                </a:ext>
              </a:extLst>
            </p:cNvPr>
            <p:cNvSpPr>
              <a:spLocks noChangeAspect="1" noEditPoints="1"/>
            </p:cNvSpPr>
            <p:nvPr/>
          </p:nvSpPr>
          <p:spPr bwMode="auto">
            <a:xfrm>
              <a:off x="9524460" y="3183698"/>
              <a:ext cx="1110355" cy="111976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gear_3">
              <a:extLst>
                <a:ext uri="{FF2B5EF4-FFF2-40B4-BE49-F238E27FC236}">
                  <a16:creationId xmlns:a16="http://schemas.microsoft.com/office/drawing/2014/main" id="{DA6C2E52-D5EE-5C4C-AF7F-BB609E56C666}"/>
                </a:ext>
              </a:extLst>
            </p:cNvPr>
            <p:cNvSpPr>
              <a:spLocks noChangeAspect="1" noEditPoints="1"/>
            </p:cNvSpPr>
            <p:nvPr/>
          </p:nvSpPr>
          <p:spPr bwMode="auto">
            <a:xfrm>
              <a:off x="10421433" y="2632636"/>
              <a:ext cx="735342" cy="74157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gear_3">
              <a:extLst>
                <a:ext uri="{FF2B5EF4-FFF2-40B4-BE49-F238E27FC236}">
                  <a16:creationId xmlns:a16="http://schemas.microsoft.com/office/drawing/2014/main" id="{8D579812-8A97-0147-AE26-C5807904C54B}"/>
                </a:ext>
              </a:extLst>
            </p:cNvPr>
            <p:cNvSpPr>
              <a:spLocks noChangeAspect="1" noEditPoints="1"/>
            </p:cNvSpPr>
            <p:nvPr/>
          </p:nvSpPr>
          <p:spPr bwMode="auto">
            <a:xfrm>
              <a:off x="11022746" y="3309209"/>
              <a:ext cx="522891" cy="527320"/>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0" name="Group 9">
            <a:extLst>
              <a:ext uri="{FF2B5EF4-FFF2-40B4-BE49-F238E27FC236}">
                <a16:creationId xmlns:a16="http://schemas.microsoft.com/office/drawing/2014/main" id="{664F42B7-F9B2-494E-99B3-33C0B57C2BF1}"/>
              </a:ext>
            </a:extLst>
          </p:cNvPr>
          <p:cNvGrpSpPr/>
          <p:nvPr/>
        </p:nvGrpSpPr>
        <p:grpSpPr>
          <a:xfrm>
            <a:off x="1144934" y="2677641"/>
            <a:ext cx="1757706" cy="1650960"/>
            <a:chOff x="1239394" y="2531811"/>
            <a:chExt cx="1792952" cy="1684065"/>
          </a:xfrm>
        </p:grpSpPr>
        <p:grpSp>
          <p:nvGrpSpPr>
            <p:cNvPr id="64" name="Group 63">
              <a:extLst>
                <a:ext uri="{FF2B5EF4-FFF2-40B4-BE49-F238E27FC236}">
                  <a16:creationId xmlns:a16="http://schemas.microsoft.com/office/drawing/2014/main" id="{E26DEDDE-7218-6C4C-AFFF-418DBC6A84C7}"/>
                </a:ext>
              </a:extLst>
            </p:cNvPr>
            <p:cNvGrpSpPr/>
            <p:nvPr/>
          </p:nvGrpSpPr>
          <p:grpSpPr>
            <a:xfrm>
              <a:off x="1239394" y="2531811"/>
              <a:ext cx="523013" cy="1684065"/>
              <a:chOff x="1395310" y="3332039"/>
              <a:chExt cx="430961" cy="1387665"/>
            </a:xfrm>
            <a:solidFill>
              <a:schemeClr val="bg1"/>
            </a:solidFill>
          </p:grpSpPr>
          <p:sp>
            <p:nvSpPr>
              <p:cNvPr id="65" name="Isosceles Triangle 86">
                <a:extLst>
                  <a:ext uri="{FF2B5EF4-FFF2-40B4-BE49-F238E27FC236}">
                    <a16:creationId xmlns:a16="http://schemas.microsoft.com/office/drawing/2014/main" id="{9AA62143-B08F-FA4C-ACEE-7ACE1F59AD8F}"/>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6" name="Rectangle 65">
                <a:extLst>
                  <a:ext uri="{FF2B5EF4-FFF2-40B4-BE49-F238E27FC236}">
                    <a16:creationId xmlns:a16="http://schemas.microsoft.com/office/drawing/2014/main" id="{1057CEB9-3014-A547-99CB-50A539109E74}"/>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7" name="Oval 66">
                <a:extLst>
                  <a:ext uri="{FF2B5EF4-FFF2-40B4-BE49-F238E27FC236}">
                    <a16:creationId xmlns:a16="http://schemas.microsoft.com/office/drawing/2014/main" id="{16EA03E3-BB99-7F46-A3E1-F1C790C96CB9}"/>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68" name="Group 67">
              <a:extLst>
                <a:ext uri="{FF2B5EF4-FFF2-40B4-BE49-F238E27FC236}">
                  <a16:creationId xmlns:a16="http://schemas.microsoft.com/office/drawing/2014/main" id="{7BD98EB6-EFD9-0F48-B1A0-E1DCFB5C8FB1}"/>
                </a:ext>
              </a:extLst>
            </p:cNvPr>
            <p:cNvGrpSpPr/>
            <p:nvPr/>
          </p:nvGrpSpPr>
          <p:grpSpPr>
            <a:xfrm>
              <a:off x="1874363" y="2531811"/>
              <a:ext cx="523013" cy="1684065"/>
              <a:chOff x="1395310" y="3332039"/>
              <a:chExt cx="430961" cy="1387665"/>
            </a:xfrm>
            <a:solidFill>
              <a:schemeClr val="bg1"/>
            </a:solidFill>
          </p:grpSpPr>
          <p:sp>
            <p:nvSpPr>
              <p:cNvPr id="69" name="Isosceles Triangle 83">
                <a:extLst>
                  <a:ext uri="{FF2B5EF4-FFF2-40B4-BE49-F238E27FC236}">
                    <a16:creationId xmlns:a16="http://schemas.microsoft.com/office/drawing/2014/main" id="{488517EF-3727-6B4B-8290-0B6818D3EA00}"/>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Rectangle 69">
                <a:extLst>
                  <a:ext uri="{FF2B5EF4-FFF2-40B4-BE49-F238E27FC236}">
                    <a16:creationId xmlns:a16="http://schemas.microsoft.com/office/drawing/2014/main" id="{F17C0045-9597-C043-9B71-9D29199BB551}"/>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9" name="Oval 108">
                <a:extLst>
                  <a:ext uri="{FF2B5EF4-FFF2-40B4-BE49-F238E27FC236}">
                    <a16:creationId xmlns:a16="http://schemas.microsoft.com/office/drawing/2014/main" id="{D57C9C83-8576-0C48-BA0F-FBC007A8A2F7}"/>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110" name="Group 109">
              <a:extLst>
                <a:ext uri="{FF2B5EF4-FFF2-40B4-BE49-F238E27FC236}">
                  <a16:creationId xmlns:a16="http://schemas.microsoft.com/office/drawing/2014/main" id="{E5950AC5-7EC3-3845-A8B5-13CB51AEDF81}"/>
                </a:ext>
              </a:extLst>
            </p:cNvPr>
            <p:cNvGrpSpPr/>
            <p:nvPr/>
          </p:nvGrpSpPr>
          <p:grpSpPr>
            <a:xfrm>
              <a:off x="2509333" y="2531811"/>
              <a:ext cx="523013" cy="1684065"/>
              <a:chOff x="1395310" y="3332039"/>
              <a:chExt cx="430961" cy="1387665"/>
            </a:xfrm>
            <a:solidFill>
              <a:schemeClr val="bg1"/>
            </a:solidFill>
          </p:grpSpPr>
          <p:sp>
            <p:nvSpPr>
              <p:cNvPr id="111" name="Isosceles Triangle 80">
                <a:extLst>
                  <a:ext uri="{FF2B5EF4-FFF2-40B4-BE49-F238E27FC236}">
                    <a16:creationId xmlns:a16="http://schemas.microsoft.com/office/drawing/2014/main" id="{FA60E729-178D-AD40-B0B4-34D1CC2548A6}"/>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2" name="Rectangle 111">
                <a:extLst>
                  <a:ext uri="{FF2B5EF4-FFF2-40B4-BE49-F238E27FC236}">
                    <a16:creationId xmlns:a16="http://schemas.microsoft.com/office/drawing/2014/main" id="{58D1FB39-ED51-1A41-A0DB-66D26AD45583}"/>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3" name="Oval 112">
                <a:extLst>
                  <a:ext uri="{FF2B5EF4-FFF2-40B4-BE49-F238E27FC236}">
                    <a16:creationId xmlns:a16="http://schemas.microsoft.com/office/drawing/2014/main" id="{497F9986-29C2-F14A-BC1F-6A89BB2C9B54}"/>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sp>
        <p:nvSpPr>
          <p:cNvPr id="117" name="Line 19">
            <a:extLst>
              <a:ext uri="{FF2B5EF4-FFF2-40B4-BE49-F238E27FC236}">
                <a16:creationId xmlns:a16="http://schemas.microsoft.com/office/drawing/2014/main" id="{6400F715-456F-2940-8B9D-D8D0DE045D4C}"/>
              </a:ext>
            </a:extLst>
          </p:cNvPr>
          <p:cNvSpPr>
            <a:spLocks noChangeShapeType="1"/>
          </p:cNvSpPr>
          <p:nvPr/>
        </p:nvSpPr>
        <p:spPr bwMode="auto">
          <a:xfrm rot="16200000">
            <a:off x="5847723" y="3335351"/>
            <a:ext cx="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nvGrpSpPr>
          <p:cNvPr id="53" name="Group 11">
            <a:extLst>
              <a:ext uri="{FF2B5EF4-FFF2-40B4-BE49-F238E27FC236}">
                <a16:creationId xmlns:a16="http://schemas.microsoft.com/office/drawing/2014/main" id="{FD0EAA60-A639-2B4A-9832-4878CF2F5E0D}"/>
              </a:ext>
            </a:extLst>
          </p:cNvPr>
          <p:cNvGrpSpPr>
            <a:grpSpLocks noChangeAspect="1"/>
          </p:cNvGrpSpPr>
          <p:nvPr/>
        </p:nvGrpSpPr>
        <p:grpSpPr bwMode="auto">
          <a:xfrm>
            <a:off x="5560143" y="2995689"/>
            <a:ext cx="987562" cy="1075741"/>
            <a:chOff x="3861" y="4291602"/>
            <a:chExt cx="112" cy="244433"/>
          </a:xfrm>
        </p:grpSpPr>
        <p:sp>
          <p:nvSpPr>
            <p:cNvPr id="54" name="Freeform 12">
              <a:extLst>
                <a:ext uri="{FF2B5EF4-FFF2-40B4-BE49-F238E27FC236}">
                  <a16:creationId xmlns:a16="http://schemas.microsoft.com/office/drawing/2014/main" id="{8A40B6BB-DB28-6D43-BEEE-D4FECD53F60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5" name="Line 13">
              <a:extLst>
                <a:ext uri="{FF2B5EF4-FFF2-40B4-BE49-F238E27FC236}">
                  <a16:creationId xmlns:a16="http://schemas.microsoft.com/office/drawing/2014/main" id="{598370C0-A526-DD49-93F6-9E7B67113464}"/>
                </a:ext>
              </a:extLst>
            </p:cNvPr>
            <p:cNvSpPr>
              <a:spLocks noChangeShapeType="1"/>
            </p:cNvSpPr>
            <p:nvPr/>
          </p:nvSpPr>
          <p:spPr bwMode="auto">
            <a:xfrm>
              <a:off x="3874" y="4469918"/>
              <a:ext cx="8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6" name="Line 14">
              <a:extLst>
                <a:ext uri="{FF2B5EF4-FFF2-40B4-BE49-F238E27FC236}">
                  <a16:creationId xmlns:a16="http://schemas.microsoft.com/office/drawing/2014/main" id="{7EE7ADFE-504A-3840-8C1B-ACD1041F204D}"/>
                </a:ext>
              </a:extLst>
            </p:cNvPr>
            <p:cNvSpPr>
              <a:spLocks noChangeShapeType="1"/>
            </p:cNvSpPr>
            <p:nvPr/>
          </p:nvSpPr>
          <p:spPr bwMode="auto">
            <a:xfrm>
              <a:off x="3923" y="4335680"/>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7" name="Line 15">
              <a:extLst>
                <a:ext uri="{FF2B5EF4-FFF2-40B4-BE49-F238E27FC236}">
                  <a16:creationId xmlns:a16="http://schemas.microsoft.com/office/drawing/2014/main" id="{708451EC-0BF5-9247-A380-9F245A8DF0E5}"/>
                </a:ext>
              </a:extLst>
            </p:cNvPr>
            <p:cNvSpPr>
              <a:spLocks noChangeShapeType="1"/>
            </p:cNvSpPr>
            <p:nvPr/>
          </p:nvSpPr>
          <p:spPr bwMode="auto">
            <a:xfrm>
              <a:off x="3923" y="4379758"/>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8" name="Line 16">
              <a:extLst>
                <a:ext uri="{FF2B5EF4-FFF2-40B4-BE49-F238E27FC236}">
                  <a16:creationId xmlns:a16="http://schemas.microsoft.com/office/drawing/2014/main" id="{8A79B9F9-DBF6-854D-9F28-8467BF1DDD48}"/>
                </a:ext>
              </a:extLst>
            </p:cNvPr>
            <p:cNvSpPr>
              <a:spLocks noChangeShapeType="1"/>
            </p:cNvSpPr>
            <p:nvPr/>
          </p:nvSpPr>
          <p:spPr bwMode="auto">
            <a:xfrm>
              <a:off x="3923" y="4425840"/>
              <a:ext cx="2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9" name="Line 17">
              <a:extLst>
                <a:ext uri="{FF2B5EF4-FFF2-40B4-BE49-F238E27FC236}">
                  <a16:creationId xmlns:a16="http://schemas.microsoft.com/office/drawing/2014/main" id="{988AC340-451E-AD43-85A6-1412ED65468B}"/>
                </a:ext>
              </a:extLst>
            </p:cNvPr>
            <p:cNvSpPr>
              <a:spLocks noChangeShapeType="1"/>
            </p:cNvSpPr>
            <p:nvPr/>
          </p:nvSpPr>
          <p:spPr bwMode="auto">
            <a:xfrm>
              <a:off x="3883" y="4291602"/>
              <a:ext cx="68"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2" name="Group 11">
            <a:extLst>
              <a:ext uri="{FF2B5EF4-FFF2-40B4-BE49-F238E27FC236}">
                <a16:creationId xmlns:a16="http://schemas.microsoft.com/office/drawing/2014/main" id="{FE9AD725-38BF-8945-B223-81A36CF5EA84}"/>
              </a:ext>
            </a:extLst>
          </p:cNvPr>
          <p:cNvGrpSpPr/>
          <p:nvPr/>
        </p:nvGrpSpPr>
        <p:grpSpPr>
          <a:xfrm>
            <a:off x="5213853" y="2491812"/>
            <a:ext cx="1935825" cy="1764322"/>
            <a:chOff x="4723382" y="2415376"/>
            <a:chExt cx="2374103" cy="2163771"/>
          </a:xfrm>
        </p:grpSpPr>
        <p:sp>
          <p:nvSpPr>
            <p:cNvPr id="120" name="Freeform 22">
              <a:extLst>
                <a:ext uri="{FF2B5EF4-FFF2-40B4-BE49-F238E27FC236}">
                  <a16:creationId xmlns:a16="http://schemas.microsoft.com/office/drawing/2014/main" id="{23656A44-69AA-E946-955A-A9A16D787C5D}"/>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1" name="Arc 10">
              <a:extLst>
                <a:ext uri="{FF2B5EF4-FFF2-40B4-BE49-F238E27FC236}">
                  <a16:creationId xmlns:a16="http://schemas.microsoft.com/office/drawing/2014/main" id="{1988ECD6-E95D-3445-A3A8-A3EC490A81E7}"/>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grpSp>
        <p:nvGrpSpPr>
          <p:cNvPr id="122" name="Group 121">
            <a:extLst>
              <a:ext uri="{FF2B5EF4-FFF2-40B4-BE49-F238E27FC236}">
                <a16:creationId xmlns:a16="http://schemas.microsoft.com/office/drawing/2014/main" id="{CAA23768-31BA-644D-B37F-AB391D0A6488}"/>
              </a:ext>
            </a:extLst>
          </p:cNvPr>
          <p:cNvGrpSpPr/>
          <p:nvPr/>
        </p:nvGrpSpPr>
        <p:grpSpPr>
          <a:xfrm rot="10800000">
            <a:off x="4848626" y="2726465"/>
            <a:ext cx="1935825" cy="1764322"/>
            <a:chOff x="4723382" y="2415376"/>
            <a:chExt cx="2374103" cy="2163771"/>
          </a:xfrm>
        </p:grpSpPr>
        <p:sp>
          <p:nvSpPr>
            <p:cNvPr id="123" name="Freeform 22">
              <a:extLst>
                <a:ext uri="{FF2B5EF4-FFF2-40B4-BE49-F238E27FC236}">
                  <a16:creationId xmlns:a16="http://schemas.microsoft.com/office/drawing/2014/main" id="{B66DD1C0-1FCA-764C-9409-D1DF0886CCAA}"/>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24" name="Arc 123">
              <a:extLst>
                <a:ext uri="{FF2B5EF4-FFF2-40B4-BE49-F238E27FC236}">
                  <a16:creationId xmlns:a16="http://schemas.microsoft.com/office/drawing/2014/main" id="{F7C36541-133F-1945-9FF2-F5086BF88B37}"/>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sp>
        <p:nvSpPr>
          <p:cNvPr id="125" name="Freeform 124">
            <a:extLst>
              <a:ext uri="{FF2B5EF4-FFF2-40B4-BE49-F238E27FC236}">
                <a16:creationId xmlns:a16="http://schemas.microsoft.com/office/drawing/2014/main" id="{C1D4D852-CFB4-3A49-B0AF-EE2DE2580953}"/>
              </a:ext>
            </a:extLst>
          </p:cNvPr>
          <p:cNvSpPr/>
          <p:nvPr/>
        </p:nvSpPr>
        <p:spPr bwMode="auto">
          <a:xfrm flipH="1">
            <a:off x="7970370" y="3136710"/>
            <a:ext cx="401865" cy="89951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26" name="Freeform 125">
            <a:extLst>
              <a:ext uri="{FF2B5EF4-FFF2-40B4-BE49-F238E27FC236}">
                <a16:creationId xmlns:a16="http://schemas.microsoft.com/office/drawing/2014/main" id="{5E40651C-87D8-3643-A1F6-82D7AAAFE17A}"/>
              </a:ext>
            </a:extLst>
          </p:cNvPr>
          <p:cNvSpPr/>
          <p:nvPr/>
        </p:nvSpPr>
        <p:spPr bwMode="auto">
          <a:xfrm flipH="1">
            <a:off x="3591924" y="3136710"/>
            <a:ext cx="401865" cy="89951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540647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166"/>
                                        </p:tgtEl>
                                        <p:attrNameLst>
                                          <p:attrName>style.visibility</p:attrName>
                                        </p:attrNameLst>
                                      </p:cBhvr>
                                      <p:to>
                                        <p:strVal val="visible"/>
                                      </p:to>
                                    </p:set>
                                    <p:animEffect transition="in" filter="fade">
                                      <p:cBhvr>
                                        <p:cTn id="11" dur="250"/>
                                        <p:tgtEl>
                                          <p:spTgt spid="166"/>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67"/>
                                        </p:tgtEl>
                                        <p:attrNameLst>
                                          <p:attrName>style.visibility</p:attrName>
                                        </p:attrNameLst>
                                      </p:cBhvr>
                                      <p:to>
                                        <p:strVal val="visible"/>
                                      </p:to>
                                    </p:set>
                                    <p:animEffect transition="in" filter="fade">
                                      <p:cBhvr>
                                        <p:cTn id="15" dur="250"/>
                                        <p:tgtEl>
                                          <p:spTgt spid="1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66" grpId="0"/>
      <p:bldP spid="167"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DCA9FBC-B523-4A93-BB0D-5DD7C8AC44B9}"/>
              </a:ext>
            </a:extLst>
          </p:cNvPr>
          <p:cNvSpPr/>
          <p:nvPr/>
        </p:nvSpPr>
        <p:spPr>
          <a:xfrm>
            <a:off x="1135110" y="4705161"/>
            <a:ext cx="1777357"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Prepare data</a:t>
            </a:r>
          </a:p>
        </p:txBody>
      </p:sp>
      <p:sp>
        <p:nvSpPr>
          <p:cNvPr id="166" name="Rectangle 165">
            <a:extLst>
              <a:ext uri="{FF2B5EF4-FFF2-40B4-BE49-F238E27FC236}">
                <a16:creationId xmlns:a16="http://schemas.microsoft.com/office/drawing/2014/main" id="{9EFE15A1-E885-4535-BFBD-E19E41773C02}"/>
              </a:ext>
            </a:extLst>
          </p:cNvPr>
          <p:cNvSpPr/>
          <p:nvPr/>
        </p:nvSpPr>
        <p:spPr>
          <a:xfrm>
            <a:off x="4989206" y="4705161"/>
            <a:ext cx="2025966"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Build and train</a:t>
            </a:r>
          </a:p>
        </p:txBody>
      </p:sp>
      <p:sp>
        <p:nvSpPr>
          <p:cNvPr id="167" name="Rectangle 166">
            <a:extLst>
              <a:ext uri="{FF2B5EF4-FFF2-40B4-BE49-F238E27FC236}">
                <a16:creationId xmlns:a16="http://schemas.microsoft.com/office/drawing/2014/main" id="{E6DAEA1B-DC96-4B5D-BFC5-75B256D4D14F}"/>
              </a:ext>
            </a:extLst>
          </p:cNvPr>
          <p:cNvSpPr/>
          <p:nvPr/>
        </p:nvSpPr>
        <p:spPr>
          <a:xfrm>
            <a:off x="9468437" y="4705161"/>
            <a:ext cx="1070500"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Deploy</a:t>
            </a:r>
          </a:p>
        </p:txBody>
      </p:sp>
      <p:sp>
        <p:nvSpPr>
          <p:cNvPr id="3" name="Title 2">
            <a:extLst>
              <a:ext uri="{FF2B5EF4-FFF2-40B4-BE49-F238E27FC236}">
                <a16:creationId xmlns:a16="http://schemas.microsoft.com/office/drawing/2014/main" id="{A53E7BBA-9986-5F47-9056-ED32C5F563EC}"/>
              </a:ext>
            </a:extLst>
          </p:cNvPr>
          <p:cNvSpPr>
            <a:spLocks noGrp="1"/>
          </p:cNvSpPr>
          <p:nvPr>
            <p:ph type="title"/>
          </p:nvPr>
        </p:nvSpPr>
        <p:spPr/>
        <p:txBody>
          <a:bodyPr/>
          <a:lstStyle/>
          <a:p>
            <a:r>
              <a:rPr lang="en-US" dirty="0"/>
              <a:t>Building your own AI models</a:t>
            </a:r>
          </a:p>
        </p:txBody>
      </p:sp>
      <p:sp>
        <p:nvSpPr>
          <p:cNvPr id="4" name="Text Placeholder 3">
            <a:extLst>
              <a:ext uri="{FF2B5EF4-FFF2-40B4-BE49-F238E27FC236}">
                <a16:creationId xmlns:a16="http://schemas.microsoft.com/office/drawing/2014/main" id="{1F4684A0-6FA0-8B40-9754-1BB61EFFC6BB}"/>
              </a:ext>
            </a:extLst>
          </p:cNvPr>
          <p:cNvSpPr>
            <a:spLocks noGrp="1"/>
          </p:cNvSpPr>
          <p:nvPr>
            <p:ph type="body" sz="quarter" idx="12"/>
          </p:nvPr>
        </p:nvSpPr>
        <p:spPr/>
        <p:txBody>
          <a:bodyPr/>
          <a:lstStyle/>
          <a:p>
            <a:r>
              <a:rPr lang="en-US" dirty="0"/>
              <a:t>Transforming data into intelligence</a:t>
            </a:r>
          </a:p>
        </p:txBody>
      </p:sp>
      <p:grpSp>
        <p:nvGrpSpPr>
          <p:cNvPr id="9" name="Group 8">
            <a:extLst>
              <a:ext uri="{FF2B5EF4-FFF2-40B4-BE49-F238E27FC236}">
                <a16:creationId xmlns:a16="http://schemas.microsoft.com/office/drawing/2014/main" id="{99BF8526-DA0A-4647-B3D7-5991EF756188}"/>
              </a:ext>
            </a:extLst>
          </p:cNvPr>
          <p:cNvGrpSpPr/>
          <p:nvPr/>
        </p:nvGrpSpPr>
        <p:grpSpPr>
          <a:xfrm>
            <a:off x="9012965" y="2581371"/>
            <a:ext cx="1981445" cy="1637978"/>
            <a:chOff x="9524460" y="2632636"/>
            <a:chExt cx="2021177" cy="1670823"/>
          </a:xfrm>
        </p:grpSpPr>
        <p:sp>
          <p:nvSpPr>
            <p:cNvPr id="60" name="gear_3">
              <a:extLst>
                <a:ext uri="{FF2B5EF4-FFF2-40B4-BE49-F238E27FC236}">
                  <a16:creationId xmlns:a16="http://schemas.microsoft.com/office/drawing/2014/main" id="{67050993-F9B5-8240-AAD9-B11E05FAE48F}"/>
                </a:ext>
              </a:extLst>
            </p:cNvPr>
            <p:cNvSpPr>
              <a:spLocks noChangeAspect="1" noEditPoints="1"/>
            </p:cNvSpPr>
            <p:nvPr/>
          </p:nvSpPr>
          <p:spPr bwMode="auto">
            <a:xfrm>
              <a:off x="9524460" y="3183698"/>
              <a:ext cx="1110355" cy="111976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gear_3">
              <a:extLst>
                <a:ext uri="{FF2B5EF4-FFF2-40B4-BE49-F238E27FC236}">
                  <a16:creationId xmlns:a16="http://schemas.microsoft.com/office/drawing/2014/main" id="{DA6C2E52-D5EE-5C4C-AF7F-BB609E56C666}"/>
                </a:ext>
              </a:extLst>
            </p:cNvPr>
            <p:cNvSpPr>
              <a:spLocks noChangeAspect="1" noEditPoints="1"/>
            </p:cNvSpPr>
            <p:nvPr/>
          </p:nvSpPr>
          <p:spPr bwMode="auto">
            <a:xfrm>
              <a:off x="10421433" y="2632636"/>
              <a:ext cx="735342" cy="74157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gear_3">
              <a:extLst>
                <a:ext uri="{FF2B5EF4-FFF2-40B4-BE49-F238E27FC236}">
                  <a16:creationId xmlns:a16="http://schemas.microsoft.com/office/drawing/2014/main" id="{8D579812-8A97-0147-AE26-C5807904C54B}"/>
                </a:ext>
              </a:extLst>
            </p:cNvPr>
            <p:cNvSpPr>
              <a:spLocks noChangeAspect="1" noEditPoints="1"/>
            </p:cNvSpPr>
            <p:nvPr/>
          </p:nvSpPr>
          <p:spPr bwMode="auto">
            <a:xfrm>
              <a:off x="11022746" y="3309209"/>
              <a:ext cx="522891" cy="527320"/>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0" name="Group 9">
            <a:extLst>
              <a:ext uri="{FF2B5EF4-FFF2-40B4-BE49-F238E27FC236}">
                <a16:creationId xmlns:a16="http://schemas.microsoft.com/office/drawing/2014/main" id="{664F42B7-F9B2-494E-99B3-33C0B57C2BF1}"/>
              </a:ext>
            </a:extLst>
          </p:cNvPr>
          <p:cNvGrpSpPr/>
          <p:nvPr/>
        </p:nvGrpSpPr>
        <p:grpSpPr>
          <a:xfrm>
            <a:off x="1144934" y="2677641"/>
            <a:ext cx="1757706" cy="1650960"/>
            <a:chOff x="1239394" y="2531811"/>
            <a:chExt cx="1792952" cy="1684065"/>
          </a:xfrm>
        </p:grpSpPr>
        <p:grpSp>
          <p:nvGrpSpPr>
            <p:cNvPr id="64" name="Group 63">
              <a:extLst>
                <a:ext uri="{FF2B5EF4-FFF2-40B4-BE49-F238E27FC236}">
                  <a16:creationId xmlns:a16="http://schemas.microsoft.com/office/drawing/2014/main" id="{E26DEDDE-7218-6C4C-AFFF-418DBC6A84C7}"/>
                </a:ext>
              </a:extLst>
            </p:cNvPr>
            <p:cNvGrpSpPr/>
            <p:nvPr/>
          </p:nvGrpSpPr>
          <p:grpSpPr>
            <a:xfrm>
              <a:off x="1239394" y="2531811"/>
              <a:ext cx="523013" cy="1684065"/>
              <a:chOff x="1395310" y="3332039"/>
              <a:chExt cx="430961" cy="1387665"/>
            </a:xfrm>
            <a:solidFill>
              <a:schemeClr val="bg1"/>
            </a:solidFill>
          </p:grpSpPr>
          <p:sp>
            <p:nvSpPr>
              <p:cNvPr id="65" name="Isosceles Triangle 86">
                <a:extLst>
                  <a:ext uri="{FF2B5EF4-FFF2-40B4-BE49-F238E27FC236}">
                    <a16:creationId xmlns:a16="http://schemas.microsoft.com/office/drawing/2014/main" id="{9AA62143-B08F-FA4C-ACEE-7ACE1F59AD8F}"/>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6" name="Rectangle 65">
                <a:extLst>
                  <a:ext uri="{FF2B5EF4-FFF2-40B4-BE49-F238E27FC236}">
                    <a16:creationId xmlns:a16="http://schemas.microsoft.com/office/drawing/2014/main" id="{1057CEB9-3014-A547-99CB-50A539109E74}"/>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7" name="Oval 66">
                <a:extLst>
                  <a:ext uri="{FF2B5EF4-FFF2-40B4-BE49-F238E27FC236}">
                    <a16:creationId xmlns:a16="http://schemas.microsoft.com/office/drawing/2014/main" id="{16EA03E3-BB99-7F46-A3E1-F1C790C96CB9}"/>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68" name="Group 67">
              <a:extLst>
                <a:ext uri="{FF2B5EF4-FFF2-40B4-BE49-F238E27FC236}">
                  <a16:creationId xmlns:a16="http://schemas.microsoft.com/office/drawing/2014/main" id="{7BD98EB6-EFD9-0F48-B1A0-E1DCFB5C8FB1}"/>
                </a:ext>
              </a:extLst>
            </p:cNvPr>
            <p:cNvGrpSpPr/>
            <p:nvPr/>
          </p:nvGrpSpPr>
          <p:grpSpPr>
            <a:xfrm>
              <a:off x="1874363" y="2531811"/>
              <a:ext cx="523013" cy="1684065"/>
              <a:chOff x="1395310" y="3332039"/>
              <a:chExt cx="430961" cy="1387665"/>
            </a:xfrm>
            <a:solidFill>
              <a:schemeClr val="bg1"/>
            </a:solidFill>
          </p:grpSpPr>
          <p:sp>
            <p:nvSpPr>
              <p:cNvPr id="69" name="Isosceles Triangle 83">
                <a:extLst>
                  <a:ext uri="{FF2B5EF4-FFF2-40B4-BE49-F238E27FC236}">
                    <a16:creationId xmlns:a16="http://schemas.microsoft.com/office/drawing/2014/main" id="{488517EF-3727-6B4B-8290-0B6818D3EA00}"/>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Rectangle 69">
                <a:extLst>
                  <a:ext uri="{FF2B5EF4-FFF2-40B4-BE49-F238E27FC236}">
                    <a16:creationId xmlns:a16="http://schemas.microsoft.com/office/drawing/2014/main" id="{F17C0045-9597-C043-9B71-9D29199BB551}"/>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9" name="Oval 108">
                <a:extLst>
                  <a:ext uri="{FF2B5EF4-FFF2-40B4-BE49-F238E27FC236}">
                    <a16:creationId xmlns:a16="http://schemas.microsoft.com/office/drawing/2014/main" id="{D57C9C83-8576-0C48-BA0F-FBC007A8A2F7}"/>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110" name="Group 109">
              <a:extLst>
                <a:ext uri="{FF2B5EF4-FFF2-40B4-BE49-F238E27FC236}">
                  <a16:creationId xmlns:a16="http://schemas.microsoft.com/office/drawing/2014/main" id="{E5950AC5-7EC3-3845-A8B5-13CB51AEDF81}"/>
                </a:ext>
              </a:extLst>
            </p:cNvPr>
            <p:cNvGrpSpPr/>
            <p:nvPr/>
          </p:nvGrpSpPr>
          <p:grpSpPr>
            <a:xfrm>
              <a:off x="2509333" y="2531811"/>
              <a:ext cx="523013" cy="1684065"/>
              <a:chOff x="1395310" y="3332039"/>
              <a:chExt cx="430961" cy="1387665"/>
            </a:xfrm>
            <a:solidFill>
              <a:schemeClr val="bg1"/>
            </a:solidFill>
          </p:grpSpPr>
          <p:sp>
            <p:nvSpPr>
              <p:cNvPr id="111" name="Isosceles Triangle 80">
                <a:extLst>
                  <a:ext uri="{FF2B5EF4-FFF2-40B4-BE49-F238E27FC236}">
                    <a16:creationId xmlns:a16="http://schemas.microsoft.com/office/drawing/2014/main" id="{FA60E729-178D-AD40-B0B4-34D1CC2548A6}"/>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2" name="Rectangle 111">
                <a:extLst>
                  <a:ext uri="{FF2B5EF4-FFF2-40B4-BE49-F238E27FC236}">
                    <a16:creationId xmlns:a16="http://schemas.microsoft.com/office/drawing/2014/main" id="{58D1FB39-ED51-1A41-A0DB-66D26AD45583}"/>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3" name="Oval 112">
                <a:extLst>
                  <a:ext uri="{FF2B5EF4-FFF2-40B4-BE49-F238E27FC236}">
                    <a16:creationId xmlns:a16="http://schemas.microsoft.com/office/drawing/2014/main" id="{497F9986-29C2-F14A-BC1F-6A89BB2C9B54}"/>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grpSp>
        <p:nvGrpSpPr>
          <p:cNvPr id="14" name="Group 13">
            <a:extLst>
              <a:ext uri="{FF2B5EF4-FFF2-40B4-BE49-F238E27FC236}">
                <a16:creationId xmlns:a16="http://schemas.microsoft.com/office/drawing/2014/main" id="{CA8F26BB-BC3C-404A-97C9-18420A5EA55F}"/>
              </a:ext>
            </a:extLst>
          </p:cNvPr>
          <p:cNvGrpSpPr/>
          <p:nvPr/>
        </p:nvGrpSpPr>
        <p:grpSpPr>
          <a:xfrm>
            <a:off x="4848627" y="2491813"/>
            <a:ext cx="2301051" cy="1998974"/>
            <a:chOff x="4986639" y="2541282"/>
            <a:chExt cx="2347192" cy="2039058"/>
          </a:xfrm>
        </p:grpSpPr>
        <p:sp>
          <p:nvSpPr>
            <p:cNvPr id="117" name="Line 19">
              <a:extLst>
                <a:ext uri="{FF2B5EF4-FFF2-40B4-BE49-F238E27FC236}">
                  <a16:creationId xmlns:a16="http://schemas.microsoft.com/office/drawing/2014/main" id="{6400F715-456F-2940-8B9D-D8D0DE045D4C}"/>
                </a:ext>
              </a:extLst>
            </p:cNvPr>
            <p:cNvSpPr>
              <a:spLocks noChangeShapeType="1"/>
            </p:cNvSpPr>
            <p:nvPr/>
          </p:nvSpPr>
          <p:spPr bwMode="auto">
            <a:xfrm rot="16200000">
              <a:off x="6005770" y="3401735"/>
              <a:ext cx="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nvGrpSpPr>
            <p:cNvPr id="53" name="Group 11">
              <a:extLst>
                <a:ext uri="{FF2B5EF4-FFF2-40B4-BE49-F238E27FC236}">
                  <a16:creationId xmlns:a16="http://schemas.microsoft.com/office/drawing/2014/main" id="{FD0EAA60-A639-2B4A-9832-4878CF2F5E0D}"/>
                </a:ext>
              </a:extLst>
            </p:cNvPr>
            <p:cNvGrpSpPr>
              <a:grpSpLocks noChangeAspect="1"/>
            </p:cNvGrpSpPr>
            <p:nvPr/>
          </p:nvGrpSpPr>
          <p:grpSpPr bwMode="auto">
            <a:xfrm>
              <a:off x="5712422" y="3055262"/>
              <a:ext cx="1007365" cy="1097312"/>
              <a:chOff x="3861" y="4291602"/>
              <a:chExt cx="112" cy="244433"/>
            </a:xfrm>
          </p:grpSpPr>
          <p:sp>
            <p:nvSpPr>
              <p:cNvPr id="54" name="Freeform 12">
                <a:extLst>
                  <a:ext uri="{FF2B5EF4-FFF2-40B4-BE49-F238E27FC236}">
                    <a16:creationId xmlns:a16="http://schemas.microsoft.com/office/drawing/2014/main" id="{8A40B6BB-DB28-6D43-BEEE-D4FECD53F60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5" name="Line 13">
                <a:extLst>
                  <a:ext uri="{FF2B5EF4-FFF2-40B4-BE49-F238E27FC236}">
                    <a16:creationId xmlns:a16="http://schemas.microsoft.com/office/drawing/2014/main" id="{598370C0-A526-DD49-93F6-9E7B67113464}"/>
                  </a:ext>
                </a:extLst>
              </p:cNvPr>
              <p:cNvSpPr>
                <a:spLocks noChangeShapeType="1"/>
              </p:cNvSpPr>
              <p:nvPr/>
            </p:nvSpPr>
            <p:spPr bwMode="auto">
              <a:xfrm>
                <a:off x="3874" y="4469918"/>
                <a:ext cx="8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6" name="Line 14">
                <a:extLst>
                  <a:ext uri="{FF2B5EF4-FFF2-40B4-BE49-F238E27FC236}">
                    <a16:creationId xmlns:a16="http://schemas.microsoft.com/office/drawing/2014/main" id="{7EE7ADFE-504A-3840-8C1B-ACD1041F204D}"/>
                  </a:ext>
                </a:extLst>
              </p:cNvPr>
              <p:cNvSpPr>
                <a:spLocks noChangeShapeType="1"/>
              </p:cNvSpPr>
              <p:nvPr/>
            </p:nvSpPr>
            <p:spPr bwMode="auto">
              <a:xfrm>
                <a:off x="3923" y="4335680"/>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7" name="Line 15">
                <a:extLst>
                  <a:ext uri="{FF2B5EF4-FFF2-40B4-BE49-F238E27FC236}">
                    <a16:creationId xmlns:a16="http://schemas.microsoft.com/office/drawing/2014/main" id="{708451EC-0BF5-9247-A380-9F245A8DF0E5}"/>
                  </a:ext>
                </a:extLst>
              </p:cNvPr>
              <p:cNvSpPr>
                <a:spLocks noChangeShapeType="1"/>
              </p:cNvSpPr>
              <p:nvPr/>
            </p:nvSpPr>
            <p:spPr bwMode="auto">
              <a:xfrm>
                <a:off x="3923" y="4379758"/>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8" name="Line 16">
                <a:extLst>
                  <a:ext uri="{FF2B5EF4-FFF2-40B4-BE49-F238E27FC236}">
                    <a16:creationId xmlns:a16="http://schemas.microsoft.com/office/drawing/2014/main" id="{8A79B9F9-DBF6-854D-9F28-8467BF1DDD48}"/>
                  </a:ext>
                </a:extLst>
              </p:cNvPr>
              <p:cNvSpPr>
                <a:spLocks noChangeShapeType="1"/>
              </p:cNvSpPr>
              <p:nvPr/>
            </p:nvSpPr>
            <p:spPr bwMode="auto">
              <a:xfrm>
                <a:off x="3923" y="4425840"/>
                <a:ext cx="2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9" name="Line 17">
                <a:extLst>
                  <a:ext uri="{FF2B5EF4-FFF2-40B4-BE49-F238E27FC236}">
                    <a16:creationId xmlns:a16="http://schemas.microsoft.com/office/drawing/2014/main" id="{988AC340-451E-AD43-85A6-1412ED65468B}"/>
                  </a:ext>
                </a:extLst>
              </p:cNvPr>
              <p:cNvSpPr>
                <a:spLocks noChangeShapeType="1"/>
              </p:cNvSpPr>
              <p:nvPr/>
            </p:nvSpPr>
            <p:spPr bwMode="auto">
              <a:xfrm>
                <a:off x="3883" y="4291602"/>
                <a:ext cx="68"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2" name="Group 11">
              <a:extLst>
                <a:ext uri="{FF2B5EF4-FFF2-40B4-BE49-F238E27FC236}">
                  <a16:creationId xmlns:a16="http://schemas.microsoft.com/office/drawing/2014/main" id="{FE9AD725-38BF-8945-B223-81A36CF5EA84}"/>
                </a:ext>
              </a:extLst>
            </p:cNvPr>
            <p:cNvGrpSpPr/>
            <p:nvPr/>
          </p:nvGrpSpPr>
          <p:grpSpPr>
            <a:xfrm>
              <a:off x="5359189" y="2541282"/>
              <a:ext cx="1974642" cy="1799700"/>
              <a:chOff x="4723382" y="2415376"/>
              <a:chExt cx="2374103" cy="2163771"/>
            </a:xfrm>
          </p:grpSpPr>
          <p:sp>
            <p:nvSpPr>
              <p:cNvPr id="120" name="Freeform 22">
                <a:extLst>
                  <a:ext uri="{FF2B5EF4-FFF2-40B4-BE49-F238E27FC236}">
                    <a16:creationId xmlns:a16="http://schemas.microsoft.com/office/drawing/2014/main" id="{23656A44-69AA-E946-955A-A9A16D787C5D}"/>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1" name="Arc 10">
                <a:extLst>
                  <a:ext uri="{FF2B5EF4-FFF2-40B4-BE49-F238E27FC236}">
                    <a16:creationId xmlns:a16="http://schemas.microsoft.com/office/drawing/2014/main" id="{1988ECD6-E95D-3445-A3A8-A3EC490A81E7}"/>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grpSp>
          <p:nvGrpSpPr>
            <p:cNvPr id="122" name="Group 121">
              <a:extLst>
                <a:ext uri="{FF2B5EF4-FFF2-40B4-BE49-F238E27FC236}">
                  <a16:creationId xmlns:a16="http://schemas.microsoft.com/office/drawing/2014/main" id="{CAA23768-31BA-644D-B37F-AB391D0A6488}"/>
                </a:ext>
              </a:extLst>
            </p:cNvPr>
            <p:cNvGrpSpPr/>
            <p:nvPr/>
          </p:nvGrpSpPr>
          <p:grpSpPr>
            <a:xfrm rot="10800000">
              <a:off x="4986639" y="2780640"/>
              <a:ext cx="1974642" cy="1799700"/>
              <a:chOff x="4723382" y="2415376"/>
              <a:chExt cx="2374103" cy="2163771"/>
            </a:xfrm>
          </p:grpSpPr>
          <p:sp>
            <p:nvSpPr>
              <p:cNvPr id="123" name="Freeform 22">
                <a:extLst>
                  <a:ext uri="{FF2B5EF4-FFF2-40B4-BE49-F238E27FC236}">
                    <a16:creationId xmlns:a16="http://schemas.microsoft.com/office/drawing/2014/main" id="{B66DD1C0-1FCA-764C-9409-D1DF0886CCAA}"/>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24" name="Arc 123">
                <a:extLst>
                  <a:ext uri="{FF2B5EF4-FFF2-40B4-BE49-F238E27FC236}">
                    <a16:creationId xmlns:a16="http://schemas.microsoft.com/office/drawing/2014/main" id="{F7C36541-133F-1945-9FF2-F5086BF88B37}"/>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grpSp>
      <p:sp>
        <p:nvSpPr>
          <p:cNvPr id="125" name="Freeform 124">
            <a:extLst>
              <a:ext uri="{FF2B5EF4-FFF2-40B4-BE49-F238E27FC236}">
                <a16:creationId xmlns:a16="http://schemas.microsoft.com/office/drawing/2014/main" id="{C1D4D852-CFB4-3A49-B0AF-EE2DE2580953}"/>
              </a:ext>
            </a:extLst>
          </p:cNvPr>
          <p:cNvSpPr/>
          <p:nvPr/>
        </p:nvSpPr>
        <p:spPr bwMode="auto">
          <a:xfrm flipH="1">
            <a:off x="7970370" y="3136710"/>
            <a:ext cx="401865" cy="89951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26" name="Freeform 125">
            <a:extLst>
              <a:ext uri="{FF2B5EF4-FFF2-40B4-BE49-F238E27FC236}">
                <a16:creationId xmlns:a16="http://schemas.microsoft.com/office/drawing/2014/main" id="{5E40651C-87D8-3643-A1F6-82D7AAAFE17A}"/>
              </a:ext>
            </a:extLst>
          </p:cNvPr>
          <p:cNvSpPr/>
          <p:nvPr/>
        </p:nvSpPr>
        <p:spPr bwMode="auto">
          <a:xfrm flipH="1">
            <a:off x="3591924" y="3136710"/>
            <a:ext cx="401865" cy="89951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9ACE4237-BF5D-7043-9860-D7B58A7F3199}"/>
              </a:ext>
            </a:extLst>
          </p:cNvPr>
          <p:cNvSpPr/>
          <p:nvPr/>
        </p:nvSpPr>
        <p:spPr bwMode="auto">
          <a:xfrm>
            <a:off x="3418923" y="2272820"/>
            <a:ext cx="8067823" cy="3315382"/>
          </a:xfrm>
          <a:prstGeom prst="rect">
            <a:avLst/>
          </a:prstGeom>
          <a:solidFill>
            <a:schemeClr val="bg1">
              <a:alpha val="7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26860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4" name="Group 243">
            <a:extLst>
              <a:ext uri="{FF2B5EF4-FFF2-40B4-BE49-F238E27FC236}">
                <a16:creationId xmlns:a16="http://schemas.microsoft.com/office/drawing/2014/main" id="{7B84CBFD-AF4B-4B60-BE6F-B79C84C55D0F}"/>
              </a:ext>
            </a:extLst>
          </p:cNvPr>
          <p:cNvGrpSpPr/>
          <p:nvPr/>
        </p:nvGrpSpPr>
        <p:grpSpPr>
          <a:xfrm>
            <a:off x="5596045" y="3520089"/>
            <a:ext cx="1189380" cy="843020"/>
            <a:chOff x="6078612" y="3211594"/>
            <a:chExt cx="279253" cy="197932"/>
          </a:xfrm>
        </p:grpSpPr>
        <p:cxnSp>
          <p:nvCxnSpPr>
            <p:cNvPr id="247" name="Straight Connector 246">
              <a:extLst>
                <a:ext uri="{FF2B5EF4-FFF2-40B4-BE49-F238E27FC236}">
                  <a16:creationId xmlns:a16="http://schemas.microsoft.com/office/drawing/2014/main" id="{610D3E8A-9A26-4655-B6F3-4C135965B221}"/>
                </a:ext>
              </a:extLst>
            </p:cNvPr>
            <p:cNvCxnSpPr>
              <a:cxnSpLocks/>
            </p:cNvCxnSpPr>
            <p:nvPr/>
          </p:nvCxnSpPr>
          <p:spPr>
            <a:xfrm>
              <a:off x="6078612" y="3310743"/>
              <a:ext cx="279253" cy="0"/>
            </a:xfrm>
            <a:prstGeom prst="line">
              <a:avLst/>
            </a:prstGeom>
            <a:solidFill>
              <a:schemeClr val="tx2"/>
            </a:solidFill>
            <a:ln w="38100">
              <a:solidFill>
                <a:schemeClr val="accent4">
                  <a:lumMod val="9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48" name="Rectangle 5">
              <a:extLst>
                <a:ext uri="{FF2B5EF4-FFF2-40B4-BE49-F238E27FC236}">
                  <a16:creationId xmlns:a16="http://schemas.microsoft.com/office/drawing/2014/main" id="{5AAE50F0-0A42-4A39-8FFD-9972F32E0D17}"/>
                </a:ext>
              </a:extLst>
            </p:cNvPr>
            <p:cNvSpPr/>
            <p:nvPr/>
          </p:nvSpPr>
          <p:spPr bwMode="auto">
            <a:xfrm rot="8100000">
              <a:off x="6121000" y="3211594"/>
              <a:ext cx="197933" cy="197932"/>
            </a:xfrm>
            <a:custGeom>
              <a:avLst/>
              <a:gdLst>
                <a:gd name="connsiteX0" fmla="*/ 0 w 880533"/>
                <a:gd name="connsiteY0" fmla="*/ 0 h 880533"/>
                <a:gd name="connsiteX1" fmla="*/ 880533 w 880533"/>
                <a:gd name="connsiteY1" fmla="*/ 0 h 880533"/>
                <a:gd name="connsiteX2" fmla="*/ 880533 w 880533"/>
                <a:gd name="connsiteY2" fmla="*/ 880533 h 880533"/>
                <a:gd name="connsiteX3" fmla="*/ 0 w 880533"/>
                <a:gd name="connsiteY3" fmla="*/ 880533 h 880533"/>
                <a:gd name="connsiteX4" fmla="*/ 0 w 880533"/>
                <a:gd name="connsiteY4" fmla="*/ 0 h 880533"/>
                <a:gd name="connsiteX0" fmla="*/ 880533 w 971973"/>
                <a:gd name="connsiteY0" fmla="*/ 880533 h 971973"/>
                <a:gd name="connsiteX1" fmla="*/ 0 w 971973"/>
                <a:gd name="connsiteY1" fmla="*/ 880533 h 971973"/>
                <a:gd name="connsiteX2" fmla="*/ 0 w 971973"/>
                <a:gd name="connsiteY2" fmla="*/ 0 h 971973"/>
                <a:gd name="connsiteX3" fmla="*/ 880533 w 971973"/>
                <a:gd name="connsiteY3" fmla="*/ 0 h 971973"/>
                <a:gd name="connsiteX4" fmla="*/ 971973 w 971973"/>
                <a:gd name="connsiteY4" fmla="*/ 971973 h 971973"/>
                <a:gd name="connsiteX0" fmla="*/ 880533 w 880533"/>
                <a:gd name="connsiteY0" fmla="*/ 880533 h 880533"/>
                <a:gd name="connsiteX1" fmla="*/ 0 w 880533"/>
                <a:gd name="connsiteY1" fmla="*/ 880533 h 880533"/>
                <a:gd name="connsiteX2" fmla="*/ 0 w 880533"/>
                <a:gd name="connsiteY2" fmla="*/ 0 h 880533"/>
                <a:gd name="connsiteX3" fmla="*/ 880533 w 880533"/>
                <a:gd name="connsiteY3" fmla="*/ 0 h 880533"/>
                <a:gd name="connsiteX0" fmla="*/ 0 w 880533"/>
                <a:gd name="connsiteY0" fmla="*/ 880533 h 880533"/>
                <a:gd name="connsiteX1" fmla="*/ 0 w 880533"/>
                <a:gd name="connsiteY1" fmla="*/ 0 h 880533"/>
                <a:gd name="connsiteX2" fmla="*/ 880533 w 880533"/>
                <a:gd name="connsiteY2" fmla="*/ 0 h 880533"/>
              </a:gdLst>
              <a:ahLst/>
              <a:cxnLst>
                <a:cxn ang="0">
                  <a:pos x="connsiteX0" y="connsiteY0"/>
                </a:cxn>
                <a:cxn ang="0">
                  <a:pos x="connsiteX1" y="connsiteY1"/>
                </a:cxn>
                <a:cxn ang="0">
                  <a:pos x="connsiteX2" y="connsiteY2"/>
                </a:cxn>
              </a:cxnLst>
              <a:rect l="l" t="t" r="r" b="b"/>
              <a:pathLst>
                <a:path w="880533" h="880533">
                  <a:moveTo>
                    <a:pt x="0" y="880533"/>
                  </a:moveTo>
                  <a:lnTo>
                    <a:pt x="0" y="0"/>
                  </a:lnTo>
                  <a:lnTo>
                    <a:pt x="880533" y="0"/>
                  </a:lnTo>
                </a:path>
              </a:pathLst>
            </a:custGeom>
            <a:noFill/>
            <a:ln w="38100">
              <a:solidFill>
                <a:schemeClr val="accent4">
                  <a:lumMod val="9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922"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2060"/>
                </a:solidFill>
                <a:effectLst/>
                <a:uLnTx/>
                <a:uFillTx/>
                <a:latin typeface="Segoe UI Semilight"/>
                <a:ea typeface="Segoe UI" pitchFamily="34" charset="0"/>
                <a:cs typeface="Segoe UI" pitchFamily="34" charset="0"/>
              </a:endParaRPr>
            </a:p>
          </p:txBody>
        </p:sp>
      </p:grpSp>
      <p:grpSp>
        <p:nvGrpSpPr>
          <p:cNvPr id="10" name="Group 9">
            <a:extLst>
              <a:ext uri="{FF2B5EF4-FFF2-40B4-BE49-F238E27FC236}">
                <a16:creationId xmlns:a16="http://schemas.microsoft.com/office/drawing/2014/main" id="{B6CB2748-11D5-8E48-AC01-BE8C648EC19A}"/>
              </a:ext>
            </a:extLst>
          </p:cNvPr>
          <p:cNvGrpSpPr/>
          <p:nvPr/>
        </p:nvGrpSpPr>
        <p:grpSpPr>
          <a:xfrm>
            <a:off x="-309642" y="1746196"/>
            <a:ext cx="6091945" cy="5583022"/>
            <a:chOff x="-310244" y="1758135"/>
            <a:chExt cx="6214101" cy="5694973"/>
          </a:xfrm>
        </p:grpSpPr>
        <p:sp>
          <p:nvSpPr>
            <p:cNvPr id="309" name="Isosceles Triangle 308">
              <a:extLst>
                <a:ext uri="{FF2B5EF4-FFF2-40B4-BE49-F238E27FC236}">
                  <a16:creationId xmlns:a16="http://schemas.microsoft.com/office/drawing/2014/main" id="{D4D4976F-BC72-4F92-AEDD-4074F051651A}"/>
                </a:ext>
              </a:extLst>
            </p:cNvPr>
            <p:cNvSpPr/>
            <p:nvPr/>
          </p:nvSpPr>
          <p:spPr bwMode="auto">
            <a:xfrm>
              <a:off x="1426775" y="3031706"/>
              <a:ext cx="665592" cy="573786"/>
            </a:xfrm>
            <a:prstGeom prst="triangl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0" name="Rectangle 309">
              <a:extLst>
                <a:ext uri="{FF2B5EF4-FFF2-40B4-BE49-F238E27FC236}">
                  <a16:creationId xmlns:a16="http://schemas.microsoft.com/office/drawing/2014/main" id="{1B36EB82-37EC-4EDB-8CC3-5B88E4B24A74}"/>
                </a:ext>
              </a:extLst>
            </p:cNvPr>
            <p:cNvSpPr/>
            <p:nvPr/>
          </p:nvSpPr>
          <p:spPr bwMode="auto">
            <a:xfrm>
              <a:off x="517108" y="1758135"/>
              <a:ext cx="532253" cy="532252"/>
            </a:xfrm>
            <a:prstGeom prst="rect">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1" name="Oval 310">
              <a:extLst>
                <a:ext uri="{FF2B5EF4-FFF2-40B4-BE49-F238E27FC236}">
                  <a16:creationId xmlns:a16="http://schemas.microsoft.com/office/drawing/2014/main" id="{87EFF531-C3BA-4348-A7AD-68514648FCEB}"/>
                </a:ext>
              </a:extLst>
            </p:cNvPr>
            <p:cNvSpPr/>
            <p:nvPr/>
          </p:nvSpPr>
          <p:spPr bwMode="auto">
            <a:xfrm>
              <a:off x="643230" y="3251913"/>
              <a:ext cx="608969" cy="608967"/>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13" name="Isosceles Triangle 312">
              <a:extLst>
                <a:ext uri="{FF2B5EF4-FFF2-40B4-BE49-F238E27FC236}">
                  <a16:creationId xmlns:a16="http://schemas.microsoft.com/office/drawing/2014/main" id="{64D89E73-D5DC-40A6-A924-E0D600B7991E}"/>
                </a:ext>
              </a:extLst>
            </p:cNvPr>
            <p:cNvSpPr/>
            <p:nvPr/>
          </p:nvSpPr>
          <p:spPr bwMode="auto">
            <a:xfrm>
              <a:off x="3693398" y="3726513"/>
              <a:ext cx="665592" cy="573786"/>
            </a:xfrm>
            <a:prstGeom prst="triangl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4" name="Rectangle 313">
              <a:extLst>
                <a:ext uri="{FF2B5EF4-FFF2-40B4-BE49-F238E27FC236}">
                  <a16:creationId xmlns:a16="http://schemas.microsoft.com/office/drawing/2014/main" id="{10FFBA5A-D439-4B2A-9CB2-AE8F98B61530}"/>
                </a:ext>
              </a:extLst>
            </p:cNvPr>
            <p:cNvSpPr/>
            <p:nvPr/>
          </p:nvSpPr>
          <p:spPr bwMode="auto">
            <a:xfrm>
              <a:off x="4572329" y="4908150"/>
              <a:ext cx="532253" cy="532252"/>
            </a:xfrm>
            <a:prstGeom prst="rect">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5" name="Oval 314">
              <a:extLst>
                <a:ext uri="{FF2B5EF4-FFF2-40B4-BE49-F238E27FC236}">
                  <a16:creationId xmlns:a16="http://schemas.microsoft.com/office/drawing/2014/main" id="{0AEA8A94-D40E-4BFA-8ECC-2D84B69788CF}"/>
                </a:ext>
              </a:extLst>
            </p:cNvPr>
            <p:cNvSpPr/>
            <p:nvPr/>
          </p:nvSpPr>
          <p:spPr bwMode="auto">
            <a:xfrm>
              <a:off x="2459763" y="2615787"/>
              <a:ext cx="608969" cy="608967"/>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17" name="Isosceles Triangle 316">
              <a:extLst>
                <a:ext uri="{FF2B5EF4-FFF2-40B4-BE49-F238E27FC236}">
                  <a16:creationId xmlns:a16="http://schemas.microsoft.com/office/drawing/2014/main" id="{C89D38C2-E802-4918-A23F-F8104A66AD69}"/>
                </a:ext>
              </a:extLst>
            </p:cNvPr>
            <p:cNvSpPr/>
            <p:nvPr/>
          </p:nvSpPr>
          <p:spPr bwMode="auto">
            <a:xfrm>
              <a:off x="4652115" y="3076169"/>
              <a:ext cx="665592" cy="573786"/>
            </a:xfrm>
            <a:prstGeom prst="triangl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9" name="Oval 318">
              <a:extLst>
                <a:ext uri="{FF2B5EF4-FFF2-40B4-BE49-F238E27FC236}">
                  <a16:creationId xmlns:a16="http://schemas.microsoft.com/office/drawing/2014/main" id="{C18E345A-F506-40C7-BF48-5E4078FCA7D9}"/>
                </a:ext>
              </a:extLst>
            </p:cNvPr>
            <p:cNvSpPr/>
            <p:nvPr/>
          </p:nvSpPr>
          <p:spPr bwMode="auto">
            <a:xfrm>
              <a:off x="2038894" y="5790140"/>
              <a:ext cx="608969" cy="608967"/>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21" name="Isosceles Triangle 320">
              <a:extLst>
                <a:ext uri="{FF2B5EF4-FFF2-40B4-BE49-F238E27FC236}">
                  <a16:creationId xmlns:a16="http://schemas.microsoft.com/office/drawing/2014/main" id="{C7FBDAC0-BFC1-4C7D-AAC4-3D07473CEB8E}"/>
                </a:ext>
              </a:extLst>
            </p:cNvPr>
            <p:cNvSpPr/>
            <p:nvPr/>
          </p:nvSpPr>
          <p:spPr bwMode="auto">
            <a:xfrm>
              <a:off x="3874856" y="5342414"/>
              <a:ext cx="815542" cy="703054"/>
            </a:xfrm>
            <a:prstGeom prst="triangl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2" name="Rectangle 321">
              <a:extLst>
                <a:ext uri="{FF2B5EF4-FFF2-40B4-BE49-F238E27FC236}">
                  <a16:creationId xmlns:a16="http://schemas.microsoft.com/office/drawing/2014/main" id="{A20FC32D-430C-4928-AC52-E0C5DAA558BA}"/>
                </a:ext>
              </a:extLst>
            </p:cNvPr>
            <p:cNvSpPr/>
            <p:nvPr/>
          </p:nvSpPr>
          <p:spPr bwMode="auto">
            <a:xfrm>
              <a:off x="4137845" y="4548592"/>
              <a:ext cx="652164" cy="652164"/>
            </a:xfrm>
            <a:prstGeom prst="rect">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3" name="Oval 322">
              <a:extLst>
                <a:ext uri="{FF2B5EF4-FFF2-40B4-BE49-F238E27FC236}">
                  <a16:creationId xmlns:a16="http://schemas.microsoft.com/office/drawing/2014/main" id="{533F54B0-995C-40B8-990E-4A614F4D6432}"/>
                </a:ext>
              </a:extLst>
            </p:cNvPr>
            <p:cNvSpPr/>
            <p:nvPr/>
          </p:nvSpPr>
          <p:spPr bwMode="auto">
            <a:xfrm>
              <a:off x="2844265" y="2456976"/>
              <a:ext cx="746164" cy="746162"/>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25" name="Isosceles Triangle 324">
              <a:extLst>
                <a:ext uri="{FF2B5EF4-FFF2-40B4-BE49-F238E27FC236}">
                  <a16:creationId xmlns:a16="http://schemas.microsoft.com/office/drawing/2014/main" id="{5F73D84D-B4CA-4366-9D89-A1D5E3708691}"/>
                </a:ext>
              </a:extLst>
            </p:cNvPr>
            <p:cNvSpPr/>
            <p:nvPr/>
          </p:nvSpPr>
          <p:spPr bwMode="auto">
            <a:xfrm>
              <a:off x="1614779" y="3226953"/>
              <a:ext cx="815542" cy="703054"/>
            </a:xfrm>
            <a:prstGeom prst="triangl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6" name="Rectangle 325">
              <a:extLst>
                <a:ext uri="{FF2B5EF4-FFF2-40B4-BE49-F238E27FC236}">
                  <a16:creationId xmlns:a16="http://schemas.microsoft.com/office/drawing/2014/main" id="{4BDB3394-A051-4F76-A3D7-84E180FECDEC}"/>
                </a:ext>
              </a:extLst>
            </p:cNvPr>
            <p:cNvSpPr/>
            <p:nvPr/>
          </p:nvSpPr>
          <p:spPr bwMode="auto">
            <a:xfrm>
              <a:off x="1668975" y="5393303"/>
              <a:ext cx="652164" cy="652164"/>
            </a:xfrm>
            <a:prstGeom prst="rect">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7" name="Oval 326">
              <a:extLst>
                <a:ext uri="{FF2B5EF4-FFF2-40B4-BE49-F238E27FC236}">
                  <a16:creationId xmlns:a16="http://schemas.microsoft.com/office/drawing/2014/main" id="{7F5EB805-E5BB-4887-A68E-EC853C696E34}"/>
                </a:ext>
              </a:extLst>
            </p:cNvPr>
            <p:cNvSpPr/>
            <p:nvPr/>
          </p:nvSpPr>
          <p:spPr bwMode="auto">
            <a:xfrm>
              <a:off x="3008684" y="4494683"/>
              <a:ext cx="746164" cy="746162"/>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29" name="Isosceles Triangle 328">
              <a:extLst>
                <a:ext uri="{FF2B5EF4-FFF2-40B4-BE49-F238E27FC236}">
                  <a16:creationId xmlns:a16="http://schemas.microsoft.com/office/drawing/2014/main" id="{521B3549-43AF-4F27-A86E-4BCA3AD298D9}"/>
                </a:ext>
              </a:extLst>
            </p:cNvPr>
            <p:cNvSpPr/>
            <p:nvPr/>
          </p:nvSpPr>
          <p:spPr bwMode="auto">
            <a:xfrm>
              <a:off x="2544356" y="3322679"/>
              <a:ext cx="815542" cy="703054"/>
            </a:xfrm>
            <a:prstGeom prst="triangl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0" name="Rectangle 329">
              <a:extLst>
                <a:ext uri="{FF2B5EF4-FFF2-40B4-BE49-F238E27FC236}">
                  <a16:creationId xmlns:a16="http://schemas.microsoft.com/office/drawing/2014/main" id="{572CE65D-6C90-4C60-862A-D98F92F5562F}"/>
                </a:ext>
              </a:extLst>
            </p:cNvPr>
            <p:cNvSpPr/>
            <p:nvPr/>
          </p:nvSpPr>
          <p:spPr bwMode="auto">
            <a:xfrm>
              <a:off x="5251693" y="5790140"/>
              <a:ext cx="652164" cy="652164"/>
            </a:xfrm>
            <a:prstGeom prst="rect">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3" name="Isosceles Triangle 332">
              <a:extLst>
                <a:ext uri="{FF2B5EF4-FFF2-40B4-BE49-F238E27FC236}">
                  <a16:creationId xmlns:a16="http://schemas.microsoft.com/office/drawing/2014/main" id="{F0DEA0D4-5EE5-479B-93A7-3D05047E2633}"/>
                </a:ext>
              </a:extLst>
            </p:cNvPr>
            <p:cNvSpPr/>
            <p:nvPr/>
          </p:nvSpPr>
          <p:spPr bwMode="auto">
            <a:xfrm>
              <a:off x="3515220" y="3079066"/>
              <a:ext cx="1044102" cy="900087"/>
            </a:xfrm>
            <a:prstGeom prst="triangl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4" name="Rectangle 333">
              <a:extLst>
                <a:ext uri="{FF2B5EF4-FFF2-40B4-BE49-F238E27FC236}">
                  <a16:creationId xmlns:a16="http://schemas.microsoft.com/office/drawing/2014/main" id="{6ABBE6E7-EF42-4C05-97BE-66FCC7DBDA1E}"/>
                </a:ext>
              </a:extLst>
            </p:cNvPr>
            <p:cNvSpPr/>
            <p:nvPr/>
          </p:nvSpPr>
          <p:spPr bwMode="auto">
            <a:xfrm>
              <a:off x="316391" y="5889063"/>
              <a:ext cx="834935" cy="834935"/>
            </a:xfrm>
            <a:prstGeom prst="rect">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5" name="Oval 334">
              <a:extLst>
                <a:ext uri="{FF2B5EF4-FFF2-40B4-BE49-F238E27FC236}">
                  <a16:creationId xmlns:a16="http://schemas.microsoft.com/office/drawing/2014/main" id="{BD57E93B-4DC5-41A6-B6AB-628FE70EB955}"/>
                </a:ext>
              </a:extLst>
            </p:cNvPr>
            <p:cNvSpPr/>
            <p:nvPr/>
          </p:nvSpPr>
          <p:spPr bwMode="auto">
            <a:xfrm>
              <a:off x="2321140" y="6497831"/>
              <a:ext cx="955279" cy="955277"/>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37" name="Isosceles Triangle 336">
              <a:extLst>
                <a:ext uri="{FF2B5EF4-FFF2-40B4-BE49-F238E27FC236}">
                  <a16:creationId xmlns:a16="http://schemas.microsoft.com/office/drawing/2014/main" id="{14F78473-5240-4CD5-A72D-8EDC5C01B19E}"/>
                </a:ext>
              </a:extLst>
            </p:cNvPr>
            <p:cNvSpPr/>
            <p:nvPr/>
          </p:nvSpPr>
          <p:spPr bwMode="auto">
            <a:xfrm>
              <a:off x="904724" y="1910645"/>
              <a:ext cx="1044102" cy="900087"/>
            </a:xfrm>
            <a:prstGeom prst="triangl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8" name="Rectangle 337">
              <a:extLst>
                <a:ext uri="{FF2B5EF4-FFF2-40B4-BE49-F238E27FC236}">
                  <a16:creationId xmlns:a16="http://schemas.microsoft.com/office/drawing/2014/main" id="{985DF86E-FA16-428D-B5B3-5DE57B527221}"/>
                </a:ext>
              </a:extLst>
            </p:cNvPr>
            <p:cNvSpPr/>
            <p:nvPr/>
          </p:nvSpPr>
          <p:spPr bwMode="auto">
            <a:xfrm>
              <a:off x="1941016" y="4332068"/>
              <a:ext cx="834935" cy="834935"/>
            </a:xfrm>
            <a:prstGeom prst="rect">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9" name="Oval 338">
              <a:extLst>
                <a:ext uri="{FF2B5EF4-FFF2-40B4-BE49-F238E27FC236}">
                  <a16:creationId xmlns:a16="http://schemas.microsoft.com/office/drawing/2014/main" id="{FB00834E-3DA0-4283-956F-1181A4311DF0}"/>
                </a:ext>
              </a:extLst>
            </p:cNvPr>
            <p:cNvSpPr/>
            <p:nvPr/>
          </p:nvSpPr>
          <p:spPr bwMode="auto">
            <a:xfrm>
              <a:off x="3153262" y="5663559"/>
              <a:ext cx="955279" cy="955277"/>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sp>
          <p:nvSpPr>
            <p:cNvPr id="341" name="Isosceles Triangle 340">
              <a:extLst>
                <a:ext uri="{FF2B5EF4-FFF2-40B4-BE49-F238E27FC236}">
                  <a16:creationId xmlns:a16="http://schemas.microsoft.com/office/drawing/2014/main" id="{9D039AE8-9402-4097-A445-A56E961A4389}"/>
                </a:ext>
              </a:extLst>
            </p:cNvPr>
            <p:cNvSpPr/>
            <p:nvPr/>
          </p:nvSpPr>
          <p:spPr bwMode="auto">
            <a:xfrm>
              <a:off x="-310244" y="2239532"/>
              <a:ext cx="1044102" cy="900087"/>
            </a:xfrm>
            <a:prstGeom prst="triangl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2" name="Rectangle 341">
              <a:extLst>
                <a:ext uri="{FF2B5EF4-FFF2-40B4-BE49-F238E27FC236}">
                  <a16:creationId xmlns:a16="http://schemas.microsoft.com/office/drawing/2014/main" id="{2C9A137C-1783-4B47-ABE6-48EFD780F432}"/>
                </a:ext>
              </a:extLst>
            </p:cNvPr>
            <p:cNvSpPr/>
            <p:nvPr/>
          </p:nvSpPr>
          <p:spPr bwMode="auto">
            <a:xfrm>
              <a:off x="4137844" y="6526855"/>
              <a:ext cx="834935" cy="834935"/>
            </a:xfrm>
            <a:prstGeom prst="rect">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3" name="Oval 342">
              <a:extLst>
                <a:ext uri="{FF2B5EF4-FFF2-40B4-BE49-F238E27FC236}">
                  <a16:creationId xmlns:a16="http://schemas.microsoft.com/office/drawing/2014/main" id="{67D3524D-50BA-470A-8FF5-A7031C798AE2}"/>
                </a:ext>
              </a:extLst>
            </p:cNvPr>
            <p:cNvSpPr/>
            <p:nvPr/>
          </p:nvSpPr>
          <p:spPr bwMode="auto">
            <a:xfrm>
              <a:off x="507599" y="4267170"/>
              <a:ext cx="955279" cy="955277"/>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sp>
        <p:nvSpPr>
          <p:cNvPr id="4" name="Title 3">
            <a:extLst>
              <a:ext uri="{FF2B5EF4-FFF2-40B4-BE49-F238E27FC236}">
                <a16:creationId xmlns:a16="http://schemas.microsoft.com/office/drawing/2014/main" id="{15163981-7D1D-B341-96AD-E763B05B90BE}"/>
              </a:ext>
            </a:extLst>
          </p:cNvPr>
          <p:cNvSpPr>
            <a:spLocks noGrp="1"/>
          </p:cNvSpPr>
          <p:nvPr>
            <p:ph type="title"/>
          </p:nvPr>
        </p:nvSpPr>
        <p:spPr/>
        <p:txBody>
          <a:bodyPr/>
          <a:lstStyle/>
          <a:p>
            <a:r>
              <a:rPr lang="en-US" dirty="0"/>
              <a:t>Building your own AI models</a:t>
            </a:r>
          </a:p>
        </p:txBody>
      </p:sp>
      <p:sp>
        <p:nvSpPr>
          <p:cNvPr id="5" name="Text Placeholder 4">
            <a:extLst>
              <a:ext uri="{FF2B5EF4-FFF2-40B4-BE49-F238E27FC236}">
                <a16:creationId xmlns:a16="http://schemas.microsoft.com/office/drawing/2014/main" id="{D3EC6FB1-EB2F-8241-B586-2F7166EBC630}"/>
              </a:ext>
            </a:extLst>
          </p:cNvPr>
          <p:cNvSpPr>
            <a:spLocks noGrp="1"/>
          </p:cNvSpPr>
          <p:nvPr>
            <p:ph type="body" sz="quarter" idx="12"/>
          </p:nvPr>
        </p:nvSpPr>
        <p:spPr/>
        <p:txBody>
          <a:bodyPr/>
          <a:lstStyle/>
          <a:p>
            <a:r>
              <a:rPr lang="en-US" dirty="0">
                <a:latin typeface="+mj-lt"/>
              </a:rPr>
              <a:t>Step 1: </a:t>
            </a:r>
            <a:r>
              <a:rPr lang="en-US" dirty="0"/>
              <a:t>Prepare data</a:t>
            </a:r>
          </a:p>
        </p:txBody>
      </p:sp>
      <p:grpSp>
        <p:nvGrpSpPr>
          <p:cNvPr id="91" name="Group 90">
            <a:extLst>
              <a:ext uri="{FF2B5EF4-FFF2-40B4-BE49-F238E27FC236}">
                <a16:creationId xmlns:a16="http://schemas.microsoft.com/office/drawing/2014/main" id="{1BA93A30-D6C0-CB4B-BD3D-9050CDB25AAA}"/>
              </a:ext>
            </a:extLst>
          </p:cNvPr>
          <p:cNvGrpSpPr/>
          <p:nvPr/>
        </p:nvGrpSpPr>
        <p:grpSpPr>
          <a:xfrm>
            <a:off x="7512367" y="2245882"/>
            <a:ext cx="3422566" cy="3214712"/>
            <a:chOff x="1239394" y="2531811"/>
            <a:chExt cx="1792952" cy="1684065"/>
          </a:xfrm>
        </p:grpSpPr>
        <p:grpSp>
          <p:nvGrpSpPr>
            <p:cNvPr id="92" name="Group 91">
              <a:extLst>
                <a:ext uri="{FF2B5EF4-FFF2-40B4-BE49-F238E27FC236}">
                  <a16:creationId xmlns:a16="http://schemas.microsoft.com/office/drawing/2014/main" id="{FD6847F0-2D31-5E4F-B1AE-5397BB33BD05}"/>
                </a:ext>
              </a:extLst>
            </p:cNvPr>
            <p:cNvGrpSpPr/>
            <p:nvPr/>
          </p:nvGrpSpPr>
          <p:grpSpPr>
            <a:xfrm>
              <a:off x="1239394" y="2531811"/>
              <a:ext cx="523013" cy="1684065"/>
              <a:chOff x="1395310" y="3332039"/>
              <a:chExt cx="430961" cy="1387665"/>
            </a:xfrm>
            <a:solidFill>
              <a:schemeClr val="bg1"/>
            </a:solidFill>
          </p:grpSpPr>
          <p:sp>
            <p:nvSpPr>
              <p:cNvPr id="101" name="Isosceles Triangle 86">
                <a:extLst>
                  <a:ext uri="{FF2B5EF4-FFF2-40B4-BE49-F238E27FC236}">
                    <a16:creationId xmlns:a16="http://schemas.microsoft.com/office/drawing/2014/main" id="{A1299052-0AA8-DD4B-9FBF-2317B4A7A1DE}"/>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2" name="Rectangle 101">
                <a:extLst>
                  <a:ext uri="{FF2B5EF4-FFF2-40B4-BE49-F238E27FC236}">
                    <a16:creationId xmlns:a16="http://schemas.microsoft.com/office/drawing/2014/main" id="{F435F918-CA64-6646-A4DA-B0622DBB679D}"/>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3" name="Oval 102">
                <a:extLst>
                  <a:ext uri="{FF2B5EF4-FFF2-40B4-BE49-F238E27FC236}">
                    <a16:creationId xmlns:a16="http://schemas.microsoft.com/office/drawing/2014/main" id="{B73D76D2-3A1C-7446-B7A8-D84721D97CCC}"/>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93" name="Group 92">
              <a:extLst>
                <a:ext uri="{FF2B5EF4-FFF2-40B4-BE49-F238E27FC236}">
                  <a16:creationId xmlns:a16="http://schemas.microsoft.com/office/drawing/2014/main" id="{D3CFF055-9F94-7E41-9E03-2EE27377E749}"/>
                </a:ext>
              </a:extLst>
            </p:cNvPr>
            <p:cNvGrpSpPr/>
            <p:nvPr/>
          </p:nvGrpSpPr>
          <p:grpSpPr>
            <a:xfrm>
              <a:off x="1874363" y="2531811"/>
              <a:ext cx="523013" cy="1684065"/>
              <a:chOff x="1395310" y="3332039"/>
              <a:chExt cx="430961" cy="1387665"/>
            </a:xfrm>
            <a:solidFill>
              <a:schemeClr val="bg1"/>
            </a:solidFill>
          </p:grpSpPr>
          <p:sp>
            <p:nvSpPr>
              <p:cNvPr id="98" name="Isosceles Triangle 83">
                <a:extLst>
                  <a:ext uri="{FF2B5EF4-FFF2-40B4-BE49-F238E27FC236}">
                    <a16:creationId xmlns:a16="http://schemas.microsoft.com/office/drawing/2014/main" id="{C9D3DF8C-6F84-C749-8EE0-379D8ED79A19}"/>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9" name="Rectangle 98">
                <a:extLst>
                  <a:ext uri="{FF2B5EF4-FFF2-40B4-BE49-F238E27FC236}">
                    <a16:creationId xmlns:a16="http://schemas.microsoft.com/office/drawing/2014/main" id="{575EB150-C0FC-CF4B-B5AB-DF6D9D95C058}"/>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Oval 99">
                <a:extLst>
                  <a:ext uri="{FF2B5EF4-FFF2-40B4-BE49-F238E27FC236}">
                    <a16:creationId xmlns:a16="http://schemas.microsoft.com/office/drawing/2014/main" id="{D1D800C2-2D9B-8F49-B1A6-FC7253897D80}"/>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94" name="Group 93">
              <a:extLst>
                <a:ext uri="{FF2B5EF4-FFF2-40B4-BE49-F238E27FC236}">
                  <a16:creationId xmlns:a16="http://schemas.microsoft.com/office/drawing/2014/main" id="{8F37BF0A-4E7F-7042-89A3-D1B6A56AF9E3}"/>
                </a:ext>
              </a:extLst>
            </p:cNvPr>
            <p:cNvGrpSpPr/>
            <p:nvPr/>
          </p:nvGrpSpPr>
          <p:grpSpPr>
            <a:xfrm>
              <a:off x="2509333" y="2531811"/>
              <a:ext cx="523013" cy="1684065"/>
              <a:chOff x="1395310" y="3332039"/>
              <a:chExt cx="430961" cy="1387665"/>
            </a:xfrm>
            <a:solidFill>
              <a:schemeClr val="bg1"/>
            </a:solidFill>
          </p:grpSpPr>
          <p:sp>
            <p:nvSpPr>
              <p:cNvPr id="95" name="Isosceles Triangle 80">
                <a:extLst>
                  <a:ext uri="{FF2B5EF4-FFF2-40B4-BE49-F238E27FC236}">
                    <a16:creationId xmlns:a16="http://schemas.microsoft.com/office/drawing/2014/main" id="{57368EB8-26DF-9F4A-9E06-4084E6DB177F}"/>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 name="Rectangle 95">
                <a:extLst>
                  <a:ext uri="{FF2B5EF4-FFF2-40B4-BE49-F238E27FC236}">
                    <a16:creationId xmlns:a16="http://schemas.microsoft.com/office/drawing/2014/main" id="{4C194685-F2FC-9147-83CD-34D301E4AA06}"/>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7" name="Oval 96">
                <a:extLst>
                  <a:ext uri="{FF2B5EF4-FFF2-40B4-BE49-F238E27FC236}">
                    <a16:creationId xmlns:a16="http://schemas.microsoft.com/office/drawing/2014/main" id="{A26F8D63-08F3-E345-AA0C-A8FE9A8563C7}"/>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spTree>
    <p:extLst>
      <p:ext uri="{BB962C8B-B14F-4D97-AF65-F5344CB8AC3E}">
        <p14:creationId xmlns:p14="http://schemas.microsoft.com/office/powerpoint/2010/main" val="451990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244"/>
                                        </p:tgtEl>
                                        <p:attrNameLst>
                                          <p:attrName>style.visibility</p:attrName>
                                        </p:attrNameLst>
                                      </p:cBhvr>
                                      <p:to>
                                        <p:strVal val="visible"/>
                                      </p:to>
                                    </p:set>
                                    <p:animEffect transition="in" filter="wipe(left)">
                                      <p:cBhvr>
                                        <p:cTn id="11" dur="500"/>
                                        <p:tgtEl>
                                          <p:spTgt spid="24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91"/>
                                        </p:tgtEl>
                                        <p:attrNameLst>
                                          <p:attrName>style.visibility</p:attrName>
                                        </p:attrNameLst>
                                      </p:cBhvr>
                                      <p:to>
                                        <p:strVal val="visible"/>
                                      </p:to>
                                    </p:set>
                                    <p:animEffect transition="in" filter="fade">
                                      <p:cBhvr>
                                        <p:cTn id="15" dur="5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08347E53-860F-4E37-A4DC-80B7AE48F338}"/>
              </a:ext>
            </a:extLst>
          </p:cNvPr>
          <p:cNvSpPr txBox="1"/>
          <p:nvPr/>
        </p:nvSpPr>
        <p:spPr>
          <a:xfrm>
            <a:off x="469829" y="2104782"/>
            <a:ext cx="2001840" cy="3761266"/>
          </a:xfrm>
          <a:prstGeom prst="rect">
            <a:avLst/>
          </a:prstGeom>
          <a:noFill/>
        </p:spPr>
        <p:txBody>
          <a:bodyPr wrap="square" rtlCol="0">
            <a:spAutoFit/>
          </a:bodyPr>
          <a:lstStyle/>
          <a:p>
            <a:pPr marL="0" marR="0" lvl="0" indent="0" algn="l" defTabSz="914192" rtl="0" eaLnBrk="1" fontAlgn="auto" latinLnBrk="0" hangingPunct="1">
              <a:lnSpc>
                <a:spcPct val="2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SQL DB</a:t>
            </a:r>
          </a:p>
          <a:p>
            <a:pPr marL="0" marR="0" lvl="0" indent="0" algn="l" defTabSz="914192" rtl="0" eaLnBrk="1" fontAlgn="auto" latinLnBrk="0" hangingPunct="1">
              <a:lnSpc>
                <a:spcPct val="2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Cosmos DB</a:t>
            </a:r>
          </a:p>
          <a:p>
            <a:pPr marL="0" marR="0" lvl="0" indent="0" algn="l" defTabSz="914192" rtl="0" eaLnBrk="1" fontAlgn="auto" latinLnBrk="0" hangingPunct="1">
              <a:lnSpc>
                <a:spcPct val="2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Datawarehouse</a:t>
            </a:r>
          </a:p>
          <a:p>
            <a:pPr marL="0" marR="0" lvl="0" indent="0" algn="l" defTabSz="914192" rtl="0" eaLnBrk="1" fontAlgn="auto" latinLnBrk="0" hangingPunct="1">
              <a:lnSpc>
                <a:spcPct val="2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Data lake</a:t>
            </a:r>
          </a:p>
          <a:p>
            <a:pPr marL="0" marR="0" lvl="0" indent="0" algn="l" defTabSz="914192" rtl="0" eaLnBrk="1" fontAlgn="auto" latinLnBrk="0" hangingPunct="1">
              <a:lnSpc>
                <a:spcPct val="2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Blob storage</a:t>
            </a:r>
          </a:p>
          <a:p>
            <a:pPr marL="0" marR="0" lvl="0" indent="0" algn="l" defTabSz="914192" rtl="0" eaLnBrk="1" fontAlgn="auto" latinLnBrk="0" hangingPunct="1">
              <a:lnSpc>
                <a:spcPct val="2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a:t>
            </a:r>
          </a:p>
        </p:txBody>
      </p:sp>
      <p:sp>
        <p:nvSpPr>
          <p:cNvPr id="18" name="Right Brace 17">
            <a:extLst>
              <a:ext uri="{FF2B5EF4-FFF2-40B4-BE49-F238E27FC236}">
                <a16:creationId xmlns:a16="http://schemas.microsoft.com/office/drawing/2014/main" id="{38F0BD91-4FBD-4959-AB74-E0BDC7AC1060}"/>
              </a:ext>
            </a:extLst>
          </p:cNvPr>
          <p:cNvSpPr/>
          <p:nvPr/>
        </p:nvSpPr>
        <p:spPr>
          <a:xfrm>
            <a:off x="2367156" y="2186326"/>
            <a:ext cx="637461" cy="3538627"/>
          </a:xfrm>
          <a:prstGeom prst="rightBrace">
            <a:avLst>
              <a:gd name="adj1" fmla="val 54386"/>
              <a:gd name="adj2" fmla="val 50000"/>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 name="Title 1">
            <a:extLst>
              <a:ext uri="{FF2B5EF4-FFF2-40B4-BE49-F238E27FC236}">
                <a16:creationId xmlns:a16="http://schemas.microsoft.com/office/drawing/2014/main" id="{CF7E7A2D-204A-5547-88FD-85A433758156}"/>
              </a:ext>
            </a:extLst>
          </p:cNvPr>
          <p:cNvSpPr>
            <a:spLocks noGrp="1"/>
          </p:cNvSpPr>
          <p:nvPr>
            <p:ph type="title"/>
          </p:nvPr>
        </p:nvSpPr>
        <p:spPr/>
        <p:txBody>
          <a:bodyPr/>
          <a:lstStyle/>
          <a:p>
            <a:r>
              <a:rPr lang="en-US" dirty="0"/>
              <a:t>Building your own AI models</a:t>
            </a:r>
          </a:p>
        </p:txBody>
      </p:sp>
      <p:sp>
        <p:nvSpPr>
          <p:cNvPr id="3" name="Text Placeholder 2">
            <a:extLst>
              <a:ext uri="{FF2B5EF4-FFF2-40B4-BE49-F238E27FC236}">
                <a16:creationId xmlns:a16="http://schemas.microsoft.com/office/drawing/2014/main" id="{8C2E59B7-366D-0E43-93D1-2DA1E8A702F9}"/>
              </a:ext>
            </a:extLst>
          </p:cNvPr>
          <p:cNvSpPr>
            <a:spLocks noGrp="1"/>
          </p:cNvSpPr>
          <p:nvPr>
            <p:ph type="body" sz="quarter" idx="12"/>
          </p:nvPr>
        </p:nvSpPr>
        <p:spPr/>
        <p:txBody>
          <a:bodyPr/>
          <a:lstStyle/>
          <a:p>
            <a:r>
              <a:rPr lang="en-US" dirty="0"/>
              <a:t>Transforming data into intelligence</a:t>
            </a:r>
          </a:p>
        </p:txBody>
      </p:sp>
      <p:grpSp>
        <p:nvGrpSpPr>
          <p:cNvPr id="6" name="Group 5">
            <a:extLst>
              <a:ext uri="{FF2B5EF4-FFF2-40B4-BE49-F238E27FC236}">
                <a16:creationId xmlns:a16="http://schemas.microsoft.com/office/drawing/2014/main" id="{26FB8E91-682A-E04B-9708-A553D91A67CA}"/>
              </a:ext>
            </a:extLst>
          </p:cNvPr>
          <p:cNvGrpSpPr/>
          <p:nvPr/>
        </p:nvGrpSpPr>
        <p:grpSpPr>
          <a:xfrm>
            <a:off x="3582599" y="2975782"/>
            <a:ext cx="7411810" cy="2033755"/>
            <a:chOff x="817750" y="2541282"/>
            <a:chExt cx="10397120" cy="2852905"/>
          </a:xfrm>
        </p:grpSpPr>
        <p:sp>
          <p:nvSpPr>
            <p:cNvPr id="92" name="Rectangle 91">
              <a:extLst>
                <a:ext uri="{FF2B5EF4-FFF2-40B4-BE49-F238E27FC236}">
                  <a16:creationId xmlns:a16="http://schemas.microsoft.com/office/drawing/2014/main" id="{A4B215C2-725C-2645-B3D5-AD872F7FAB61}"/>
                </a:ext>
              </a:extLst>
            </p:cNvPr>
            <p:cNvSpPr/>
            <p:nvPr/>
          </p:nvSpPr>
          <p:spPr>
            <a:xfrm>
              <a:off x="817750" y="4799014"/>
              <a:ext cx="2493237" cy="592556"/>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Prepare data</a:t>
              </a:r>
            </a:p>
          </p:txBody>
        </p:sp>
        <p:sp>
          <p:nvSpPr>
            <p:cNvPr id="93" name="Rectangle 92">
              <a:extLst>
                <a:ext uri="{FF2B5EF4-FFF2-40B4-BE49-F238E27FC236}">
                  <a16:creationId xmlns:a16="http://schemas.microsoft.com/office/drawing/2014/main" id="{1383E1CE-C0B8-4C47-9E05-7E04BDC819B5}"/>
                </a:ext>
              </a:extLst>
            </p:cNvPr>
            <p:cNvSpPr/>
            <p:nvPr/>
          </p:nvSpPr>
          <p:spPr>
            <a:xfrm>
              <a:off x="4701555" y="4799012"/>
              <a:ext cx="2841981" cy="592556"/>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Build and train</a:t>
              </a:r>
            </a:p>
          </p:txBody>
        </p:sp>
        <p:sp>
          <p:nvSpPr>
            <p:cNvPr id="94" name="Rectangle 93">
              <a:extLst>
                <a:ext uri="{FF2B5EF4-FFF2-40B4-BE49-F238E27FC236}">
                  <a16:creationId xmlns:a16="http://schemas.microsoft.com/office/drawing/2014/main" id="{0D2FBFF2-F561-2447-8071-FCEE5B9A16F2}"/>
                </a:ext>
              </a:extLst>
            </p:cNvPr>
            <p:cNvSpPr/>
            <p:nvPr/>
          </p:nvSpPr>
          <p:spPr>
            <a:xfrm>
              <a:off x="9449632" y="4799012"/>
              <a:ext cx="1509300" cy="595175"/>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Deploy</a:t>
              </a:r>
            </a:p>
          </p:txBody>
        </p:sp>
        <p:grpSp>
          <p:nvGrpSpPr>
            <p:cNvPr id="95" name="Group 94">
              <a:extLst>
                <a:ext uri="{FF2B5EF4-FFF2-40B4-BE49-F238E27FC236}">
                  <a16:creationId xmlns:a16="http://schemas.microsoft.com/office/drawing/2014/main" id="{E81A1464-36CB-3146-B2B7-CA259124829D}"/>
                </a:ext>
              </a:extLst>
            </p:cNvPr>
            <p:cNvGrpSpPr/>
            <p:nvPr/>
          </p:nvGrpSpPr>
          <p:grpSpPr>
            <a:xfrm>
              <a:off x="9193693" y="2632636"/>
              <a:ext cx="2021177" cy="1670823"/>
              <a:chOff x="9524460" y="2632636"/>
              <a:chExt cx="2021177" cy="1670823"/>
            </a:xfrm>
          </p:grpSpPr>
          <p:sp>
            <p:nvSpPr>
              <p:cNvPr id="96" name="gear_3">
                <a:extLst>
                  <a:ext uri="{FF2B5EF4-FFF2-40B4-BE49-F238E27FC236}">
                    <a16:creationId xmlns:a16="http://schemas.microsoft.com/office/drawing/2014/main" id="{A82C3C39-F88D-634C-A43A-E31B7C7003EF}"/>
                  </a:ext>
                </a:extLst>
              </p:cNvPr>
              <p:cNvSpPr>
                <a:spLocks noChangeAspect="1" noEditPoints="1"/>
              </p:cNvSpPr>
              <p:nvPr/>
            </p:nvSpPr>
            <p:spPr bwMode="auto">
              <a:xfrm>
                <a:off x="9524460" y="3183698"/>
                <a:ext cx="1110355" cy="111976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 name="gear_3">
                <a:extLst>
                  <a:ext uri="{FF2B5EF4-FFF2-40B4-BE49-F238E27FC236}">
                    <a16:creationId xmlns:a16="http://schemas.microsoft.com/office/drawing/2014/main" id="{F381D6AE-77A9-A24D-8F55-D0A220934854}"/>
                  </a:ext>
                </a:extLst>
              </p:cNvPr>
              <p:cNvSpPr>
                <a:spLocks noChangeAspect="1" noEditPoints="1"/>
              </p:cNvSpPr>
              <p:nvPr/>
            </p:nvSpPr>
            <p:spPr bwMode="auto">
              <a:xfrm>
                <a:off x="10421433" y="2632636"/>
                <a:ext cx="735342" cy="74157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 name="gear_3">
                <a:extLst>
                  <a:ext uri="{FF2B5EF4-FFF2-40B4-BE49-F238E27FC236}">
                    <a16:creationId xmlns:a16="http://schemas.microsoft.com/office/drawing/2014/main" id="{D27B7D0A-6289-0E47-89F5-E3DED1455A9F}"/>
                  </a:ext>
                </a:extLst>
              </p:cNvPr>
              <p:cNvSpPr>
                <a:spLocks noChangeAspect="1" noEditPoints="1"/>
              </p:cNvSpPr>
              <p:nvPr/>
            </p:nvSpPr>
            <p:spPr bwMode="auto">
              <a:xfrm>
                <a:off x="11022746" y="3309209"/>
                <a:ext cx="522891" cy="527320"/>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99" name="Group 98">
              <a:extLst>
                <a:ext uri="{FF2B5EF4-FFF2-40B4-BE49-F238E27FC236}">
                  <a16:creationId xmlns:a16="http://schemas.microsoft.com/office/drawing/2014/main" id="{DEB3DA22-2C9B-BF49-8ADC-EA707D511980}"/>
                </a:ext>
              </a:extLst>
            </p:cNvPr>
            <p:cNvGrpSpPr/>
            <p:nvPr/>
          </p:nvGrpSpPr>
          <p:grpSpPr>
            <a:xfrm>
              <a:off x="1167892" y="2730836"/>
              <a:ext cx="1792952" cy="1684065"/>
              <a:chOff x="1239394" y="2531811"/>
              <a:chExt cx="1792952" cy="1684065"/>
            </a:xfrm>
          </p:grpSpPr>
          <p:grpSp>
            <p:nvGrpSpPr>
              <p:cNvPr id="100" name="Group 99">
                <a:extLst>
                  <a:ext uri="{FF2B5EF4-FFF2-40B4-BE49-F238E27FC236}">
                    <a16:creationId xmlns:a16="http://schemas.microsoft.com/office/drawing/2014/main" id="{61B2D0B3-15D5-2646-8A0A-54B5A864F84D}"/>
                  </a:ext>
                </a:extLst>
              </p:cNvPr>
              <p:cNvGrpSpPr/>
              <p:nvPr/>
            </p:nvGrpSpPr>
            <p:grpSpPr>
              <a:xfrm>
                <a:off x="1239394" y="2531811"/>
                <a:ext cx="523013" cy="1684065"/>
                <a:chOff x="1395310" y="3332039"/>
                <a:chExt cx="430961" cy="1387665"/>
              </a:xfrm>
              <a:solidFill>
                <a:schemeClr val="bg1"/>
              </a:solidFill>
            </p:grpSpPr>
            <p:sp>
              <p:nvSpPr>
                <p:cNvPr id="109" name="Isosceles Triangle 86">
                  <a:extLst>
                    <a:ext uri="{FF2B5EF4-FFF2-40B4-BE49-F238E27FC236}">
                      <a16:creationId xmlns:a16="http://schemas.microsoft.com/office/drawing/2014/main" id="{D7535FFA-2626-7F4A-8FBD-A869A5FF53AC}"/>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0" name="Rectangle 109">
                  <a:extLst>
                    <a:ext uri="{FF2B5EF4-FFF2-40B4-BE49-F238E27FC236}">
                      <a16:creationId xmlns:a16="http://schemas.microsoft.com/office/drawing/2014/main" id="{858527BF-6E1B-0943-8982-1A39ADF2D11A}"/>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1" name="Oval 110">
                  <a:extLst>
                    <a:ext uri="{FF2B5EF4-FFF2-40B4-BE49-F238E27FC236}">
                      <a16:creationId xmlns:a16="http://schemas.microsoft.com/office/drawing/2014/main" id="{39BB6DD3-6357-5549-8B18-723C55370BF4}"/>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101" name="Group 100">
                <a:extLst>
                  <a:ext uri="{FF2B5EF4-FFF2-40B4-BE49-F238E27FC236}">
                    <a16:creationId xmlns:a16="http://schemas.microsoft.com/office/drawing/2014/main" id="{1C13059E-1BB5-7A4E-9DE1-23E95E44B16D}"/>
                  </a:ext>
                </a:extLst>
              </p:cNvPr>
              <p:cNvGrpSpPr/>
              <p:nvPr/>
            </p:nvGrpSpPr>
            <p:grpSpPr>
              <a:xfrm>
                <a:off x="1874363" y="2531811"/>
                <a:ext cx="523013" cy="1684065"/>
                <a:chOff x="1395310" y="3332039"/>
                <a:chExt cx="430961" cy="1387665"/>
              </a:xfrm>
              <a:solidFill>
                <a:schemeClr val="bg1"/>
              </a:solidFill>
            </p:grpSpPr>
            <p:sp>
              <p:nvSpPr>
                <p:cNvPr id="106" name="Isosceles Triangle 83">
                  <a:extLst>
                    <a:ext uri="{FF2B5EF4-FFF2-40B4-BE49-F238E27FC236}">
                      <a16:creationId xmlns:a16="http://schemas.microsoft.com/office/drawing/2014/main" id="{92DF2687-9FFF-E046-AE75-87DCFA8BF0C9}"/>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7" name="Rectangle 106">
                  <a:extLst>
                    <a:ext uri="{FF2B5EF4-FFF2-40B4-BE49-F238E27FC236}">
                      <a16:creationId xmlns:a16="http://schemas.microsoft.com/office/drawing/2014/main" id="{99680654-6039-B34F-A9CC-58BC1073A65B}"/>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8" name="Oval 107">
                  <a:extLst>
                    <a:ext uri="{FF2B5EF4-FFF2-40B4-BE49-F238E27FC236}">
                      <a16:creationId xmlns:a16="http://schemas.microsoft.com/office/drawing/2014/main" id="{0FEA6DD3-D329-B84F-A2EE-810286E72798}"/>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102" name="Group 101">
                <a:extLst>
                  <a:ext uri="{FF2B5EF4-FFF2-40B4-BE49-F238E27FC236}">
                    <a16:creationId xmlns:a16="http://schemas.microsoft.com/office/drawing/2014/main" id="{C23A51A6-4B2B-CC41-BA3C-FE1DE0A9C652}"/>
                  </a:ext>
                </a:extLst>
              </p:cNvPr>
              <p:cNvGrpSpPr/>
              <p:nvPr/>
            </p:nvGrpSpPr>
            <p:grpSpPr>
              <a:xfrm>
                <a:off x="2509333" y="2531811"/>
                <a:ext cx="523013" cy="1684065"/>
                <a:chOff x="1395310" y="3332039"/>
                <a:chExt cx="430961" cy="1387665"/>
              </a:xfrm>
              <a:solidFill>
                <a:schemeClr val="bg1"/>
              </a:solidFill>
            </p:grpSpPr>
            <p:sp>
              <p:nvSpPr>
                <p:cNvPr id="103" name="Isosceles Triangle 80">
                  <a:extLst>
                    <a:ext uri="{FF2B5EF4-FFF2-40B4-BE49-F238E27FC236}">
                      <a16:creationId xmlns:a16="http://schemas.microsoft.com/office/drawing/2014/main" id="{55FBBE93-EB22-8B4B-8156-59B99C5B4499}"/>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4" name="Rectangle 103">
                  <a:extLst>
                    <a:ext uri="{FF2B5EF4-FFF2-40B4-BE49-F238E27FC236}">
                      <a16:creationId xmlns:a16="http://schemas.microsoft.com/office/drawing/2014/main" id="{EDEB4399-8001-0941-8A8B-A3F8548262BD}"/>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 name="Oval 104">
                  <a:extLst>
                    <a:ext uri="{FF2B5EF4-FFF2-40B4-BE49-F238E27FC236}">
                      <a16:creationId xmlns:a16="http://schemas.microsoft.com/office/drawing/2014/main" id="{823E4C7B-FCA1-A640-9383-E51AFC9E0B43}"/>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grpSp>
          <p:nvGrpSpPr>
            <p:cNvPr id="112" name="Group 111">
              <a:extLst>
                <a:ext uri="{FF2B5EF4-FFF2-40B4-BE49-F238E27FC236}">
                  <a16:creationId xmlns:a16="http://schemas.microsoft.com/office/drawing/2014/main" id="{1F9BFC8E-5C08-3148-BF3C-DDFC52882BA5}"/>
                </a:ext>
              </a:extLst>
            </p:cNvPr>
            <p:cNvGrpSpPr/>
            <p:nvPr/>
          </p:nvGrpSpPr>
          <p:grpSpPr>
            <a:xfrm>
              <a:off x="4945851" y="2541282"/>
              <a:ext cx="2347192" cy="2039058"/>
              <a:chOff x="4986639" y="2541282"/>
              <a:chExt cx="2347192" cy="2039058"/>
            </a:xfrm>
          </p:grpSpPr>
          <p:sp>
            <p:nvSpPr>
              <p:cNvPr id="113" name="Line 19">
                <a:extLst>
                  <a:ext uri="{FF2B5EF4-FFF2-40B4-BE49-F238E27FC236}">
                    <a16:creationId xmlns:a16="http://schemas.microsoft.com/office/drawing/2014/main" id="{C9C728F8-3678-6047-82FF-D1E42F91D478}"/>
                  </a:ext>
                </a:extLst>
              </p:cNvPr>
              <p:cNvSpPr>
                <a:spLocks noChangeShapeType="1"/>
              </p:cNvSpPr>
              <p:nvPr/>
            </p:nvSpPr>
            <p:spPr bwMode="auto">
              <a:xfrm rot="16200000">
                <a:off x="6005770" y="3401735"/>
                <a:ext cx="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nvGrpSpPr>
              <p:cNvPr id="114" name="Group 11">
                <a:extLst>
                  <a:ext uri="{FF2B5EF4-FFF2-40B4-BE49-F238E27FC236}">
                    <a16:creationId xmlns:a16="http://schemas.microsoft.com/office/drawing/2014/main" id="{E8E6D660-3CAF-224D-A905-0F2229699017}"/>
                  </a:ext>
                </a:extLst>
              </p:cNvPr>
              <p:cNvGrpSpPr>
                <a:grpSpLocks noChangeAspect="1"/>
              </p:cNvGrpSpPr>
              <p:nvPr/>
            </p:nvGrpSpPr>
            <p:grpSpPr bwMode="auto">
              <a:xfrm>
                <a:off x="5712422" y="3055262"/>
                <a:ext cx="1007365" cy="1097312"/>
                <a:chOff x="3861" y="4291602"/>
                <a:chExt cx="112" cy="244433"/>
              </a:xfrm>
            </p:grpSpPr>
            <p:sp>
              <p:nvSpPr>
                <p:cNvPr id="121" name="Freeform 12">
                  <a:extLst>
                    <a:ext uri="{FF2B5EF4-FFF2-40B4-BE49-F238E27FC236}">
                      <a16:creationId xmlns:a16="http://schemas.microsoft.com/office/drawing/2014/main" id="{B6038F85-2C4E-0946-A086-AE4C5C3A6638}"/>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22" name="Line 13">
                  <a:extLst>
                    <a:ext uri="{FF2B5EF4-FFF2-40B4-BE49-F238E27FC236}">
                      <a16:creationId xmlns:a16="http://schemas.microsoft.com/office/drawing/2014/main" id="{487C4706-1E7E-674D-B441-35BB39D7B0D2}"/>
                    </a:ext>
                  </a:extLst>
                </p:cNvPr>
                <p:cNvSpPr>
                  <a:spLocks noChangeShapeType="1"/>
                </p:cNvSpPr>
                <p:nvPr/>
              </p:nvSpPr>
              <p:spPr bwMode="auto">
                <a:xfrm>
                  <a:off x="3874" y="4469918"/>
                  <a:ext cx="8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Line 14">
                  <a:extLst>
                    <a:ext uri="{FF2B5EF4-FFF2-40B4-BE49-F238E27FC236}">
                      <a16:creationId xmlns:a16="http://schemas.microsoft.com/office/drawing/2014/main" id="{0128D749-5F95-104B-BF6F-77FFF15FD764}"/>
                    </a:ext>
                  </a:extLst>
                </p:cNvPr>
                <p:cNvSpPr>
                  <a:spLocks noChangeShapeType="1"/>
                </p:cNvSpPr>
                <p:nvPr/>
              </p:nvSpPr>
              <p:spPr bwMode="auto">
                <a:xfrm>
                  <a:off x="3923" y="4335680"/>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Line 15">
                  <a:extLst>
                    <a:ext uri="{FF2B5EF4-FFF2-40B4-BE49-F238E27FC236}">
                      <a16:creationId xmlns:a16="http://schemas.microsoft.com/office/drawing/2014/main" id="{47C464ED-B1A7-D847-9777-608D67180F66}"/>
                    </a:ext>
                  </a:extLst>
                </p:cNvPr>
                <p:cNvSpPr>
                  <a:spLocks noChangeShapeType="1"/>
                </p:cNvSpPr>
                <p:nvPr/>
              </p:nvSpPr>
              <p:spPr bwMode="auto">
                <a:xfrm>
                  <a:off x="3923" y="4379758"/>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Line 16">
                  <a:extLst>
                    <a:ext uri="{FF2B5EF4-FFF2-40B4-BE49-F238E27FC236}">
                      <a16:creationId xmlns:a16="http://schemas.microsoft.com/office/drawing/2014/main" id="{C0B84E2E-DA73-8948-BE15-42A6B336A5FB}"/>
                    </a:ext>
                  </a:extLst>
                </p:cNvPr>
                <p:cNvSpPr>
                  <a:spLocks noChangeShapeType="1"/>
                </p:cNvSpPr>
                <p:nvPr/>
              </p:nvSpPr>
              <p:spPr bwMode="auto">
                <a:xfrm>
                  <a:off x="3923" y="4425840"/>
                  <a:ext cx="2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1" name="Line 17">
                  <a:extLst>
                    <a:ext uri="{FF2B5EF4-FFF2-40B4-BE49-F238E27FC236}">
                      <a16:creationId xmlns:a16="http://schemas.microsoft.com/office/drawing/2014/main" id="{BED25CC9-0761-0C4E-B231-886E37DF70A2}"/>
                    </a:ext>
                  </a:extLst>
                </p:cNvPr>
                <p:cNvSpPr>
                  <a:spLocks noChangeShapeType="1"/>
                </p:cNvSpPr>
                <p:nvPr/>
              </p:nvSpPr>
              <p:spPr bwMode="auto">
                <a:xfrm>
                  <a:off x="3883" y="4291602"/>
                  <a:ext cx="68"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15" name="Group 114">
                <a:extLst>
                  <a:ext uri="{FF2B5EF4-FFF2-40B4-BE49-F238E27FC236}">
                    <a16:creationId xmlns:a16="http://schemas.microsoft.com/office/drawing/2014/main" id="{C16E7D55-C0D1-C24A-8AF9-828E6686927F}"/>
                  </a:ext>
                </a:extLst>
              </p:cNvPr>
              <p:cNvGrpSpPr/>
              <p:nvPr/>
            </p:nvGrpSpPr>
            <p:grpSpPr>
              <a:xfrm>
                <a:off x="5359189" y="2541282"/>
                <a:ext cx="1974642" cy="1799700"/>
                <a:chOff x="4723382" y="2415376"/>
                <a:chExt cx="2374103" cy="2163771"/>
              </a:xfrm>
            </p:grpSpPr>
            <p:sp>
              <p:nvSpPr>
                <p:cNvPr id="119" name="Freeform 22">
                  <a:extLst>
                    <a:ext uri="{FF2B5EF4-FFF2-40B4-BE49-F238E27FC236}">
                      <a16:creationId xmlns:a16="http://schemas.microsoft.com/office/drawing/2014/main" id="{84527370-80F2-5942-B577-37AC159AA3DE}"/>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20" name="Arc 119">
                  <a:extLst>
                    <a:ext uri="{FF2B5EF4-FFF2-40B4-BE49-F238E27FC236}">
                      <a16:creationId xmlns:a16="http://schemas.microsoft.com/office/drawing/2014/main" id="{8B130DDB-65F8-B848-9318-96998415CF15}"/>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grpSp>
            <p:nvGrpSpPr>
              <p:cNvPr id="116" name="Group 115">
                <a:extLst>
                  <a:ext uri="{FF2B5EF4-FFF2-40B4-BE49-F238E27FC236}">
                    <a16:creationId xmlns:a16="http://schemas.microsoft.com/office/drawing/2014/main" id="{7BD1CE3F-42D6-FA44-A8DD-6307E1DE0F54}"/>
                  </a:ext>
                </a:extLst>
              </p:cNvPr>
              <p:cNvGrpSpPr/>
              <p:nvPr/>
            </p:nvGrpSpPr>
            <p:grpSpPr>
              <a:xfrm rot="10800000">
                <a:off x="4986639" y="2780640"/>
                <a:ext cx="1974642" cy="1799700"/>
                <a:chOff x="4723382" y="2415376"/>
                <a:chExt cx="2374103" cy="2163771"/>
              </a:xfrm>
            </p:grpSpPr>
            <p:sp>
              <p:nvSpPr>
                <p:cNvPr id="117" name="Freeform 22">
                  <a:extLst>
                    <a:ext uri="{FF2B5EF4-FFF2-40B4-BE49-F238E27FC236}">
                      <a16:creationId xmlns:a16="http://schemas.microsoft.com/office/drawing/2014/main" id="{5A446F35-F98D-224E-8A8B-538563CFF804}"/>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18" name="Arc 117">
                  <a:extLst>
                    <a:ext uri="{FF2B5EF4-FFF2-40B4-BE49-F238E27FC236}">
                      <a16:creationId xmlns:a16="http://schemas.microsoft.com/office/drawing/2014/main" id="{2C0BE3CC-C1B5-AD4C-BA1D-4DF0545BE7E3}"/>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grpSp>
        <p:sp>
          <p:nvSpPr>
            <p:cNvPr id="172" name="Freeform 171">
              <a:extLst>
                <a:ext uri="{FF2B5EF4-FFF2-40B4-BE49-F238E27FC236}">
                  <a16:creationId xmlns:a16="http://schemas.microsoft.com/office/drawing/2014/main" id="{3D253DA2-F383-C742-8BBC-D6AD33935B6E}"/>
                </a:ext>
              </a:extLst>
            </p:cNvPr>
            <p:cNvSpPr/>
            <p:nvPr/>
          </p:nvSpPr>
          <p:spPr bwMode="auto">
            <a:xfrm flipH="1">
              <a:off x="8130192" y="3199111"/>
              <a:ext cx="409923" cy="917547"/>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73" name="Freeform 172">
              <a:extLst>
                <a:ext uri="{FF2B5EF4-FFF2-40B4-BE49-F238E27FC236}">
                  <a16:creationId xmlns:a16="http://schemas.microsoft.com/office/drawing/2014/main" id="{55CFCE41-00B0-5247-8708-C76D1D3E8630}"/>
                </a:ext>
              </a:extLst>
            </p:cNvPr>
            <p:cNvSpPr/>
            <p:nvPr/>
          </p:nvSpPr>
          <p:spPr bwMode="auto">
            <a:xfrm flipH="1">
              <a:off x="3663949" y="3199111"/>
              <a:ext cx="409923" cy="917547"/>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3731096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700">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right)">
                                      <p:cBhvr>
                                        <p:cTn id="7" dur="500"/>
                                        <p:tgtEl>
                                          <p:spTgt spid="18"/>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8"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52A67E-4419-2843-BC07-157F99FC4C5D}"/>
              </a:ext>
            </a:extLst>
          </p:cNvPr>
          <p:cNvSpPr>
            <a:spLocks noGrp="1"/>
          </p:cNvSpPr>
          <p:nvPr>
            <p:ph type="title"/>
          </p:nvPr>
        </p:nvSpPr>
        <p:spPr/>
        <p:txBody>
          <a:bodyPr/>
          <a:lstStyle/>
          <a:p>
            <a:r>
              <a:rPr lang="en-US" dirty="0"/>
              <a:t>Building your own AI models</a:t>
            </a:r>
          </a:p>
        </p:txBody>
      </p:sp>
      <p:sp>
        <p:nvSpPr>
          <p:cNvPr id="4" name="Text Placeholder 3">
            <a:extLst>
              <a:ext uri="{FF2B5EF4-FFF2-40B4-BE49-F238E27FC236}">
                <a16:creationId xmlns:a16="http://schemas.microsoft.com/office/drawing/2014/main" id="{EA5608BD-4C8D-F548-8F23-6D736182978A}"/>
              </a:ext>
            </a:extLst>
          </p:cNvPr>
          <p:cNvSpPr>
            <a:spLocks noGrp="1"/>
          </p:cNvSpPr>
          <p:nvPr>
            <p:ph type="body" sz="quarter" idx="12"/>
          </p:nvPr>
        </p:nvSpPr>
        <p:spPr/>
        <p:txBody>
          <a:bodyPr/>
          <a:lstStyle/>
          <a:p>
            <a:r>
              <a:rPr lang="en-US" dirty="0"/>
              <a:t>Transforming data into intelligence</a:t>
            </a:r>
          </a:p>
        </p:txBody>
      </p:sp>
      <p:sp>
        <p:nvSpPr>
          <p:cNvPr id="118" name="Rectangle 117">
            <a:extLst>
              <a:ext uri="{FF2B5EF4-FFF2-40B4-BE49-F238E27FC236}">
                <a16:creationId xmlns:a16="http://schemas.microsoft.com/office/drawing/2014/main" id="{5A3C1B2C-B3B4-C74C-99AC-6A3FFA6B3940}"/>
              </a:ext>
            </a:extLst>
          </p:cNvPr>
          <p:cNvSpPr/>
          <p:nvPr/>
        </p:nvSpPr>
        <p:spPr>
          <a:xfrm>
            <a:off x="1135110" y="4705161"/>
            <a:ext cx="1777357"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Prepare data</a:t>
            </a:r>
          </a:p>
        </p:txBody>
      </p:sp>
      <p:sp>
        <p:nvSpPr>
          <p:cNvPr id="119" name="Rectangle 118">
            <a:extLst>
              <a:ext uri="{FF2B5EF4-FFF2-40B4-BE49-F238E27FC236}">
                <a16:creationId xmlns:a16="http://schemas.microsoft.com/office/drawing/2014/main" id="{0A1DA62F-5932-2C48-8F3B-5F6E0BF5F288}"/>
              </a:ext>
            </a:extLst>
          </p:cNvPr>
          <p:cNvSpPr/>
          <p:nvPr/>
        </p:nvSpPr>
        <p:spPr>
          <a:xfrm>
            <a:off x="4989206" y="4705161"/>
            <a:ext cx="2025966"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Build and train</a:t>
            </a:r>
          </a:p>
        </p:txBody>
      </p:sp>
      <p:sp>
        <p:nvSpPr>
          <p:cNvPr id="120" name="Rectangle 119">
            <a:extLst>
              <a:ext uri="{FF2B5EF4-FFF2-40B4-BE49-F238E27FC236}">
                <a16:creationId xmlns:a16="http://schemas.microsoft.com/office/drawing/2014/main" id="{36210D1F-F05D-684D-8201-85333A9C517F}"/>
              </a:ext>
            </a:extLst>
          </p:cNvPr>
          <p:cNvSpPr/>
          <p:nvPr/>
        </p:nvSpPr>
        <p:spPr>
          <a:xfrm>
            <a:off x="9468437" y="4705161"/>
            <a:ext cx="1070500"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Deploy</a:t>
            </a:r>
          </a:p>
        </p:txBody>
      </p:sp>
      <p:grpSp>
        <p:nvGrpSpPr>
          <p:cNvPr id="121" name="Group 120">
            <a:extLst>
              <a:ext uri="{FF2B5EF4-FFF2-40B4-BE49-F238E27FC236}">
                <a16:creationId xmlns:a16="http://schemas.microsoft.com/office/drawing/2014/main" id="{F791AC36-7353-4544-8311-0DD19E818157}"/>
              </a:ext>
            </a:extLst>
          </p:cNvPr>
          <p:cNvGrpSpPr/>
          <p:nvPr/>
        </p:nvGrpSpPr>
        <p:grpSpPr>
          <a:xfrm>
            <a:off x="9012965" y="2581371"/>
            <a:ext cx="1981445" cy="1637978"/>
            <a:chOff x="9524460" y="2632636"/>
            <a:chExt cx="2021177" cy="1670823"/>
          </a:xfrm>
        </p:grpSpPr>
        <p:sp>
          <p:nvSpPr>
            <p:cNvPr id="122" name="gear_3">
              <a:extLst>
                <a:ext uri="{FF2B5EF4-FFF2-40B4-BE49-F238E27FC236}">
                  <a16:creationId xmlns:a16="http://schemas.microsoft.com/office/drawing/2014/main" id="{C48D4DC8-AACC-3B40-BFF2-B49521E0352E}"/>
                </a:ext>
              </a:extLst>
            </p:cNvPr>
            <p:cNvSpPr>
              <a:spLocks noChangeAspect="1" noEditPoints="1"/>
            </p:cNvSpPr>
            <p:nvPr/>
          </p:nvSpPr>
          <p:spPr bwMode="auto">
            <a:xfrm>
              <a:off x="9524460" y="3183698"/>
              <a:ext cx="1110355" cy="111976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 name="gear_3">
              <a:extLst>
                <a:ext uri="{FF2B5EF4-FFF2-40B4-BE49-F238E27FC236}">
                  <a16:creationId xmlns:a16="http://schemas.microsoft.com/office/drawing/2014/main" id="{EEA65478-AF57-8D44-8F7B-EBE6DFE683E1}"/>
                </a:ext>
              </a:extLst>
            </p:cNvPr>
            <p:cNvSpPr>
              <a:spLocks noChangeAspect="1" noEditPoints="1"/>
            </p:cNvSpPr>
            <p:nvPr/>
          </p:nvSpPr>
          <p:spPr bwMode="auto">
            <a:xfrm>
              <a:off x="10421433" y="2632636"/>
              <a:ext cx="735342" cy="74157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gear_3">
              <a:extLst>
                <a:ext uri="{FF2B5EF4-FFF2-40B4-BE49-F238E27FC236}">
                  <a16:creationId xmlns:a16="http://schemas.microsoft.com/office/drawing/2014/main" id="{B3092EFB-61B1-B248-837E-2D577570D41F}"/>
                </a:ext>
              </a:extLst>
            </p:cNvPr>
            <p:cNvSpPr>
              <a:spLocks noChangeAspect="1" noEditPoints="1"/>
            </p:cNvSpPr>
            <p:nvPr/>
          </p:nvSpPr>
          <p:spPr bwMode="auto">
            <a:xfrm>
              <a:off x="11022746" y="3309209"/>
              <a:ext cx="522891" cy="527320"/>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16E5E83C-A781-604B-B13C-DC8458680525}"/>
              </a:ext>
            </a:extLst>
          </p:cNvPr>
          <p:cNvGrpSpPr/>
          <p:nvPr/>
        </p:nvGrpSpPr>
        <p:grpSpPr>
          <a:xfrm>
            <a:off x="1144934" y="2677641"/>
            <a:ext cx="1757706" cy="1650960"/>
            <a:chOff x="1239394" y="2531811"/>
            <a:chExt cx="1792952" cy="1684065"/>
          </a:xfrm>
        </p:grpSpPr>
        <p:grpSp>
          <p:nvGrpSpPr>
            <p:cNvPr id="126" name="Group 125">
              <a:extLst>
                <a:ext uri="{FF2B5EF4-FFF2-40B4-BE49-F238E27FC236}">
                  <a16:creationId xmlns:a16="http://schemas.microsoft.com/office/drawing/2014/main" id="{3D9A6F9F-4C12-2F48-A890-09A7BD1237D1}"/>
                </a:ext>
              </a:extLst>
            </p:cNvPr>
            <p:cNvGrpSpPr/>
            <p:nvPr/>
          </p:nvGrpSpPr>
          <p:grpSpPr>
            <a:xfrm>
              <a:off x="1239394" y="2531811"/>
              <a:ext cx="523013" cy="1684065"/>
              <a:chOff x="1395310" y="3332039"/>
              <a:chExt cx="430961" cy="1387665"/>
            </a:xfrm>
            <a:solidFill>
              <a:schemeClr val="bg1"/>
            </a:solidFill>
          </p:grpSpPr>
          <p:sp>
            <p:nvSpPr>
              <p:cNvPr id="135" name="Isosceles Triangle 86">
                <a:extLst>
                  <a:ext uri="{FF2B5EF4-FFF2-40B4-BE49-F238E27FC236}">
                    <a16:creationId xmlns:a16="http://schemas.microsoft.com/office/drawing/2014/main" id="{946C8413-795E-2649-A6A9-9D1BB0969AEB}"/>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6" name="Rectangle 135">
                <a:extLst>
                  <a:ext uri="{FF2B5EF4-FFF2-40B4-BE49-F238E27FC236}">
                    <a16:creationId xmlns:a16="http://schemas.microsoft.com/office/drawing/2014/main" id="{8146B92A-F2B5-B041-8224-AEC81229AD9C}"/>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7" name="Oval 136">
                <a:extLst>
                  <a:ext uri="{FF2B5EF4-FFF2-40B4-BE49-F238E27FC236}">
                    <a16:creationId xmlns:a16="http://schemas.microsoft.com/office/drawing/2014/main" id="{1EAD2D7A-6736-0844-9375-5F50BAF12411}"/>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127" name="Group 126">
              <a:extLst>
                <a:ext uri="{FF2B5EF4-FFF2-40B4-BE49-F238E27FC236}">
                  <a16:creationId xmlns:a16="http://schemas.microsoft.com/office/drawing/2014/main" id="{09FC1093-5098-0F44-BE72-B003A3AD1919}"/>
                </a:ext>
              </a:extLst>
            </p:cNvPr>
            <p:cNvGrpSpPr/>
            <p:nvPr/>
          </p:nvGrpSpPr>
          <p:grpSpPr>
            <a:xfrm>
              <a:off x="1874363" y="2531811"/>
              <a:ext cx="523013" cy="1684065"/>
              <a:chOff x="1395310" y="3332039"/>
              <a:chExt cx="430961" cy="1387665"/>
            </a:xfrm>
            <a:solidFill>
              <a:schemeClr val="bg1"/>
            </a:solidFill>
          </p:grpSpPr>
          <p:sp>
            <p:nvSpPr>
              <p:cNvPr id="132" name="Isosceles Triangle 83">
                <a:extLst>
                  <a:ext uri="{FF2B5EF4-FFF2-40B4-BE49-F238E27FC236}">
                    <a16:creationId xmlns:a16="http://schemas.microsoft.com/office/drawing/2014/main" id="{AFFD7FFA-7C5D-0349-A613-8C40492963C3}"/>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3" name="Rectangle 132">
                <a:extLst>
                  <a:ext uri="{FF2B5EF4-FFF2-40B4-BE49-F238E27FC236}">
                    <a16:creationId xmlns:a16="http://schemas.microsoft.com/office/drawing/2014/main" id="{EF360715-12EB-9347-939A-E2FDABE8F42C}"/>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4" name="Oval 133">
                <a:extLst>
                  <a:ext uri="{FF2B5EF4-FFF2-40B4-BE49-F238E27FC236}">
                    <a16:creationId xmlns:a16="http://schemas.microsoft.com/office/drawing/2014/main" id="{947FEA15-F9E1-864C-90D3-AF81FBC25751}"/>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128" name="Group 127">
              <a:extLst>
                <a:ext uri="{FF2B5EF4-FFF2-40B4-BE49-F238E27FC236}">
                  <a16:creationId xmlns:a16="http://schemas.microsoft.com/office/drawing/2014/main" id="{1C6A4630-8DD8-104A-A753-7C73F39F5857}"/>
                </a:ext>
              </a:extLst>
            </p:cNvPr>
            <p:cNvGrpSpPr/>
            <p:nvPr/>
          </p:nvGrpSpPr>
          <p:grpSpPr>
            <a:xfrm>
              <a:off x="2509333" y="2531811"/>
              <a:ext cx="523013" cy="1684065"/>
              <a:chOff x="1395310" y="3332039"/>
              <a:chExt cx="430961" cy="1387665"/>
            </a:xfrm>
            <a:solidFill>
              <a:schemeClr val="bg1"/>
            </a:solidFill>
          </p:grpSpPr>
          <p:sp>
            <p:nvSpPr>
              <p:cNvPr id="129" name="Isosceles Triangle 80">
                <a:extLst>
                  <a:ext uri="{FF2B5EF4-FFF2-40B4-BE49-F238E27FC236}">
                    <a16:creationId xmlns:a16="http://schemas.microsoft.com/office/drawing/2014/main" id="{1A33E083-F57D-104B-B7F3-71688FC43B70}"/>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0" name="Rectangle 129">
                <a:extLst>
                  <a:ext uri="{FF2B5EF4-FFF2-40B4-BE49-F238E27FC236}">
                    <a16:creationId xmlns:a16="http://schemas.microsoft.com/office/drawing/2014/main" id="{21ED9B57-70FE-8642-A32E-CDB851721033}"/>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1" name="Oval 130">
                <a:extLst>
                  <a:ext uri="{FF2B5EF4-FFF2-40B4-BE49-F238E27FC236}">
                    <a16:creationId xmlns:a16="http://schemas.microsoft.com/office/drawing/2014/main" id="{4C2CEF76-4B9B-F048-BFA6-8CA596552A23}"/>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grpSp>
        <p:nvGrpSpPr>
          <p:cNvPr id="138" name="Group 137">
            <a:extLst>
              <a:ext uri="{FF2B5EF4-FFF2-40B4-BE49-F238E27FC236}">
                <a16:creationId xmlns:a16="http://schemas.microsoft.com/office/drawing/2014/main" id="{2FA9F120-A106-A84A-B10A-9C165F5D2C54}"/>
              </a:ext>
            </a:extLst>
          </p:cNvPr>
          <p:cNvGrpSpPr/>
          <p:nvPr/>
        </p:nvGrpSpPr>
        <p:grpSpPr>
          <a:xfrm>
            <a:off x="4848627" y="2491813"/>
            <a:ext cx="2301051" cy="1998974"/>
            <a:chOff x="4986639" y="2541282"/>
            <a:chExt cx="2347192" cy="2039058"/>
          </a:xfrm>
        </p:grpSpPr>
        <p:sp>
          <p:nvSpPr>
            <p:cNvPr id="139" name="Line 19">
              <a:extLst>
                <a:ext uri="{FF2B5EF4-FFF2-40B4-BE49-F238E27FC236}">
                  <a16:creationId xmlns:a16="http://schemas.microsoft.com/office/drawing/2014/main" id="{AB87D879-E78C-254D-812C-85020B9837AF}"/>
                </a:ext>
              </a:extLst>
            </p:cNvPr>
            <p:cNvSpPr>
              <a:spLocks noChangeShapeType="1"/>
            </p:cNvSpPr>
            <p:nvPr/>
          </p:nvSpPr>
          <p:spPr bwMode="auto">
            <a:xfrm rot="16200000">
              <a:off x="6005770" y="3401735"/>
              <a:ext cx="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nvGrpSpPr>
            <p:cNvPr id="140" name="Group 11">
              <a:extLst>
                <a:ext uri="{FF2B5EF4-FFF2-40B4-BE49-F238E27FC236}">
                  <a16:creationId xmlns:a16="http://schemas.microsoft.com/office/drawing/2014/main" id="{FCFC211C-BB05-5A43-B883-72A0CE389053}"/>
                </a:ext>
              </a:extLst>
            </p:cNvPr>
            <p:cNvGrpSpPr>
              <a:grpSpLocks noChangeAspect="1"/>
            </p:cNvGrpSpPr>
            <p:nvPr/>
          </p:nvGrpSpPr>
          <p:grpSpPr bwMode="auto">
            <a:xfrm>
              <a:off x="5712422" y="3055262"/>
              <a:ext cx="1007365" cy="1097312"/>
              <a:chOff x="3861" y="4291602"/>
              <a:chExt cx="112" cy="244433"/>
            </a:xfrm>
          </p:grpSpPr>
          <p:sp>
            <p:nvSpPr>
              <p:cNvPr id="147" name="Freeform 12">
                <a:extLst>
                  <a:ext uri="{FF2B5EF4-FFF2-40B4-BE49-F238E27FC236}">
                    <a16:creationId xmlns:a16="http://schemas.microsoft.com/office/drawing/2014/main" id="{7D16A6C1-F47A-1344-BD0D-6C4EBE561BAE}"/>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8" name="Line 13">
                <a:extLst>
                  <a:ext uri="{FF2B5EF4-FFF2-40B4-BE49-F238E27FC236}">
                    <a16:creationId xmlns:a16="http://schemas.microsoft.com/office/drawing/2014/main" id="{D185B70E-566B-B646-9056-400CCFA0562B}"/>
                  </a:ext>
                </a:extLst>
              </p:cNvPr>
              <p:cNvSpPr>
                <a:spLocks noChangeShapeType="1"/>
              </p:cNvSpPr>
              <p:nvPr/>
            </p:nvSpPr>
            <p:spPr bwMode="auto">
              <a:xfrm>
                <a:off x="3874" y="4469918"/>
                <a:ext cx="8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9" name="Line 14">
                <a:extLst>
                  <a:ext uri="{FF2B5EF4-FFF2-40B4-BE49-F238E27FC236}">
                    <a16:creationId xmlns:a16="http://schemas.microsoft.com/office/drawing/2014/main" id="{7A3C2288-5880-3048-9852-44974CF8597D}"/>
                  </a:ext>
                </a:extLst>
              </p:cNvPr>
              <p:cNvSpPr>
                <a:spLocks noChangeShapeType="1"/>
              </p:cNvSpPr>
              <p:nvPr/>
            </p:nvSpPr>
            <p:spPr bwMode="auto">
              <a:xfrm>
                <a:off x="3923" y="4335680"/>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0" name="Line 15">
                <a:extLst>
                  <a:ext uri="{FF2B5EF4-FFF2-40B4-BE49-F238E27FC236}">
                    <a16:creationId xmlns:a16="http://schemas.microsoft.com/office/drawing/2014/main" id="{56A50B7D-7BD0-0F4B-91AC-134843D720F6}"/>
                  </a:ext>
                </a:extLst>
              </p:cNvPr>
              <p:cNvSpPr>
                <a:spLocks noChangeShapeType="1"/>
              </p:cNvSpPr>
              <p:nvPr/>
            </p:nvSpPr>
            <p:spPr bwMode="auto">
              <a:xfrm>
                <a:off x="3923" y="4379758"/>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1" name="Line 16">
                <a:extLst>
                  <a:ext uri="{FF2B5EF4-FFF2-40B4-BE49-F238E27FC236}">
                    <a16:creationId xmlns:a16="http://schemas.microsoft.com/office/drawing/2014/main" id="{C188A97B-B7F4-F84B-8AF6-8955BD2DD50F}"/>
                  </a:ext>
                </a:extLst>
              </p:cNvPr>
              <p:cNvSpPr>
                <a:spLocks noChangeShapeType="1"/>
              </p:cNvSpPr>
              <p:nvPr/>
            </p:nvSpPr>
            <p:spPr bwMode="auto">
              <a:xfrm>
                <a:off x="3923" y="4425840"/>
                <a:ext cx="2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2" name="Line 17">
                <a:extLst>
                  <a:ext uri="{FF2B5EF4-FFF2-40B4-BE49-F238E27FC236}">
                    <a16:creationId xmlns:a16="http://schemas.microsoft.com/office/drawing/2014/main" id="{3BD5A299-8CC3-2A4B-A9B9-D7105F7B7AF7}"/>
                  </a:ext>
                </a:extLst>
              </p:cNvPr>
              <p:cNvSpPr>
                <a:spLocks noChangeShapeType="1"/>
              </p:cNvSpPr>
              <p:nvPr/>
            </p:nvSpPr>
            <p:spPr bwMode="auto">
              <a:xfrm>
                <a:off x="3883" y="4291602"/>
                <a:ext cx="68"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41" name="Group 140">
              <a:extLst>
                <a:ext uri="{FF2B5EF4-FFF2-40B4-BE49-F238E27FC236}">
                  <a16:creationId xmlns:a16="http://schemas.microsoft.com/office/drawing/2014/main" id="{79417432-0734-BE47-828A-AB2E88294C99}"/>
                </a:ext>
              </a:extLst>
            </p:cNvPr>
            <p:cNvGrpSpPr/>
            <p:nvPr/>
          </p:nvGrpSpPr>
          <p:grpSpPr>
            <a:xfrm>
              <a:off x="5359189" y="2541282"/>
              <a:ext cx="1974642" cy="1799700"/>
              <a:chOff x="4723382" y="2415376"/>
              <a:chExt cx="2374103" cy="2163771"/>
            </a:xfrm>
          </p:grpSpPr>
          <p:sp>
            <p:nvSpPr>
              <p:cNvPr id="145" name="Freeform 22">
                <a:extLst>
                  <a:ext uri="{FF2B5EF4-FFF2-40B4-BE49-F238E27FC236}">
                    <a16:creationId xmlns:a16="http://schemas.microsoft.com/office/drawing/2014/main" id="{37344596-742D-B748-88C7-D29D50CD0CE7}"/>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46" name="Arc 145">
                <a:extLst>
                  <a:ext uri="{FF2B5EF4-FFF2-40B4-BE49-F238E27FC236}">
                    <a16:creationId xmlns:a16="http://schemas.microsoft.com/office/drawing/2014/main" id="{A8452E54-ABC5-054C-9C34-9036C092088A}"/>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grpSp>
          <p:nvGrpSpPr>
            <p:cNvPr id="142" name="Group 141">
              <a:extLst>
                <a:ext uri="{FF2B5EF4-FFF2-40B4-BE49-F238E27FC236}">
                  <a16:creationId xmlns:a16="http://schemas.microsoft.com/office/drawing/2014/main" id="{A36409B5-2575-3A45-8D75-04F006D335C9}"/>
                </a:ext>
              </a:extLst>
            </p:cNvPr>
            <p:cNvGrpSpPr/>
            <p:nvPr/>
          </p:nvGrpSpPr>
          <p:grpSpPr>
            <a:xfrm rot="10800000">
              <a:off x="4986639" y="2780640"/>
              <a:ext cx="1974642" cy="1799700"/>
              <a:chOff x="4723382" y="2415376"/>
              <a:chExt cx="2374103" cy="2163771"/>
            </a:xfrm>
          </p:grpSpPr>
          <p:sp>
            <p:nvSpPr>
              <p:cNvPr id="143" name="Freeform 22">
                <a:extLst>
                  <a:ext uri="{FF2B5EF4-FFF2-40B4-BE49-F238E27FC236}">
                    <a16:creationId xmlns:a16="http://schemas.microsoft.com/office/drawing/2014/main" id="{112F0F44-3B6E-BD4E-A9CA-A7EA2535CA80}"/>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44" name="Arc 143">
                <a:extLst>
                  <a:ext uri="{FF2B5EF4-FFF2-40B4-BE49-F238E27FC236}">
                    <a16:creationId xmlns:a16="http://schemas.microsoft.com/office/drawing/2014/main" id="{13441DF4-BEC1-B04E-93A8-98D5BDB12AB0}"/>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grpSp>
      <p:sp>
        <p:nvSpPr>
          <p:cNvPr id="153" name="Freeform 152">
            <a:extLst>
              <a:ext uri="{FF2B5EF4-FFF2-40B4-BE49-F238E27FC236}">
                <a16:creationId xmlns:a16="http://schemas.microsoft.com/office/drawing/2014/main" id="{BDBAAA28-1FCE-2F47-8A1A-371F249DB942}"/>
              </a:ext>
            </a:extLst>
          </p:cNvPr>
          <p:cNvSpPr/>
          <p:nvPr/>
        </p:nvSpPr>
        <p:spPr bwMode="auto">
          <a:xfrm flipH="1">
            <a:off x="7970370" y="3136710"/>
            <a:ext cx="401865" cy="89951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54" name="Freeform 153">
            <a:extLst>
              <a:ext uri="{FF2B5EF4-FFF2-40B4-BE49-F238E27FC236}">
                <a16:creationId xmlns:a16="http://schemas.microsoft.com/office/drawing/2014/main" id="{24B17B1B-4296-5A47-8655-9B822AA47680}"/>
              </a:ext>
            </a:extLst>
          </p:cNvPr>
          <p:cNvSpPr/>
          <p:nvPr/>
        </p:nvSpPr>
        <p:spPr bwMode="auto">
          <a:xfrm flipH="1">
            <a:off x="3591924" y="3136710"/>
            <a:ext cx="401865" cy="89951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55" name="Rectangle 154">
            <a:extLst>
              <a:ext uri="{FF2B5EF4-FFF2-40B4-BE49-F238E27FC236}">
                <a16:creationId xmlns:a16="http://schemas.microsoft.com/office/drawing/2014/main" id="{DC58B128-7217-7B4C-96E4-E8FC2055AB5F}"/>
              </a:ext>
            </a:extLst>
          </p:cNvPr>
          <p:cNvSpPr/>
          <p:nvPr/>
        </p:nvSpPr>
        <p:spPr bwMode="auto">
          <a:xfrm>
            <a:off x="713461" y="2272819"/>
            <a:ext cx="3365528" cy="2854757"/>
          </a:xfrm>
          <a:prstGeom prst="rect">
            <a:avLst/>
          </a:prstGeom>
          <a:solidFill>
            <a:schemeClr val="bg1">
              <a:alpha val="7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156" name="Rectangle 155">
            <a:extLst>
              <a:ext uri="{FF2B5EF4-FFF2-40B4-BE49-F238E27FC236}">
                <a16:creationId xmlns:a16="http://schemas.microsoft.com/office/drawing/2014/main" id="{1700D9EB-8AC1-FB41-B4F1-7A11FB99A99C}"/>
              </a:ext>
            </a:extLst>
          </p:cNvPr>
          <p:cNvSpPr/>
          <p:nvPr/>
        </p:nvSpPr>
        <p:spPr bwMode="auto">
          <a:xfrm>
            <a:off x="7854196" y="2272820"/>
            <a:ext cx="3365528" cy="3210452"/>
          </a:xfrm>
          <a:prstGeom prst="rect">
            <a:avLst/>
          </a:prstGeom>
          <a:solidFill>
            <a:schemeClr val="bg1">
              <a:alpha val="7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850644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60D8DB12-87B0-4C08-B860-E00DD6968F65}"/>
              </a:ext>
            </a:extLst>
          </p:cNvPr>
          <p:cNvGrpSpPr/>
          <p:nvPr/>
        </p:nvGrpSpPr>
        <p:grpSpPr>
          <a:xfrm>
            <a:off x="3547872" y="1860849"/>
            <a:ext cx="1643454" cy="4380012"/>
            <a:chOff x="-2622300" y="-5358979"/>
            <a:chExt cx="1684388" cy="4380012"/>
          </a:xfrm>
        </p:grpSpPr>
        <p:sp>
          <p:nvSpPr>
            <p:cNvPr id="124" name="Rectangle 123">
              <a:extLst>
                <a:ext uri="{FF2B5EF4-FFF2-40B4-BE49-F238E27FC236}">
                  <a16:creationId xmlns:a16="http://schemas.microsoft.com/office/drawing/2014/main" id="{90586C13-129A-424F-97C8-494CB7D8673A}"/>
                </a:ext>
              </a:extLst>
            </p:cNvPr>
            <p:cNvSpPr/>
            <p:nvPr/>
          </p:nvSpPr>
          <p:spPr>
            <a:xfrm>
              <a:off x="-2622300" y="-2166169"/>
              <a:ext cx="1684388" cy="548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Semilight"/>
                  <a:ea typeface="+mn-ea"/>
                  <a:cs typeface="+mn-cs"/>
                </a:rPr>
                <a:t>Azure Data Lake</a:t>
              </a:r>
            </a:p>
          </p:txBody>
        </p:sp>
        <p:sp>
          <p:nvSpPr>
            <p:cNvPr id="125" name="Rectangle 124">
              <a:extLst>
                <a:ext uri="{FF2B5EF4-FFF2-40B4-BE49-F238E27FC236}">
                  <a16:creationId xmlns:a16="http://schemas.microsoft.com/office/drawing/2014/main" id="{10FE27ED-AF68-4985-9D04-143063FF8F2B}"/>
                </a:ext>
              </a:extLst>
            </p:cNvPr>
            <p:cNvSpPr/>
            <p:nvPr/>
          </p:nvSpPr>
          <p:spPr>
            <a:xfrm>
              <a:off x="-2622300" y="-1527607"/>
              <a:ext cx="1684388" cy="548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67" rtl="0" eaLnBrk="1" fontAlgn="auto" latinLnBrk="0" hangingPunct="1">
                <a:lnSpc>
                  <a:spcPct val="9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78D4"/>
                </a:solidFill>
                <a:effectLst/>
                <a:uLnTx/>
                <a:uFillTx/>
                <a:latin typeface="Segoe UI Semilight"/>
                <a:ea typeface="+mn-ea"/>
                <a:cs typeface="+mn-cs"/>
              </a:endParaRP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Semilight"/>
                  <a:ea typeface="+mn-ea"/>
                  <a:cs typeface="+mn-cs"/>
                </a:rPr>
                <a:t>Azure Time Series </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Semilight"/>
                  <a:ea typeface="+mn-ea"/>
                  <a:cs typeface="+mn-cs"/>
                </a:rPr>
                <a:t>Insights</a:t>
              </a:r>
            </a:p>
          </p:txBody>
        </p:sp>
        <p:sp>
          <p:nvSpPr>
            <p:cNvPr id="126" name="Rectangle 125">
              <a:extLst>
                <a:ext uri="{FF2B5EF4-FFF2-40B4-BE49-F238E27FC236}">
                  <a16:creationId xmlns:a16="http://schemas.microsoft.com/office/drawing/2014/main" id="{29C78E12-FE2D-4426-86B4-1E5D5BE95ADF}"/>
                </a:ext>
              </a:extLst>
            </p:cNvPr>
            <p:cNvSpPr/>
            <p:nvPr/>
          </p:nvSpPr>
          <p:spPr>
            <a:xfrm>
              <a:off x="-2622300" y="-4081855"/>
              <a:ext cx="1684388" cy="548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Semilight"/>
                  <a:ea typeface="+mn-ea"/>
                  <a:cs typeface="+mn-cs"/>
                </a:rPr>
                <a:t>Azure Maps</a:t>
              </a:r>
            </a:p>
          </p:txBody>
        </p:sp>
        <p:sp>
          <p:nvSpPr>
            <p:cNvPr id="128" name="Rectangle 127">
              <a:extLst>
                <a:ext uri="{FF2B5EF4-FFF2-40B4-BE49-F238E27FC236}">
                  <a16:creationId xmlns:a16="http://schemas.microsoft.com/office/drawing/2014/main" id="{F863B1E6-0F6B-41F3-88DB-1E63152A21A0}"/>
                </a:ext>
              </a:extLst>
            </p:cNvPr>
            <p:cNvSpPr/>
            <p:nvPr/>
          </p:nvSpPr>
          <p:spPr>
            <a:xfrm>
              <a:off x="-2622300" y="-5358979"/>
              <a:ext cx="1684388" cy="548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Semilight"/>
                  <a:ea typeface="+mn-ea"/>
                  <a:cs typeface="+mn-cs"/>
                </a:rPr>
                <a:t>Azure Stream Analytics</a:t>
              </a:r>
            </a:p>
          </p:txBody>
        </p:sp>
        <p:sp>
          <p:nvSpPr>
            <p:cNvPr id="129" name="Rectangle 128">
              <a:extLst>
                <a:ext uri="{FF2B5EF4-FFF2-40B4-BE49-F238E27FC236}">
                  <a16:creationId xmlns:a16="http://schemas.microsoft.com/office/drawing/2014/main" id="{5F5814B0-5F78-47BB-B4E5-DF970CD77726}"/>
                </a:ext>
              </a:extLst>
            </p:cNvPr>
            <p:cNvSpPr/>
            <p:nvPr/>
          </p:nvSpPr>
          <p:spPr>
            <a:xfrm>
              <a:off x="-2622300" y="-4720417"/>
              <a:ext cx="1684388" cy="548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Semilight"/>
                  <a:ea typeface="+mn-ea"/>
                  <a:cs typeface="+mn-cs"/>
                </a:rPr>
                <a:t>Azure Machine Learning</a:t>
              </a:r>
            </a:p>
          </p:txBody>
        </p:sp>
        <p:sp>
          <p:nvSpPr>
            <p:cNvPr id="130" name="Rectangle 129">
              <a:extLst>
                <a:ext uri="{FF2B5EF4-FFF2-40B4-BE49-F238E27FC236}">
                  <a16:creationId xmlns:a16="http://schemas.microsoft.com/office/drawing/2014/main" id="{2E585D5B-7E92-4E19-AA29-7A07A8958FB9}"/>
                </a:ext>
              </a:extLst>
            </p:cNvPr>
            <p:cNvSpPr/>
            <p:nvPr/>
          </p:nvSpPr>
          <p:spPr>
            <a:xfrm>
              <a:off x="-2622300" y="-3443293"/>
              <a:ext cx="1684388" cy="548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Semilight"/>
                  <a:ea typeface="+mn-ea"/>
                  <a:cs typeface="+mn-cs"/>
                </a:rPr>
                <a:t>Azure HD Insight</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Semilight"/>
                  <a:ea typeface="+mn-ea"/>
                  <a:cs typeface="+mn-cs"/>
                </a:rPr>
                <a:t>Spark, Storm, Kafka</a:t>
              </a:r>
            </a:p>
          </p:txBody>
        </p:sp>
        <p:sp>
          <p:nvSpPr>
            <p:cNvPr id="132" name="Rectangle 131">
              <a:extLst>
                <a:ext uri="{FF2B5EF4-FFF2-40B4-BE49-F238E27FC236}">
                  <a16:creationId xmlns:a16="http://schemas.microsoft.com/office/drawing/2014/main" id="{9615D25F-FA06-4B58-B6AE-1F032E1B19D5}"/>
                </a:ext>
              </a:extLst>
            </p:cNvPr>
            <p:cNvSpPr/>
            <p:nvPr/>
          </p:nvSpPr>
          <p:spPr>
            <a:xfrm>
              <a:off x="-2622300" y="-2804731"/>
              <a:ext cx="1684388" cy="548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Semilight"/>
                  <a:ea typeface="+mn-ea"/>
                  <a:cs typeface="+mn-cs"/>
                </a:rPr>
                <a:t>Azure Event Hubs</a:t>
              </a:r>
            </a:p>
          </p:txBody>
        </p:sp>
      </p:grpSp>
      <p:grpSp>
        <p:nvGrpSpPr>
          <p:cNvPr id="45" name="Group 44">
            <a:extLst>
              <a:ext uri="{FF2B5EF4-FFF2-40B4-BE49-F238E27FC236}">
                <a16:creationId xmlns:a16="http://schemas.microsoft.com/office/drawing/2014/main" id="{618F3EAF-EBCB-4100-A9D3-4FD2ED127A23}"/>
              </a:ext>
            </a:extLst>
          </p:cNvPr>
          <p:cNvGrpSpPr/>
          <p:nvPr/>
        </p:nvGrpSpPr>
        <p:grpSpPr>
          <a:xfrm>
            <a:off x="950976" y="1879966"/>
            <a:ext cx="1684388" cy="4380015"/>
            <a:chOff x="-7400370" y="-4720417"/>
            <a:chExt cx="1684388" cy="4380015"/>
          </a:xfrm>
        </p:grpSpPr>
        <p:sp>
          <p:nvSpPr>
            <p:cNvPr id="111" name="Rectangle 110">
              <a:extLst>
                <a:ext uri="{FF2B5EF4-FFF2-40B4-BE49-F238E27FC236}">
                  <a16:creationId xmlns:a16="http://schemas.microsoft.com/office/drawing/2014/main" id="{24BD8C8B-9E47-45E2-82E7-76D6706D4D81}"/>
                </a:ext>
              </a:extLst>
            </p:cNvPr>
            <p:cNvSpPr/>
            <p:nvPr/>
          </p:nvSpPr>
          <p:spPr>
            <a:xfrm>
              <a:off x="-7400370" y="-1513320"/>
              <a:ext cx="1684388" cy="548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Semilight"/>
                  <a:ea typeface="+mn-ea"/>
                  <a:cs typeface="+mn-cs"/>
                </a:rPr>
                <a:t>Azure IoT Hub Device Provisioning Service</a:t>
              </a:r>
            </a:p>
          </p:txBody>
        </p:sp>
        <p:sp>
          <p:nvSpPr>
            <p:cNvPr id="112" name="Rectangle 111">
              <a:extLst>
                <a:ext uri="{FF2B5EF4-FFF2-40B4-BE49-F238E27FC236}">
                  <a16:creationId xmlns:a16="http://schemas.microsoft.com/office/drawing/2014/main" id="{6C31D31C-21A5-417A-8A2A-D8A8453D4980}"/>
                </a:ext>
              </a:extLst>
            </p:cNvPr>
            <p:cNvSpPr/>
            <p:nvPr/>
          </p:nvSpPr>
          <p:spPr>
            <a:xfrm>
              <a:off x="-7400370" y="-889042"/>
              <a:ext cx="1682496" cy="548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67" rtl="0" eaLnBrk="1" fontAlgn="auto" latinLnBrk="0" hangingPunct="1">
                <a:lnSpc>
                  <a:spcPct val="9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78D4"/>
                </a:solidFill>
                <a:effectLst/>
                <a:uLnTx/>
                <a:uFillTx/>
                <a:latin typeface="Segoe UI Semilight"/>
                <a:ea typeface="+mn-ea"/>
                <a:cs typeface="+mn-cs"/>
              </a:endParaRP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Semilight"/>
                  <a:ea typeface="+mn-ea"/>
                  <a:cs typeface="+mn-cs"/>
                </a:rPr>
                <a:t>Azure IoT Hub</a:t>
              </a:r>
            </a:p>
          </p:txBody>
        </p:sp>
        <p:sp>
          <p:nvSpPr>
            <p:cNvPr id="113" name="Rectangle 112">
              <a:extLst>
                <a:ext uri="{FF2B5EF4-FFF2-40B4-BE49-F238E27FC236}">
                  <a16:creationId xmlns:a16="http://schemas.microsoft.com/office/drawing/2014/main" id="{411AFF42-5284-4F7A-9849-EC0CCE0F48BD}"/>
                </a:ext>
              </a:extLst>
            </p:cNvPr>
            <p:cNvSpPr/>
            <p:nvPr/>
          </p:nvSpPr>
          <p:spPr>
            <a:xfrm>
              <a:off x="-7400370" y="-4081855"/>
              <a:ext cx="1684388" cy="548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Semilight"/>
                  <a:ea typeface="+mn-ea"/>
                  <a:cs typeface="+mn-cs"/>
                </a:rPr>
                <a:t>Windows 10 IoT Core</a:t>
              </a:r>
            </a:p>
          </p:txBody>
        </p:sp>
        <p:sp>
          <p:nvSpPr>
            <p:cNvPr id="116" name="Rectangle 115">
              <a:extLst>
                <a:ext uri="{FF2B5EF4-FFF2-40B4-BE49-F238E27FC236}">
                  <a16:creationId xmlns:a16="http://schemas.microsoft.com/office/drawing/2014/main" id="{39708BEC-DD0C-4CD7-BB4B-D6623615636A}"/>
                </a:ext>
              </a:extLst>
            </p:cNvPr>
            <p:cNvSpPr/>
            <p:nvPr/>
          </p:nvSpPr>
          <p:spPr>
            <a:xfrm>
              <a:off x="-7400370" y="-4720417"/>
              <a:ext cx="1684388" cy="548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Semilight"/>
                  <a:ea typeface="+mn-ea"/>
                  <a:cs typeface="+mn-cs"/>
                </a:rPr>
                <a:t>Azure IoT Edge</a:t>
              </a:r>
            </a:p>
          </p:txBody>
        </p:sp>
        <p:sp>
          <p:nvSpPr>
            <p:cNvPr id="118" name="Rectangle 117">
              <a:extLst>
                <a:ext uri="{FF2B5EF4-FFF2-40B4-BE49-F238E27FC236}">
                  <a16:creationId xmlns:a16="http://schemas.microsoft.com/office/drawing/2014/main" id="{6B8FE834-7023-4863-B102-7FE3BB85DFE1}"/>
                </a:ext>
              </a:extLst>
            </p:cNvPr>
            <p:cNvSpPr/>
            <p:nvPr/>
          </p:nvSpPr>
          <p:spPr>
            <a:xfrm>
              <a:off x="-7400370" y="-3443293"/>
              <a:ext cx="1684388" cy="548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Semilight"/>
                  <a:ea typeface="+mn-ea"/>
                  <a:cs typeface="+mn-cs"/>
                </a:rPr>
                <a:t>Azure Sphere</a:t>
              </a:r>
            </a:p>
          </p:txBody>
        </p:sp>
        <p:sp>
          <p:nvSpPr>
            <p:cNvPr id="119" name="Rectangle 118">
              <a:extLst>
                <a:ext uri="{FF2B5EF4-FFF2-40B4-BE49-F238E27FC236}">
                  <a16:creationId xmlns:a16="http://schemas.microsoft.com/office/drawing/2014/main" id="{EC38517D-5A9F-4CF4-AB49-AD8621B8B713}"/>
                </a:ext>
              </a:extLst>
            </p:cNvPr>
            <p:cNvSpPr/>
            <p:nvPr/>
          </p:nvSpPr>
          <p:spPr>
            <a:xfrm>
              <a:off x="-7400370" y="-2804731"/>
              <a:ext cx="1684388" cy="548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Semilight"/>
                  <a:ea typeface="+mn-ea"/>
                  <a:cs typeface="+mn-cs"/>
                </a:rPr>
                <a:t>Azure Certified for IoT</a:t>
              </a:r>
            </a:p>
          </p:txBody>
        </p:sp>
        <p:sp>
          <p:nvSpPr>
            <p:cNvPr id="120" name="Rectangle 119">
              <a:extLst>
                <a:ext uri="{FF2B5EF4-FFF2-40B4-BE49-F238E27FC236}">
                  <a16:creationId xmlns:a16="http://schemas.microsoft.com/office/drawing/2014/main" id="{9551BE28-225E-4AB1-BADC-8003069C6816}"/>
                </a:ext>
              </a:extLst>
            </p:cNvPr>
            <p:cNvSpPr/>
            <p:nvPr/>
          </p:nvSpPr>
          <p:spPr>
            <a:xfrm>
              <a:off x="-7400370" y="-2166169"/>
              <a:ext cx="1684388" cy="548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Semilight"/>
                  <a:ea typeface="+mn-ea"/>
                  <a:cs typeface="+mn-cs"/>
                </a:rPr>
                <a:t>Azure IoT Device SDK</a:t>
              </a:r>
            </a:p>
          </p:txBody>
        </p:sp>
      </p:grpSp>
      <p:grpSp>
        <p:nvGrpSpPr>
          <p:cNvPr id="43" name="Group 42">
            <a:extLst>
              <a:ext uri="{FF2B5EF4-FFF2-40B4-BE49-F238E27FC236}">
                <a16:creationId xmlns:a16="http://schemas.microsoft.com/office/drawing/2014/main" id="{72C546CE-EE3C-4DE4-9D1D-12B3BCDE764F}"/>
              </a:ext>
            </a:extLst>
          </p:cNvPr>
          <p:cNvGrpSpPr/>
          <p:nvPr/>
        </p:nvGrpSpPr>
        <p:grpSpPr>
          <a:xfrm>
            <a:off x="6263640" y="1892808"/>
            <a:ext cx="1573589" cy="4379227"/>
            <a:chOff x="8313759" y="-5358979"/>
            <a:chExt cx="1687762" cy="4379227"/>
          </a:xfrm>
        </p:grpSpPr>
        <p:sp>
          <p:nvSpPr>
            <p:cNvPr id="134" name="Rectangle 133">
              <a:extLst>
                <a:ext uri="{FF2B5EF4-FFF2-40B4-BE49-F238E27FC236}">
                  <a16:creationId xmlns:a16="http://schemas.microsoft.com/office/drawing/2014/main" id="{FEB449F9-AAB5-4944-B56E-40B348B68038}"/>
                </a:ext>
              </a:extLst>
            </p:cNvPr>
            <p:cNvSpPr/>
            <p:nvPr/>
          </p:nvSpPr>
          <p:spPr>
            <a:xfrm>
              <a:off x="8313759" y="-1528392"/>
              <a:ext cx="1684388" cy="548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9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78D4"/>
                </a:solidFill>
                <a:effectLst/>
                <a:uLnTx/>
                <a:uFillTx/>
                <a:latin typeface="Segoe UI Semilight"/>
                <a:ea typeface="+mn-ea"/>
                <a:cs typeface="+mn-cs"/>
              </a:endParaRP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Semilight"/>
                  <a:ea typeface="+mn-ea"/>
                  <a:cs typeface="+mn-cs"/>
                </a:rPr>
                <a:t>Azure Logic Apps</a:t>
              </a:r>
            </a:p>
          </p:txBody>
        </p:sp>
        <p:sp>
          <p:nvSpPr>
            <p:cNvPr id="136" name="Rectangle 135">
              <a:extLst>
                <a:ext uri="{FF2B5EF4-FFF2-40B4-BE49-F238E27FC236}">
                  <a16:creationId xmlns:a16="http://schemas.microsoft.com/office/drawing/2014/main" id="{F601CEFA-43F3-421D-BEBD-5717765B7F80}"/>
                </a:ext>
              </a:extLst>
            </p:cNvPr>
            <p:cNvSpPr/>
            <p:nvPr/>
          </p:nvSpPr>
          <p:spPr>
            <a:xfrm>
              <a:off x="8317133" y="-4081855"/>
              <a:ext cx="1684388" cy="548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Semilight"/>
                  <a:ea typeface="+mn-ea"/>
                  <a:cs typeface="+mn-cs"/>
                </a:rPr>
                <a:t>Azure Websites</a:t>
              </a:r>
            </a:p>
          </p:txBody>
        </p:sp>
        <p:sp>
          <p:nvSpPr>
            <p:cNvPr id="138" name="Rectangle 137">
              <a:extLst>
                <a:ext uri="{FF2B5EF4-FFF2-40B4-BE49-F238E27FC236}">
                  <a16:creationId xmlns:a16="http://schemas.microsoft.com/office/drawing/2014/main" id="{72239413-753A-4FC0-9E2E-2C2702707E51}"/>
                </a:ext>
              </a:extLst>
            </p:cNvPr>
            <p:cNvSpPr/>
            <p:nvPr/>
          </p:nvSpPr>
          <p:spPr>
            <a:xfrm>
              <a:off x="8317133" y="-5358979"/>
              <a:ext cx="1684388" cy="548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Semilight"/>
                  <a:ea typeface="+mn-ea"/>
                  <a:cs typeface="+mn-cs"/>
                </a:rPr>
                <a:t>Azure Monitor</a:t>
              </a:r>
            </a:p>
          </p:txBody>
        </p:sp>
        <p:sp>
          <p:nvSpPr>
            <p:cNvPr id="139" name="Rectangle 138">
              <a:extLst>
                <a:ext uri="{FF2B5EF4-FFF2-40B4-BE49-F238E27FC236}">
                  <a16:creationId xmlns:a16="http://schemas.microsoft.com/office/drawing/2014/main" id="{E9C3E456-9714-4C02-8787-A1115DD919F9}"/>
                </a:ext>
              </a:extLst>
            </p:cNvPr>
            <p:cNvSpPr/>
            <p:nvPr/>
          </p:nvSpPr>
          <p:spPr>
            <a:xfrm>
              <a:off x="8317133" y="-4720417"/>
              <a:ext cx="1684388" cy="548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Semilight"/>
                  <a:ea typeface="+mn-ea"/>
                  <a:cs typeface="+mn-cs"/>
                </a:rPr>
                <a:t>Azure Event Grid</a:t>
              </a:r>
            </a:p>
          </p:txBody>
        </p:sp>
        <p:sp>
          <p:nvSpPr>
            <p:cNvPr id="140" name="Rectangle 139">
              <a:extLst>
                <a:ext uri="{FF2B5EF4-FFF2-40B4-BE49-F238E27FC236}">
                  <a16:creationId xmlns:a16="http://schemas.microsoft.com/office/drawing/2014/main" id="{66070BFD-C3D5-4EF9-8B23-BD18836DC394}"/>
                </a:ext>
              </a:extLst>
            </p:cNvPr>
            <p:cNvSpPr/>
            <p:nvPr/>
          </p:nvSpPr>
          <p:spPr>
            <a:xfrm>
              <a:off x="8317133" y="-3443293"/>
              <a:ext cx="1684388" cy="548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Semilight"/>
                  <a:ea typeface="+mn-ea"/>
                  <a:cs typeface="+mn-cs"/>
                </a:rPr>
                <a:t>Microsoft Power BI</a:t>
              </a:r>
            </a:p>
          </p:txBody>
        </p:sp>
        <p:sp>
          <p:nvSpPr>
            <p:cNvPr id="141" name="Rectangle 140">
              <a:extLst>
                <a:ext uri="{FF2B5EF4-FFF2-40B4-BE49-F238E27FC236}">
                  <a16:creationId xmlns:a16="http://schemas.microsoft.com/office/drawing/2014/main" id="{ABCCEE09-7055-4C09-A427-F370A3F8B5BC}"/>
                </a:ext>
              </a:extLst>
            </p:cNvPr>
            <p:cNvSpPr/>
            <p:nvPr/>
          </p:nvSpPr>
          <p:spPr>
            <a:xfrm>
              <a:off x="8317133" y="-2804731"/>
              <a:ext cx="1684388" cy="548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Semilight"/>
                  <a:ea typeface="+mn-ea"/>
                  <a:cs typeface="+mn-cs"/>
                </a:rPr>
                <a:t>Microsoft Flow</a:t>
              </a:r>
            </a:p>
          </p:txBody>
        </p:sp>
        <p:sp>
          <p:nvSpPr>
            <p:cNvPr id="142" name="Rectangle 141">
              <a:extLst>
                <a:ext uri="{FF2B5EF4-FFF2-40B4-BE49-F238E27FC236}">
                  <a16:creationId xmlns:a16="http://schemas.microsoft.com/office/drawing/2014/main" id="{24831F31-3D38-47CE-9F56-877495AAA0AB}"/>
                </a:ext>
              </a:extLst>
            </p:cNvPr>
            <p:cNvSpPr/>
            <p:nvPr/>
          </p:nvSpPr>
          <p:spPr>
            <a:xfrm>
              <a:off x="8317133" y="-2166169"/>
              <a:ext cx="1684388" cy="548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Semilight"/>
                  <a:ea typeface="+mn-ea"/>
                  <a:cs typeface="+mn-cs"/>
                </a:rPr>
                <a:t>Azure </a:t>
              </a:r>
              <a:r>
                <a:rPr lang="en-US" sz="1050">
                  <a:solidFill>
                    <a:srgbClr val="0078D4"/>
                  </a:solidFill>
                  <a:latin typeface="Segoe UI Semilight"/>
                </a:rPr>
                <a:t>Functions</a:t>
              </a:r>
              <a:endParaRPr kumimoji="0" lang="en-US" sz="1050" b="0" i="0" u="none" strike="noStrike" kern="1200" cap="none" spc="0" normalizeH="0" baseline="0" noProof="0">
                <a:ln>
                  <a:noFill/>
                </a:ln>
                <a:solidFill>
                  <a:srgbClr val="0078D4"/>
                </a:solidFill>
                <a:effectLst/>
                <a:uLnTx/>
                <a:uFillTx/>
                <a:latin typeface="Segoe UI Semilight"/>
                <a:ea typeface="+mn-ea"/>
                <a:cs typeface="+mn-cs"/>
              </a:endParaRPr>
            </a:p>
          </p:txBody>
        </p:sp>
      </p:grpSp>
      <p:sp useBgFill="1">
        <p:nvSpPr>
          <p:cNvPr id="37" name="Rectangle 36">
            <a:extLst>
              <a:ext uri="{FF2B5EF4-FFF2-40B4-BE49-F238E27FC236}">
                <a16:creationId xmlns:a16="http://schemas.microsoft.com/office/drawing/2014/main" id="{B217429E-2ADF-4783-BACB-0F61D81B051E}"/>
              </a:ext>
            </a:extLst>
          </p:cNvPr>
          <p:cNvSpPr/>
          <p:nvPr/>
        </p:nvSpPr>
        <p:spPr bwMode="auto">
          <a:xfrm>
            <a:off x="131923" y="-273057"/>
            <a:ext cx="11971471" cy="609891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32DD48BF-03FF-48AE-A019-AAE8DE9EACC3}"/>
              </a:ext>
            </a:extLst>
          </p:cNvPr>
          <p:cNvGrpSpPr/>
          <p:nvPr/>
        </p:nvGrpSpPr>
        <p:grpSpPr>
          <a:xfrm>
            <a:off x="972173" y="1223854"/>
            <a:ext cx="7208297" cy="1376299"/>
            <a:chOff x="2649216" y="1218890"/>
            <a:chExt cx="7208297" cy="1376299"/>
          </a:xfrm>
        </p:grpSpPr>
        <p:sp>
          <p:nvSpPr>
            <p:cNvPr id="5" name="Rectangle 4">
              <a:extLst>
                <a:ext uri="{FF2B5EF4-FFF2-40B4-BE49-F238E27FC236}">
                  <a16:creationId xmlns:a16="http://schemas.microsoft.com/office/drawing/2014/main" id="{7E11BC11-60EE-4B61-8829-7B578578D97E}"/>
                </a:ext>
              </a:extLst>
            </p:cNvPr>
            <p:cNvSpPr/>
            <p:nvPr/>
          </p:nvSpPr>
          <p:spPr bwMode="auto">
            <a:xfrm>
              <a:off x="2649216" y="1494307"/>
              <a:ext cx="7205472" cy="1099027"/>
            </a:xfrm>
            <a:prstGeom prst="rect">
              <a:avLst/>
            </a:prstGeom>
            <a:solidFill>
              <a:schemeClr val="bg1">
                <a:lumMod val="95000"/>
              </a:schemeClr>
            </a:solidFill>
            <a:ln>
              <a:noFill/>
            </a:ln>
            <a:effectLst>
              <a:outerShdw blurRad="292100" dist="38100" dir="3600000" sx="101000" sy="101000" algn="tl" rotWithShape="0">
                <a:prstClr val="black">
                  <a:alpha val="1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cxnSp>
          <p:nvCxnSpPr>
            <p:cNvPr id="155" name="Straight Connector 154">
              <a:extLst>
                <a:ext uri="{FF2B5EF4-FFF2-40B4-BE49-F238E27FC236}">
                  <a16:creationId xmlns:a16="http://schemas.microsoft.com/office/drawing/2014/main" id="{3A704704-1BBB-4252-A080-5D8D08277A17}"/>
                </a:ext>
              </a:extLst>
            </p:cNvPr>
            <p:cNvCxnSpPr>
              <a:cxnSpLocks/>
            </p:cNvCxnSpPr>
            <p:nvPr/>
          </p:nvCxnSpPr>
          <p:spPr>
            <a:xfrm flipV="1">
              <a:off x="4704149" y="1769918"/>
              <a:ext cx="0" cy="695045"/>
            </a:xfrm>
            <a:prstGeom prst="line">
              <a:avLst/>
            </a:pr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 name="Rectangle 8">
              <a:extLst>
                <a:ext uri="{FF2B5EF4-FFF2-40B4-BE49-F238E27FC236}">
                  <a16:creationId xmlns:a16="http://schemas.microsoft.com/office/drawing/2014/main" id="{7C960CC5-9126-4C96-944B-423AEE1E62EB}"/>
                </a:ext>
              </a:extLst>
            </p:cNvPr>
            <p:cNvSpPr/>
            <p:nvPr/>
          </p:nvSpPr>
          <p:spPr>
            <a:xfrm>
              <a:off x="2776403" y="1849675"/>
              <a:ext cx="1692995" cy="535531"/>
            </a:xfrm>
            <a:prstGeom prst="rect">
              <a:avLst/>
            </a:prstGeom>
          </p:spPr>
          <p:txBody>
            <a:bodyPr wrap="square">
              <a:spAutoFit/>
            </a:bodyPr>
            <a:lstStyle/>
            <a:p>
              <a:pPr marL="0" marR="0" lvl="0" indent="0" algn="l" defTabSz="896215" rtl="0" eaLnBrk="1" fontAlgn="auto" latinLnBrk="0" hangingPunct="1">
                <a:lnSpc>
                  <a:spcPct val="90000"/>
                </a:lnSpc>
                <a:spcBef>
                  <a:spcPts val="0"/>
                </a:spcBef>
                <a:spcAft>
                  <a:spcPts val="401"/>
                </a:spcAft>
                <a:buClrTx/>
                <a:buSzTx/>
                <a:buFontTx/>
                <a:buNone/>
                <a:tabLst/>
                <a:defRPr/>
              </a:pPr>
              <a:r>
                <a:rPr kumimoji="0" lang="en-US" sz="1600" b="0" i="0" u="none" strike="noStrike" kern="1200" cap="none" spc="0" normalizeH="0" baseline="0" noProof="0">
                  <a:ln>
                    <a:noFill/>
                  </a:ln>
                  <a:gradFill>
                    <a:gsLst>
                      <a:gs pos="26804">
                        <a:srgbClr val="1A1A1A"/>
                      </a:gs>
                      <a:gs pos="49000">
                        <a:srgbClr val="1A1A1A"/>
                      </a:gs>
                    </a:gsLst>
                    <a:lin ang="5400000" scaled="1"/>
                  </a:gradFill>
                  <a:effectLst/>
                  <a:uLnTx/>
                  <a:uFillTx/>
                  <a:latin typeface="Segoe UI Semibold"/>
                  <a:ea typeface="+mn-ea"/>
                  <a:cs typeface="+mn-cs"/>
                </a:rPr>
                <a:t>Managed</a:t>
              </a:r>
              <a:br>
                <a:rPr kumimoji="0" lang="en-US" sz="1600" b="0" i="0" u="none" strike="noStrike" kern="1200" cap="none" spc="0" normalizeH="0" baseline="0" noProof="0">
                  <a:ln>
                    <a:noFill/>
                  </a:ln>
                  <a:gradFill>
                    <a:gsLst>
                      <a:gs pos="26804">
                        <a:srgbClr val="1A1A1A"/>
                      </a:gs>
                      <a:gs pos="49000">
                        <a:srgbClr val="1A1A1A"/>
                      </a:gs>
                    </a:gsLst>
                    <a:lin ang="5400000" scaled="1"/>
                  </a:gradFill>
                  <a:effectLst/>
                  <a:uLnTx/>
                  <a:uFillTx/>
                  <a:latin typeface="Segoe UI Semibold"/>
                  <a:ea typeface="+mn-ea"/>
                  <a:cs typeface="+mn-cs"/>
                </a:rPr>
              </a:br>
              <a:r>
                <a:rPr kumimoji="0" lang="en-US" sz="1600" b="0" i="0" u="none" strike="noStrike" kern="1200" cap="none" spc="0" normalizeH="0" baseline="0" noProof="0">
                  <a:ln>
                    <a:noFill/>
                  </a:ln>
                  <a:gradFill>
                    <a:gsLst>
                      <a:gs pos="26804">
                        <a:srgbClr val="1A1A1A"/>
                      </a:gs>
                      <a:gs pos="49000">
                        <a:srgbClr val="1A1A1A"/>
                      </a:gs>
                    </a:gsLst>
                    <a:lin ang="5400000" scaled="1"/>
                  </a:gradFill>
                  <a:effectLst/>
                  <a:uLnTx/>
                  <a:uFillTx/>
                  <a:latin typeface="Segoe UI Semibold"/>
                  <a:ea typeface="+mn-ea"/>
                  <a:cs typeface="+mn-cs"/>
                </a:rPr>
                <a:t>Solutions</a:t>
              </a:r>
            </a:p>
          </p:txBody>
        </p:sp>
        <p:sp>
          <p:nvSpPr>
            <p:cNvPr id="69" name="Rectangle 68">
              <a:extLst>
                <a:ext uri="{FF2B5EF4-FFF2-40B4-BE49-F238E27FC236}">
                  <a16:creationId xmlns:a16="http://schemas.microsoft.com/office/drawing/2014/main" id="{856FBB2E-1CA3-4FA7-B7A3-1CC83D48EC6D}"/>
                </a:ext>
              </a:extLst>
            </p:cNvPr>
            <p:cNvSpPr/>
            <p:nvPr/>
          </p:nvSpPr>
          <p:spPr bwMode="auto">
            <a:xfrm>
              <a:off x="2649216" y="1218890"/>
              <a:ext cx="7208297" cy="275610"/>
            </a:xfrm>
            <a:prstGeom prst="rect">
              <a:avLst/>
            </a:prstGeom>
            <a:solidFill>
              <a:schemeClr val="accent1"/>
            </a:solidFill>
            <a:ln w="15875" cap="flat">
              <a:noFill/>
              <a:prstDash val="solid"/>
              <a:miter lim="800000"/>
              <a:headEnd/>
              <a:tailEnd/>
            </a:ln>
          </p:spPr>
          <p:txBody>
            <a:bodyPr vert="horz" wrap="square" lIns="182880" tIns="0" rIns="0" bIns="0" numCol="1" anchor="ctr" anchorCtr="0" compatLnSpc="1">
              <a:prstTxWarp prst="textNoShape">
                <a:avLst/>
              </a:prstTxWarp>
            </a:bodyPr>
            <a:lstStyle/>
            <a:p>
              <a:pPr marL="0" marR="0" lvl="0" indent="0" algn="l" defTabSz="896215" rtl="0" eaLnBrk="1" fontAlgn="auto" latinLnBrk="0" hangingPunct="1">
                <a:lnSpc>
                  <a:spcPct val="90000"/>
                </a:lnSpc>
                <a:spcBef>
                  <a:spcPts val="0"/>
                </a:spcBef>
                <a:spcAft>
                  <a:spcPts val="401"/>
                </a:spcAft>
                <a:buClrTx/>
                <a:buSzTx/>
                <a:buFontTx/>
                <a:buNone/>
                <a:tabLst/>
                <a:defRPr/>
              </a:pPr>
              <a:r>
                <a:rPr kumimoji="0" lang="en-US" sz="1400" b="0" i="0" u="none" strike="noStrike" kern="1200" cap="none" spc="0" normalizeH="0" baseline="0" noProof="0">
                  <a:ln>
                    <a:noFill/>
                  </a:ln>
                  <a:gradFill>
                    <a:gsLst>
                      <a:gs pos="26804">
                        <a:srgbClr val="FFFFFF"/>
                      </a:gs>
                      <a:gs pos="49000">
                        <a:srgbClr val="FFFFFF"/>
                      </a:gs>
                    </a:gsLst>
                    <a:lin ang="5400000" scaled="1"/>
                  </a:gradFill>
                  <a:effectLst/>
                  <a:uLnTx/>
                  <a:uFillTx/>
                  <a:latin typeface="Segoe UI Semibold"/>
                  <a:ea typeface="+mn-ea"/>
                  <a:cs typeface="+mn-cs"/>
                </a:rPr>
                <a:t>SaaS</a:t>
              </a:r>
            </a:p>
          </p:txBody>
        </p:sp>
        <p:grpSp>
          <p:nvGrpSpPr>
            <p:cNvPr id="18" name="Group 17">
              <a:extLst>
                <a:ext uri="{FF2B5EF4-FFF2-40B4-BE49-F238E27FC236}">
                  <a16:creationId xmlns:a16="http://schemas.microsoft.com/office/drawing/2014/main" id="{CD5A3A1A-AF6A-46B7-8448-68D8C631367C}"/>
                </a:ext>
              </a:extLst>
            </p:cNvPr>
            <p:cNvGrpSpPr/>
            <p:nvPr/>
          </p:nvGrpSpPr>
          <p:grpSpPr>
            <a:xfrm>
              <a:off x="4946104" y="1641546"/>
              <a:ext cx="1050056" cy="951788"/>
              <a:chOff x="209022" y="3669433"/>
              <a:chExt cx="1050056" cy="951788"/>
            </a:xfrm>
          </p:grpSpPr>
          <p:grpSp>
            <p:nvGrpSpPr>
              <p:cNvPr id="17" name="Group 16">
                <a:extLst>
                  <a:ext uri="{FF2B5EF4-FFF2-40B4-BE49-F238E27FC236}">
                    <a16:creationId xmlns:a16="http://schemas.microsoft.com/office/drawing/2014/main" id="{81AB9358-D130-4493-A7B7-00363384BEE4}"/>
                  </a:ext>
                </a:extLst>
              </p:cNvPr>
              <p:cNvGrpSpPr/>
              <p:nvPr/>
            </p:nvGrpSpPr>
            <p:grpSpPr>
              <a:xfrm>
                <a:off x="459730" y="3669433"/>
                <a:ext cx="548640" cy="548640"/>
                <a:chOff x="4122966" y="2078169"/>
                <a:chExt cx="548640" cy="548640"/>
              </a:xfrm>
            </p:grpSpPr>
            <p:sp>
              <p:nvSpPr>
                <p:cNvPr id="188" name="Oval 187">
                  <a:extLst>
                    <a:ext uri="{FF2B5EF4-FFF2-40B4-BE49-F238E27FC236}">
                      <a16:creationId xmlns:a16="http://schemas.microsoft.com/office/drawing/2014/main" id="{62950CB6-7F79-427D-9BB0-8DC68A46714C}"/>
                    </a:ext>
                  </a:extLst>
                </p:cNvPr>
                <p:cNvSpPr/>
                <p:nvPr/>
              </p:nvSpPr>
              <p:spPr bwMode="auto">
                <a:xfrm>
                  <a:off x="4122966" y="2078169"/>
                  <a:ext cx="548640" cy="548640"/>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12" name="Group 11">
                  <a:extLst>
                    <a:ext uri="{FF2B5EF4-FFF2-40B4-BE49-F238E27FC236}">
                      <a16:creationId xmlns:a16="http://schemas.microsoft.com/office/drawing/2014/main" id="{FF2F6782-EE46-477E-A315-BBF1613B8AB6}"/>
                    </a:ext>
                  </a:extLst>
                </p:cNvPr>
                <p:cNvGrpSpPr/>
                <p:nvPr/>
              </p:nvGrpSpPr>
              <p:grpSpPr>
                <a:xfrm>
                  <a:off x="4225015" y="2181313"/>
                  <a:ext cx="327009" cy="342352"/>
                  <a:chOff x="4200087" y="2151043"/>
                  <a:chExt cx="394398" cy="412903"/>
                </a:xfrm>
              </p:grpSpPr>
              <p:sp>
                <p:nvSpPr>
                  <p:cNvPr id="8" name="Hexagon 7">
                    <a:extLst>
                      <a:ext uri="{FF2B5EF4-FFF2-40B4-BE49-F238E27FC236}">
                        <a16:creationId xmlns:a16="http://schemas.microsoft.com/office/drawing/2014/main" id="{BDA3889A-A81C-4F7B-B513-9E5A5B97F733}"/>
                      </a:ext>
                    </a:extLst>
                  </p:cNvPr>
                  <p:cNvSpPr/>
                  <p:nvPr/>
                </p:nvSpPr>
                <p:spPr bwMode="auto">
                  <a:xfrm rot="5400000">
                    <a:off x="4325743" y="2282718"/>
                    <a:ext cx="170695" cy="147151"/>
                  </a:xfrm>
                  <a:prstGeom prst="hexagon">
                    <a:avLst/>
                  </a:prstGeom>
                  <a:solidFill>
                    <a:schemeClr val="bg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A02C7CC5-0363-4A0F-9A8D-3A0C1389B356}"/>
                      </a:ext>
                    </a:extLst>
                  </p:cNvPr>
                  <p:cNvSpPr/>
                  <p:nvPr/>
                </p:nvSpPr>
                <p:spPr bwMode="auto">
                  <a:xfrm>
                    <a:off x="4200087" y="2151043"/>
                    <a:ext cx="394398" cy="412903"/>
                  </a:xfrm>
                  <a:custGeom>
                    <a:avLst/>
                    <a:gdLst>
                      <a:gd name="connsiteX0" fmla="*/ 0 w 334409"/>
                      <a:gd name="connsiteY0" fmla="*/ 236873 h 329184"/>
                      <a:gd name="connsiteX1" fmla="*/ 170688 w 334409"/>
                      <a:gd name="connsiteY1" fmla="*/ 329184 h 329184"/>
                      <a:gd name="connsiteX2" fmla="*/ 334409 w 334409"/>
                      <a:gd name="connsiteY2" fmla="*/ 240356 h 329184"/>
                      <a:gd name="connsiteX3" fmla="*/ 334409 w 334409"/>
                      <a:gd name="connsiteY3" fmla="*/ 76635 h 329184"/>
                      <a:gd name="connsiteX4" fmla="*/ 175913 w 334409"/>
                      <a:gd name="connsiteY4" fmla="*/ 0 h 329184"/>
                      <a:gd name="connsiteX5" fmla="*/ 8709 w 334409"/>
                      <a:gd name="connsiteY5" fmla="*/ 80119 h 329184"/>
                      <a:gd name="connsiteX6" fmla="*/ 8709 w 334409"/>
                      <a:gd name="connsiteY6" fmla="*/ 114953 h 329184"/>
                      <a:gd name="connsiteX7" fmla="*/ 83603 w 334409"/>
                      <a:gd name="connsiteY7" fmla="*/ 163721 h 32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09" h="329184">
                        <a:moveTo>
                          <a:pt x="0" y="236873"/>
                        </a:moveTo>
                        <a:lnTo>
                          <a:pt x="170688" y="329184"/>
                        </a:lnTo>
                        <a:lnTo>
                          <a:pt x="334409" y="240356"/>
                        </a:lnTo>
                        <a:lnTo>
                          <a:pt x="334409" y="76635"/>
                        </a:lnTo>
                        <a:lnTo>
                          <a:pt x="175913" y="0"/>
                        </a:lnTo>
                        <a:lnTo>
                          <a:pt x="8709" y="80119"/>
                        </a:lnTo>
                        <a:lnTo>
                          <a:pt x="8709" y="114953"/>
                        </a:lnTo>
                        <a:lnTo>
                          <a:pt x="83603" y="163721"/>
                        </a:lnTo>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58" name="Rectangle 157">
                <a:extLst>
                  <a:ext uri="{FF2B5EF4-FFF2-40B4-BE49-F238E27FC236}">
                    <a16:creationId xmlns:a16="http://schemas.microsoft.com/office/drawing/2014/main" id="{5411D167-35A4-4440-9F72-035655D979EC}"/>
                  </a:ext>
                </a:extLst>
              </p:cNvPr>
              <p:cNvSpPr/>
              <p:nvPr/>
            </p:nvSpPr>
            <p:spPr>
              <a:xfrm>
                <a:off x="209022" y="4224189"/>
                <a:ext cx="1050056" cy="397032"/>
              </a:xfrm>
              <a:prstGeom prst="rect">
                <a:avLst/>
              </a:prstGeom>
            </p:spPr>
            <p:txBody>
              <a:bodyPr wrap="square">
                <a:spAutoFit/>
              </a:bodyPr>
              <a:lstStyle/>
              <a:p>
                <a:pPr marL="0" marR="0" lvl="0" indent="0" algn="ctr" defTabSz="896215" rtl="0" eaLnBrk="1" fontAlgn="auto" latinLnBrk="0" hangingPunct="1">
                  <a:lnSpc>
                    <a:spcPct val="90000"/>
                  </a:lnSpc>
                  <a:spcBef>
                    <a:spcPts val="0"/>
                  </a:spcBef>
                  <a:spcAft>
                    <a:spcPts val="401"/>
                  </a:spcAft>
                  <a:buClrTx/>
                  <a:buSzTx/>
                  <a:buFontTx/>
                  <a:buNone/>
                  <a:tabLst/>
                  <a:defRPr/>
                </a:pPr>
                <a:r>
                  <a:rPr kumimoji="0" lang="en-US" sz="1100" b="0" i="0" u="none" strike="noStrike" kern="1200" cap="none" spc="0" normalizeH="0" baseline="0" noProof="0">
                    <a:ln>
                      <a:noFill/>
                    </a:ln>
                    <a:gradFill>
                      <a:gsLst>
                        <a:gs pos="26804">
                          <a:srgbClr val="1A1A1A"/>
                        </a:gs>
                        <a:gs pos="49000">
                          <a:srgbClr val="1A1A1A"/>
                        </a:gs>
                      </a:gsLst>
                      <a:lin ang="5400000" scaled="1"/>
                    </a:gradFill>
                    <a:effectLst/>
                    <a:uLnTx/>
                    <a:uFillTx/>
                    <a:latin typeface="Segoe UI"/>
                    <a:ea typeface="+mn-ea"/>
                    <a:cs typeface="+mn-cs"/>
                  </a:rPr>
                  <a:t>IoT Central</a:t>
                </a:r>
              </a:p>
            </p:txBody>
          </p:sp>
        </p:grpSp>
        <p:grpSp>
          <p:nvGrpSpPr>
            <p:cNvPr id="19" name="Group 18">
              <a:extLst>
                <a:ext uri="{FF2B5EF4-FFF2-40B4-BE49-F238E27FC236}">
                  <a16:creationId xmlns:a16="http://schemas.microsoft.com/office/drawing/2014/main" id="{7C97E942-72AD-41AC-8042-CB2B988F2C91}"/>
                </a:ext>
              </a:extLst>
            </p:cNvPr>
            <p:cNvGrpSpPr/>
            <p:nvPr/>
          </p:nvGrpSpPr>
          <p:grpSpPr>
            <a:xfrm>
              <a:off x="5916066" y="1639692"/>
              <a:ext cx="1454431" cy="955497"/>
              <a:chOff x="2887580" y="3669433"/>
              <a:chExt cx="1454431" cy="955497"/>
            </a:xfrm>
          </p:grpSpPr>
          <p:grpSp>
            <p:nvGrpSpPr>
              <p:cNvPr id="105" name="Group 104">
                <a:extLst>
                  <a:ext uri="{FF2B5EF4-FFF2-40B4-BE49-F238E27FC236}">
                    <a16:creationId xmlns:a16="http://schemas.microsoft.com/office/drawing/2014/main" id="{75E941B9-085D-462E-AF22-B7A95568752A}"/>
                  </a:ext>
                </a:extLst>
              </p:cNvPr>
              <p:cNvGrpSpPr/>
              <p:nvPr/>
            </p:nvGrpSpPr>
            <p:grpSpPr>
              <a:xfrm>
                <a:off x="3340475" y="3669433"/>
                <a:ext cx="548640" cy="548640"/>
                <a:chOff x="1720479" y="3096671"/>
                <a:chExt cx="2109304" cy="2095368"/>
              </a:xfrm>
            </p:grpSpPr>
            <p:sp>
              <p:nvSpPr>
                <p:cNvPr id="106" name="Oval 105">
                  <a:extLst>
                    <a:ext uri="{FF2B5EF4-FFF2-40B4-BE49-F238E27FC236}">
                      <a16:creationId xmlns:a16="http://schemas.microsoft.com/office/drawing/2014/main" id="{9B2FB240-077C-472D-A3A6-82102FCC677C}"/>
                    </a:ext>
                  </a:extLst>
                </p:cNvPr>
                <p:cNvSpPr/>
                <p:nvPr/>
              </p:nvSpPr>
              <p:spPr bwMode="auto">
                <a:xfrm>
                  <a:off x="1734415" y="3096671"/>
                  <a:ext cx="2095368" cy="2095368"/>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07" name="Freeform: Shape 106">
                  <a:extLst>
                    <a:ext uri="{FF2B5EF4-FFF2-40B4-BE49-F238E27FC236}">
                      <a16:creationId xmlns:a16="http://schemas.microsoft.com/office/drawing/2014/main" id="{199A82E3-4829-4E28-B2BF-BB3F3E886DD4}"/>
                    </a:ext>
                  </a:extLst>
                </p:cNvPr>
                <p:cNvSpPr/>
                <p:nvPr/>
              </p:nvSpPr>
              <p:spPr>
                <a:xfrm>
                  <a:off x="1720479" y="4123687"/>
                  <a:ext cx="18790" cy="37579"/>
                </a:xfrm>
                <a:custGeom>
                  <a:avLst/>
                  <a:gdLst>
                    <a:gd name="connsiteX0" fmla="*/ 10778 w 14370"/>
                    <a:gd name="connsiteY0" fmla="*/ 20837 h 28741"/>
                    <a:gd name="connsiteX1" fmla="*/ 10778 w 14370"/>
                    <a:gd name="connsiteY1" fmla="*/ 29460 h 28741"/>
                    <a:gd name="connsiteX2" fmla="*/ 10778 w 14370"/>
                    <a:gd name="connsiteY2" fmla="*/ 10778 h 28741"/>
                    <a:gd name="connsiteX3" fmla="*/ 10778 w 14370"/>
                    <a:gd name="connsiteY3" fmla="*/ 20837 h 28741"/>
                  </a:gdLst>
                  <a:ahLst/>
                  <a:cxnLst>
                    <a:cxn ang="0">
                      <a:pos x="connsiteX0" y="connsiteY0"/>
                    </a:cxn>
                    <a:cxn ang="0">
                      <a:pos x="connsiteX1" y="connsiteY1"/>
                    </a:cxn>
                    <a:cxn ang="0">
                      <a:pos x="connsiteX2" y="connsiteY2"/>
                    </a:cxn>
                    <a:cxn ang="0">
                      <a:pos x="connsiteX3" y="connsiteY3"/>
                    </a:cxn>
                  </a:cxnLst>
                  <a:rect l="l" t="t" r="r" b="b"/>
                  <a:pathLst>
                    <a:path w="14370" h="28741">
                      <a:moveTo>
                        <a:pt x="10778" y="20837"/>
                      </a:moveTo>
                      <a:cubicBezTo>
                        <a:pt x="10778" y="23711"/>
                        <a:pt x="10778" y="26586"/>
                        <a:pt x="10778" y="29460"/>
                      </a:cubicBezTo>
                      <a:lnTo>
                        <a:pt x="10778" y="10778"/>
                      </a:lnTo>
                      <a:cubicBezTo>
                        <a:pt x="10778" y="13652"/>
                        <a:pt x="10778" y="17963"/>
                        <a:pt x="10778" y="20837"/>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8" name="Freeform: Shape 107">
                  <a:extLst>
                    <a:ext uri="{FF2B5EF4-FFF2-40B4-BE49-F238E27FC236}">
                      <a16:creationId xmlns:a16="http://schemas.microsoft.com/office/drawing/2014/main" id="{3E9DF41D-8D02-4CA3-800A-43119860329A}"/>
                    </a:ext>
                  </a:extLst>
                </p:cNvPr>
                <p:cNvSpPr/>
                <p:nvPr/>
              </p:nvSpPr>
              <p:spPr>
                <a:xfrm>
                  <a:off x="2180827" y="3481079"/>
                  <a:ext cx="1258911" cy="1334068"/>
                </a:xfrm>
                <a:custGeom>
                  <a:avLst/>
                  <a:gdLst>
                    <a:gd name="connsiteX0" fmla="*/ 679010 w 962829"/>
                    <a:gd name="connsiteY0" fmla="*/ 827027 h 1020311"/>
                    <a:gd name="connsiteX1" fmla="*/ 561172 w 962829"/>
                    <a:gd name="connsiteY1" fmla="*/ 887384 h 1020311"/>
                    <a:gd name="connsiteX2" fmla="*/ 546801 w 962829"/>
                    <a:gd name="connsiteY2" fmla="*/ 891695 h 1020311"/>
                    <a:gd name="connsiteX3" fmla="*/ 546801 w 962829"/>
                    <a:gd name="connsiteY3" fmla="*/ 985104 h 1020311"/>
                    <a:gd name="connsiteX4" fmla="*/ 407406 w 962829"/>
                    <a:gd name="connsiteY4" fmla="*/ 985104 h 1020311"/>
                    <a:gd name="connsiteX5" fmla="*/ 407406 w 962829"/>
                    <a:gd name="connsiteY5" fmla="*/ 877324 h 1020311"/>
                    <a:gd name="connsiteX6" fmla="*/ 391599 w 962829"/>
                    <a:gd name="connsiteY6" fmla="*/ 874450 h 1020311"/>
                    <a:gd name="connsiteX7" fmla="*/ 214840 w 962829"/>
                    <a:gd name="connsiteY7" fmla="*/ 769545 h 1020311"/>
                    <a:gd name="connsiteX8" fmla="*/ 204781 w 962829"/>
                    <a:gd name="connsiteY8" fmla="*/ 759485 h 1020311"/>
                    <a:gd name="connsiteX9" fmla="*/ 124306 w 962829"/>
                    <a:gd name="connsiteY9" fmla="*/ 802597 h 1020311"/>
                    <a:gd name="connsiteX10" fmla="*/ 58201 w 962829"/>
                    <a:gd name="connsiteY10" fmla="*/ 671825 h 1020311"/>
                    <a:gd name="connsiteX11" fmla="*/ 137239 w 962829"/>
                    <a:gd name="connsiteY11" fmla="*/ 628713 h 1020311"/>
                    <a:gd name="connsiteX12" fmla="*/ 132928 w 962829"/>
                    <a:gd name="connsiteY12" fmla="*/ 614343 h 1020311"/>
                    <a:gd name="connsiteX13" fmla="*/ 128617 w 962829"/>
                    <a:gd name="connsiteY13" fmla="*/ 598535 h 1020311"/>
                    <a:gd name="connsiteX14" fmla="*/ 112809 w 962829"/>
                    <a:gd name="connsiteY14" fmla="*/ 509437 h 1020311"/>
                    <a:gd name="connsiteX15" fmla="*/ 132928 w 962829"/>
                    <a:gd name="connsiteY15" fmla="*/ 404532 h 1020311"/>
                    <a:gd name="connsiteX16" fmla="*/ 137239 w 962829"/>
                    <a:gd name="connsiteY16" fmla="*/ 390161 h 1020311"/>
                    <a:gd name="connsiteX17" fmla="*/ 58201 w 962829"/>
                    <a:gd name="connsiteY17" fmla="*/ 349924 h 1020311"/>
                    <a:gd name="connsiteX18" fmla="*/ 124306 w 962829"/>
                    <a:gd name="connsiteY18" fmla="*/ 216277 h 1020311"/>
                    <a:gd name="connsiteX19" fmla="*/ 204781 w 962829"/>
                    <a:gd name="connsiteY19" fmla="*/ 259389 h 1020311"/>
                    <a:gd name="connsiteX20" fmla="*/ 214840 w 962829"/>
                    <a:gd name="connsiteY20" fmla="*/ 249330 h 1020311"/>
                    <a:gd name="connsiteX21" fmla="*/ 391599 w 962829"/>
                    <a:gd name="connsiteY21" fmla="*/ 144424 h 1020311"/>
                    <a:gd name="connsiteX22" fmla="*/ 407406 w 962829"/>
                    <a:gd name="connsiteY22" fmla="*/ 141550 h 1020311"/>
                    <a:gd name="connsiteX23" fmla="*/ 407406 w 962829"/>
                    <a:gd name="connsiteY23" fmla="*/ 46704 h 1020311"/>
                    <a:gd name="connsiteX24" fmla="*/ 546801 w 962829"/>
                    <a:gd name="connsiteY24" fmla="*/ 46704 h 1020311"/>
                    <a:gd name="connsiteX25" fmla="*/ 546801 w 962829"/>
                    <a:gd name="connsiteY25" fmla="*/ 131491 h 1020311"/>
                    <a:gd name="connsiteX26" fmla="*/ 559734 w 962829"/>
                    <a:gd name="connsiteY26" fmla="*/ 135802 h 1020311"/>
                    <a:gd name="connsiteX27" fmla="*/ 750863 w 962829"/>
                    <a:gd name="connsiteY27" fmla="*/ 249330 h 1020311"/>
                    <a:gd name="connsiteX28" fmla="*/ 760923 w 962829"/>
                    <a:gd name="connsiteY28" fmla="*/ 259389 h 1020311"/>
                    <a:gd name="connsiteX29" fmla="*/ 829902 w 962829"/>
                    <a:gd name="connsiteY29" fmla="*/ 217714 h 1020311"/>
                    <a:gd name="connsiteX30" fmla="*/ 904629 w 962829"/>
                    <a:gd name="connsiteY30" fmla="*/ 349924 h 1020311"/>
                    <a:gd name="connsiteX31" fmla="*/ 822716 w 962829"/>
                    <a:gd name="connsiteY31" fmla="*/ 390161 h 1020311"/>
                    <a:gd name="connsiteX32" fmla="*/ 828465 w 962829"/>
                    <a:gd name="connsiteY32" fmla="*/ 405969 h 1020311"/>
                    <a:gd name="connsiteX33" fmla="*/ 841398 w 962829"/>
                    <a:gd name="connsiteY33" fmla="*/ 509437 h 1020311"/>
                    <a:gd name="connsiteX34" fmla="*/ 832776 w 962829"/>
                    <a:gd name="connsiteY34" fmla="*/ 581290 h 1020311"/>
                    <a:gd name="connsiteX35" fmla="*/ 827027 w 962829"/>
                    <a:gd name="connsiteY35" fmla="*/ 598535 h 1020311"/>
                    <a:gd name="connsiteX36" fmla="*/ 862954 w 962829"/>
                    <a:gd name="connsiteY36" fmla="*/ 608594 h 1020311"/>
                    <a:gd name="connsiteX37" fmla="*/ 868702 w 962829"/>
                    <a:gd name="connsiteY37" fmla="*/ 591350 h 1020311"/>
                    <a:gd name="connsiteX38" fmla="*/ 878762 w 962829"/>
                    <a:gd name="connsiteY38" fmla="*/ 509437 h 1020311"/>
                    <a:gd name="connsiteX39" fmla="*/ 867265 w 962829"/>
                    <a:gd name="connsiteY39" fmla="*/ 408843 h 1020311"/>
                    <a:gd name="connsiteX40" fmla="*/ 956363 w 962829"/>
                    <a:gd name="connsiteY40" fmla="*/ 365731 h 1020311"/>
                    <a:gd name="connsiteX41" fmla="*/ 844272 w 962829"/>
                    <a:gd name="connsiteY41" fmla="*/ 165980 h 1020311"/>
                    <a:gd name="connsiteX42" fmla="*/ 766671 w 962829"/>
                    <a:gd name="connsiteY42" fmla="*/ 213403 h 1020311"/>
                    <a:gd name="connsiteX43" fmla="*/ 582727 w 962829"/>
                    <a:gd name="connsiteY43" fmla="*/ 104187 h 1020311"/>
                    <a:gd name="connsiteX44" fmla="*/ 582727 w 962829"/>
                    <a:gd name="connsiteY44" fmla="*/ 10778 h 1020311"/>
                    <a:gd name="connsiteX45" fmla="*/ 371480 w 962829"/>
                    <a:gd name="connsiteY45" fmla="*/ 10778 h 1020311"/>
                    <a:gd name="connsiteX46" fmla="*/ 371480 w 962829"/>
                    <a:gd name="connsiteY46" fmla="*/ 112809 h 1020311"/>
                    <a:gd name="connsiteX47" fmla="*/ 199033 w 962829"/>
                    <a:gd name="connsiteY47" fmla="*/ 214840 h 1020311"/>
                    <a:gd name="connsiteX48" fmla="*/ 109935 w 962829"/>
                    <a:gd name="connsiteY48" fmla="*/ 167417 h 1020311"/>
                    <a:gd name="connsiteX49" fmla="*/ 10778 w 962829"/>
                    <a:gd name="connsiteY49" fmla="*/ 367168 h 1020311"/>
                    <a:gd name="connsiteX50" fmla="*/ 95564 w 962829"/>
                    <a:gd name="connsiteY50" fmla="*/ 410280 h 1020311"/>
                    <a:gd name="connsiteX51" fmla="*/ 78320 w 962829"/>
                    <a:gd name="connsiteY51" fmla="*/ 510874 h 1020311"/>
                    <a:gd name="connsiteX52" fmla="*/ 95564 w 962829"/>
                    <a:gd name="connsiteY52" fmla="*/ 610031 h 1020311"/>
                    <a:gd name="connsiteX53" fmla="*/ 95564 w 962829"/>
                    <a:gd name="connsiteY53" fmla="*/ 611468 h 1020311"/>
                    <a:gd name="connsiteX54" fmla="*/ 10778 w 962829"/>
                    <a:gd name="connsiteY54" fmla="*/ 657454 h 1020311"/>
                    <a:gd name="connsiteX55" fmla="*/ 109935 w 962829"/>
                    <a:gd name="connsiteY55" fmla="*/ 854331 h 1020311"/>
                    <a:gd name="connsiteX56" fmla="*/ 199033 w 962829"/>
                    <a:gd name="connsiteY56" fmla="*/ 806908 h 1020311"/>
                    <a:gd name="connsiteX57" fmla="*/ 371480 w 962829"/>
                    <a:gd name="connsiteY57" fmla="*/ 908939 h 1020311"/>
                    <a:gd name="connsiteX58" fmla="*/ 371480 w 962829"/>
                    <a:gd name="connsiteY58" fmla="*/ 1022467 h 1020311"/>
                    <a:gd name="connsiteX59" fmla="*/ 584165 w 962829"/>
                    <a:gd name="connsiteY59" fmla="*/ 1022467 h 1020311"/>
                    <a:gd name="connsiteX60" fmla="*/ 584165 w 962829"/>
                    <a:gd name="connsiteY60" fmla="*/ 918999 h 1020311"/>
                    <a:gd name="connsiteX61" fmla="*/ 704877 w 962829"/>
                    <a:gd name="connsiteY61" fmla="*/ 852894 h 1020311"/>
                    <a:gd name="connsiteX62" fmla="*/ 717811 w 962829"/>
                    <a:gd name="connsiteY62" fmla="*/ 839961 h 1020311"/>
                    <a:gd name="connsiteX63" fmla="*/ 691944 w 962829"/>
                    <a:gd name="connsiteY63" fmla="*/ 814094 h 1020311"/>
                    <a:gd name="connsiteX64" fmla="*/ 679010 w 962829"/>
                    <a:gd name="connsiteY64" fmla="*/ 827027 h 102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962829" h="1020311">
                      <a:moveTo>
                        <a:pt x="679010" y="827027"/>
                      </a:moveTo>
                      <a:cubicBezTo>
                        <a:pt x="648832" y="857205"/>
                        <a:pt x="598535" y="877324"/>
                        <a:pt x="561172" y="887384"/>
                      </a:cubicBezTo>
                      <a:lnTo>
                        <a:pt x="546801" y="891695"/>
                      </a:lnTo>
                      <a:lnTo>
                        <a:pt x="546801" y="985104"/>
                      </a:lnTo>
                      <a:lnTo>
                        <a:pt x="407406" y="985104"/>
                      </a:lnTo>
                      <a:lnTo>
                        <a:pt x="407406" y="877324"/>
                      </a:lnTo>
                      <a:lnTo>
                        <a:pt x="391599" y="874450"/>
                      </a:lnTo>
                      <a:cubicBezTo>
                        <a:pt x="328368" y="864391"/>
                        <a:pt x="270886" y="829901"/>
                        <a:pt x="214840" y="769545"/>
                      </a:cubicBezTo>
                      <a:lnTo>
                        <a:pt x="204781" y="759485"/>
                      </a:lnTo>
                      <a:lnTo>
                        <a:pt x="124306" y="802597"/>
                      </a:lnTo>
                      <a:lnTo>
                        <a:pt x="58201" y="671825"/>
                      </a:lnTo>
                      <a:lnTo>
                        <a:pt x="137239" y="628713"/>
                      </a:lnTo>
                      <a:lnTo>
                        <a:pt x="132928" y="614343"/>
                      </a:lnTo>
                      <a:cubicBezTo>
                        <a:pt x="131491" y="608594"/>
                        <a:pt x="130054" y="602846"/>
                        <a:pt x="128617" y="598535"/>
                      </a:cubicBezTo>
                      <a:cubicBezTo>
                        <a:pt x="121431" y="571231"/>
                        <a:pt x="112809" y="543927"/>
                        <a:pt x="112809" y="509437"/>
                      </a:cubicBezTo>
                      <a:cubicBezTo>
                        <a:pt x="112809" y="477822"/>
                        <a:pt x="125743" y="431836"/>
                        <a:pt x="132928" y="404532"/>
                      </a:cubicBezTo>
                      <a:lnTo>
                        <a:pt x="137239" y="390161"/>
                      </a:lnTo>
                      <a:lnTo>
                        <a:pt x="58201" y="349924"/>
                      </a:lnTo>
                      <a:lnTo>
                        <a:pt x="124306" y="216277"/>
                      </a:lnTo>
                      <a:lnTo>
                        <a:pt x="204781" y="259389"/>
                      </a:lnTo>
                      <a:lnTo>
                        <a:pt x="214840" y="249330"/>
                      </a:lnTo>
                      <a:cubicBezTo>
                        <a:pt x="275197" y="188973"/>
                        <a:pt x="332679" y="154484"/>
                        <a:pt x="391599" y="144424"/>
                      </a:cubicBezTo>
                      <a:lnTo>
                        <a:pt x="407406" y="141550"/>
                      </a:lnTo>
                      <a:lnTo>
                        <a:pt x="407406" y="46704"/>
                      </a:lnTo>
                      <a:lnTo>
                        <a:pt x="546801" y="46704"/>
                      </a:lnTo>
                      <a:lnTo>
                        <a:pt x="546801" y="131491"/>
                      </a:lnTo>
                      <a:lnTo>
                        <a:pt x="559734" y="135802"/>
                      </a:lnTo>
                      <a:cubicBezTo>
                        <a:pt x="628713" y="155921"/>
                        <a:pt x="699129" y="197596"/>
                        <a:pt x="750863" y="249330"/>
                      </a:cubicBezTo>
                      <a:lnTo>
                        <a:pt x="760923" y="259389"/>
                      </a:lnTo>
                      <a:lnTo>
                        <a:pt x="829902" y="217714"/>
                      </a:lnTo>
                      <a:lnTo>
                        <a:pt x="904629" y="349924"/>
                      </a:lnTo>
                      <a:lnTo>
                        <a:pt x="822716" y="390161"/>
                      </a:lnTo>
                      <a:lnTo>
                        <a:pt x="828465" y="405969"/>
                      </a:lnTo>
                      <a:cubicBezTo>
                        <a:pt x="837087" y="430399"/>
                        <a:pt x="841398" y="466325"/>
                        <a:pt x="841398" y="509437"/>
                      </a:cubicBezTo>
                      <a:cubicBezTo>
                        <a:pt x="841398" y="529556"/>
                        <a:pt x="841398" y="553986"/>
                        <a:pt x="832776" y="581290"/>
                      </a:cubicBezTo>
                      <a:lnTo>
                        <a:pt x="827027" y="598535"/>
                      </a:lnTo>
                      <a:lnTo>
                        <a:pt x="862954" y="608594"/>
                      </a:lnTo>
                      <a:lnTo>
                        <a:pt x="868702" y="591350"/>
                      </a:lnTo>
                      <a:cubicBezTo>
                        <a:pt x="878762" y="559734"/>
                        <a:pt x="878762" y="529556"/>
                        <a:pt x="878762" y="509437"/>
                      </a:cubicBezTo>
                      <a:cubicBezTo>
                        <a:pt x="878762" y="469200"/>
                        <a:pt x="874450" y="436147"/>
                        <a:pt x="867265" y="408843"/>
                      </a:cubicBezTo>
                      <a:lnTo>
                        <a:pt x="956363" y="365731"/>
                      </a:lnTo>
                      <a:lnTo>
                        <a:pt x="844272" y="165980"/>
                      </a:lnTo>
                      <a:lnTo>
                        <a:pt x="766671" y="213403"/>
                      </a:lnTo>
                      <a:cubicBezTo>
                        <a:pt x="714937" y="164543"/>
                        <a:pt x="648832" y="125743"/>
                        <a:pt x="582727" y="104187"/>
                      </a:cubicBezTo>
                      <a:lnTo>
                        <a:pt x="582727" y="10778"/>
                      </a:lnTo>
                      <a:lnTo>
                        <a:pt x="371480" y="10778"/>
                      </a:lnTo>
                      <a:lnTo>
                        <a:pt x="371480" y="112809"/>
                      </a:lnTo>
                      <a:cubicBezTo>
                        <a:pt x="312560" y="125743"/>
                        <a:pt x="256515" y="160232"/>
                        <a:pt x="199033" y="214840"/>
                      </a:cubicBezTo>
                      <a:lnTo>
                        <a:pt x="109935" y="167417"/>
                      </a:lnTo>
                      <a:lnTo>
                        <a:pt x="10778" y="367168"/>
                      </a:lnTo>
                      <a:lnTo>
                        <a:pt x="95564" y="410280"/>
                      </a:lnTo>
                      <a:cubicBezTo>
                        <a:pt x="86942" y="446207"/>
                        <a:pt x="78320" y="480696"/>
                        <a:pt x="78320" y="510874"/>
                      </a:cubicBezTo>
                      <a:cubicBezTo>
                        <a:pt x="78320" y="551112"/>
                        <a:pt x="86942" y="582727"/>
                        <a:pt x="95564" y="610031"/>
                      </a:cubicBezTo>
                      <a:cubicBezTo>
                        <a:pt x="95564" y="610031"/>
                        <a:pt x="95564" y="611468"/>
                        <a:pt x="95564" y="611468"/>
                      </a:cubicBezTo>
                      <a:lnTo>
                        <a:pt x="10778" y="657454"/>
                      </a:lnTo>
                      <a:lnTo>
                        <a:pt x="109935" y="854331"/>
                      </a:lnTo>
                      <a:lnTo>
                        <a:pt x="199033" y="806908"/>
                      </a:lnTo>
                      <a:cubicBezTo>
                        <a:pt x="253641" y="862954"/>
                        <a:pt x="309686" y="896006"/>
                        <a:pt x="371480" y="908939"/>
                      </a:cubicBezTo>
                      <a:lnTo>
                        <a:pt x="371480" y="1022467"/>
                      </a:lnTo>
                      <a:lnTo>
                        <a:pt x="584165" y="1022467"/>
                      </a:lnTo>
                      <a:lnTo>
                        <a:pt x="584165" y="918999"/>
                      </a:lnTo>
                      <a:cubicBezTo>
                        <a:pt x="624402" y="906065"/>
                        <a:pt x="673262" y="885947"/>
                        <a:pt x="704877" y="852894"/>
                      </a:cubicBezTo>
                      <a:lnTo>
                        <a:pt x="717811" y="839961"/>
                      </a:lnTo>
                      <a:lnTo>
                        <a:pt x="691944" y="814094"/>
                      </a:lnTo>
                      <a:lnTo>
                        <a:pt x="679010" y="827027"/>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9" name="Freeform: Shape 108">
                  <a:extLst>
                    <a:ext uri="{FF2B5EF4-FFF2-40B4-BE49-F238E27FC236}">
                      <a16:creationId xmlns:a16="http://schemas.microsoft.com/office/drawing/2014/main" id="{3F7CB913-7CA1-430C-A3F5-9D193370B09C}"/>
                    </a:ext>
                  </a:extLst>
                </p:cNvPr>
                <p:cNvSpPr/>
                <p:nvPr/>
              </p:nvSpPr>
              <p:spPr>
                <a:xfrm>
                  <a:off x="2475827" y="3824929"/>
                  <a:ext cx="507323" cy="620060"/>
                </a:xfrm>
                <a:custGeom>
                  <a:avLst/>
                  <a:gdLst>
                    <a:gd name="connsiteX0" fmla="*/ 249330 w 388005"/>
                    <a:gd name="connsiteY0" fmla="*/ 48141 h 474229"/>
                    <a:gd name="connsiteX1" fmla="*/ 344176 w 388005"/>
                    <a:gd name="connsiteY1" fmla="*/ 76883 h 474229"/>
                    <a:gd name="connsiteX2" fmla="*/ 358546 w 388005"/>
                    <a:gd name="connsiteY2" fmla="*/ 86942 h 474229"/>
                    <a:gd name="connsiteX3" fmla="*/ 380102 w 388005"/>
                    <a:gd name="connsiteY3" fmla="*/ 56764 h 474229"/>
                    <a:gd name="connsiteX4" fmla="*/ 365732 w 388005"/>
                    <a:gd name="connsiteY4" fmla="*/ 46704 h 474229"/>
                    <a:gd name="connsiteX5" fmla="*/ 249330 w 388005"/>
                    <a:gd name="connsiteY5" fmla="*/ 10778 h 474229"/>
                    <a:gd name="connsiteX6" fmla="*/ 10778 w 388005"/>
                    <a:gd name="connsiteY6" fmla="*/ 257952 h 474229"/>
                    <a:gd name="connsiteX7" fmla="*/ 112809 w 388005"/>
                    <a:gd name="connsiteY7" fmla="*/ 466325 h 474229"/>
                    <a:gd name="connsiteX8" fmla="*/ 128617 w 388005"/>
                    <a:gd name="connsiteY8" fmla="*/ 476385 h 474229"/>
                    <a:gd name="connsiteX9" fmla="*/ 148736 w 388005"/>
                    <a:gd name="connsiteY9" fmla="*/ 444770 h 474229"/>
                    <a:gd name="connsiteX10" fmla="*/ 132928 w 388005"/>
                    <a:gd name="connsiteY10" fmla="*/ 434710 h 474229"/>
                    <a:gd name="connsiteX11" fmla="*/ 48141 w 388005"/>
                    <a:gd name="connsiteY11" fmla="*/ 256515 h 474229"/>
                    <a:gd name="connsiteX12" fmla="*/ 249330 w 388005"/>
                    <a:gd name="connsiteY12" fmla="*/ 48141 h 4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8005" h="474229">
                      <a:moveTo>
                        <a:pt x="249330" y="48141"/>
                      </a:moveTo>
                      <a:cubicBezTo>
                        <a:pt x="286693" y="48141"/>
                        <a:pt x="315434" y="56764"/>
                        <a:pt x="344176" y="76883"/>
                      </a:cubicBezTo>
                      <a:lnTo>
                        <a:pt x="358546" y="86942"/>
                      </a:lnTo>
                      <a:lnTo>
                        <a:pt x="380102" y="56764"/>
                      </a:lnTo>
                      <a:lnTo>
                        <a:pt x="365732" y="46704"/>
                      </a:lnTo>
                      <a:cubicBezTo>
                        <a:pt x="331242" y="22274"/>
                        <a:pt x="293879" y="10778"/>
                        <a:pt x="249330" y="10778"/>
                      </a:cubicBezTo>
                      <a:cubicBezTo>
                        <a:pt x="118557" y="10778"/>
                        <a:pt x="10778" y="121431"/>
                        <a:pt x="10778" y="257952"/>
                      </a:cubicBezTo>
                      <a:cubicBezTo>
                        <a:pt x="10778" y="352798"/>
                        <a:pt x="45267" y="423214"/>
                        <a:pt x="112809" y="466325"/>
                      </a:cubicBezTo>
                      <a:lnTo>
                        <a:pt x="128617" y="476385"/>
                      </a:lnTo>
                      <a:lnTo>
                        <a:pt x="148736" y="444770"/>
                      </a:lnTo>
                      <a:lnTo>
                        <a:pt x="132928" y="434710"/>
                      </a:lnTo>
                      <a:cubicBezTo>
                        <a:pt x="75446" y="397347"/>
                        <a:pt x="48141" y="339864"/>
                        <a:pt x="48141" y="256515"/>
                      </a:cubicBezTo>
                      <a:cubicBezTo>
                        <a:pt x="48141" y="144424"/>
                        <a:pt x="140113" y="48141"/>
                        <a:pt x="249330" y="48141"/>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0" name="Freeform: Shape 109">
                  <a:extLst>
                    <a:ext uri="{FF2B5EF4-FFF2-40B4-BE49-F238E27FC236}">
                      <a16:creationId xmlns:a16="http://schemas.microsoft.com/office/drawing/2014/main" id="{507763D7-95BD-4531-B594-CADAB8E032EC}"/>
                    </a:ext>
                  </a:extLst>
                </p:cNvPr>
                <p:cNvSpPr/>
                <p:nvPr/>
              </p:nvSpPr>
              <p:spPr>
                <a:xfrm>
                  <a:off x="2688003" y="4013350"/>
                  <a:ext cx="920697" cy="732798"/>
                </a:xfrm>
                <a:custGeom>
                  <a:avLst/>
                  <a:gdLst>
                    <a:gd name="connsiteX0" fmla="*/ 351474 w 704158"/>
                    <a:gd name="connsiteY0" fmla="*/ 149773 h 560452"/>
                    <a:gd name="connsiteX1" fmla="*/ 272435 w 704158"/>
                    <a:gd name="connsiteY1" fmla="*/ 36245 h 560452"/>
                    <a:gd name="connsiteX2" fmla="*/ 147411 w 704158"/>
                    <a:gd name="connsiteY2" fmla="*/ 16127 h 560452"/>
                    <a:gd name="connsiteX3" fmla="*/ 58314 w 704158"/>
                    <a:gd name="connsiteY3" fmla="*/ 63550 h 560452"/>
                    <a:gd name="connsiteX4" fmla="*/ 42506 w 704158"/>
                    <a:gd name="connsiteY4" fmla="*/ 79357 h 560452"/>
                    <a:gd name="connsiteX5" fmla="*/ 189086 w 704158"/>
                    <a:gd name="connsiteY5" fmla="*/ 169892 h 560452"/>
                    <a:gd name="connsiteX6" fmla="*/ 176153 w 704158"/>
                    <a:gd name="connsiteY6" fmla="*/ 187137 h 560452"/>
                    <a:gd name="connsiteX7" fmla="*/ 33884 w 704158"/>
                    <a:gd name="connsiteY7" fmla="*/ 95165 h 560452"/>
                    <a:gd name="connsiteX8" fmla="*/ 25261 w 704158"/>
                    <a:gd name="connsiteY8" fmla="*/ 116721 h 560452"/>
                    <a:gd name="connsiteX9" fmla="*/ 15202 w 704158"/>
                    <a:gd name="connsiteY9" fmla="*/ 223063 h 560452"/>
                    <a:gd name="connsiteX10" fmla="*/ 219264 w 704158"/>
                    <a:gd name="connsiteY10" fmla="*/ 356709 h 560452"/>
                    <a:gd name="connsiteX11" fmla="*/ 225013 w 704158"/>
                    <a:gd name="connsiteY11" fmla="*/ 355272 h 560452"/>
                    <a:gd name="connsiteX12" fmla="*/ 252317 w 704158"/>
                    <a:gd name="connsiteY12" fmla="*/ 348087 h 560452"/>
                    <a:gd name="connsiteX13" fmla="*/ 545477 w 704158"/>
                    <a:gd name="connsiteY13" fmla="*/ 536342 h 560452"/>
                    <a:gd name="connsiteX14" fmla="*/ 600085 w 704158"/>
                    <a:gd name="connsiteY14" fmla="*/ 552149 h 560452"/>
                    <a:gd name="connsiteX15" fmla="*/ 623078 w 704158"/>
                    <a:gd name="connsiteY15" fmla="*/ 549275 h 560452"/>
                    <a:gd name="connsiteX16" fmla="*/ 681997 w 704158"/>
                    <a:gd name="connsiteY16" fmla="*/ 506164 h 560452"/>
                    <a:gd name="connsiteX17" fmla="*/ 653256 w 704158"/>
                    <a:gd name="connsiteY17" fmla="*/ 366769 h 560452"/>
                    <a:gd name="connsiteX18" fmla="*/ 355785 w 704158"/>
                    <a:gd name="connsiteY18" fmla="*/ 187137 h 560452"/>
                    <a:gd name="connsiteX19" fmla="*/ 351474 w 704158"/>
                    <a:gd name="connsiteY19" fmla="*/ 149773 h 560452"/>
                    <a:gd name="connsiteX20" fmla="*/ 651819 w 704158"/>
                    <a:gd name="connsiteY20" fmla="*/ 486045 h 560452"/>
                    <a:gd name="connsiteX21" fmla="*/ 615893 w 704158"/>
                    <a:gd name="connsiteY21" fmla="*/ 511912 h 560452"/>
                    <a:gd name="connsiteX22" fmla="*/ 567033 w 704158"/>
                    <a:gd name="connsiteY22" fmla="*/ 503289 h 560452"/>
                    <a:gd name="connsiteX23" fmla="*/ 269561 w 704158"/>
                    <a:gd name="connsiteY23" fmla="*/ 313598 h 560452"/>
                    <a:gd name="connsiteX24" fmla="*/ 253754 w 704158"/>
                    <a:gd name="connsiteY24" fmla="*/ 304975 h 560452"/>
                    <a:gd name="connsiteX25" fmla="*/ 245131 w 704158"/>
                    <a:gd name="connsiteY25" fmla="*/ 309287 h 560452"/>
                    <a:gd name="connsiteX26" fmla="*/ 216390 w 704158"/>
                    <a:gd name="connsiteY26" fmla="*/ 317909 h 560452"/>
                    <a:gd name="connsiteX27" fmla="*/ 210642 w 704158"/>
                    <a:gd name="connsiteY27" fmla="*/ 319346 h 560452"/>
                    <a:gd name="connsiteX28" fmla="*/ 51128 w 704158"/>
                    <a:gd name="connsiteY28" fmla="*/ 213004 h 560452"/>
                    <a:gd name="connsiteX29" fmla="*/ 52566 w 704158"/>
                    <a:gd name="connsiteY29" fmla="*/ 151210 h 560452"/>
                    <a:gd name="connsiteX30" fmla="*/ 184775 w 704158"/>
                    <a:gd name="connsiteY30" fmla="*/ 237434 h 560452"/>
                    <a:gd name="connsiteX31" fmla="*/ 242257 w 704158"/>
                    <a:gd name="connsiteY31" fmla="*/ 159833 h 560452"/>
                    <a:gd name="connsiteX32" fmla="*/ 102863 w 704158"/>
                    <a:gd name="connsiteY32" fmla="*/ 73609 h 560452"/>
                    <a:gd name="connsiteX33" fmla="*/ 154597 w 704158"/>
                    <a:gd name="connsiteY33" fmla="*/ 52053 h 560452"/>
                    <a:gd name="connsiteX34" fmla="*/ 250880 w 704158"/>
                    <a:gd name="connsiteY34" fmla="*/ 67861 h 560452"/>
                    <a:gd name="connsiteX35" fmla="*/ 312673 w 704158"/>
                    <a:gd name="connsiteY35" fmla="*/ 156958 h 560452"/>
                    <a:gd name="connsiteX36" fmla="*/ 315547 w 704158"/>
                    <a:gd name="connsiteY36" fmla="*/ 194322 h 560452"/>
                    <a:gd name="connsiteX37" fmla="*/ 312673 w 704158"/>
                    <a:gd name="connsiteY37" fmla="*/ 208692 h 560452"/>
                    <a:gd name="connsiteX38" fmla="*/ 325607 w 704158"/>
                    <a:gd name="connsiteY38" fmla="*/ 214441 h 560452"/>
                    <a:gd name="connsiteX39" fmla="*/ 631700 w 704158"/>
                    <a:gd name="connsiteY39" fmla="*/ 396947 h 560452"/>
                    <a:gd name="connsiteX40" fmla="*/ 651819 w 704158"/>
                    <a:gd name="connsiteY40" fmla="*/ 486045 h 56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04158" h="560452">
                      <a:moveTo>
                        <a:pt x="351474" y="149773"/>
                      </a:moveTo>
                      <a:cubicBezTo>
                        <a:pt x="341414" y="103787"/>
                        <a:pt x="312673" y="62112"/>
                        <a:pt x="272435" y="36245"/>
                      </a:cubicBezTo>
                      <a:cubicBezTo>
                        <a:pt x="233635" y="11815"/>
                        <a:pt x="189086" y="4630"/>
                        <a:pt x="147411" y="16127"/>
                      </a:cubicBezTo>
                      <a:cubicBezTo>
                        <a:pt x="112922" y="23312"/>
                        <a:pt x="81307" y="40557"/>
                        <a:pt x="58314" y="63550"/>
                      </a:cubicBezTo>
                      <a:lnTo>
                        <a:pt x="42506" y="79357"/>
                      </a:lnTo>
                      <a:lnTo>
                        <a:pt x="189086" y="169892"/>
                      </a:lnTo>
                      <a:lnTo>
                        <a:pt x="176153" y="187137"/>
                      </a:lnTo>
                      <a:lnTo>
                        <a:pt x="33884" y="95165"/>
                      </a:lnTo>
                      <a:lnTo>
                        <a:pt x="25261" y="116721"/>
                      </a:lnTo>
                      <a:cubicBezTo>
                        <a:pt x="10891" y="155521"/>
                        <a:pt x="6580" y="191448"/>
                        <a:pt x="15202" y="223063"/>
                      </a:cubicBezTo>
                      <a:cubicBezTo>
                        <a:pt x="35321" y="317909"/>
                        <a:pt x="124418" y="376828"/>
                        <a:pt x="219264" y="356709"/>
                      </a:cubicBezTo>
                      <a:lnTo>
                        <a:pt x="225013" y="355272"/>
                      </a:lnTo>
                      <a:cubicBezTo>
                        <a:pt x="233635" y="353835"/>
                        <a:pt x="242257" y="350961"/>
                        <a:pt x="252317" y="348087"/>
                      </a:cubicBezTo>
                      <a:lnTo>
                        <a:pt x="545477" y="536342"/>
                      </a:lnTo>
                      <a:cubicBezTo>
                        <a:pt x="562721" y="546401"/>
                        <a:pt x="581403" y="552149"/>
                        <a:pt x="600085" y="552149"/>
                      </a:cubicBezTo>
                      <a:cubicBezTo>
                        <a:pt x="607270" y="552149"/>
                        <a:pt x="615893" y="550712"/>
                        <a:pt x="623078" y="549275"/>
                      </a:cubicBezTo>
                      <a:cubicBezTo>
                        <a:pt x="647508" y="543527"/>
                        <a:pt x="669064" y="527719"/>
                        <a:pt x="681997" y="506164"/>
                      </a:cubicBezTo>
                      <a:cubicBezTo>
                        <a:pt x="710738" y="461615"/>
                        <a:pt x="699242" y="399821"/>
                        <a:pt x="653256" y="366769"/>
                      </a:cubicBezTo>
                      <a:lnTo>
                        <a:pt x="355785" y="187137"/>
                      </a:lnTo>
                      <a:cubicBezTo>
                        <a:pt x="355785" y="174203"/>
                        <a:pt x="352911" y="161270"/>
                        <a:pt x="351474" y="149773"/>
                      </a:cubicBezTo>
                      <a:close/>
                      <a:moveTo>
                        <a:pt x="651819" y="486045"/>
                      </a:moveTo>
                      <a:cubicBezTo>
                        <a:pt x="643197" y="498978"/>
                        <a:pt x="630263" y="509038"/>
                        <a:pt x="615893" y="511912"/>
                      </a:cubicBezTo>
                      <a:cubicBezTo>
                        <a:pt x="600085" y="516223"/>
                        <a:pt x="581403" y="513349"/>
                        <a:pt x="567033" y="503289"/>
                      </a:cubicBezTo>
                      <a:lnTo>
                        <a:pt x="269561" y="313598"/>
                      </a:lnTo>
                      <a:lnTo>
                        <a:pt x="253754" y="304975"/>
                      </a:lnTo>
                      <a:lnTo>
                        <a:pt x="245131" y="309287"/>
                      </a:lnTo>
                      <a:cubicBezTo>
                        <a:pt x="236509" y="313598"/>
                        <a:pt x="226450" y="316472"/>
                        <a:pt x="216390" y="317909"/>
                      </a:cubicBezTo>
                      <a:lnTo>
                        <a:pt x="210642" y="319346"/>
                      </a:lnTo>
                      <a:cubicBezTo>
                        <a:pt x="135915" y="335154"/>
                        <a:pt x="66936" y="289168"/>
                        <a:pt x="51128" y="213004"/>
                      </a:cubicBezTo>
                      <a:cubicBezTo>
                        <a:pt x="45380" y="194322"/>
                        <a:pt x="46817" y="172766"/>
                        <a:pt x="52566" y="151210"/>
                      </a:cubicBezTo>
                      <a:lnTo>
                        <a:pt x="184775" y="237434"/>
                      </a:lnTo>
                      <a:lnTo>
                        <a:pt x="242257" y="159833"/>
                      </a:lnTo>
                      <a:lnTo>
                        <a:pt x="102863" y="73609"/>
                      </a:lnTo>
                      <a:cubicBezTo>
                        <a:pt x="118670" y="63550"/>
                        <a:pt x="135915" y="56364"/>
                        <a:pt x="154597" y="52053"/>
                      </a:cubicBezTo>
                      <a:cubicBezTo>
                        <a:pt x="187649" y="43431"/>
                        <a:pt x="222138" y="49179"/>
                        <a:pt x="250880" y="67861"/>
                      </a:cubicBezTo>
                      <a:cubicBezTo>
                        <a:pt x="282495" y="87980"/>
                        <a:pt x="305488" y="119595"/>
                        <a:pt x="312673" y="156958"/>
                      </a:cubicBezTo>
                      <a:cubicBezTo>
                        <a:pt x="315547" y="169892"/>
                        <a:pt x="318421" y="182825"/>
                        <a:pt x="315547" y="194322"/>
                      </a:cubicBezTo>
                      <a:lnTo>
                        <a:pt x="312673" y="208692"/>
                      </a:lnTo>
                      <a:lnTo>
                        <a:pt x="325607" y="214441"/>
                      </a:lnTo>
                      <a:lnTo>
                        <a:pt x="631700" y="396947"/>
                      </a:lnTo>
                      <a:cubicBezTo>
                        <a:pt x="661879" y="417066"/>
                        <a:pt x="670501" y="457304"/>
                        <a:pt x="651819" y="486045"/>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59" name="Rectangle 158">
                <a:extLst>
                  <a:ext uri="{FF2B5EF4-FFF2-40B4-BE49-F238E27FC236}">
                    <a16:creationId xmlns:a16="http://schemas.microsoft.com/office/drawing/2014/main" id="{CA2909ED-CA90-4A64-A186-37EAC8CA35BE}"/>
                  </a:ext>
                </a:extLst>
              </p:cNvPr>
              <p:cNvSpPr/>
              <p:nvPr/>
            </p:nvSpPr>
            <p:spPr>
              <a:xfrm>
                <a:off x="2887580" y="4227898"/>
                <a:ext cx="1454431" cy="397032"/>
              </a:xfrm>
              <a:prstGeom prst="rect">
                <a:avLst/>
              </a:prstGeom>
            </p:spPr>
            <p:txBody>
              <a:bodyPr wrap="square">
                <a:spAutoFit/>
              </a:bodyPr>
              <a:lstStyle/>
              <a:p>
                <a:pPr marL="0" marR="0" lvl="0" indent="0" algn="ctr" defTabSz="896215" rtl="0" eaLnBrk="1" fontAlgn="auto" latinLnBrk="0" hangingPunct="1">
                  <a:lnSpc>
                    <a:spcPct val="90000"/>
                  </a:lnSpc>
                  <a:spcBef>
                    <a:spcPts val="0"/>
                  </a:spcBef>
                  <a:spcAft>
                    <a:spcPts val="401"/>
                  </a:spcAft>
                  <a:buClrTx/>
                  <a:buSzTx/>
                  <a:buFontTx/>
                  <a:buNone/>
                  <a:tabLst/>
                  <a:defRPr/>
                </a:pPr>
                <a:r>
                  <a:rPr kumimoji="0" lang="en-US" sz="1100" b="0" i="0" u="none" strike="noStrike" kern="1200" cap="none" spc="0" normalizeH="0" baseline="0" noProof="0">
                    <a:ln>
                      <a:noFill/>
                    </a:ln>
                    <a:gradFill>
                      <a:gsLst>
                        <a:gs pos="26804">
                          <a:srgbClr val="1A1A1A"/>
                        </a:gs>
                        <a:gs pos="49000">
                          <a:srgbClr val="1A1A1A"/>
                        </a:gs>
                      </a:gsLst>
                      <a:lin ang="5400000" scaled="1"/>
                    </a:gradFill>
                    <a:effectLst/>
                    <a:uLnTx/>
                    <a:uFillTx/>
                    <a:latin typeface="Segoe UI"/>
                    <a:ea typeface="+mn-ea"/>
                    <a:cs typeface="+mn-cs"/>
                  </a:rPr>
                  <a:t>Connected Field Service</a:t>
                </a:r>
              </a:p>
            </p:txBody>
          </p:sp>
        </p:grpSp>
      </p:grpSp>
      <p:sp>
        <p:nvSpPr>
          <p:cNvPr id="34" name="Frame 33">
            <a:extLst>
              <a:ext uri="{FF2B5EF4-FFF2-40B4-BE49-F238E27FC236}">
                <a16:creationId xmlns:a16="http://schemas.microsoft.com/office/drawing/2014/main" id="{8622F1BA-44EF-44B6-8159-3201A86B24F7}"/>
              </a:ext>
            </a:extLst>
          </p:cNvPr>
          <p:cNvSpPr/>
          <p:nvPr/>
        </p:nvSpPr>
        <p:spPr bwMode="auto">
          <a:xfrm>
            <a:off x="916789" y="5757361"/>
            <a:ext cx="1749199" cy="585642"/>
          </a:xfrm>
          <a:prstGeom prst="fram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4" name="Frame 183">
            <a:extLst>
              <a:ext uri="{FF2B5EF4-FFF2-40B4-BE49-F238E27FC236}">
                <a16:creationId xmlns:a16="http://schemas.microsoft.com/office/drawing/2014/main" id="{6B74C574-3510-4748-8714-1F760F597861}"/>
              </a:ext>
            </a:extLst>
          </p:cNvPr>
          <p:cNvSpPr/>
          <p:nvPr/>
        </p:nvSpPr>
        <p:spPr bwMode="auto">
          <a:xfrm>
            <a:off x="3527716" y="5753879"/>
            <a:ext cx="1729440" cy="585642"/>
          </a:xfrm>
          <a:prstGeom prst="fram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useBgFill="1">
        <p:nvSpPr>
          <p:cNvPr id="187" name="Rectangle 186">
            <a:extLst>
              <a:ext uri="{FF2B5EF4-FFF2-40B4-BE49-F238E27FC236}">
                <a16:creationId xmlns:a16="http://schemas.microsoft.com/office/drawing/2014/main" id="{34582001-C36D-4378-9C7F-A4775AD645F7}"/>
              </a:ext>
            </a:extLst>
          </p:cNvPr>
          <p:cNvSpPr/>
          <p:nvPr/>
        </p:nvSpPr>
        <p:spPr bwMode="auto">
          <a:xfrm>
            <a:off x="618335" y="6345315"/>
            <a:ext cx="11971471" cy="81229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6" name="Group 45">
            <a:extLst>
              <a:ext uri="{FF2B5EF4-FFF2-40B4-BE49-F238E27FC236}">
                <a16:creationId xmlns:a16="http://schemas.microsoft.com/office/drawing/2014/main" id="{B7FC8DCE-2658-4C56-B5DA-F3900FEC848A}"/>
              </a:ext>
            </a:extLst>
          </p:cNvPr>
          <p:cNvGrpSpPr/>
          <p:nvPr/>
        </p:nvGrpSpPr>
        <p:grpSpPr>
          <a:xfrm>
            <a:off x="972173" y="2805766"/>
            <a:ext cx="7208305" cy="1538547"/>
            <a:chOff x="2649114" y="2891398"/>
            <a:chExt cx="7208305" cy="1538547"/>
          </a:xfrm>
        </p:grpSpPr>
        <p:grpSp>
          <p:nvGrpSpPr>
            <p:cNvPr id="27" name="Group 26">
              <a:extLst>
                <a:ext uri="{FF2B5EF4-FFF2-40B4-BE49-F238E27FC236}">
                  <a16:creationId xmlns:a16="http://schemas.microsoft.com/office/drawing/2014/main" id="{7355B9DD-8C35-40A9-9364-511C485592C0}"/>
                </a:ext>
              </a:extLst>
            </p:cNvPr>
            <p:cNvGrpSpPr/>
            <p:nvPr/>
          </p:nvGrpSpPr>
          <p:grpSpPr>
            <a:xfrm>
              <a:off x="2649114" y="2891398"/>
              <a:ext cx="7208305" cy="1538547"/>
              <a:chOff x="1501115" y="3297271"/>
              <a:chExt cx="7208305" cy="1538547"/>
            </a:xfrm>
          </p:grpSpPr>
          <p:sp>
            <p:nvSpPr>
              <p:cNvPr id="151" name="Rectangle 150">
                <a:extLst>
                  <a:ext uri="{FF2B5EF4-FFF2-40B4-BE49-F238E27FC236}">
                    <a16:creationId xmlns:a16="http://schemas.microsoft.com/office/drawing/2014/main" id="{A53366F9-D362-45FE-A248-C47B704CBC8D}"/>
                  </a:ext>
                </a:extLst>
              </p:cNvPr>
              <p:cNvSpPr/>
              <p:nvPr/>
            </p:nvSpPr>
            <p:spPr bwMode="auto">
              <a:xfrm>
                <a:off x="1501115" y="3589552"/>
                <a:ext cx="7208305" cy="1246266"/>
              </a:xfrm>
              <a:prstGeom prst="rect">
                <a:avLst/>
              </a:prstGeom>
              <a:solidFill>
                <a:schemeClr val="bg1">
                  <a:lumMod val="95000"/>
                </a:schemeClr>
              </a:solidFill>
              <a:ln>
                <a:noFill/>
              </a:ln>
              <a:effectLst>
                <a:outerShdw blurRad="292100" dist="38100" dir="3600000" sx="101000" sy="101000" algn="tl" rotWithShape="0">
                  <a:prstClr val="black">
                    <a:alpha val="1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61" name="Rectangle 160">
                <a:extLst>
                  <a:ext uri="{FF2B5EF4-FFF2-40B4-BE49-F238E27FC236}">
                    <a16:creationId xmlns:a16="http://schemas.microsoft.com/office/drawing/2014/main" id="{833ACC2D-F4BA-499B-8A1E-34793A56D7D1}"/>
                  </a:ext>
                </a:extLst>
              </p:cNvPr>
              <p:cNvSpPr/>
              <p:nvPr/>
            </p:nvSpPr>
            <p:spPr>
              <a:xfrm>
                <a:off x="1628305" y="3944920"/>
                <a:ext cx="1842233" cy="535531"/>
              </a:xfrm>
              <a:prstGeom prst="rect">
                <a:avLst/>
              </a:prstGeom>
            </p:spPr>
            <p:txBody>
              <a:bodyPr wrap="square">
                <a:spAutoFit/>
              </a:bodyPr>
              <a:lstStyle/>
              <a:p>
                <a:pPr marL="0" marR="0" lvl="0" indent="0" algn="l" defTabSz="896215" rtl="0" eaLnBrk="1" fontAlgn="auto" latinLnBrk="0" hangingPunct="1">
                  <a:lnSpc>
                    <a:spcPct val="90000"/>
                  </a:lnSpc>
                  <a:spcBef>
                    <a:spcPts val="0"/>
                  </a:spcBef>
                  <a:spcAft>
                    <a:spcPts val="401"/>
                  </a:spcAft>
                  <a:buClrTx/>
                  <a:buSzTx/>
                  <a:buFontTx/>
                  <a:buNone/>
                  <a:tabLst/>
                  <a:defRPr/>
                </a:pPr>
                <a:r>
                  <a:rPr kumimoji="0" lang="en-US" sz="1600" b="0" i="0" u="none" strike="noStrike" kern="1200" cap="none" spc="0" normalizeH="0" baseline="0" noProof="0">
                    <a:ln>
                      <a:noFill/>
                    </a:ln>
                    <a:gradFill>
                      <a:gsLst>
                        <a:gs pos="26804">
                          <a:srgbClr val="1A1A1A"/>
                        </a:gs>
                        <a:gs pos="49000">
                          <a:srgbClr val="1A1A1A"/>
                        </a:gs>
                      </a:gsLst>
                      <a:lin ang="5400000" scaled="1"/>
                    </a:gradFill>
                    <a:effectLst/>
                    <a:uLnTx/>
                    <a:uFillTx/>
                    <a:latin typeface="Segoe UI Semibold"/>
                    <a:ea typeface="+mn-ea"/>
                    <a:cs typeface="+mn-cs"/>
                  </a:rPr>
                  <a:t>Solution Accelerators</a:t>
                </a:r>
              </a:p>
            </p:txBody>
          </p:sp>
          <p:grpSp>
            <p:nvGrpSpPr>
              <p:cNvPr id="25" name="Group 24">
                <a:extLst>
                  <a:ext uri="{FF2B5EF4-FFF2-40B4-BE49-F238E27FC236}">
                    <a16:creationId xmlns:a16="http://schemas.microsoft.com/office/drawing/2014/main" id="{9DFD4E0E-CAE2-414C-B805-FC56652AE9E7}"/>
                  </a:ext>
                </a:extLst>
              </p:cNvPr>
              <p:cNvGrpSpPr/>
              <p:nvPr/>
            </p:nvGrpSpPr>
            <p:grpSpPr>
              <a:xfrm>
                <a:off x="3798004" y="3734937"/>
                <a:ext cx="4703829" cy="955497"/>
                <a:chOff x="3798004" y="3669433"/>
                <a:chExt cx="4703829" cy="955497"/>
              </a:xfrm>
            </p:grpSpPr>
            <p:grpSp>
              <p:nvGrpSpPr>
                <p:cNvPr id="22" name="Group 21">
                  <a:extLst>
                    <a:ext uri="{FF2B5EF4-FFF2-40B4-BE49-F238E27FC236}">
                      <a16:creationId xmlns:a16="http://schemas.microsoft.com/office/drawing/2014/main" id="{AF2098D6-A8EA-45A0-A0C1-F9DFE9E3AFB9}"/>
                    </a:ext>
                  </a:extLst>
                </p:cNvPr>
                <p:cNvGrpSpPr/>
                <p:nvPr/>
              </p:nvGrpSpPr>
              <p:grpSpPr>
                <a:xfrm>
                  <a:off x="5119015" y="3669433"/>
                  <a:ext cx="1351204" cy="951788"/>
                  <a:chOff x="5119015" y="3669433"/>
                  <a:chExt cx="1351204" cy="951788"/>
                </a:xfrm>
              </p:grpSpPr>
              <p:sp>
                <p:nvSpPr>
                  <p:cNvPr id="164" name="Rectangle 163">
                    <a:extLst>
                      <a:ext uri="{FF2B5EF4-FFF2-40B4-BE49-F238E27FC236}">
                        <a16:creationId xmlns:a16="http://schemas.microsoft.com/office/drawing/2014/main" id="{9C5BA207-BD0F-4723-8A97-0F1CD6F68EBC}"/>
                      </a:ext>
                    </a:extLst>
                  </p:cNvPr>
                  <p:cNvSpPr/>
                  <p:nvPr/>
                </p:nvSpPr>
                <p:spPr>
                  <a:xfrm>
                    <a:off x="5119015" y="4224189"/>
                    <a:ext cx="1351204" cy="397032"/>
                  </a:xfrm>
                  <a:prstGeom prst="rect">
                    <a:avLst/>
                  </a:prstGeom>
                </p:spPr>
                <p:txBody>
                  <a:bodyPr wrap="none">
                    <a:spAutoFit/>
                  </a:bodyPr>
                  <a:lstStyle/>
                  <a:p>
                    <a:pPr marL="0" marR="0" lvl="0" indent="0" algn="ctr" defTabSz="896215" rtl="0" eaLnBrk="1" fontAlgn="auto" latinLnBrk="0" hangingPunct="1">
                      <a:lnSpc>
                        <a:spcPct val="90000"/>
                      </a:lnSpc>
                      <a:spcBef>
                        <a:spcPts val="0"/>
                      </a:spcBef>
                      <a:spcAft>
                        <a:spcPts val="401"/>
                      </a:spcAft>
                      <a:buClrTx/>
                      <a:buSzTx/>
                      <a:buFontTx/>
                      <a:buNone/>
                      <a:tabLst/>
                      <a:defRPr/>
                    </a:pPr>
                    <a:r>
                      <a:rPr kumimoji="0" lang="en-US" sz="1100" b="0" i="0" u="none" strike="noStrike" kern="1200" cap="none" spc="0" normalizeH="0" baseline="0" noProof="0">
                        <a:ln>
                          <a:noFill/>
                        </a:ln>
                        <a:gradFill>
                          <a:gsLst>
                            <a:gs pos="26804">
                              <a:srgbClr val="1A1A1A"/>
                            </a:gs>
                            <a:gs pos="49000">
                              <a:srgbClr val="1A1A1A"/>
                            </a:gs>
                          </a:gsLst>
                          <a:lin ang="5400000" scaled="1"/>
                        </a:gradFill>
                        <a:effectLst/>
                        <a:uLnTx/>
                        <a:uFillTx/>
                        <a:latin typeface="Segoe UI"/>
                        <a:ea typeface="+mn-ea"/>
                        <a:cs typeface="+mn-cs"/>
                      </a:rPr>
                      <a:t>Predictive </a:t>
                    </a:r>
                    <a:br>
                      <a:rPr kumimoji="0" lang="en-US" sz="1100" b="0" i="0" u="none" strike="noStrike" kern="1200" cap="none" spc="0" normalizeH="0" baseline="0" noProof="0">
                        <a:ln>
                          <a:noFill/>
                        </a:ln>
                        <a:gradFill>
                          <a:gsLst>
                            <a:gs pos="26804">
                              <a:srgbClr val="1A1A1A"/>
                            </a:gs>
                            <a:gs pos="49000">
                              <a:srgbClr val="1A1A1A"/>
                            </a:gs>
                          </a:gsLst>
                          <a:lin ang="5400000" scaled="1"/>
                        </a:gradFill>
                        <a:effectLst/>
                        <a:uLnTx/>
                        <a:uFillTx/>
                        <a:latin typeface="Segoe UI"/>
                        <a:ea typeface="+mn-ea"/>
                        <a:cs typeface="+mn-cs"/>
                      </a:rPr>
                    </a:br>
                    <a:r>
                      <a:rPr kumimoji="0" lang="en-US" sz="1100" b="0" i="0" u="none" strike="noStrike" kern="1200" cap="none" spc="0" normalizeH="0" baseline="0" noProof="0">
                        <a:ln>
                          <a:noFill/>
                        </a:ln>
                        <a:gradFill>
                          <a:gsLst>
                            <a:gs pos="26804">
                              <a:srgbClr val="1A1A1A"/>
                            </a:gs>
                            <a:gs pos="49000">
                              <a:srgbClr val="1A1A1A"/>
                            </a:gs>
                          </a:gsLst>
                          <a:lin ang="5400000" scaled="1"/>
                        </a:gradFill>
                        <a:effectLst/>
                        <a:uLnTx/>
                        <a:uFillTx/>
                        <a:latin typeface="Segoe UI"/>
                        <a:ea typeface="+mn-ea"/>
                        <a:cs typeface="+mn-cs"/>
                      </a:rPr>
                      <a:t>maintenance </a:t>
                    </a:r>
                  </a:p>
                </p:txBody>
              </p:sp>
              <p:grpSp>
                <p:nvGrpSpPr>
                  <p:cNvPr id="21" name="Group 20">
                    <a:extLst>
                      <a:ext uri="{FF2B5EF4-FFF2-40B4-BE49-F238E27FC236}">
                        <a16:creationId xmlns:a16="http://schemas.microsoft.com/office/drawing/2014/main" id="{8A235BA1-95BD-437B-B15E-15EFC4C4C911}"/>
                      </a:ext>
                    </a:extLst>
                  </p:cNvPr>
                  <p:cNvGrpSpPr/>
                  <p:nvPr/>
                </p:nvGrpSpPr>
                <p:grpSpPr>
                  <a:xfrm>
                    <a:off x="5520297" y="3669433"/>
                    <a:ext cx="548640" cy="548640"/>
                    <a:chOff x="5507674" y="3669433"/>
                    <a:chExt cx="548640" cy="548640"/>
                  </a:xfrm>
                </p:grpSpPr>
                <p:sp>
                  <p:nvSpPr>
                    <p:cNvPr id="191" name="Oval 190">
                      <a:extLst>
                        <a:ext uri="{FF2B5EF4-FFF2-40B4-BE49-F238E27FC236}">
                          <a16:creationId xmlns:a16="http://schemas.microsoft.com/office/drawing/2014/main" id="{17866AD8-3AD8-48E4-9B26-B0FCC0FF659F}"/>
                        </a:ext>
                      </a:extLst>
                    </p:cNvPr>
                    <p:cNvSpPr/>
                    <p:nvPr/>
                  </p:nvSpPr>
                  <p:spPr bwMode="auto">
                    <a:xfrm>
                      <a:off x="5507674" y="3669433"/>
                      <a:ext cx="548640" cy="548640"/>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78D4"/>
                        </a:solidFill>
                        <a:effectLst/>
                        <a:uLnTx/>
                        <a:uFillTx/>
                        <a:latin typeface="Segoe UI Semilight"/>
                        <a:ea typeface="+mn-ea"/>
                        <a:cs typeface="+mn-cs"/>
                      </a:endParaRPr>
                    </a:p>
                  </p:txBody>
                </p:sp>
                <p:sp>
                  <p:nvSpPr>
                    <p:cNvPr id="166" name="Processing_E9F5" title="Icon of two interlocked gears">
                      <a:extLst>
                        <a:ext uri="{FF2B5EF4-FFF2-40B4-BE49-F238E27FC236}">
                          <a16:creationId xmlns:a16="http://schemas.microsoft.com/office/drawing/2014/main" id="{82E4105F-6E03-4477-9DB8-A69BCB196C60}"/>
                        </a:ext>
                      </a:extLst>
                    </p:cNvPr>
                    <p:cNvSpPr>
                      <a:spLocks noChangeAspect="1" noEditPoints="1"/>
                    </p:cNvSpPr>
                    <p:nvPr/>
                  </p:nvSpPr>
                  <p:spPr bwMode="auto">
                    <a:xfrm>
                      <a:off x="5634281" y="3792534"/>
                      <a:ext cx="320671" cy="279425"/>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23" name="Group 22">
                  <a:extLst>
                    <a:ext uri="{FF2B5EF4-FFF2-40B4-BE49-F238E27FC236}">
                      <a16:creationId xmlns:a16="http://schemas.microsoft.com/office/drawing/2014/main" id="{58806E5E-DF3A-4644-A1F4-3630C2EE936C}"/>
                    </a:ext>
                  </a:extLst>
                </p:cNvPr>
                <p:cNvGrpSpPr/>
                <p:nvPr/>
              </p:nvGrpSpPr>
              <p:grpSpPr>
                <a:xfrm>
                  <a:off x="6552306" y="3669433"/>
                  <a:ext cx="1184207" cy="951788"/>
                  <a:chOff x="6552306" y="3669433"/>
                  <a:chExt cx="1184207" cy="951788"/>
                </a:xfrm>
              </p:grpSpPr>
              <p:sp>
                <p:nvSpPr>
                  <p:cNvPr id="165" name="Rectangle 164">
                    <a:extLst>
                      <a:ext uri="{FF2B5EF4-FFF2-40B4-BE49-F238E27FC236}">
                        <a16:creationId xmlns:a16="http://schemas.microsoft.com/office/drawing/2014/main" id="{9099ADCA-96ED-45F6-BD54-2A8D0B099B35}"/>
                      </a:ext>
                    </a:extLst>
                  </p:cNvPr>
                  <p:cNvSpPr/>
                  <p:nvPr/>
                </p:nvSpPr>
                <p:spPr>
                  <a:xfrm>
                    <a:off x="6552306" y="4224189"/>
                    <a:ext cx="1184207" cy="397032"/>
                  </a:xfrm>
                  <a:prstGeom prst="rect">
                    <a:avLst/>
                  </a:prstGeom>
                </p:spPr>
                <p:txBody>
                  <a:bodyPr wrap="none">
                    <a:spAutoFit/>
                  </a:bodyPr>
                  <a:lstStyle/>
                  <a:p>
                    <a:pPr marL="0" marR="0" lvl="0" indent="0" algn="ctr" defTabSz="896215" rtl="0" eaLnBrk="1" fontAlgn="auto" latinLnBrk="0" hangingPunct="1">
                      <a:lnSpc>
                        <a:spcPct val="90000"/>
                      </a:lnSpc>
                      <a:spcBef>
                        <a:spcPts val="0"/>
                      </a:spcBef>
                      <a:spcAft>
                        <a:spcPts val="401"/>
                      </a:spcAft>
                      <a:buClrTx/>
                      <a:buSzTx/>
                      <a:buFontTx/>
                      <a:buNone/>
                      <a:tabLst/>
                      <a:defRPr/>
                    </a:pPr>
                    <a:r>
                      <a:rPr kumimoji="0" lang="en-US" sz="1100" b="0" i="0" u="none" strike="noStrike" kern="1200" cap="none" spc="0" normalizeH="0" baseline="0" noProof="0">
                        <a:ln>
                          <a:noFill/>
                        </a:ln>
                        <a:gradFill>
                          <a:gsLst>
                            <a:gs pos="26804">
                              <a:srgbClr val="1A1A1A"/>
                            </a:gs>
                            <a:gs pos="49000">
                              <a:srgbClr val="1A1A1A"/>
                            </a:gs>
                          </a:gsLst>
                          <a:lin ang="5400000" scaled="1"/>
                        </a:gradFill>
                        <a:effectLst/>
                        <a:uLnTx/>
                        <a:uFillTx/>
                        <a:latin typeface="Segoe UI"/>
                        <a:ea typeface="+mn-ea"/>
                        <a:cs typeface="+mn-cs"/>
                      </a:rPr>
                      <a:t>Connected </a:t>
                    </a:r>
                    <a:br>
                      <a:rPr kumimoji="0" lang="en-US" sz="1100" b="0" i="0" u="none" strike="noStrike" kern="1200" cap="none" spc="0" normalizeH="0" baseline="0" noProof="0">
                        <a:ln>
                          <a:noFill/>
                        </a:ln>
                        <a:gradFill>
                          <a:gsLst>
                            <a:gs pos="26804">
                              <a:srgbClr val="1A1A1A"/>
                            </a:gs>
                            <a:gs pos="49000">
                              <a:srgbClr val="1A1A1A"/>
                            </a:gs>
                          </a:gsLst>
                          <a:lin ang="5400000" scaled="1"/>
                        </a:gradFill>
                        <a:effectLst/>
                        <a:uLnTx/>
                        <a:uFillTx/>
                        <a:latin typeface="Segoe UI"/>
                        <a:ea typeface="+mn-ea"/>
                        <a:cs typeface="+mn-cs"/>
                      </a:rPr>
                    </a:br>
                    <a:r>
                      <a:rPr kumimoji="0" lang="en-US" sz="1100" b="0" i="0" u="none" strike="noStrike" kern="1200" cap="none" spc="0" normalizeH="0" baseline="0" noProof="0">
                        <a:ln>
                          <a:noFill/>
                        </a:ln>
                        <a:gradFill>
                          <a:gsLst>
                            <a:gs pos="26804">
                              <a:srgbClr val="1A1A1A"/>
                            </a:gs>
                            <a:gs pos="49000">
                              <a:srgbClr val="1A1A1A"/>
                            </a:gs>
                          </a:gsLst>
                          <a:lin ang="5400000" scaled="1"/>
                        </a:gradFill>
                        <a:effectLst/>
                        <a:uLnTx/>
                        <a:uFillTx/>
                        <a:latin typeface="Segoe UI"/>
                        <a:ea typeface="+mn-ea"/>
                        <a:cs typeface="+mn-cs"/>
                      </a:rPr>
                      <a:t>factory</a:t>
                    </a:r>
                  </a:p>
                </p:txBody>
              </p:sp>
              <p:grpSp>
                <p:nvGrpSpPr>
                  <p:cNvPr id="15" name="Group 14">
                    <a:extLst>
                      <a:ext uri="{FF2B5EF4-FFF2-40B4-BE49-F238E27FC236}">
                        <a16:creationId xmlns:a16="http://schemas.microsoft.com/office/drawing/2014/main" id="{B45B2DC8-0711-4592-844D-85C8E728789E}"/>
                      </a:ext>
                    </a:extLst>
                  </p:cNvPr>
                  <p:cNvGrpSpPr/>
                  <p:nvPr/>
                </p:nvGrpSpPr>
                <p:grpSpPr>
                  <a:xfrm>
                    <a:off x="6870089" y="3669433"/>
                    <a:ext cx="548640" cy="548640"/>
                    <a:chOff x="6870089" y="3714843"/>
                    <a:chExt cx="548640" cy="548640"/>
                  </a:xfrm>
                </p:grpSpPr>
                <p:sp>
                  <p:nvSpPr>
                    <p:cNvPr id="192" name="Oval 191">
                      <a:extLst>
                        <a:ext uri="{FF2B5EF4-FFF2-40B4-BE49-F238E27FC236}">
                          <a16:creationId xmlns:a16="http://schemas.microsoft.com/office/drawing/2014/main" id="{CA38D00E-7A55-43DF-BEFA-B94B86015BA8}"/>
                        </a:ext>
                      </a:extLst>
                    </p:cNvPr>
                    <p:cNvSpPr/>
                    <p:nvPr/>
                  </p:nvSpPr>
                  <p:spPr bwMode="auto">
                    <a:xfrm>
                      <a:off x="6870089" y="3714843"/>
                      <a:ext cx="548640" cy="548640"/>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67" name="factory_3" title="Icon of a factory">
                      <a:extLst>
                        <a:ext uri="{FF2B5EF4-FFF2-40B4-BE49-F238E27FC236}">
                          <a16:creationId xmlns:a16="http://schemas.microsoft.com/office/drawing/2014/main" id="{739284DE-8AA5-4FE3-86EB-AF57C501A1D8}"/>
                        </a:ext>
                      </a:extLst>
                    </p:cNvPr>
                    <p:cNvSpPr>
                      <a:spLocks noChangeAspect="1" noEditPoints="1"/>
                    </p:cNvSpPr>
                    <p:nvPr/>
                  </p:nvSpPr>
                  <p:spPr bwMode="auto">
                    <a:xfrm>
                      <a:off x="6955972" y="3898420"/>
                      <a:ext cx="386459" cy="181487"/>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DB9F5948-6E34-441A-825C-8699DEB2B51A}"/>
                    </a:ext>
                  </a:extLst>
                </p:cNvPr>
                <p:cNvGrpSpPr/>
                <p:nvPr/>
              </p:nvGrpSpPr>
              <p:grpSpPr>
                <a:xfrm>
                  <a:off x="3798004" y="3669433"/>
                  <a:ext cx="1213802" cy="955497"/>
                  <a:chOff x="3798004" y="3669433"/>
                  <a:chExt cx="1213802" cy="955497"/>
                </a:xfrm>
              </p:grpSpPr>
              <p:sp>
                <p:nvSpPr>
                  <p:cNvPr id="163" name="Rectangle 162">
                    <a:extLst>
                      <a:ext uri="{FF2B5EF4-FFF2-40B4-BE49-F238E27FC236}">
                        <a16:creationId xmlns:a16="http://schemas.microsoft.com/office/drawing/2014/main" id="{6004BEDE-E0F2-488C-BEC9-661A4653AFC7}"/>
                      </a:ext>
                    </a:extLst>
                  </p:cNvPr>
                  <p:cNvSpPr/>
                  <p:nvPr/>
                </p:nvSpPr>
                <p:spPr>
                  <a:xfrm>
                    <a:off x="3798004" y="4227898"/>
                    <a:ext cx="1213802" cy="397032"/>
                  </a:xfrm>
                  <a:prstGeom prst="rect">
                    <a:avLst/>
                  </a:prstGeom>
                </p:spPr>
                <p:txBody>
                  <a:bodyPr wrap="none">
                    <a:spAutoFit/>
                  </a:bodyPr>
                  <a:lstStyle/>
                  <a:p>
                    <a:pPr marL="0" marR="0" lvl="0" indent="0" algn="ctr" defTabSz="896215" rtl="0" eaLnBrk="1" fontAlgn="auto" latinLnBrk="0" hangingPunct="1">
                      <a:lnSpc>
                        <a:spcPct val="90000"/>
                      </a:lnSpc>
                      <a:spcBef>
                        <a:spcPts val="0"/>
                      </a:spcBef>
                      <a:spcAft>
                        <a:spcPts val="401"/>
                      </a:spcAft>
                      <a:buClrTx/>
                      <a:buSzTx/>
                      <a:buFontTx/>
                      <a:buNone/>
                      <a:tabLst/>
                      <a:defRPr/>
                    </a:pPr>
                    <a:r>
                      <a:rPr kumimoji="0" lang="en-US" sz="1100" b="0" i="0" u="none" strike="noStrike" kern="1200" cap="none" spc="0" normalizeH="0" baseline="0" noProof="0">
                        <a:ln>
                          <a:noFill/>
                        </a:ln>
                        <a:gradFill>
                          <a:gsLst>
                            <a:gs pos="26804">
                              <a:srgbClr val="1A1A1A"/>
                            </a:gs>
                            <a:gs pos="49000">
                              <a:srgbClr val="1A1A1A"/>
                            </a:gs>
                          </a:gsLst>
                          <a:lin ang="5400000" scaled="1"/>
                        </a:gradFill>
                        <a:effectLst/>
                        <a:uLnTx/>
                        <a:uFillTx/>
                        <a:latin typeface="Segoe UI"/>
                        <a:ea typeface="+mn-ea"/>
                        <a:cs typeface="+mn-cs"/>
                      </a:rPr>
                      <a:t>Remote </a:t>
                    </a:r>
                    <a:br>
                      <a:rPr kumimoji="0" lang="en-US" sz="1100" b="0" i="0" u="none" strike="noStrike" kern="1200" cap="none" spc="0" normalizeH="0" baseline="0" noProof="0">
                        <a:ln>
                          <a:noFill/>
                        </a:ln>
                        <a:gradFill>
                          <a:gsLst>
                            <a:gs pos="26804">
                              <a:srgbClr val="1A1A1A"/>
                            </a:gs>
                            <a:gs pos="49000">
                              <a:srgbClr val="1A1A1A"/>
                            </a:gs>
                          </a:gsLst>
                          <a:lin ang="5400000" scaled="1"/>
                        </a:gradFill>
                        <a:effectLst/>
                        <a:uLnTx/>
                        <a:uFillTx/>
                        <a:latin typeface="Segoe UI"/>
                        <a:ea typeface="+mn-ea"/>
                        <a:cs typeface="+mn-cs"/>
                      </a:rPr>
                    </a:br>
                    <a:r>
                      <a:rPr kumimoji="0" lang="en-US" sz="1100" b="0" i="0" u="none" strike="noStrike" kern="1200" cap="none" spc="0" normalizeH="0" baseline="0" noProof="0">
                        <a:ln>
                          <a:noFill/>
                        </a:ln>
                        <a:gradFill>
                          <a:gsLst>
                            <a:gs pos="26804">
                              <a:srgbClr val="1A1A1A"/>
                            </a:gs>
                            <a:gs pos="49000">
                              <a:srgbClr val="1A1A1A"/>
                            </a:gs>
                          </a:gsLst>
                          <a:lin ang="5400000" scaled="1"/>
                        </a:gradFill>
                        <a:effectLst/>
                        <a:uLnTx/>
                        <a:uFillTx/>
                        <a:latin typeface="Segoe UI"/>
                        <a:ea typeface="+mn-ea"/>
                        <a:cs typeface="+mn-cs"/>
                      </a:rPr>
                      <a:t>monitoring </a:t>
                    </a:r>
                  </a:p>
                </p:txBody>
              </p:sp>
              <p:grpSp>
                <p:nvGrpSpPr>
                  <p:cNvPr id="14" name="Group 13">
                    <a:extLst>
                      <a:ext uri="{FF2B5EF4-FFF2-40B4-BE49-F238E27FC236}">
                        <a16:creationId xmlns:a16="http://schemas.microsoft.com/office/drawing/2014/main" id="{A1096D69-3322-4738-AD44-358548B7B01B}"/>
                      </a:ext>
                    </a:extLst>
                  </p:cNvPr>
                  <p:cNvGrpSpPr/>
                  <p:nvPr/>
                </p:nvGrpSpPr>
                <p:grpSpPr>
                  <a:xfrm>
                    <a:off x="4114200" y="3669433"/>
                    <a:ext cx="548640" cy="548640"/>
                    <a:chOff x="4114200" y="3694046"/>
                    <a:chExt cx="548640" cy="548640"/>
                  </a:xfrm>
                </p:grpSpPr>
                <p:sp>
                  <p:nvSpPr>
                    <p:cNvPr id="190" name="Oval 189">
                      <a:extLst>
                        <a:ext uri="{FF2B5EF4-FFF2-40B4-BE49-F238E27FC236}">
                          <a16:creationId xmlns:a16="http://schemas.microsoft.com/office/drawing/2014/main" id="{1084F7B7-2159-4723-AEB2-4BB63D345A7E}"/>
                        </a:ext>
                      </a:extLst>
                    </p:cNvPr>
                    <p:cNvSpPr/>
                    <p:nvPr/>
                  </p:nvSpPr>
                  <p:spPr bwMode="auto">
                    <a:xfrm>
                      <a:off x="4114200" y="3694046"/>
                      <a:ext cx="548640" cy="548640"/>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168" name="Laptop_E770" title="Icon of a laptop">
                      <a:extLst>
                        <a:ext uri="{FF2B5EF4-FFF2-40B4-BE49-F238E27FC236}">
                          <a16:creationId xmlns:a16="http://schemas.microsoft.com/office/drawing/2014/main" id="{2C0D0AFA-EAF1-4B67-AB82-D376C4C3958C}"/>
                        </a:ext>
                      </a:extLst>
                    </p:cNvPr>
                    <p:cNvSpPr>
                      <a:spLocks noChangeAspect="1" noEditPoints="1"/>
                    </p:cNvSpPr>
                    <p:nvPr/>
                  </p:nvSpPr>
                  <p:spPr bwMode="auto">
                    <a:xfrm>
                      <a:off x="4205087" y="3875547"/>
                      <a:ext cx="366867" cy="185638"/>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sp>
              <p:nvSpPr>
                <p:cNvPr id="104" name="Oval 103">
                  <a:extLst>
                    <a:ext uri="{FF2B5EF4-FFF2-40B4-BE49-F238E27FC236}">
                      <a16:creationId xmlns:a16="http://schemas.microsoft.com/office/drawing/2014/main" id="{888501E4-E919-4DD5-9BAD-5CC90347C008}"/>
                    </a:ext>
                  </a:extLst>
                </p:cNvPr>
                <p:cNvSpPr/>
                <p:nvPr/>
              </p:nvSpPr>
              <p:spPr bwMode="auto">
                <a:xfrm>
                  <a:off x="7937952" y="3719074"/>
                  <a:ext cx="563881" cy="427600"/>
                </a:xfrm>
                <a:prstGeom prst="ellipse">
                  <a:avLst/>
                </a:prstGeom>
                <a:noFill/>
                <a:ln w="10795" cap="flat" cmpd="sng" algn="ctr">
                  <a:noFill/>
                  <a:prstDash val="soli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gradFill>
                        <a:gsLst>
                          <a:gs pos="26804">
                            <a:srgbClr val="0078D4"/>
                          </a:gs>
                          <a:gs pos="49000">
                            <a:srgbClr val="0078D4"/>
                          </a:gs>
                        </a:gsLst>
                        <a:lin ang="5400000" scaled="1"/>
                      </a:gradFill>
                      <a:effectLst/>
                      <a:uLnTx/>
                      <a:uFillTx/>
                      <a:latin typeface="Segoe UI Semibold"/>
                      <a:ea typeface="+mn-ea"/>
                      <a:cs typeface="+mn-cs"/>
                    </a:rPr>
                    <a:t>…</a:t>
                  </a:r>
                </a:p>
              </p:txBody>
            </p:sp>
          </p:grpSp>
          <p:sp>
            <p:nvSpPr>
              <p:cNvPr id="70" name="Rectangle 69">
                <a:extLst>
                  <a:ext uri="{FF2B5EF4-FFF2-40B4-BE49-F238E27FC236}">
                    <a16:creationId xmlns:a16="http://schemas.microsoft.com/office/drawing/2014/main" id="{7A0FB744-5664-4786-B553-AF019FD4D626}"/>
                  </a:ext>
                </a:extLst>
              </p:cNvPr>
              <p:cNvSpPr/>
              <p:nvPr/>
            </p:nvSpPr>
            <p:spPr bwMode="auto">
              <a:xfrm>
                <a:off x="1501115" y="3297271"/>
                <a:ext cx="7208297" cy="275610"/>
              </a:xfrm>
              <a:prstGeom prst="rect">
                <a:avLst/>
              </a:prstGeom>
              <a:solidFill>
                <a:schemeClr val="accent1"/>
              </a:solidFill>
              <a:ln w="15875" cap="flat">
                <a:noFill/>
                <a:prstDash val="solid"/>
                <a:miter lim="800000"/>
                <a:headEnd/>
                <a:tailEnd/>
              </a:ln>
            </p:spPr>
            <p:txBody>
              <a:bodyPr vert="horz" wrap="square" lIns="182880" tIns="0" rIns="0" bIns="0" numCol="1" anchor="ctr" anchorCtr="0" compatLnSpc="1">
                <a:prstTxWarp prst="textNoShape">
                  <a:avLst/>
                </a:prstTxWarp>
              </a:bodyPr>
              <a:lstStyle/>
              <a:p>
                <a:pPr marL="0" marR="0" lvl="0" indent="0" algn="l" defTabSz="896215" rtl="0" eaLnBrk="1" fontAlgn="auto" latinLnBrk="0" hangingPunct="1">
                  <a:lnSpc>
                    <a:spcPct val="90000"/>
                  </a:lnSpc>
                  <a:spcBef>
                    <a:spcPts val="0"/>
                  </a:spcBef>
                  <a:spcAft>
                    <a:spcPts val="401"/>
                  </a:spcAft>
                  <a:buClrTx/>
                  <a:buSzTx/>
                  <a:buFontTx/>
                  <a:buNone/>
                  <a:tabLst/>
                  <a:defRPr/>
                </a:pPr>
                <a:endParaRPr kumimoji="0" lang="en-US" sz="1400" b="0" i="0" u="none" strike="noStrike" kern="1200" cap="none" spc="0" normalizeH="0" baseline="0" noProof="0">
                  <a:ln>
                    <a:noFill/>
                  </a:ln>
                  <a:gradFill>
                    <a:gsLst>
                      <a:gs pos="26804">
                        <a:srgbClr val="FFFFFF"/>
                      </a:gs>
                      <a:gs pos="49000">
                        <a:srgbClr val="FFFFFF"/>
                      </a:gs>
                    </a:gsLst>
                    <a:lin ang="5400000" scaled="1"/>
                  </a:gradFill>
                  <a:effectLst/>
                  <a:uLnTx/>
                  <a:uFillTx/>
                  <a:latin typeface="Segoe UI Semibold"/>
                  <a:ea typeface="+mn-ea"/>
                  <a:cs typeface="+mn-cs"/>
                </a:endParaRPr>
              </a:p>
            </p:txBody>
          </p:sp>
        </p:grpSp>
        <p:cxnSp>
          <p:nvCxnSpPr>
            <p:cNvPr id="193" name="Straight Connector 192">
              <a:extLst>
                <a:ext uri="{FF2B5EF4-FFF2-40B4-BE49-F238E27FC236}">
                  <a16:creationId xmlns:a16="http://schemas.microsoft.com/office/drawing/2014/main" id="{923687A1-1BB6-4CF6-AB4F-7A555F0BB2C4}"/>
                </a:ext>
              </a:extLst>
            </p:cNvPr>
            <p:cNvCxnSpPr>
              <a:cxnSpLocks/>
            </p:cNvCxnSpPr>
            <p:nvPr/>
          </p:nvCxnSpPr>
          <p:spPr>
            <a:xfrm flipV="1">
              <a:off x="4704149" y="3378705"/>
              <a:ext cx="0" cy="695045"/>
            </a:xfrm>
            <a:prstGeom prst="line">
              <a:avLst/>
            </a:pr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3" name="TextBox 2">
            <a:extLst>
              <a:ext uri="{FF2B5EF4-FFF2-40B4-BE49-F238E27FC236}">
                <a16:creationId xmlns:a16="http://schemas.microsoft.com/office/drawing/2014/main" id="{F39950B1-099E-4570-B3FB-9905880E6E88}"/>
              </a:ext>
            </a:extLst>
          </p:cNvPr>
          <p:cNvSpPr txBox="1"/>
          <p:nvPr/>
        </p:nvSpPr>
        <p:spPr>
          <a:xfrm>
            <a:off x="436783" y="4625393"/>
            <a:ext cx="2709212" cy="200055"/>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gradFill>
                  <a:gsLst>
                    <a:gs pos="26804">
                      <a:srgbClr val="1A1A1A"/>
                    </a:gs>
                    <a:gs pos="49000">
                      <a:srgbClr val="1A1A1A"/>
                    </a:gs>
                  </a:gsLst>
                  <a:lin ang="5400000" scaled="1"/>
                </a:gradFill>
                <a:effectLst/>
                <a:uLnTx/>
                <a:uFillTx/>
                <a:latin typeface="Segoe UI Semibold"/>
                <a:ea typeface="+mn-ea"/>
                <a:cs typeface="+mn-cs"/>
              </a:rPr>
              <a:t>Device Support</a:t>
            </a:r>
          </a:p>
        </p:txBody>
      </p:sp>
      <p:sp>
        <p:nvSpPr>
          <p:cNvPr id="53" name="TextBox 52">
            <a:extLst>
              <a:ext uri="{FF2B5EF4-FFF2-40B4-BE49-F238E27FC236}">
                <a16:creationId xmlns:a16="http://schemas.microsoft.com/office/drawing/2014/main" id="{D10B2997-A7EA-4BC5-99ED-3AB7A60A8518}"/>
              </a:ext>
            </a:extLst>
          </p:cNvPr>
          <p:cNvSpPr txBox="1"/>
          <p:nvPr/>
        </p:nvSpPr>
        <p:spPr>
          <a:xfrm>
            <a:off x="3011318" y="4625393"/>
            <a:ext cx="2709212" cy="180049"/>
          </a:xfrm>
          <a:prstGeom prst="rect">
            <a:avLst/>
          </a:prstGeom>
          <a:noFill/>
        </p:spPr>
        <p:txBody>
          <a:bodyPr wrap="square" lIns="0" tIns="0" rIns="0" bIns="0" rtlCol="0">
            <a:spAutoFit/>
          </a:bodyPr>
          <a:lstStyle/>
          <a:p>
            <a:pPr marL="0" marR="0" lvl="0" indent="0" algn="ctr" defTabSz="896215" rtl="0" eaLnBrk="1" fontAlgn="auto" latinLnBrk="0" hangingPunct="1">
              <a:lnSpc>
                <a:spcPct val="90000"/>
              </a:lnSpc>
              <a:spcBef>
                <a:spcPts val="0"/>
              </a:spcBef>
              <a:spcAft>
                <a:spcPts val="401"/>
              </a:spcAft>
              <a:buClrTx/>
              <a:buSzTx/>
              <a:buFontTx/>
              <a:buNone/>
              <a:tabLst/>
              <a:defRPr/>
            </a:pPr>
            <a:r>
              <a:rPr kumimoji="0" lang="en-US" sz="1300" b="0" i="0" u="none" strike="noStrike" kern="1200" cap="none" spc="0" normalizeH="0" baseline="0" noProof="0">
                <a:ln>
                  <a:noFill/>
                </a:ln>
                <a:gradFill>
                  <a:gsLst>
                    <a:gs pos="26804">
                      <a:srgbClr val="1A1A1A"/>
                    </a:gs>
                    <a:gs pos="49000">
                      <a:srgbClr val="1A1A1A"/>
                    </a:gs>
                  </a:gsLst>
                  <a:lin ang="5400000" scaled="1"/>
                </a:gradFill>
                <a:effectLst/>
                <a:uLnTx/>
                <a:uFillTx/>
                <a:latin typeface="Segoe UI Semibold"/>
                <a:ea typeface="+mn-ea"/>
                <a:cs typeface="+mn-cs"/>
              </a:rPr>
              <a:t>Data</a:t>
            </a:r>
            <a:r>
              <a:rPr kumimoji="0" lang="en-US" sz="1300" b="0" i="0" u="none" strike="noStrike" kern="1200" cap="none" spc="0" normalizeH="0" noProof="0">
                <a:ln>
                  <a:noFill/>
                </a:ln>
                <a:gradFill>
                  <a:gsLst>
                    <a:gs pos="26804">
                      <a:srgbClr val="1A1A1A"/>
                    </a:gs>
                    <a:gs pos="49000">
                      <a:srgbClr val="1A1A1A"/>
                    </a:gs>
                  </a:gsLst>
                  <a:lin ang="5400000" scaled="1"/>
                </a:gradFill>
                <a:effectLst/>
                <a:uLnTx/>
                <a:uFillTx/>
                <a:latin typeface="Segoe UI Semibold"/>
                <a:ea typeface="+mn-ea"/>
                <a:cs typeface="+mn-cs"/>
              </a:rPr>
              <a:t> &amp; Analytics</a:t>
            </a:r>
            <a:endParaRPr kumimoji="0" lang="en-US" sz="1300" b="0" i="0" u="none" strike="noStrike" kern="1200" cap="none" spc="0" normalizeH="0" baseline="0" noProof="0">
              <a:ln>
                <a:noFill/>
              </a:ln>
              <a:gradFill>
                <a:gsLst>
                  <a:gs pos="26804">
                    <a:srgbClr val="1A1A1A"/>
                  </a:gs>
                  <a:gs pos="49000">
                    <a:srgbClr val="1A1A1A"/>
                  </a:gs>
                </a:gsLst>
                <a:lin ang="5400000" scaled="1"/>
              </a:gradFill>
              <a:effectLst/>
              <a:uLnTx/>
              <a:uFillTx/>
              <a:latin typeface="Segoe UI Semibold"/>
              <a:ea typeface="+mn-ea"/>
              <a:cs typeface="+mn-cs"/>
            </a:endParaRPr>
          </a:p>
        </p:txBody>
      </p:sp>
      <p:sp>
        <p:nvSpPr>
          <p:cNvPr id="54" name="TextBox 53">
            <a:extLst>
              <a:ext uri="{FF2B5EF4-FFF2-40B4-BE49-F238E27FC236}">
                <a16:creationId xmlns:a16="http://schemas.microsoft.com/office/drawing/2014/main" id="{D13D59B7-B340-4438-A0C5-6B7EF283A425}"/>
              </a:ext>
            </a:extLst>
          </p:cNvPr>
          <p:cNvSpPr txBox="1"/>
          <p:nvPr/>
        </p:nvSpPr>
        <p:spPr>
          <a:xfrm>
            <a:off x="5693454" y="4625393"/>
            <a:ext cx="2709212" cy="200055"/>
          </a:xfrm>
          <a:prstGeom prst="rect">
            <a:avLst/>
          </a:prstGeom>
          <a:noFill/>
        </p:spPr>
        <p:txBody>
          <a:bodyPr wrap="square" lIns="0" tIns="0" rIns="0" bIns="0"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lang="en-US" sz="1300">
                <a:gradFill>
                  <a:gsLst>
                    <a:gs pos="26804">
                      <a:srgbClr val="1A1A1A"/>
                    </a:gs>
                    <a:gs pos="49000">
                      <a:srgbClr val="1A1A1A"/>
                    </a:gs>
                  </a:gsLst>
                  <a:lin ang="5400000" scaled="1"/>
                </a:gradFill>
                <a:latin typeface="Segoe UI Semibold"/>
              </a:rPr>
              <a:t>Visualization &amp; Integration</a:t>
            </a:r>
            <a:endParaRPr kumimoji="0" lang="en-US" sz="1300" b="0" i="0" u="none" strike="noStrike" kern="1200" cap="none" spc="0" normalizeH="0" baseline="0" noProof="0">
              <a:ln>
                <a:noFill/>
              </a:ln>
              <a:gradFill>
                <a:gsLst>
                  <a:gs pos="26804">
                    <a:srgbClr val="1A1A1A"/>
                  </a:gs>
                  <a:gs pos="49000">
                    <a:srgbClr val="1A1A1A"/>
                  </a:gs>
                </a:gsLst>
                <a:lin ang="5400000" scaled="1"/>
              </a:gradFill>
              <a:effectLst/>
              <a:uLnTx/>
              <a:uFillTx/>
              <a:latin typeface="Segoe UI Semibold"/>
            </a:endParaRPr>
          </a:p>
        </p:txBody>
      </p:sp>
      <p:cxnSp>
        <p:nvCxnSpPr>
          <p:cNvPr id="61" name="Straight Arrow Connector 60">
            <a:extLst>
              <a:ext uri="{FF2B5EF4-FFF2-40B4-BE49-F238E27FC236}">
                <a16:creationId xmlns:a16="http://schemas.microsoft.com/office/drawing/2014/main" id="{ACF0092C-7EB1-4E68-8E2E-916728F23E7C}"/>
              </a:ext>
            </a:extLst>
          </p:cNvPr>
          <p:cNvCxnSpPr>
            <a:cxnSpLocks/>
          </p:cNvCxnSpPr>
          <p:nvPr/>
        </p:nvCxnSpPr>
        <p:spPr>
          <a:xfrm>
            <a:off x="2514847" y="5326348"/>
            <a:ext cx="1097280" cy="1"/>
          </a:xfrm>
          <a:prstGeom prst="straightConnector1">
            <a:avLst/>
          </a:prstGeom>
          <a:ln w="19050" cap="rnd">
            <a:solidFill>
              <a:schemeClr val="accent2"/>
            </a:solidFill>
            <a:headEnd type="arrow" w="lg" len="lg"/>
            <a:tailEnd type="none" w="lg" len="lg"/>
          </a:ln>
        </p:spPr>
        <p:style>
          <a:lnRef idx="1">
            <a:schemeClr val="accent1"/>
          </a:lnRef>
          <a:fillRef idx="0">
            <a:schemeClr val="accent1"/>
          </a:fillRef>
          <a:effectRef idx="0">
            <a:schemeClr val="accent1"/>
          </a:effectRef>
          <a:fontRef idx="minor">
            <a:schemeClr val="tx1"/>
          </a:fontRef>
        </p:style>
      </p:cxnSp>
      <p:sp>
        <p:nvSpPr>
          <p:cNvPr id="62" name="Oval 61">
            <a:extLst>
              <a:ext uri="{FF2B5EF4-FFF2-40B4-BE49-F238E27FC236}">
                <a16:creationId xmlns:a16="http://schemas.microsoft.com/office/drawing/2014/main" id="{722CA6CE-58D1-482F-BB13-2A7D56E253BE}"/>
              </a:ext>
            </a:extLst>
          </p:cNvPr>
          <p:cNvSpPr>
            <a:spLocks noChangeAspect="1"/>
          </p:cNvSpPr>
          <p:nvPr/>
        </p:nvSpPr>
        <p:spPr bwMode="auto">
          <a:xfrm>
            <a:off x="6745105" y="5080764"/>
            <a:ext cx="548640" cy="54864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63" name="Freeform 104">
            <a:extLst>
              <a:ext uri="{FF2B5EF4-FFF2-40B4-BE49-F238E27FC236}">
                <a16:creationId xmlns:a16="http://schemas.microsoft.com/office/drawing/2014/main" id="{B571EBB0-5407-44E3-A66B-1A3E2BE0926C}"/>
              </a:ext>
            </a:extLst>
          </p:cNvPr>
          <p:cNvSpPr>
            <a:spLocks noChangeAspect="1"/>
          </p:cNvSpPr>
          <p:nvPr/>
        </p:nvSpPr>
        <p:spPr bwMode="black">
          <a:xfrm>
            <a:off x="6923167" y="5122171"/>
            <a:ext cx="219456" cy="36576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accent1"/>
          </a:solidFill>
          <a:ln>
            <a:noFill/>
          </a:ln>
        </p:spPr>
        <p:txBody>
          <a:bodyPr vert="horz" wrap="square" lIns="93235" tIns="46617" rIns="93235" bIns="46617" numCol="1" anchor="t" anchorCtr="0" compatLnSpc="1">
            <a:prstTxWarp prst="textNoShape">
              <a:avLst/>
            </a:prstTxWarp>
            <a:noAutofit/>
          </a:bodyPr>
          <a:lstStyle/>
          <a:p>
            <a:pPr marL="0" marR="0" lvl="0" indent="0" algn="l" defTabSz="932507"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505050"/>
              </a:solidFill>
              <a:effectLst/>
              <a:uLnTx/>
              <a:uFillTx/>
              <a:latin typeface="Segoe UI Light"/>
              <a:ea typeface="+mn-ea"/>
              <a:cs typeface="+mn-cs"/>
            </a:endParaRPr>
          </a:p>
        </p:txBody>
      </p:sp>
      <p:sp>
        <p:nvSpPr>
          <p:cNvPr id="64" name="Oval 63">
            <a:extLst>
              <a:ext uri="{FF2B5EF4-FFF2-40B4-BE49-F238E27FC236}">
                <a16:creationId xmlns:a16="http://schemas.microsoft.com/office/drawing/2014/main" id="{ECADBDB6-6618-4E71-9BAF-23A1B20D293D}"/>
              </a:ext>
            </a:extLst>
          </p:cNvPr>
          <p:cNvSpPr>
            <a:spLocks/>
          </p:cNvSpPr>
          <p:nvPr/>
        </p:nvSpPr>
        <p:spPr bwMode="auto">
          <a:xfrm>
            <a:off x="1487601" y="5019550"/>
            <a:ext cx="548640" cy="54864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65" name="Freeform: Shape 64">
            <a:extLst>
              <a:ext uri="{FF2B5EF4-FFF2-40B4-BE49-F238E27FC236}">
                <a16:creationId xmlns:a16="http://schemas.microsoft.com/office/drawing/2014/main" id="{C8891A66-DD43-48EE-8CF4-996B21E62DB1}"/>
              </a:ext>
            </a:extLst>
          </p:cNvPr>
          <p:cNvSpPr>
            <a:spLocks noChangeAspect="1" noChangeArrowheads="1"/>
          </p:cNvSpPr>
          <p:nvPr/>
        </p:nvSpPr>
        <p:spPr bwMode="auto">
          <a:xfrm rot="2700000">
            <a:off x="1632464" y="5147644"/>
            <a:ext cx="274320" cy="274320"/>
          </a:xfrm>
          <a:custGeom>
            <a:avLst/>
            <a:gdLst>
              <a:gd name="connsiteX0" fmla="*/ 546713 w 700850"/>
              <a:gd name="connsiteY0" fmla="*/ 546768 h 700855"/>
              <a:gd name="connsiteX1" fmla="*/ 609420 w 700850"/>
              <a:gd name="connsiteY1" fmla="*/ 520743 h 700855"/>
              <a:gd name="connsiteX2" fmla="*/ 698101 w 700850"/>
              <a:gd name="connsiteY2" fmla="*/ 609596 h 700855"/>
              <a:gd name="connsiteX3" fmla="*/ 609420 w 700850"/>
              <a:gd name="connsiteY3" fmla="*/ 698449 h 700855"/>
              <a:gd name="connsiteX4" fmla="*/ 520739 w 700850"/>
              <a:gd name="connsiteY4" fmla="*/ 609596 h 700855"/>
              <a:gd name="connsiteX5" fmla="*/ 546713 w 700850"/>
              <a:gd name="connsiteY5" fmla="*/ 546768 h 700855"/>
              <a:gd name="connsiteX6" fmla="*/ 435700 w 700850"/>
              <a:gd name="connsiteY6" fmla="*/ 435945 h 700855"/>
              <a:gd name="connsiteX7" fmla="*/ 700850 w 700850"/>
              <a:gd name="connsiteY7" fmla="*/ 326194 h 700855"/>
              <a:gd name="connsiteX8" fmla="*/ 700850 w 700850"/>
              <a:gd name="connsiteY8" fmla="*/ 397868 h 700855"/>
              <a:gd name="connsiteX9" fmla="*/ 397588 w 700850"/>
              <a:gd name="connsiteY9" fmla="*/ 700854 h 700855"/>
              <a:gd name="connsiteX10" fmla="*/ 325849 w 700850"/>
              <a:gd name="connsiteY10" fmla="*/ 700854 h 700855"/>
              <a:gd name="connsiteX11" fmla="*/ 435700 w 700850"/>
              <a:gd name="connsiteY11" fmla="*/ 435945 h 700855"/>
              <a:gd name="connsiteX12" fmla="*/ 320634 w 700850"/>
              <a:gd name="connsiteY12" fmla="*/ 320880 h 700855"/>
              <a:gd name="connsiteX13" fmla="*/ 700850 w 700850"/>
              <a:gd name="connsiteY13" fmla="*/ 163270 h 700855"/>
              <a:gd name="connsiteX14" fmla="*/ 700850 w 700850"/>
              <a:gd name="connsiteY14" fmla="*/ 234948 h 700855"/>
              <a:gd name="connsiteX15" fmla="*/ 234647 w 700850"/>
              <a:gd name="connsiteY15" fmla="*/ 700854 h 700855"/>
              <a:gd name="connsiteX16" fmla="*/ 162924 w 700850"/>
              <a:gd name="connsiteY16" fmla="*/ 700854 h 700855"/>
              <a:gd name="connsiteX17" fmla="*/ 320634 w 700850"/>
              <a:gd name="connsiteY17" fmla="*/ 320880 h 700855"/>
              <a:gd name="connsiteX18" fmla="*/ 205365 w 700850"/>
              <a:gd name="connsiteY18" fmla="*/ 205367 h 700855"/>
              <a:gd name="connsiteX19" fmla="*/ 700850 w 700850"/>
              <a:gd name="connsiteY19" fmla="*/ 0 h 700855"/>
              <a:gd name="connsiteX20" fmla="*/ 700850 w 700850"/>
              <a:gd name="connsiteY20" fmla="*/ 71716 h 700855"/>
              <a:gd name="connsiteX21" fmla="*/ 71715 w 700850"/>
              <a:gd name="connsiteY21" fmla="*/ 700854 h 700855"/>
              <a:gd name="connsiteX22" fmla="*/ 0 w 700850"/>
              <a:gd name="connsiteY22" fmla="*/ 700855 h 700855"/>
              <a:gd name="connsiteX23" fmla="*/ 205365 w 700850"/>
              <a:gd name="connsiteY23" fmla="*/ 205367 h 70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0850" h="700855">
                <a:moveTo>
                  <a:pt x="546713" y="546768"/>
                </a:moveTo>
                <a:cubicBezTo>
                  <a:pt x="562761" y="530688"/>
                  <a:pt x="584932" y="520743"/>
                  <a:pt x="609420" y="520743"/>
                </a:cubicBezTo>
                <a:cubicBezTo>
                  <a:pt x="658397" y="520743"/>
                  <a:pt x="698101" y="560524"/>
                  <a:pt x="698101" y="609596"/>
                </a:cubicBezTo>
                <a:cubicBezTo>
                  <a:pt x="698101" y="658668"/>
                  <a:pt x="658397" y="698449"/>
                  <a:pt x="609420" y="698449"/>
                </a:cubicBezTo>
                <a:cubicBezTo>
                  <a:pt x="560443" y="698449"/>
                  <a:pt x="520739" y="658668"/>
                  <a:pt x="520739" y="609596"/>
                </a:cubicBezTo>
                <a:cubicBezTo>
                  <a:pt x="520739" y="585060"/>
                  <a:pt x="530665" y="562847"/>
                  <a:pt x="546713" y="546768"/>
                </a:cubicBezTo>
                <a:close/>
                <a:moveTo>
                  <a:pt x="435700" y="435945"/>
                </a:moveTo>
                <a:cubicBezTo>
                  <a:pt x="503567" y="368140"/>
                  <a:pt x="597317" y="326194"/>
                  <a:pt x="700850" y="326194"/>
                </a:cubicBezTo>
                <a:cubicBezTo>
                  <a:pt x="700850" y="397868"/>
                  <a:pt x="700850" y="397868"/>
                  <a:pt x="700850" y="397868"/>
                </a:cubicBezTo>
                <a:cubicBezTo>
                  <a:pt x="533730" y="397868"/>
                  <a:pt x="397588" y="533886"/>
                  <a:pt x="397588" y="700854"/>
                </a:cubicBezTo>
                <a:cubicBezTo>
                  <a:pt x="325849" y="700854"/>
                  <a:pt x="325849" y="700854"/>
                  <a:pt x="325849" y="700854"/>
                </a:cubicBezTo>
                <a:cubicBezTo>
                  <a:pt x="325849" y="597415"/>
                  <a:pt x="367833" y="503750"/>
                  <a:pt x="435700" y="435945"/>
                </a:cubicBezTo>
                <a:close/>
                <a:moveTo>
                  <a:pt x="320634" y="320880"/>
                </a:moveTo>
                <a:cubicBezTo>
                  <a:pt x="418031" y="223545"/>
                  <a:pt x="552513" y="163270"/>
                  <a:pt x="700850" y="163270"/>
                </a:cubicBezTo>
                <a:cubicBezTo>
                  <a:pt x="700850" y="234948"/>
                  <a:pt x="700850" y="234948"/>
                  <a:pt x="700850" y="234948"/>
                </a:cubicBezTo>
                <a:cubicBezTo>
                  <a:pt x="444112" y="234948"/>
                  <a:pt x="234647" y="444280"/>
                  <a:pt x="234647" y="700854"/>
                </a:cubicBezTo>
                <a:cubicBezTo>
                  <a:pt x="162924" y="700854"/>
                  <a:pt x="162924" y="700854"/>
                  <a:pt x="162924" y="700854"/>
                </a:cubicBezTo>
                <a:cubicBezTo>
                  <a:pt x="162924" y="552611"/>
                  <a:pt x="223237" y="418215"/>
                  <a:pt x="320634" y="320880"/>
                </a:cubicBezTo>
                <a:close/>
                <a:moveTo>
                  <a:pt x="205365" y="205367"/>
                </a:moveTo>
                <a:cubicBezTo>
                  <a:pt x="337386" y="72531"/>
                  <a:pt x="513413" y="1"/>
                  <a:pt x="700850" y="0"/>
                </a:cubicBezTo>
                <a:cubicBezTo>
                  <a:pt x="700850" y="71716"/>
                  <a:pt x="700850" y="71716"/>
                  <a:pt x="700850" y="71716"/>
                </a:cubicBezTo>
                <a:cubicBezTo>
                  <a:pt x="353684" y="71716"/>
                  <a:pt x="71715" y="353687"/>
                  <a:pt x="71715" y="700854"/>
                </a:cubicBezTo>
                <a:cubicBezTo>
                  <a:pt x="0" y="700855"/>
                  <a:pt x="0" y="700855"/>
                  <a:pt x="0" y="700855"/>
                </a:cubicBezTo>
                <a:cubicBezTo>
                  <a:pt x="0" y="513417"/>
                  <a:pt x="72529" y="337388"/>
                  <a:pt x="205365" y="205367"/>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5105" tIns="47552" rIns="95105" bIns="47552" numCol="1" anchor="t" anchorCtr="0" compatLnSpc="1">
            <a:prstTxWarp prst="textNoShape">
              <a:avLst/>
            </a:prstTxWarp>
            <a:noAutofit/>
          </a:bodyPr>
          <a:lstStyle/>
          <a:p>
            <a:pPr marL="0" marR="0" lvl="0" indent="0" algn="l" defTabSz="951061" rtl="0" eaLnBrk="1" fontAlgn="auto" latinLnBrk="0" hangingPunct="1">
              <a:lnSpc>
                <a:spcPct val="100000"/>
              </a:lnSpc>
              <a:spcBef>
                <a:spcPts val="0"/>
              </a:spcBef>
              <a:spcAft>
                <a:spcPts val="0"/>
              </a:spcAft>
              <a:buClrTx/>
              <a:buSzTx/>
              <a:buFontTx/>
              <a:buNone/>
              <a:tabLst/>
              <a:defRPr/>
            </a:pPr>
            <a:endParaRPr kumimoji="0" lang="en-US" sz="6599" b="0" i="0" u="none" strike="noStrike" kern="1200" cap="none" spc="0" normalizeH="0" baseline="0" noProof="0">
              <a:ln>
                <a:noFill/>
              </a:ln>
              <a:solidFill>
                <a:prstClr val="black"/>
              </a:solidFill>
              <a:effectLst/>
              <a:uLnTx/>
              <a:uFillTx/>
              <a:latin typeface="Segoe UI Light"/>
              <a:ea typeface="+mn-ea"/>
              <a:cs typeface="+mn-cs"/>
            </a:endParaRPr>
          </a:p>
        </p:txBody>
      </p:sp>
      <p:sp>
        <p:nvSpPr>
          <p:cNvPr id="66" name="Oval 65">
            <a:extLst>
              <a:ext uri="{FF2B5EF4-FFF2-40B4-BE49-F238E27FC236}">
                <a16:creationId xmlns:a16="http://schemas.microsoft.com/office/drawing/2014/main" id="{A4736480-69C3-441E-944B-CE02B5B605B3}"/>
              </a:ext>
            </a:extLst>
          </p:cNvPr>
          <p:cNvSpPr>
            <a:spLocks noChangeAspect="1"/>
          </p:cNvSpPr>
          <p:nvPr/>
        </p:nvSpPr>
        <p:spPr bwMode="auto">
          <a:xfrm>
            <a:off x="4120652" y="5019550"/>
            <a:ext cx="548639" cy="54864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sp>
        <p:nvSpPr>
          <p:cNvPr id="67" name="Freeform: Shape 66">
            <a:extLst>
              <a:ext uri="{FF2B5EF4-FFF2-40B4-BE49-F238E27FC236}">
                <a16:creationId xmlns:a16="http://schemas.microsoft.com/office/drawing/2014/main" id="{035D0155-934C-4CFE-9588-C7061FB84DD7}"/>
              </a:ext>
            </a:extLst>
          </p:cNvPr>
          <p:cNvSpPr>
            <a:spLocks noChangeAspect="1"/>
          </p:cNvSpPr>
          <p:nvPr/>
        </p:nvSpPr>
        <p:spPr bwMode="auto">
          <a:xfrm>
            <a:off x="4285719" y="5114852"/>
            <a:ext cx="225165" cy="365760"/>
          </a:xfrm>
          <a:custGeom>
            <a:avLst/>
            <a:gdLst>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377800 w 528287"/>
              <a:gd name="connsiteY32" fmla="*/ 94874 h 858155"/>
              <a:gd name="connsiteX33" fmla="*/ 143953 w 528287"/>
              <a:gd name="connsiteY33" fmla="*/ 99114 h 858155"/>
              <a:gd name="connsiteX34" fmla="*/ 65532 w 528287"/>
              <a:gd name="connsiteY34" fmla="*/ 281902 h 858155"/>
              <a:gd name="connsiteX35" fmla="*/ 117970 w 528287"/>
              <a:gd name="connsiteY35" fmla="*/ 409570 h 858155"/>
              <a:gd name="connsiteX36" fmla="*/ 183636 w 528287"/>
              <a:gd name="connsiteY36" fmla="*/ 538652 h 858155"/>
              <a:gd name="connsiteX37" fmla="*/ 197809 w 528287"/>
              <a:gd name="connsiteY37" fmla="*/ 621566 h 858155"/>
              <a:gd name="connsiteX38" fmla="*/ 142064 w 528287"/>
              <a:gd name="connsiteY38" fmla="*/ 621566 h 858155"/>
              <a:gd name="connsiteX39" fmla="*/ 134977 w 528287"/>
              <a:gd name="connsiteY39" fmla="*/ 614028 h 858155"/>
              <a:gd name="connsiteX40" fmla="*/ 93405 w 528287"/>
              <a:gd name="connsiteY40" fmla="*/ 493426 h 858155"/>
              <a:gd name="connsiteX41" fmla="*/ 28684 w 528287"/>
              <a:gd name="connsiteY41" fmla="*/ 376122 h 858155"/>
              <a:gd name="connsiteX42" fmla="*/ 6008 w 528287"/>
              <a:gd name="connsiteY42" fmla="*/ 196632 h 858155"/>
              <a:gd name="connsiteX43" fmla="*/ 131671 w 528287"/>
              <a:gd name="connsiteY43" fmla="*/ 32218 h 858155"/>
              <a:gd name="connsiteX44" fmla="*/ 266900 w 528287"/>
              <a:gd name="connsiteY44" fmla="*/ 6 h 85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28287" h="858155">
                <a:moveTo>
                  <a:pt x="180897" y="808532"/>
                </a:moveTo>
                <a:cubicBezTo>
                  <a:pt x="237061" y="808532"/>
                  <a:pt x="292752" y="808532"/>
                  <a:pt x="351275" y="808532"/>
                </a:cubicBezTo>
                <a:cubicBezTo>
                  <a:pt x="332869" y="824175"/>
                  <a:pt x="317294" y="838396"/>
                  <a:pt x="300775" y="851668"/>
                </a:cubicBezTo>
                <a:cubicBezTo>
                  <a:pt x="296056" y="855461"/>
                  <a:pt x="288504" y="857831"/>
                  <a:pt x="281897" y="857831"/>
                </a:cubicBezTo>
                <a:cubicBezTo>
                  <a:pt x="226206" y="857357"/>
                  <a:pt x="239892" y="864941"/>
                  <a:pt x="198832" y="827019"/>
                </a:cubicBezTo>
                <a:cubicBezTo>
                  <a:pt x="192696" y="821331"/>
                  <a:pt x="187505" y="815168"/>
                  <a:pt x="180897" y="808532"/>
                </a:cubicBezTo>
                <a:close/>
                <a:moveTo>
                  <a:pt x="182285" y="731401"/>
                </a:moveTo>
                <a:cubicBezTo>
                  <a:pt x="237543" y="731401"/>
                  <a:pt x="292328" y="731401"/>
                  <a:pt x="347585" y="731401"/>
                </a:cubicBezTo>
                <a:cubicBezTo>
                  <a:pt x="365532" y="731401"/>
                  <a:pt x="375450" y="740280"/>
                  <a:pt x="375450" y="755235"/>
                </a:cubicBezTo>
                <a:cubicBezTo>
                  <a:pt x="374978" y="770189"/>
                  <a:pt x="365532" y="778134"/>
                  <a:pt x="347585" y="778134"/>
                </a:cubicBezTo>
                <a:cubicBezTo>
                  <a:pt x="320193" y="778601"/>
                  <a:pt x="292328" y="778601"/>
                  <a:pt x="264935" y="778601"/>
                </a:cubicBezTo>
                <a:cubicBezTo>
                  <a:pt x="237070" y="778601"/>
                  <a:pt x="209678" y="778601"/>
                  <a:pt x="181813" y="778134"/>
                </a:cubicBezTo>
                <a:cubicBezTo>
                  <a:pt x="165283" y="778134"/>
                  <a:pt x="154420" y="768787"/>
                  <a:pt x="154893" y="754300"/>
                </a:cubicBezTo>
                <a:cubicBezTo>
                  <a:pt x="155365" y="740280"/>
                  <a:pt x="165283" y="731401"/>
                  <a:pt x="182285" y="731401"/>
                </a:cubicBezTo>
                <a:close/>
                <a:moveTo>
                  <a:pt x="174924" y="655422"/>
                </a:moveTo>
                <a:cubicBezTo>
                  <a:pt x="235089" y="655422"/>
                  <a:pt x="295255" y="655422"/>
                  <a:pt x="354947" y="655422"/>
                </a:cubicBezTo>
                <a:cubicBezTo>
                  <a:pt x="369633" y="655422"/>
                  <a:pt x="379581" y="664350"/>
                  <a:pt x="379581" y="677976"/>
                </a:cubicBezTo>
                <a:cubicBezTo>
                  <a:pt x="380055" y="691133"/>
                  <a:pt x="370107" y="701000"/>
                  <a:pt x="355421" y="701000"/>
                </a:cubicBezTo>
                <a:cubicBezTo>
                  <a:pt x="325575" y="701470"/>
                  <a:pt x="295255" y="701000"/>
                  <a:pt x="264935" y="701000"/>
                </a:cubicBezTo>
                <a:cubicBezTo>
                  <a:pt x="235089" y="701000"/>
                  <a:pt x="205243" y="701000"/>
                  <a:pt x="175397" y="701000"/>
                </a:cubicBezTo>
                <a:cubicBezTo>
                  <a:pt x="159764" y="701000"/>
                  <a:pt x="150289" y="692542"/>
                  <a:pt x="149815" y="678446"/>
                </a:cubicBezTo>
                <a:cubicBezTo>
                  <a:pt x="149815" y="664350"/>
                  <a:pt x="159290" y="655422"/>
                  <a:pt x="174924" y="655422"/>
                </a:cubicBezTo>
                <a:close/>
                <a:moveTo>
                  <a:pt x="266900" y="6"/>
                </a:moveTo>
                <a:cubicBezTo>
                  <a:pt x="312016" y="300"/>
                  <a:pt x="357014" y="11725"/>
                  <a:pt x="401421" y="34573"/>
                </a:cubicBezTo>
                <a:cubicBezTo>
                  <a:pt x="484566" y="77914"/>
                  <a:pt x="523777" y="149993"/>
                  <a:pt x="528029" y="242329"/>
                </a:cubicBezTo>
                <a:cubicBezTo>
                  <a:pt x="530863" y="305928"/>
                  <a:pt x="510077" y="362460"/>
                  <a:pt x="479842" y="416637"/>
                </a:cubicBezTo>
                <a:cubicBezTo>
                  <a:pt x="470394" y="433125"/>
                  <a:pt x="460945" y="450085"/>
                  <a:pt x="451025" y="466574"/>
                </a:cubicBezTo>
                <a:cubicBezTo>
                  <a:pt x="422680" y="514626"/>
                  <a:pt x="393862" y="562207"/>
                  <a:pt x="393390" y="621095"/>
                </a:cubicBezTo>
                <a:cubicBezTo>
                  <a:pt x="372131" y="621095"/>
                  <a:pt x="352289" y="621095"/>
                  <a:pt x="331503" y="621095"/>
                </a:cubicBezTo>
                <a:cubicBezTo>
                  <a:pt x="331031" y="590002"/>
                  <a:pt x="335282" y="560323"/>
                  <a:pt x="347093" y="532528"/>
                </a:cubicBezTo>
                <a:cubicBezTo>
                  <a:pt x="363155" y="496724"/>
                  <a:pt x="381107" y="461862"/>
                  <a:pt x="400476" y="427943"/>
                </a:cubicBezTo>
                <a:cubicBezTo>
                  <a:pt x="422680" y="387899"/>
                  <a:pt x="447245" y="349740"/>
                  <a:pt x="458583" y="304986"/>
                </a:cubicBezTo>
                <a:cubicBezTo>
                  <a:pt x="480315" y="219245"/>
                  <a:pt x="449607" y="135389"/>
                  <a:pt x="377800" y="94874"/>
                </a:cubicBezTo>
                <a:cubicBezTo>
                  <a:pt x="299851" y="50590"/>
                  <a:pt x="220013" y="51533"/>
                  <a:pt x="143953" y="99114"/>
                </a:cubicBezTo>
                <a:cubicBezTo>
                  <a:pt x="77343" y="141042"/>
                  <a:pt x="57029" y="206525"/>
                  <a:pt x="65532" y="281902"/>
                </a:cubicBezTo>
                <a:cubicBezTo>
                  <a:pt x="71201" y="329012"/>
                  <a:pt x="93877" y="369527"/>
                  <a:pt x="117970" y="409570"/>
                </a:cubicBezTo>
                <a:cubicBezTo>
                  <a:pt x="142536" y="451498"/>
                  <a:pt x="168519" y="492013"/>
                  <a:pt x="183636" y="538652"/>
                </a:cubicBezTo>
                <a:cubicBezTo>
                  <a:pt x="192140" y="565034"/>
                  <a:pt x="197809" y="591887"/>
                  <a:pt x="197809" y="621566"/>
                </a:cubicBezTo>
                <a:cubicBezTo>
                  <a:pt x="177967" y="621566"/>
                  <a:pt x="160016" y="622037"/>
                  <a:pt x="142064" y="621566"/>
                </a:cubicBezTo>
                <a:cubicBezTo>
                  <a:pt x="139702" y="621095"/>
                  <a:pt x="135450" y="616855"/>
                  <a:pt x="134977" y="614028"/>
                </a:cubicBezTo>
                <a:cubicBezTo>
                  <a:pt x="133088" y="569745"/>
                  <a:pt x="114191" y="531114"/>
                  <a:pt x="93405" y="493426"/>
                </a:cubicBezTo>
                <a:cubicBezTo>
                  <a:pt x="71674" y="454325"/>
                  <a:pt x="48525" y="416166"/>
                  <a:pt x="28684" y="376122"/>
                </a:cubicBezTo>
                <a:cubicBezTo>
                  <a:pt x="811" y="319119"/>
                  <a:pt x="-6748" y="258818"/>
                  <a:pt x="6008" y="196632"/>
                </a:cubicBezTo>
                <a:cubicBezTo>
                  <a:pt x="21125" y="121256"/>
                  <a:pt x="63170" y="65666"/>
                  <a:pt x="131671" y="32218"/>
                </a:cubicBezTo>
                <a:cubicBezTo>
                  <a:pt x="176550" y="10547"/>
                  <a:pt x="221784" y="-288"/>
                  <a:pt x="266900" y="6"/>
                </a:cubicBezTo>
                <a:close/>
              </a:path>
            </a:pathLst>
          </a:custGeom>
          <a:solidFill>
            <a:schemeClr val="accent1"/>
          </a:solidFill>
          <a:ln w="9525">
            <a:noFill/>
            <a:round/>
            <a:headEnd/>
            <a:tailEnd/>
          </a:ln>
        </p:spPr>
        <p:txBody>
          <a:bodyPr vert="horz" wrap="square" lIns="93235" tIns="46617" rIns="93235" bIns="46617" numCol="1" anchor="t" anchorCtr="0" compatLnSpc="1">
            <a:prstTxWarp prst="textNoShape">
              <a:avLst/>
            </a:prstTxWarp>
            <a:noAutofit/>
          </a:bodyPr>
          <a:lstStyle/>
          <a:p>
            <a:pPr marL="0" marR="0" lvl="0" indent="0" algn="l" defTabSz="932507"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505050"/>
              </a:solidFill>
              <a:effectLst/>
              <a:uLnTx/>
              <a:uFillTx/>
              <a:latin typeface="Segoe UI Light"/>
              <a:ea typeface="+mn-ea"/>
              <a:cs typeface="+mn-cs"/>
            </a:endParaRPr>
          </a:p>
        </p:txBody>
      </p:sp>
      <p:cxnSp>
        <p:nvCxnSpPr>
          <p:cNvPr id="71" name="Straight Arrow Connector 70">
            <a:extLst>
              <a:ext uri="{FF2B5EF4-FFF2-40B4-BE49-F238E27FC236}">
                <a16:creationId xmlns:a16="http://schemas.microsoft.com/office/drawing/2014/main" id="{195CF155-0C26-4189-826F-F8EE0AC1C80F}"/>
              </a:ext>
            </a:extLst>
          </p:cNvPr>
          <p:cNvCxnSpPr>
            <a:cxnSpLocks/>
          </p:cNvCxnSpPr>
          <p:nvPr/>
        </p:nvCxnSpPr>
        <p:spPr>
          <a:xfrm>
            <a:off x="5392130" y="5326348"/>
            <a:ext cx="1097280" cy="1"/>
          </a:xfrm>
          <a:prstGeom prst="straightConnector1">
            <a:avLst/>
          </a:prstGeom>
          <a:ln w="19050" cap="rnd">
            <a:solidFill>
              <a:schemeClr val="accent2"/>
            </a:solidFill>
            <a:headEnd type="none" w="lg" len="lg"/>
            <a:tailEnd type="arrow" w="lg" len="lg"/>
          </a:ln>
        </p:spPr>
        <p:style>
          <a:lnRef idx="1">
            <a:schemeClr val="accent1"/>
          </a:lnRef>
          <a:fillRef idx="0">
            <a:schemeClr val="accent1"/>
          </a:fillRef>
          <a:effectRef idx="0">
            <a:schemeClr val="accent1"/>
          </a:effectRef>
          <a:fontRef idx="minor">
            <a:schemeClr val="tx1"/>
          </a:fontRef>
        </p:style>
      </p:cxnSp>
      <p:sp>
        <p:nvSpPr>
          <p:cNvPr id="91" name="Frame 90">
            <a:extLst>
              <a:ext uri="{FF2B5EF4-FFF2-40B4-BE49-F238E27FC236}">
                <a16:creationId xmlns:a16="http://schemas.microsoft.com/office/drawing/2014/main" id="{278F1D92-B734-41C0-8F69-70874070B9A9}"/>
              </a:ext>
            </a:extLst>
          </p:cNvPr>
          <p:cNvSpPr/>
          <p:nvPr/>
        </p:nvSpPr>
        <p:spPr bwMode="auto">
          <a:xfrm>
            <a:off x="6180364" y="5753879"/>
            <a:ext cx="1729440" cy="585642"/>
          </a:xfrm>
          <a:prstGeom prst="fram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a:extLst>
              <a:ext uri="{FF2B5EF4-FFF2-40B4-BE49-F238E27FC236}">
                <a16:creationId xmlns:a16="http://schemas.microsoft.com/office/drawing/2014/main" id="{E6AD7BC6-8EC2-43D0-A813-C766E924E551}"/>
              </a:ext>
            </a:extLst>
          </p:cNvPr>
          <p:cNvSpPr/>
          <p:nvPr/>
        </p:nvSpPr>
        <p:spPr bwMode="auto">
          <a:xfrm rot="10800000">
            <a:off x="296392" y="2800921"/>
            <a:ext cx="497662" cy="3459060"/>
          </a:xfrm>
          <a:prstGeom prst="rect">
            <a:avLst/>
          </a:prstGeom>
          <a:solidFill>
            <a:schemeClr val="bg1">
              <a:lumMod val="50000"/>
            </a:schemeClr>
          </a:solidFill>
          <a:ln w="15875" cap="flat">
            <a:noFill/>
            <a:prstDash val="solid"/>
            <a:miter lim="800000"/>
            <a:headEnd/>
            <a:tailEnd/>
          </a:ln>
          <a:effectLst>
            <a:softEdge rad="12700"/>
          </a:effectLst>
        </p:spPr>
        <p:txBody>
          <a:bodyPr vert="vert" wrap="square" lIns="0" tIns="0" rIns="0" bIns="0" numCol="1" anchor="ctr" anchorCtr="0" compatLnSpc="1">
            <a:prstTxWarp prst="textNoShape">
              <a:avLst/>
            </a:prstTxWarp>
          </a:bodyPr>
          <a:lstStyle/>
          <a:p>
            <a:pPr marL="0" marR="0" lvl="0" indent="0" algn="ctr" defTabSz="896215" rtl="0" eaLnBrk="1" fontAlgn="auto" latinLnBrk="0" hangingPunct="1">
              <a:lnSpc>
                <a:spcPct val="90000"/>
              </a:lnSpc>
              <a:spcBef>
                <a:spcPts val="0"/>
              </a:spcBef>
              <a:spcAft>
                <a:spcPts val="401"/>
              </a:spcAft>
              <a:buClrTx/>
              <a:buSzTx/>
              <a:buFontTx/>
              <a:buNone/>
              <a:tabLst/>
              <a:defRPr/>
            </a:pPr>
            <a:r>
              <a:rPr kumimoji="0" lang="en-US" sz="1600" b="0" i="0" u="none" strike="noStrike" kern="1200" cap="none" spc="0" normalizeH="0" baseline="0" noProof="0">
                <a:ln>
                  <a:noFill/>
                </a:ln>
                <a:gradFill>
                  <a:gsLst>
                    <a:gs pos="26804">
                      <a:srgbClr val="FFFFFF"/>
                    </a:gs>
                    <a:gs pos="49000">
                      <a:srgbClr val="FFFFFF"/>
                    </a:gs>
                  </a:gsLst>
                  <a:lin ang="5400000" scaled="1"/>
                </a:gradFill>
                <a:effectLst/>
                <a:uLnTx/>
                <a:uFillTx/>
                <a:latin typeface="Segoe UI Semibold"/>
                <a:ea typeface="+mn-ea"/>
                <a:cs typeface="+mn-cs"/>
              </a:rPr>
              <a:t>Build your</a:t>
            </a:r>
            <a:r>
              <a:rPr kumimoji="0" lang="en-US" sz="1600" b="0" i="0" u="none" strike="noStrike" kern="1200" cap="none" spc="0" normalizeH="0" noProof="0">
                <a:ln>
                  <a:noFill/>
                </a:ln>
                <a:gradFill>
                  <a:gsLst>
                    <a:gs pos="26804">
                      <a:srgbClr val="FFFFFF"/>
                    </a:gs>
                    <a:gs pos="49000">
                      <a:srgbClr val="FFFFFF"/>
                    </a:gs>
                  </a:gsLst>
                  <a:lin ang="5400000" scaled="1"/>
                </a:gradFill>
                <a:effectLst/>
                <a:uLnTx/>
                <a:uFillTx/>
                <a:latin typeface="Segoe UI Semibold"/>
                <a:ea typeface="+mn-ea"/>
                <a:cs typeface="+mn-cs"/>
              </a:rPr>
              <a:t> own | </a:t>
            </a:r>
            <a:r>
              <a:rPr kumimoji="0" lang="en-US" sz="1400" b="0" i="0" u="none" strike="noStrike" kern="1200" cap="none" spc="0" normalizeH="0" noProof="0">
                <a:ln>
                  <a:noFill/>
                </a:ln>
                <a:solidFill>
                  <a:schemeClr val="bg1">
                    <a:lumMod val="75000"/>
                  </a:schemeClr>
                </a:solidFill>
                <a:effectLst/>
                <a:uLnTx/>
                <a:uFillTx/>
                <a:latin typeface="Segoe UI Semibold"/>
                <a:ea typeface="+mn-ea"/>
                <a:cs typeface="+mn-cs"/>
              </a:rPr>
              <a:t>Services</a:t>
            </a:r>
            <a:r>
              <a:rPr kumimoji="0" lang="en-US" sz="1600" b="0" i="0" u="none" strike="noStrike" kern="1200" cap="none" spc="0" normalizeH="0" baseline="0" noProof="0">
                <a:ln>
                  <a:noFill/>
                </a:ln>
                <a:gradFill>
                  <a:gsLst>
                    <a:gs pos="26804">
                      <a:srgbClr val="FFFFFF"/>
                    </a:gs>
                    <a:gs pos="49000">
                      <a:srgbClr val="FFFFFF"/>
                    </a:gs>
                  </a:gsLst>
                  <a:lin ang="5400000" scaled="1"/>
                </a:gradFill>
                <a:effectLst/>
                <a:uLnTx/>
                <a:uFillTx/>
                <a:latin typeface="Segoe UI Semibold"/>
                <a:ea typeface="+mn-ea"/>
                <a:cs typeface="+mn-cs"/>
              </a:rPr>
              <a:t>  </a:t>
            </a:r>
          </a:p>
        </p:txBody>
      </p:sp>
      <p:sp>
        <p:nvSpPr>
          <p:cNvPr id="93" name="Rectangle 92">
            <a:extLst>
              <a:ext uri="{FF2B5EF4-FFF2-40B4-BE49-F238E27FC236}">
                <a16:creationId xmlns:a16="http://schemas.microsoft.com/office/drawing/2014/main" id="{378DD1B5-6A10-4C91-AD9E-ACCBC48C25D8}"/>
              </a:ext>
            </a:extLst>
          </p:cNvPr>
          <p:cNvSpPr/>
          <p:nvPr/>
        </p:nvSpPr>
        <p:spPr bwMode="auto">
          <a:xfrm rot="10800000">
            <a:off x="320860" y="1223853"/>
            <a:ext cx="471608" cy="1374444"/>
          </a:xfrm>
          <a:prstGeom prst="rect">
            <a:avLst/>
          </a:prstGeom>
          <a:solidFill>
            <a:schemeClr val="bg1">
              <a:lumMod val="50000"/>
            </a:schemeClr>
          </a:solidFill>
          <a:ln w="15875" cap="flat">
            <a:noFill/>
            <a:prstDash val="solid"/>
            <a:miter lim="800000"/>
            <a:headEnd/>
            <a:tailEnd/>
          </a:ln>
          <a:effectLst>
            <a:outerShdw blurRad="63500" sx="102000" sy="102000" algn="ctr" rotWithShape="0">
              <a:prstClr val="black">
                <a:alpha val="40000"/>
              </a:prstClr>
            </a:outerShdw>
          </a:effectLst>
        </p:spPr>
        <p:txBody>
          <a:bodyPr vert="vert" wrap="square" lIns="0" tIns="0" rIns="0" bIns="0" numCol="1" anchor="ctr" anchorCtr="0" compatLnSpc="1">
            <a:prstTxWarp prst="textNoShape">
              <a:avLst/>
            </a:prstTxWarp>
          </a:bodyPr>
          <a:lstStyle/>
          <a:p>
            <a:pPr marL="0" marR="0" lvl="0" indent="0" algn="ctr" defTabSz="896215" rtl="0" eaLnBrk="1" fontAlgn="auto" latinLnBrk="0" hangingPunct="1">
              <a:lnSpc>
                <a:spcPct val="90000"/>
              </a:lnSpc>
              <a:spcBef>
                <a:spcPts val="0"/>
              </a:spcBef>
              <a:spcAft>
                <a:spcPts val="401"/>
              </a:spcAft>
              <a:buClrTx/>
              <a:buSzTx/>
              <a:buFontTx/>
              <a:buNone/>
              <a:tabLst/>
              <a:defRPr/>
            </a:pPr>
            <a:r>
              <a:rPr kumimoji="0" lang="en-US" sz="1600" b="0" i="0" u="none" strike="noStrike" kern="1200" cap="none" spc="0" normalizeH="0" baseline="0" noProof="0">
                <a:ln>
                  <a:noFill/>
                </a:ln>
                <a:solidFill>
                  <a:schemeClr val="bg1"/>
                </a:solidFill>
                <a:effectLst/>
                <a:uLnTx/>
                <a:uFillTx/>
                <a:latin typeface="Segoe UI Semibold"/>
                <a:ea typeface="+mn-ea"/>
                <a:cs typeface="+mn-cs"/>
              </a:rPr>
              <a:t>Use | </a:t>
            </a:r>
            <a:r>
              <a:rPr kumimoji="0" lang="en-US" sz="1400" b="0" i="0" u="none" strike="noStrike" kern="1200" cap="none" spc="0" normalizeH="0" baseline="0" noProof="0">
                <a:ln>
                  <a:noFill/>
                </a:ln>
                <a:solidFill>
                  <a:schemeClr val="bg1">
                    <a:lumMod val="75000"/>
                  </a:schemeClr>
                </a:solidFill>
                <a:effectLst/>
                <a:uLnTx/>
                <a:uFillTx/>
                <a:latin typeface="Segoe UI Semibold"/>
                <a:ea typeface="+mn-ea"/>
                <a:cs typeface="+mn-cs"/>
              </a:rPr>
              <a:t>Solutions</a:t>
            </a:r>
            <a:r>
              <a:rPr kumimoji="0" lang="en-US" sz="1600" b="0" i="0" u="none" strike="noStrike" kern="1200" cap="none" spc="0" normalizeH="0" baseline="0" noProof="0">
                <a:ln>
                  <a:noFill/>
                </a:ln>
                <a:solidFill>
                  <a:schemeClr val="bg1"/>
                </a:solidFill>
                <a:effectLst/>
                <a:uLnTx/>
                <a:uFillTx/>
                <a:latin typeface="Segoe UI Semibold"/>
                <a:ea typeface="+mn-ea"/>
                <a:cs typeface="+mn-cs"/>
              </a:rPr>
              <a:t>  </a:t>
            </a:r>
          </a:p>
        </p:txBody>
      </p:sp>
      <p:sp>
        <p:nvSpPr>
          <p:cNvPr id="150" name="Rectangle 149">
            <a:extLst>
              <a:ext uri="{FF2B5EF4-FFF2-40B4-BE49-F238E27FC236}">
                <a16:creationId xmlns:a16="http://schemas.microsoft.com/office/drawing/2014/main" id="{CB1CEF59-E59E-4029-876F-466B361C2C28}"/>
              </a:ext>
            </a:extLst>
          </p:cNvPr>
          <p:cNvSpPr/>
          <p:nvPr/>
        </p:nvSpPr>
        <p:spPr bwMode="auto">
          <a:xfrm>
            <a:off x="8916143" y="1763043"/>
            <a:ext cx="933151" cy="4304448"/>
          </a:xfrm>
          <a:prstGeom prst="rect">
            <a:avLst/>
          </a:prstGeom>
          <a:solidFill>
            <a:schemeClr val="bg1">
              <a:lumMod val="95000"/>
            </a:schemeClr>
          </a:solidFill>
          <a:ln>
            <a:noFill/>
            <a:headEnd type="none" w="med" len="med"/>
            <a:tailEnd type="none" w="med" len="med"/>
          </a:ln>
          <a:effectLst>
            <a:outerShdw blurRad="63500" sx="102000" sy="102000" algn="ctr" rotWithShape="0">
              <a:prstClr val="black">
                <a:alpha val="40000"/>
              </a:prstClr>
            </a:outerShdw>
            <a:softEdge rad="127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52" name="Group 151">
            <a:extLst>
              <a:ext uri="{FF2B5EF4-FFF2-40B4-BE49-F238E27FC236}">
                <a16:creationId xmlns:a16="http://schemas.microsoft.com/office/drawing/2014/main" id="{89327B54-4C52-42D4-ADF7-9FD7390C8850}"/>
              </a:ext>
            </a:extLst>
          </p:cNvPr>
          <p:cNvGrpSpPr/>
          <p:nvPr/>
        </p:nvGrpSpPr>
        <p:grpSpPr>
          <a:xfrm rot="5400000">
            <a:off x="6480997" y="3801501"/>
            <a:ext cx="4250248" cy="239353"/>
            <a:chOff x="4367213" y="3701266"/>
            <a:chExt cx="3695700" cy="174624"/>
          </a:xfrm>
        </p:grpSpPr>
        <p:cxnSp>
          <p:nvCxnSpPr>
            <p:cNvPr id="153" name="Straight Arrow Connector 152">
              <a:extLst>
                <a:ext uri="{FF2B5EF4-FFF2-40B4-BE49-F238E27FC236}">
                  <a16:creationId xmlns:a16="http://schemas.microsoft.com/office/drawing/2014/main" id="{2C14E104-53CD-4796-A708-40082CAB2475}"/>
                </a:ext>
              </a:extLst>
            </p:cNvPr>
            <p:cNvCxnSpPr>
              <a:cxnSpLocks/>
            </p:cNvCxnSpPr>
            <p:nvPr/>
          </p:nvCxnSpPr>
          <p:spPr>
            <a:xfrm>
              <a:off x="4367213" y="3701266"/>
              <a:ext cx="0" cy="174624"/>
            </a:xfrm>
            <a:prstGeom prst="straightConnector1">
              <a:avLst/>
            </a:prstGeom>
            <a:noFill/>
            <a:ln w="12700" cap="flat" cmpd="sng" algn="ctr">
              <a:solidFill>
                <a:srgbClr val="0078D7"/>
              </a:solidFill>
              <a:prstDash val="solid"/>
              <a:headEnd type="arrow" w="sm" len="sm"/>
              <a:tailEnd type="arrow" w="sm" len="sm"/>
            </a:ln>
            <a:effectLst/>
          </p:spPr>
        </p:cxnSp>
        <p:cxnSp>
          <p:nvCxnSpPr>
            <p:cNvPr id="154" name="Straight Arrow Connector 153">
              <a:extLst>
                <a:ext uri="{FF2B5EF4-FFF2-40B4-BE49-F238E27FC236}">
                  <a16:creationId xmlns:a16="http://schemas.microsoft.com/office/drawing/2014/main" id="{7A938555-D9AF-4613-8C98-C6D13A38994B}"/>
                </a:ext>
              </a:extLst>
            </p:cNvPr>
            <p:cNvCxnSpPr>
              <a:cxnSpLocks/>
            </p:cNvCxnSpPr>
            <p:nvPr/>
          </p:nvCxnSpPr>
          <p:spPr>
            <a:xfrm>
              <a:off x="4561724" y="3701266"/>
              <a:ext cx="0" cy="174624"/>
            </a:xfrm>
            <a:prstGeom prst="straightConnector1">
              <a:avLst/>
            </a:prstGeom>
            <a:noFill/>
            <a:ln w="12700" cap="flat" cmpd="sng" algn="ctr">
              <a:solidFill>
                <a:srgbClr val="0078D7"/>
              </a:solidFill>
              <a:prstDash val="solid"/>
              <a:headEnd type="arrow" w="sm" len="sm"/>
              <a:tailEnd type="arrow" w="sm" len="sm"/>
            </a:ln>
            <a:effectLst/>
          </p:spPr>
        </p:cxnSp>
        <p:cxnSp>
          <p:nvCxnSpPr>
            <p:cNvPr id="156" name="Straight Arrow Connector 155">
              <a:extLst>
                <a:ext uri="{FF2B5EF4-FFF2-40B4-BE49-F238E27FC236}">
                  <a16:creationId xmlns:a16="http://schemas.microsoft.com/office/drawing/2014/main" id="{34045241-89B5-481E-A99A-6260B4D8D303}"/>
                </a:ext>
              </a:extLst>
            </p:cNvPr>
            <p:cNvCxnSpPr>
              <a:cxnSpLocks/>
            </p:cNvCxnSpPr>
            <p:nvPr/>
          </p:nvCxnSpPr>
          <p:spPr>
            <a:xfrm>
              <a:off x="4756235" y="3701266"/>
              <a:ext cx="0" cy="174624"/>
            </a:xfrm>
            <a:prstGeom prst="straightConnector1">
              <a:avLst/>
            </a:prstGeom>
            <a:noFill/>
            <a:ln w="12700" cap="flat" cmpd="sng" algn="ctr">
              <a:solidFill>
                <a:srgbClr val="0078D7"/>
              </a:solidFill>
              <a:prstDash val="solid"/>
              <a:headEnd type="arrow" w="sm" len="sm"/>
              <a:tailEnd type="arrow" w="sm" len="sm"/>
            </a:ln>
            <a:effectLst/>
          </p:spPr>
        </p:cxnSp>
        <p:cxnSp>
          <p:nvCxnSpPr>
            <p:cNvPr id="157" name="Straight Arrow Connector 156">
              <a:extLst>
                <a:ext uri="{FF2B5EF4-FFF2-40B4-BE49-F238E27FC236}">
                  <a16:creationId xmlns:a16="http://schemas.microsoft.com/office/drawing/2014/main" id="{88509DDA-A53D-4AF6-8A55-61937096999C}"/>
                </a:ext>
              </a:extLst>
            </p:cNvPr>
            <p:cNvCxnSpPr>
              <a:cxnSpLocks/>
            </p:cNvCxnSpPr>
            <p:nvPr/>
          </p:nvCxnSpPr>
          <p:spPr>
            <a:xfrm>
              <a:off x="4950746" y="3701266"/>
              <a:ext cx="0" cy="174624"/>
            </a:xfrm>
            <a:prstGeom prst="straightConnector1">
              <a:avLst/>
            </a:prstGeom>
            <a:noFill/>
            <a:ln w="12700" cap="flat" cmpd="sng" algn="ctr">
              <a:solidFill>
                <a:srgbClr val="0078D7"/>
              </a:solidFill>
              <a:prstDash val="solid"/>
              <a:headEnd type="arrow" w="sm" len="sm"/>
              <a:tailEnd type="arrow" w="sm" len="sm"/>
            </a:ln>
            <a:effectLst/>
          </p:spPr>
        </p:cxnSp>
        <p:cxnSp>
          <p:nvCxnSpPr>
            <p:cNvPr id="160" name="Straight Arrow Connector 159">
              <a:extLst>
                <a:ext uri="{FF2B5EF4-FFF2-40B4-BE49-F238E27FC236}">
                  <a16:creationId xmlns:a16="http://schemas.microsoft.com/office/drawing/2014/main" id="{38C4433C-CA7C-4C37-BBE4-17EDF43FB062}"/>
                </a:ext>
              </a:extLst>
            </p:cNvPr>
            <p:cNvCxnSpPr>
              <a:cxnSpLocks/>
            </p:cNvCxnSpPr>
            <p:nvPr/>
          </p:nvCxnSpPr>
          <p:spPr>
            <a:xfrm>
              <a:off x="5145257" y="3701266"/>
              <a:ext cx="0" cy="174624"/>
            </a:xfrm>
            <a:prstGeom prst="straightConnector1">
              <a:avLst/>
            </a:prstGeom>
            <a:noFill/>
            <a:ln w="12700" cap="flat" cmpd="sng" algn="ctr">
              <a:solidFill>
                <a:srgbClr val="0078D7"/>
              </a:solidFill>
              <a:prstDash val="solid"/>
              <a:headEnd type="arrow" w="sm" len="sm"/>
              <a:tailEnd type="arrow" w="sm" len="sm"/>
            </a:ln>
            <a:effectLst/>
          </p:spPr>
        </p:cxnSp>
        <p:cxnSp>
          <p:nvCxnSpPr>
            <p:cNvPr id="162" name="Straight Arrow Connector 161">
              <a:extLst>
                <a:ext uri="{FF2B5EF4-FFF2-40B4-BE49-F238E27FC236}">
                  <a16:creationId xmlns:a16="http://schemas.microsoft.com/office/drawing/2014/main" id="{34F32D6D-31CD-4024-B7CD-95217DDEFDF3}"/>
                </a:ext>
              </a:extLst>
            </p:cNvPr>
            <p:cNvCxnSpPr>
              <a:cxnSpLocks/>
            </p:cNvCxnSpPr>
            <p:nvPr/>
          </p:nvCxnSpPr>
          <p:spPr>
            <a:xfrm>
              <a:off x="5339768" y="3701266"/>
              <a:ext cx="0" cy="174624"/>
            </a:xfrm>
            <a:prstGeom prst="straightConnector1">
              <a:avLst/>
            </a:prstGeom>
            <a:noFill/>
            <a:ln w="12700" cap="flat" cmpd="sng" algn="ctr">
              <a:solidFill>
                <a:srgbClr val="0078D7"/>
              </a:solidFill>
              <a:prstDash val="solid"/>
              <a:headEnd type="arrow" w="sm" len="sm"/>
              <a:tailEnd type="arrow" w="sm" len="sm"/>
            </a:ln>
            <a:effectLst/>
          </p:spPr>
        </p:cxnSp>
        <p:cxnSp>
          <p:nvCxnSpPr>
            <p:cNvPr id="169" name="Straight Arrow Connector 168">
              <a:extLst>
                <a:ext uri="{FF2B5EF4-FFF2-40B4-BE49-F238E27FC236}">
                  <a16:creationId xmlns:a16="http://schemas.microsoft.com/office/drawing/2014/main" id="{D7D7DC81-CEB8-48F3-B760-2267A6F0BA94}"/>
                </a:ext>
              </a:extLst>
            </p:cNvPr>
            <p:cNvCxnSpPr>
              <a:cxnSpLocks/>
            </p:cNvCxnSpPr>
            <p:nvPr/>
          </p:nvCxnSpPr>
          <p:spPr>
            <a:xfrm>
              <a:off x="5534279" y="3701266"/>
              <a:ext cx="0" cy="174624"/>
            </a:xfrm>
            <a:prstGeom prst="straightConnector1">
              <a:avLst/>
            </a:prstGeom>
            <a:noFill/>
            <a:ln w="12700" cap="flat" cmpd="sng" algn="ctr">
              <a:solidFill>
                <a:srgbClr val="0078D7"/>
              </a:solidFill>
              <a:prstDash val="solid"/>
              <a:headEnd type="arrow" w="sm" len="sm"/>
              <a:tailEnd type="arrow" w="sm" len="sm"/>
            </a:ln>
            <a:effectLst/>
          </p:spPr>
        </p:cxnSp>
        <p:cxnSp>
          <p:nvCxnSpPr>
            <p:cNvPr id="170" name="Straight Arrow Connector 169">
              <a:extLst>
                <a:ext uri="{FF2B5EF4-FFF2-40B4-BE49-F238E27FC236}">
                  <a16:creationId xmlns:a16="http://schemas.microsoft.com/office/drawing/2014/main" id="{8A65CCC1-7814-4F45-B60B-A3AC7E5329DE}"/>
                </a:ext>
              </a:extLst>
            </p:cNvPr>
            <p:cNvCxnSpPr>
              <a:cxnSpLocks/>
            </p:cNvCxnSpPr>
            <p:nvPr/>
          </p:nvCxnSpPr>
          <p:spPr>
            <a:xfrm>
              <a:off x="5728790" y="3701266"/>
              <a:ext cx="0" cy="174624"/>
            </a:xfrm>
            <a:prstGeom prst="straightConnector1">
              <a:avLst/>
            </a:prstGeom>
            <a:noFill/>
            <a:ln w="12700" cap="flat" cmpd="sng" algn="ctr">
              <a:solidFill>
                <a:srgbClr val="0078D7"/>
              </a:solidFill>
              <a:prstDash val="solid"/>
              <a:headEnd type="arrow" w="sm" len="sm"/>
              <a:tailEnd type="arrow" w="sm" len="sm"/>
            </a:ln>
            <a:effectLst/>
          </p:spPr>
        </p:cxnSp>
        <p:cxnSp>
          <p:nvCxnSpPr>
            <p:cNvPr id="171" name="Straight Arrow Connector 170">
              <a:extLst>
                <a:ext uri="{FF2B5EF4-FFF2-40B4-BE49-F238E27FC236}">
                  <a16:creationId xmlns:a16="http://schemas.microsoft.com/office/drawing/2014/main" id="{4C20E353-97C9-46CE-B1B6-15C10DC0F12A}"/>
                </a:ext>
              </a:extLst>
            </p:cNvPr>
            <p:cNvCxnSpPr>
              <a:cxnSpLocks/>
            </p:cNvCxnSpPr>
            <p:nvPr/>
          </p:nvCxnSpPr>
          <p:spPr>
            <a:xfrm>
              <a:off x="5923301" y="3701266"/>
              <a:ext cx="0" cy="174624"/>
            </a:xfrm>
            <a:prstGeom prst="straightConnector1">
              <a:avLst/>
            </a:prstGeom>
            <a:noFill/>
            <a:ln w="12700" cap="flat" cmpd="sng" algn="ctr">
              <a:solidFill>
                <a:srgbClr val="0078D7"/>
              </a:solidFill>
              <a:prstDash val="solid"/>
              <a:headEnd type="arrow" w="sm" len="sm"/>
              <a:tailEnd type="arrow" w="sm" len="sm"/>
            </a:ln>
            <a:effectLst/>
          </p:spPr>
        </p:cxnSp>
        <p:cxnSp>
          <p:nvCxnSpPr>
            <p:cNvPr id="172" name="Straight Arrow Connector 171">
              <a:extLst>
                <a:ext uri="{FF2B5EF4-FFF2-40B4-BE49-F238E27FC236}">
                  <a16:creationId xmlns:a16="http://schemas.microsoft.com/office/drawing/2014/main" id="{95C1C779-0E8D-47A5-A601-E2453774C685}"/>
                </a:ext>
              </a:extLst>
            </p:cNvPr>
            <p:cNvCxnSpPr>
              <a:cxnSpLocks/>
            </p:cNvCxnSpPr>
            <p:nvPr/>
          </p:nvCxnSpPr>
          <p:spPr>
            <a:xfrm>
              <a:off x="6117812" y="3701266"/>
              <a:ext cx="0" cy="174624"/>
            </a:xfrm>
            <a:prstGeom prst="straightConnector1">
              <a:avLst/>
            </a:prstGeom>
            <a:noFill/>
            <a:ln w="12700" cap="flat" cmpd="sng" algn="ctr">
              <a:solidFill>
                <a:srgbClr val="0078D7"/>
              </a:solidFill>
              <a:prstDash val="solid"/>
              <a:headEnd type="arrow" w="sm" len="sm"/>
              <a:tailEnd type="arrow" w="sm" len="sm"/>
            </a:ln>
            <a:effectLst/>
          </p:spPr>
        </p:cxnSp>
        <p:cxnSp>
          <p:nvCxnSpPr>
            <p:cNvPr id="173" name="Straight Arrow Connector 172">
              <a:extLst>
                <a:ext uri="{FF2B5EF4-FFF2-40B4-BE49-F238E27FC236}">
                  <a16:creationId xmlns:a16="http://schemas.microsoft.com/office/drawing/2014/main" id="{5F514961-D54C-4EAD-8EB3-80D856BC52E3}"/>
                </a:ext>
              </a:extLst>
            </p:cNvPr>
            <p:cNvCxnSpPr>
              <a:cxnSpLocks/>
            </p:cNvCxnSpPr>
            <p:nvPr/>
          </p:nvCxnSpPr>
          <p:spPr>
            <a:xfrm>
              <a:off x="6312323" y="3701266"/>
              <a:ext cx="0" cy="174624"/>
            </a:xfrm>
            <a:prstGeom prst="straightConnector1">
              <a:avLst/>
            </a:prstGeom>
            <a:noFill/>
            <a:ln w="12700" cap="flat" cmpd="sng" algn="ctr">
              <a:solidFill>
                <a:srgbClr val="0078D7"/>
              </a:solidFill>
              <a:prstDash val="solid"/>
              <a:headEnd type="arrow" w="sm" len="sm"/>
              <a:tailEnd type="arrow" w="sm" len="sm"/>
            </a:ln>
            <a:effectLst/>
          </p:spPr>
        </p:cxnSp>
        <p:cxnSp>
          <p:nvCxnSpPr>
            <p:cNvPr id="174" name="Straight Arrow Connector 173">
              <a:extLst>
                <a:ext uri="{FF2B5EF4-FFF2-40B4-BE49-F238E27FC236}">
                  <a16:creationId xmlns:a16="http://schemas.microsoft.com/office/drawing/2014/main" id="{C7DE8378-5AA4-44C1-8EF0-C87877A22241}"/>
                </a:ext>
              </a:extLst>
            </p:cNvPr>
            <p:cNvCxnSpPr>
              <a:cxnSpLocks/>
            </p:cNvCxnSpPr>
            <p:nvPr/>
          </p:nvCxnSpPr>
          <p:spPr>
            <a:xfrm>
              <a:off x="6506834" y="3701266"/>
              <a:ext cx="0" cy="174624"/>
            </a:xfrm>
            <a:prstGeom prst="straightConnector1">
              <a:avLst/>
            </a:prstGeom>
            <a:noFill/>
            <a:ln w="12700" cap="flat" cmpd="sng" algn="ctr">
              <a:solidFill>
                <a:srgbClr val="0078D7"/>
              </a:solidFill>
              <a:prstDash val="solid"/>
              <a:headEnd type="arrow" w="sm" len="sm"/>
              <a:tailEnd type="arrow" w="sm" len="sm"/>
            </a:ln>
            <a:effectLst/>
          </p:spPr>
        </p:cxnSp>
        <p:cxnSp>
          <p:nvCxnSpPr>
            <p:cNvPr id="175" name="Straight Arrow Connector 174">
              <a:extLst>
                <a:ext uri="{FF2B5EF4-FFF2-40B4-BE49-F238E27FC236}">
                  <a16:creationId xmlns:a16="http://schemas.microsoft.com/office/drawing/2014/main" id="{4BDAF991-EF48-4EDD-A569-87F6D6B3DD4C}"/>
                </a:ext>
              </a:extLst>
            </p:cNvPr>
            <p:cNvCxnSpPr>
              <a:cxnSpLocks/>
            </p:cNvCxnSpPr>
            <p:nvPr/>
          </p:nvCxnSpPr>
          <p:spPr>
            <a:xfrm>
              <a:off x="6701345" y="3701266"/>
              <a:ext cx="0" cy="174624"/>
            </a:xfrm>
            <a:prstGeom prst="straightConnector1">
              <a:avLst/>
            </a:prstGeom>
            <a:noFill/>
            <a:ln w="12700" cap="flat" cmpd="sng" algn="ctr">
              <a:solidFill>
                <a:srgbClr val="0078D7"/>
              </a:solidFill>
              <a:prstDash val="solid"/>
              <a:headEnd type="arrow" w="sm" len="sm"/>
              <a:tailEnd type="arrow" w="sm" len="sm"/>
            </a:ln>
            <a:effectLst/>
          </p:spPr>
        </p:cxnSp>
        <p:cxnSp>
          <p:nvCxnSpPr>
            <p:cNvPr id="176" name="Straight Arrow Connector 175">
              <a:extLst>
                <a:ext uri="{FF2B5EF4-FFF2-40B4-BE49-F238E27FC236}">
                  <a16:creationId xmlns:a16="http://schemas.microsoft.com/office/drawing/2014/main" id="{DBAB0688-F30A-40DB-A022-52A95CA88A68}"/>
                </a:ext>
              </a:extLst>
            </p:cNvPr>
            <p:cNvCxnSpPr>
              <a:cxnSpLocks/>
            </p:cNvCxnSpPr>
            <p:nvPr/>
          </p:nvCxnSpPr>
          <p:spPr>
            <a:xfrm>
              <a:off x="6895856" y="3701266"/>
              <a:ext cx="0" cy="174624"/>
            </a:xfrm>
            <a:prstGeom prst="straightConnector1">
              <a:avLst/>
            </a:prstGeom>
            <a:noFill/>
            <a:ln w="12700" cap="flat" cmpd="sng" algn="ctr">
              <a:solidFill>
                <a:srgbClr val="0078D7"/>
              </a:solidFill>
              <a:prstDash val="solid"/>
              <a:headEnd type="arrow" w="sm" len="sm"/>
              <a:tailEnd type="arrow" w="sm" len="sm"/>
            </a:ln>
            <a:effectLst/>
          </p:spPr>
        </p:cxnSp>
        <p:cxnSp>
          <p:nvCxnSpPr>
            <p:cNvPr id="177" name="Straight Arrow Connector 176">
              <a:extLst>
                <a:ext uri="{FF2B5EF4-FFF2-40B4-BE49-F238E27FC236}">
                  <a16:creationId xmlns:a16="http://schemas.microsoft.com/office/drawing/2014/main" id="{D57255DE-1E36-4F18-9E44-383F99780E3A}"/>
                </a:ext>
              </a:extLst>
            </p:cNvPr>
            <p:cNvCxnSpPr>
              <a:cxnSpLocks/>
            </p:cNvCxnSpPr>
            <p:nvPr/>
          </p:nvCxnSpPr>
          <p:spPr>
            <a:xfrm>
              <a:off x="7090367" y="3701266"/>
              <a:ext cx="0" cy="174624"/>
            </a:xfrm>
            <a:prstGeom prst="straightConnector1">
              <a:avLst/>
            </a:prstGeom>
            <a:noFill/>
            <a:ln w="12700" cap="flat" cmpd="sng" algn="ctr">
              <a:solidFill>
                <a:srgbClr val="0078D7"/>
              </a:solidFill>
              <a:prstDash val="solid"/>
              <a:headEnd type="arrow" w="sm" len="sm"/>
              <a:tailEnd type="arrow" w="sm" len="sm"/>
            </a:ln>
            <a:effectLst/>
          </p:spPr>
        </p:cxnSp>
        <p:cxnSp>
          <p:nvCxnSpPr>
            <p:cNvPr id="178" name="Straight Arrow Connector 177">
              <a:extLst>
                <a:ext uri="{FF2B5EF4-FFF2-40B4-BE49-F238E27FC236}">
                  <a16:creationId xmlns:a16="http://schemas.microsoft.com/office/drawing/2014/main" id="{8BE9652B-CAEA-4501-8464-C5C50285553C}"/>
                </a:ext>
              </a:extLst>
            </p:cNvPr>
            <p:cNvCxnSpPr>
              <a:cxnSpLocks/>
            </p:cNvCxnSpPr>
            <p:nvPr/>
          </p:nvCxnSpPr>
          <p:spPr>
            <a:xfrm>
              <a:off x="7284878" y="3701266"/>
              <a:ext cx="0" cy="174624"/>
            </a:xfrm>
            <a:prstGeom prst="straightConnector1">
              <a:avLst/>
            </a:prstGeom>
            <a:noFill/>
            <a:ln w="12700" cap="flat" cmpd="sng" algn="ctr">
              <a:solidFill>
                <a:srgbClr val="0078D7"/>
              </a:solidFill>
              <a:prstDash val="solid"/>
              <a:headEnd type="arrow" w="sm" len="sm"/>
              <a:tailEnd type="arrow" w="sm" len="sm"/>
            </a:ln>
            <a:effectLst/>
          </p:spPr>
        </p:cxnSp>
        <p:cxnSp>
          <p:nvCxnSpPr>
            <p:cNvPr id="179" name="Straight Arrow Connector 178">
              <a:extLst>
                <a:ext uri="{FF2B5EF4-FFF2-40B4-BE49-F238E27FC236}">
                  <a16:creationId xmlns:a16="http://schemas.microsoft.com/office/drawing/2014/main" id="{36DBD0CD-1146-4668-88E4-269BBE828E12}"/>
                </a:ext>
              </a:extLst>
            </p:cNvPr>
            <p:cNvCxnSpPr>
              <a:cxnSpLocks/>
            </p:cNvCxnSpPr>
            <p:nvPr/>
          </p:nvCxnSpPr>
          <p:spPr>
            <a:xfrm>
              <a:off x="7479389" y="3701266"/>
              <a:ext cx="0" cy="174624"/>
            </a:xfrm>
            <a:prstGeom prst="straightConnector1">
              <a:avLst/>
            </a:prstGeom>
            <a:noFill/>
            <a:ln w="12700" cap="flat" cmpd="sng" algn="ctr">
              <a:solidFill>
                <a:srgbClr val="0078D7"/>
              </a:solidFill>
              <a:prstDash val="solid"/>
              <a:headEnd type="arrow" w="sm" len="sm"/>
              <a:tailEnd type="arrow" w="sm" len="sm"/>
            </a:ln>
            <a:effectLst/>
          </p:spPr>
        </p:cxnSp>
        <p:cxnSp>
          <p:nvCxnSpPr>
            <p:cNvPr id="180" name="Straight Arrow Connector 179">
              <a:extLst>
                <a:ext uri="{FF2B5EF4-FFF2-40B4-BE49-F238E27FC236}">
                  <a16:creationId xmlns:a16="http://schemas.microsoft.com/office/drawing/2014/main" id="{EE99F06A-7F24-4421-ADA0-57F1BDBD82AD}"/>
                </a:ext>
              </a:extLst>
            </p:cNvPr>
            <p:cNvCxnSpPr>
              <a:cxnSpLocks/>
            </p:cNvCxnSpPr>
            <p:nvPr/>
          </p:nvCxnSpPr>
          <p:spPr>
            <a:xfrm>
              <a:off x="7673900" y="3701266"/>
              <a:ext cx="0" cy="174624"/>
            </a:xfrm>
            <a:prstGeom prst="straightConnector1">
              <a:avLst/>
            </a:prstGeom>
            <a:noFill/>
            <a:ln w="12700" cap="flat" cmpd="sng" algn="ctr">
              <a:solidFill>
                <a:srgbClr val="0078D7"/>
              </a:solidFill>
              <a:prstDash val="solid"/>
              <a:headEnd type="arrow" w="sm" len="sm"/>
              <a:tailEnd type="arrow" w="sm" len="sm"/>
            </a:ln>
            <a:effectLst/>
          </p:spPr>
        </p:cxnSp>
        <p:cxnSp>
          <p:nvCxnSpPr>
            <p:cNvPr id="181" name="Straight Arrow Connector 180">
              <a:extLst>
                <a:ext uri="{FF2B5EF4-FFF2-40B4-BE49-F238E27FC236}">
                  <a16:creationId xmlns:a16="http://schemas.microsoft.com/office/drawing/2014/main" id="{29DFADD7-3A31-4584-8480-3F49154F41E7}"/>
                </a:ext>
              </a:extLst>
            </p:cNvPr>
            <p:cNvCxnSpPr>
              <a:cxnSpLocks/>
            </p:cNvCxnSpPr>
            <p:nvPr/>
          </p:nvCxnSpPr>
          <p:spPr>
            <a:xfrm>
              <a:off x="7868411" y="3701266"/>
              <a:ext cx="0" cy="174624"/>
            </a:xfrm>
            <a:prstGeom prst="straightConnector1">
              <a:avLst/>
            </a:prstGeom>
            <a:noFill/>
            <a:ln w="12700" cap="flat" cmpd="sng" algn="ctr">
              <a:solidFill>
                <a:srgbClr val="0078D7"/>
              </a:solidFill>
              <a:prstDash val="solid"/>
              <a:headEnd type="arrow" w="sm" len="sm"/>
              <a:tailEnd type="arrow" w="sm" len="sm"/>
            </a:ln>
            <a:effectLst/>
          </p:spPr>
        </p:cxnSp>
        <p:cxnSp>
          <p:nvCxnSpPr>
            <p:cNvPr id="182" name="Straight Arrow Connector 181">
              <a:extLst>
                <a:ext uri="{FF2B5EF4-FFF2-40B4-BE49-F238E27FC236}">
                  <a16:creationId xmlns:a16="http://schemas.microsoft.com/office/drawing/2014/main" id="{615FE4A7-5F89-42BE-9B69-9F8D86BB867F}"/>
                </a:ext>
              </a:extLst>
            </p:cNvPr>
            <p:cNvCxnSpPr>
              <a:cxnSpLocks/>
            </p:cNvCxnSpPr>
            <p:nvPr/>
          </p:nvCxnSpPr>
          <p:spPr>
            <a:xfrm>
              <a:off x="8062913" y="3701266"/>
              <a:ext cx="0" cy="174624"/>
            </a:xfrm>
            <a:prstGeom prst="straightConnector1">
              <a:avLst/>
            </a:prstGeom>
            <a:noFill/>
            <a:ln w="12700" cap="flat" cmpd="sng" algn="ctr">
              <a:solidFill>
                <a:srgbClr val="0078D7"/>
              </a:solidFill>
              <a:prstDash val="solid"/>
              <a:headEnd type="arrow" w="sm" len="sm"/>
              <a:tailEnd type="arrow" w="sm" len="sm"/>
            </a:ln>
            <a:effectLst/>
          </p:spPr>
        </p:cxnSp>
      </p:grpSp>
      <p:grpSp>
        <p:nvGrpSpPr>
          <p:cNvPr id="231" name="Group 230">
            <a:extLst>
              <a:ext uri="{FF2B5EF4-FFF2-40B4-BE49-F238E27FC236}">
                <a16:creationId xmlns:a16="http://schemas.microsoft.com/office/drawing/2014/main" id="{815380AD-02E8-45FB-AFF6-25815B98E295}"/>
              </a:ext>
            </a:extLst>
          </p:cNvPr>
          <p:cNvGrpSpPr/>
          <p:nvPr/>
        </p:nvGrpSpPr>
        <p:grpSpPr>
          <a:xfrm>
            <a:off x="9009222" y="3698465"/>
            <a:ext cx="736394" cy="731045"/>
            <a:chOff x="4029477" y="4533085"/>
            <a:chExt cx="1466448" cy="1466448"/>
          </a:xfrm>
          <a:noFill/>
        </p:grpSpPr>
        <p:sp>
          <p:nvSpPr>
            <p:cNvPr id="232" name="Oval 231">
              <a:extLst>
                <a:ext uri="{FF2B5EF4-FFF2-40B4-BE49-F238E27FC236}">
                  <a16:creationId xmlns:a16="http://schemas.microsoft.com/office/drawing/2014/main" id="{CF93C119-73FA-4568-9B3A-440DD0C86E2E}"/>
                </a:ext>
              </a:extLst>
            </p:cNvPr>
            <p:cNvSpPr/>
            <p:nvPr/>
          </p:nvSpPr>
          <p:spPr bwMode="auto">
            <a:xfrm>
              <a:off x="4029477" y="4533085"/>
              <a:ext cx="1466448" cy="14664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3" name="Group 232">
              <a:extLst>
                <a:ext uri="{FF2B5EF4-FFF2-40B4-BE49-F238E27FC236}">
                  <a16:creationId xmlns:a16="http://schemas.microsoft.com/office/drawing/2014/main" id="{818B399B-6AC3-443D-8782-4221D4477D71}"/>
                </a:ext>
              </a:extLst>
            </p:cNvPr>
            <p:cNvGrpSpPr/>
            <p:nvPr/>
          </p:nvGrpSpPr>
          <p:grpSpPr>
            <a:xfrm>
              <a:off x="4079450" y="4705351"/>
              <a:ext cx="1179796" cy="1219058"/>
              <a:chOff x="3787410" y="4149576"/>
              <a:chExt cx="1689748" cy="1745980"/>
            </a:xfrm>
            <a:grpFill/>
          </p:grpSpPr>
          <p:grpSp>
            <p:nvGrpSpPr>
              <p:cNvPr id="234" name="Group 233">
                <a:extLst>
                  <a:ext uri="{FF2B5EF4-FFF2-40B4-BE49-F238E27FC236}">
                    <a16:creationId xmlns:a16="http://schemas.microsoft.com/office/drawing/2014/main" id="{BD2AECB9-F623-47D8-9E73-B42149650DD0}"/>
                  </a:ext>
                </a:extLst>
              </p:cNvPr>
              <p:cNvGrpSpPr/>
              <p:nvPr/>
            </p:nvGrpSpPr>
            <p:grpSpPr>
              <a:xfrm>
                <a:off x="4049859" y="4230716"/>
                <a:ext cx="1426800" cy="1426799"/>
                <a:chOff x="4501966" y="2563577"/>
                <a:chExt cx="3020627" cy="3020628"/>
              </a:xfrm>
              <a:grpFill/>
            </p:grpSpPr>
            <p:sp>
              <p:nvSpPr>
                <p:cNvPr id="255" name="Arc 254">
                  <a:extLst>
                    <a:ext uri="{FF2B5EF4-FFF2-40B4-BE49-F238E27FC236}">
                      <a16:creationId xmlns:a16="http://schemas.microsoft.com/office/drawing/2014/main" id="{912719AD-12E8-4080-BEE0-4F4212DEB84F}"/>
                    </a:ext>
                  </a:extLst>
                </p:cNvPr>
                <p:cNvSpPr/>
                <p:nvPr/>
              </p:nvSpPr>
              <p:spPr>
                <a:xfrm rot="19427068">
                  <a:off x="4501967" y="2563578"/>
                  <a:ext cx="3020626" cy="3020626"/>
                </a:xfrm>
                <a:prstGeom prst="arc">
                  <a:avLst>
                    <a:gd name="adj1" fmla="val 14520651"/>
                    <a:gd name="adj2" fmla="val 19076422"/>
                  </a:avLst>
                </a:prstGeom>
                <a:grpFill/>
                <a:ln w="508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D0D0D"/>
                    </a:solidFill>
                    <a:effectLst/>
                    <a:uLnTx/>
                    <a:uFillTx/>
                    <a:latin typeface="Segoe UI"/>
                    <a:ea typeface="+mn-ea"/>
                    <a:cs typeface="+mn-cs"/>
                  </a:endParaRPr>
                </a:p>
              </p:txBody>
            </p:sp>
            <p:sp>
              <p:nvSpPr>
                <p:cNvPr id="256" name="Arc 255">
                  <a:extLst>
                    <a:ext uri="{FF2B5EF4-FFF2-40B4-BE49-F238E27FC236}">
                      <a16:creationId xmlns:a16="http://schemas.microsoft.com/office/drawing/2014/main" id="{3E46DB4B-240D-4D73-A3D6-3736CDFDA309}"/>
                    </a:ext>
                  </a:extLst>
                </p:cNvPr>
                <p:cNvSpPr/>
                <p:nvPr/>
              </p:nvSpPr>
              <p:spPr>
                <a:xfrm rot="19427068">
                  <a:off x="4501967" y="2563579"/>
                  <a:ext cx="3020626" cy="3020626"/>
                </a:xfrm>
                <a:prstGeom prst="arc">
                  <a:avLst>
                    <a:gd name="adj1" fmla="val 210584"/>
                    <a:gd name="adj2" fmla="val 4416916"/>
                  </a:avLst>
                </a:prstGeom>
                <a:grpFill/>
                <a:ln w="508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D0D0D"/>
                    </a:solidFill>
                    <a:effectLst/>
                    <a:uLnTx/>
                    <a:uFillTx/>
                    <a:latin typeface="Segoe UI"/>
                    <a:ea typeface="+mn-ea"/>
                    <a:cs typeface="+mn-cs"/>
                  </a:endParaRPr>
                </a:p>
              </p:txBody>
            </p:sp>
            <p:sp>
              <p:nvSpPr>
                <p:cNvPr id="257" name="Arc 256">
                  <a:extLst>
                    <a:ext uri="{FF2B5EF4-FFF2-40B4-BE49-F238E27FC236}">
                      <a16:creationId xmlns:a16="http://schemas.microsoft.com/office/drawing/2014/main" id="{BFDB9594-6B87-4FFD-934F-6184C0BAB561}"/>
                    </a:ext>
                  </a:extLst>
                </p:cNvPr>
                <p:cNvSpPr/>
                <p:nvPr/>
              </p:nvSpPr>
              <p:spPr>
                <a:xfrm rot="19427068">
                  <a:off x="4501966" y="2563577"/>
                  <a:ext cx="3020626" cy="3020626"/>
                </a:xfrm>
                <a:prstGeom prst="arc">
                  <a:avLst>
                    <a:gd name="adj1" fmla="val 7228829"/>
                    <a:gd name="adj2" fmla="val 12000118"/>
                  </a:avLst>
                </a:prstGeom>
                <a:grpFill/>
                <a:ln w="508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D0D0D"/>
                    </a:solidFill>
                    <a:effectLst/>
                    <a:uLnTx/>
                    <a:uFillTx/>
                    <a:latin typeface="Segoe UI"/>
                    <a:ea typeface="+mn-ea"/>
                    <a:cs typeface="+mn-cs"/>
                  </a:endParaRPr>
                </a:p>
              </p:txBody>
            </p:sp>
          </p:grpSp>
          <p:pic>
            <p:nvPicPr>
              <p:cNvPr id="235" name="Picture 234">
                <a:extLst>
                  <a:ext uri="{FF2B5EF4-FFF2-40B4-BE49-F238E27FC236}">
                    <a16:creationId xmlns:a16="http://schemas.microsoft.com/office/drawing/2014/main" id="{B8310ACC-E4D3-43E3-AB42-CD6A555DAB83}"/>
                  </a:ext>
                </a:extLst>
              </p:cNvPr>
              <p:cNvPicPr>
                <a:picLocks noChangeAspect="1"/>
              </p:cNvPicPr>
              <p:nvPr/>
            </p:nvPicPr>
            <p:blipFill>
              <a:blip r:embed="rId3"/>
              <a:stretch>
                <a:fillRect/>
              </a:stretch>
            </p:blipFill>
            <p:spPr>
              <a:xfrm>
                <a:off x="4943775" y="5359520"/>
                <a:ext cx="454819" cy="536036"/>
              </a:xfrm>
              <a:prstGeom prst="rect">
                <a:avLst/>
              </a:prstGeom>
              <a:grpFill/>
            </p:spPr>
          </p:pic>
          <p:sp>
            <p:nvSpPr>
              <p:cNvPr id="236" name="Intelligent Cloud">
                <a:extLst>
                  <a:ext uri="{FF2B5EF4-FFF2-40B4-BE49-F238E27FC236}">
                    <a16:creationId xmlns:a16="http://schemas.microsoft.com/office/drawing/2014/main" id="{06096E5E-2F62-4A57-96A6-545C4F8793CC}"/>
                  </a:ext>
                </a:extLst>
              </p:cNvPr>
              <p:cNvSpPr txBox="1"/>
              <p:nvPr/>
            </p:nvSpPr>
            <p:spPr>
              <a:xfrm>
                <a:off x="4059282" y="4338169"/>
                <a:ext cx="1417876" cy="1124327"/>
              </a:xfrm>
              <a:prstGeom prst="rect">
                <a:avLst/>
              </a:prstGeom>
              <a:grpFill/>
              <a:ln>
                <a:noFill/>
              </a:ln>
            </p:spPr>
            <p:txBody>
              <a:bodyPr wrap="none" lIns="122207" tIns="97766" rIns="122207" bIns="97766" rtlCol="0">
                <a:spAutoFit/>
              </a:bodyPr>
              <a:lstStyle/>
              <a:p>
                <a:pPr marL="0" marR="0" lvl="0" indent="0" algn="ctr" defTabSz="610977" rtl="0" eaLnBrk="1" fontAlgn="auto" latinLnBrk="0" hangingPunct="1">
                  <a:lnSpc>
                    <a:spcPct val="90000"/>
                  </a:lnSpc>
                  <a:spcBef>
                    <a:spcPts val="0"/>
                  </a:spcBef>
                  <a:buClrTx/>
                  <a:buSzTx/>
                  <a:buFontTx/>
                  <a:buNone/>
                  <a:tabLst/>
                  <a:defRPr/>
                </a:pPr>
                <a:r>
                  <a:rPr kumimoji="0" lang="en-US" sz="700" b="0" i="0" u="none" strike="noStrike" kern="0" cap="none" spc="-33" normalizeH="0" baseline="0" noProof="0">
                    <a:ln>
                      <a:noFill/>
                    </a:ln>
                    <a:gradFill>
                      <a:gsLst>
                        <a:gs pos="0">
                          <a:srgbClr val="1A1A1A"/>
                        </a:gs>
                        <a:gs pos="100000">
                          <a:srgbClr val="1A1A1A"/>
                        </a:gs>
                      </a:gsLst>
                      <a:lin ang="16200000" scaled="1"/>
                    </a:gradFill>
                    <a:effectLst/>
                    <a:uLnTx/>
                    <a:uFillTx/>
                    <a:latin typeface="Segoe UI"/>
                    <a:ea typeface="+mn-ea"/>
                    <a:cs typeface="Segoe UI Semilight" panose="020B0402040204020203" pitchFamily="34" charset="0"/>
                  </a:rPr>
                  <a:t>Azure </a:t>
                </a:r>
              </a:p>
              <a:p>
                <a:pPr marL="0" marR="0" lvl="0" indent="0" algn="ctr" defTabSz="610977" rtl="0" eaLnBrk="1" fontAlgn="auto" latinLnBrk="0" hangingPunct="1">
                  <a:lnSpc>
                    <a:spcPct val="90000"/>
                  </a:lnSpc>
                  <a:spcBef>
                    <a:spcPts val="0"/>
                  </a:spcBef>
                  <a:buClrTx/>
                  <a:buSzTx/>
                  <a:buFontTx/>
                  <a:buNone/>
                  <a:tabLst/>
                  <a:defRPr/>
                </a:pPr>
                <a:r>
                  <a:rPr kumimoji="0" lang="en-US" sz="700" b="0" i="0" u="none" strike="noStrike" kern="0" cap="none" spc="-33" normalizeH="0" baseline="0" noProof="0">
                    <a:ln>
                      <a:noFill/>
                    </a:ln>
                    <a:gradFill>
                      <a:gsLst>
                        <a:gs pos="0">
                          <a:srgbClr val="1A1A1A"/>
                        </a:gs>
                        <a:gs pos="100000">
                          <a:srgbClr val="1A1A1A"/>
                        </a:gs>
                      </a:gsLst>
                      <a:lin ang="16200000" scaled="1"/>
                    </a:gradFill>
                    <a:effectLst/>
                    <a:uLnTx/>
                    <a:uFillTx/>
                    <a:latin typeface="Segoe UI"/>
                    <a:ea typeface="+mn-ea"/>
                    <a:cs typeface="Segoe UI Semilight" panose="020B0402040204020203" pitchFamily="34" charset="0"/>
                  </a:rPr>
                  <a:t>Sphere</a:t>
                </a:r>
              </a:p>
            </p:txBody>
          </p:sp>
          <p:grpSp>
            <p:nvGrpSpPr>
              <p:cNvPr id="237" name="Group 236">
                <a:extLst>
                  <a:ext uri="{FF2B5EF4-FFF2-40B4-BE49-F238E27FC236}">
                    <a16:creationId xmlns:a16="http://schemas.microsoft.com/office/drawing/2014/main" id="{4E876117-3585-4A9C-A801-8A8AA65BF4B5}"/>
                  </a:ext>
                </a:extLst>
              </p:cNvPr>
              <p:cNvGrpSpPr/>
              <p:nvPr/>
            </p:nvGrpSpPr>
            <p:grpSpPr>
              <a:xfrm>
                <a:off x="4910160" y="4149576"/>
                <a:ext cx="456124" cy="456124"/>
                <a:chOff x="7203486" y="6130679"/>
                <a:chExt cx="669160" cy="669160"/>
              </a:xfrm>
              <a:grpFill/>
            </p:grpSpPr>
            <p:sp>
              <p:nvSpPr>
                <p:cNvPr id="247" name="AutoShape 3">
                  <a:extLst>
                    <a:ext uri="{FF2B5EF4-FFF2-40B4-BE49-F238E27FC236}">
                      <a16:creationId xmlns:a16="http://schemas.microsoft.com/office/drawing/2014/main" id="{4C605A94-8EC1-41AB-9211-E87FE5C46BCE}"/>
                    </a:ext>
                  </a:extLst>
                </p:cNvPr>
                <p:cNvSpPr>
                  <a:spLocks noChangeAspect="1" noChangeArrowheads="1" noTextEdit="1"/>
                </p:cNvSpPr>
                <p:nvPr/>
              </p:nvSpPr>
              <p:spPr bwMode="auto">
                <a:xfrm>
                  <a:off x="7203486" y="6130679"/>
                  <a:ext cx="669160" cy="6691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F504F"/>
                    </a:solidFill>
                    <a:effectLst/>
                    <a:uLnTx/>
                    <a:uFillTx/>
                    <a:latin typeface="Segoe UI"/>
                    <a:ea typeface="+mn-ea"/>
                    <a:cs typeface="+mn-cs"/>
                  </a:endParaRPr>
                </a:p>
              </p:txBody>
            </p:sp>
            <p:sp>
              <p:nvSpPr>
                <p:cNvPr id="248" name="Freeform 5">
                  <a:extLst>
                    <a:ext uri="{FF2B5EF4-FFF2-40B4-BE49-F238E27FC236}">
                      <a16:creationId xmlns:a16="http://schemas.microsoft.com/office/drawing/2014/main" id="{696326B2-1F33-4DD8-8675-AF63272A86E8}"/>
                    </a:ext>
                  </a:extLst>
                </p:cNvPr>
                <p:cNvSpPr>
                  <a:spLocks/>
                </p:cNvSpPr>
                <p:nvPr/>
              </p:nvSpPr>
              <p:spPr bwMode="auto">
                <a:xfrm>
                  <a:off x="7318120" y="6242551"/>
                  <a:ext cx="448178" cy="447488"/>
                </a:xfrm>
                <a:custGeom>
                  <a:avLst/>
                  <a:gdLst>
                    <a:gd name="T0" fmla="*/ 132 w 745"/>
                    <a:gd name="T1" fmla="*/ 132 h 745"/>
                    <a:gd name="T2" fmla="*/ 132 w 745"/>
                    <a:gd name="T3" fmla="*/ 132 h 745"/>
                    <a:gd name="T4" fmla="*/ 132 w 745"/>
                    <a:gd name="T5" fmla="*/ 613 h 745"/>
                    <a:gd name="T6" fmla="*/ 613 w 745"/>
                    <a:gd name="T7" fmla="*/ 613 h 745"/>
                    <a:gd name="T8" fmla="*/ 613 w 745"/>
                    <a:gd name="T9" fmla="*/ 132 h 745"/>
                    <a:gd name="T10" fmla="*/ 132 w 745"/>
                    <a:gd name="T11" fmla="*/ 132 h 745"/>
                  </a:gdLst>
                  <a:ahLst/>
                  <a:cxnLst>
                    <a:cxn ang="0">
                      <a:pos x="T0" y="T1"/>
                    </a:cxn>
                    <a:cxn ang="0">
                      <a:pos x="T2" y="T3"/>
                    </a:cxn>
                    <a:cxn ang="0">
                      <a:pos x="T4" y="T5"/>
                    </a:cxn>
                    <a:cxn ang="0">
                      <a:pos x="T6" y="T7"/>
                    </a:cxn>
                    <a:cxn ang="0">
                      <a:pos x="T8" y="T9"/>
                    </a:cxn>
                    <a:cxn ang="0">
                      <a:pos x="T10" y="T11"/>
                    </a:cxn>
                  </a:cxnLst>
                  <a:rect l="0" t="0" r="r" b="b"/>
                  <a:pathLst>
                    <a:path w="745" h="745">
                      <a:moveTo>
                        <a:pt x="132" y="132"/>
                      </a:moveTo>
                      <a:lnTo>
                        <a:pt x="132" y="132"/>
                      </a:lnTo>
                      <a:cubicBezTo>
                        <a:pt x="0" y="265"/>
                        <a:pt x="0" y="480"/>
                        <a:pt x="132" y="613"/>
                      </a:cubicBezTo>
                      <a:cubicBezTo>
                        <a:pt x="265" y="745"/>
                        <a:pt x="480" y="745"/>
                        <a:pt x="613" y="613"/>
                      </a:cubicBezTo>
                      <a:cubicBezTo>
                        <a:pt x="745" y="480"/>
                        <a:pt x="745" y="265"/>
                        <a:pt x="613" y="132"/>
                      </a:cubicBezTo>
                      <a:cubicBezTo>
                        <a:pt x="480" y="0"/>
                        <a:pt x="265" y="0"/>
                        <a:pt x="132" y="132"/>
                      </a:cubicBezTo>
                      <a:close/>
                    </a:path>
                  </a:pathLst>
                </a:custGeom>
                <a:grpFill/>
                <a:ln w="0">
                  <a:solidFill>
                    <a:srgbClr val="000000"/>
                  </a:solidFill>
                  <a:prstDash val="solid"/>
                  <a:round/>
                  <a:headEnd/>
                  <a:tailEnd/>
                </a:ln>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F504F"/>
                    </a:solidFill>
                    <a:effectLst/>
                    <a:uLnTx/>
                    <a:uFillTx/>
                    <a:latin typeface="Segoe UI"/>
                    <a:ea typeface="+mn-ea"/>
                    <a:cs typeface="+mn-cs"/>
                  </a:endParaRPr>
                </a:p>
              </p:txBody>
            </p:sp>
            <p:sp>
              <p:nvSpPr>
                <p:cNvPr id="249" name="Freeform 6">
                  <a:extLst>
                    <a:ext uri="{FF2B5EF4-FFF2-40B4-BE49-F238E27FC236}">
                      <a16:creationId xmlns:a16="http://schemas.microsoft.com/office/drawing/2014/main" id="{DBFCE3DD-A087-49A5-8F49-7AC363AECE8D}"/>
                    </a:ext>
                  </a:extLst>
                </p:cNvPr>
                <p:cNvSpPr>
                  <a:spLocks/>
                </p:cNvSpPr>
                <p:nvPr/>
              </p:nvSpPr>
              <p:spPr bwMode="auto">
                <a:xfrm>
                  <a:off x="7318120" y="6242551"/>
                  <a:ext cx="448178" cy="447488"/>
                </a:xfrm>
                <a:custGeom>
                  <a:avLst/>
                  <a:gdLst>
                    <a:gd name="T0" fmla="*/ 132 w 745"/>
                    <a:gd name="T1" fmla="*/ 132 h 745"/>
                    <a:gd name="T2" fmla="*/ 132 w 745"/>
                    <a:gd name="T3" fmla="*/ 132 h 745"/>
                    <a:gd name="T4" fmla="*/ 132 w 745"/>
                    <a:gd name="T5" fmla="*/ 613 h 745"/>
                    <a:gd name="T6" fmla="*/ 613 w 745"/>
                    <a:gd name="T7" fmla="*/ 613 h 745"/>
                    <a:gd name="T8" fmla="*/ 613 w 745"/>
                    <a:gd name="T9" fmla="*/ 132 h 745"/>
                    <a:gd name="T10" fmla="*/ 132 w 745"/>
                    <a:gd name="T11" fmla="*/ 132 h 745"/>
                    <a:gd name="T12" fmla="*/ 132 w 745"/>
                    <a:gd name="T13" fmla="*/ 132 h 745"/>
                  </a:gdLst>
                  <a:ahLst/>
                  <a:cxnLst>
                    <a:cxn ang="0">
                      <a:pos x="T0" y="T1"/>
                    </a:cxn>
                    <a:cxn ang="0">
                      <a:pos x="T2" y="T3"/>
                    </a:cxn>
                    <a:cxn ang="0">
                      <a:pos x="T4" y="T5"/>
                    </a:cxn>
                    <a:cxn ang="0">
                      <a:pos x="T6" y="T7"/>
                    </a:cxn>
                    <a:cxn ang="0">
                      <a:pos x="T8" y="T9"/>
                    </a:cxn>
                    <a:cxn ang="0">
                      <a:pos x="T10" y="T11"/>
                    </a:cxn>
                    <a:cxn ang="0">
                      <a:pos x="T12" y="T13"/>
                    </a:cxn>
                  </a:cxnLst>
                  <a:rect l="0" t="0" r="r" b="b"/>
                  <a:pathLst>
                    <a:path w="745" h="745">
                      <a:moveTo>
                        <a:pt x="132" y="132"/>
                      </a:moveTo>
                      <a:lnTo>
                        <a:pt x="132" y="132"/>
                      </a:lnTo>
                      <a:cubicBezTo>
                        <a:pt x="0" y="265"/>
                        <a:pt x="0" y="480"/>
                        <a:pt x="132" y="613"/>
                      </a:cubicBezTo>
                      <a:cubicBezTo>
                        <a:pt x="265" y="745"/>
                        <a:pt x="480" y="745"/>
                        <a:pt x="613" y="613"/>
                      </a:cubicBezTo>
                      <a:cubicBezTo>
                        <a:pt x="745" y="480"/>
                        <a:pt x="745" y="265"/>
                        <a:pt x="613" y="132"/>
                      </a:cubicBezTo>
                      <a:cubicBezTo>
                        <a:pt x="480" y="0"/>
                        <a:pt x="265" y="0"/>
                        <a:pt x="132" y="132"/>
                      </a:cubicBezTo>
                      <a:lnTo>
                        <a:pt x="132" y="132"/>
                      </a:lnTo>
                      <a:close/>
                    </a:path>
                  </a:pathLst>
                </a:custGeom>
                <a:grpFill/>
                <a:ln w="12700" cap="flat">
                  <a:solidFill>
                    <a:srgbClr val="0078D7"/>
                  </a:solidFill>
                  <a:prstDash val="solid"/>
                  <a:miter lim="800000"/>
                  <a:headEnd/>
                  <a:tailEnd/>
                </a:ln>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F504F"/>
                    </a:solidFill>
                    <a:effectLst/>
                    <a:uLnTx/>
                    <a:uFillTx/>
                    <a:latin typeface="Segoe UI"/>
                    <a:ea typeface="+mn-ea"/>
                    <a:cs typeface="+mn-cs"/>
                  </a:endParaRPr>
                </a:p>
              </p:txBody>
            </p:sp>
            <p:sp>
              <p:nvSpPr>
                <p:cNvPr id="250" name="Freeform 7">
                  <a:extLst>
                    <a:ext uri="{FF2B5EF4-FFF2-40B4-BE49-F238E27FC236}">
                      <a16:creationId xmlns:a16="http://schemas.microsoft.com/office/drawing/2014/main" id="{F1A323DB-3AFF-4F5B-8758-ED68E23CF102}"/>
                    </a:ext>
                  </a:extLst>
                </p:cNvPr>
                <p:cNvSpPr>
                  <a:spLocks/>
                </p:cNvSpPr>
                <p:nvPr/>
              </p:nvSpPr>
              <p:spPr bwMode="auto">
                <a:xfrm>
                  <a:off x="7653736" y="6287438"/>
                  <a:ext cx="66985" cy="67676"/>
                </a:xfrm>
                <a:custGeom>
                  <a:avLst/>
                  <a:gdLst>
                    <a:gd name="T0" fmla="*/ 20 w 112"/>
                    <a:gd name="T1" fmla="*/ 20 h 112"/>
                    <a:gd name="T2" fmla="*/ 20 w 112"/>
                    <a:gd name="T3" fmla="*/ 20 h 112"/>
                    <a:gd name="T4" fmla="*/ 20 w 112"/>
                    <a:gd name="T5" fmla="*/ 92 h 112"/>
                    <a:gd name="T6" fmla="*/ 92 w 112"/>
                    <a:gd name="T7" fmla="*/ 92 h 112"/>
                    <a:gd name="T8" fmla="*/ 92 w 112"/>
                    <a:gd name="T9" fmla="*/ 20 h 112"/>
                    <a:gd name="T10" fmla="*/ 20 w 112"/>
                    <a:gd name="T11" fmla="*/ 20 h 112"/>
                  </a:gdLst>
                  <a:ahLst/>
                  <a:cxnLst>
                    <a:cxn ang="0">
                      <a:pos x="T0" y="T1"/>
                    </a:cxn>
                    <a:cxn ang="0">
                      <a:pos x="T2" y="T3"/>
                    </a:cxn>
                    <a:cxn ang="0">
                      <a:pos x="T4" y="T5"/>
                    </a:cxn>
                    <a:cxn ang="0">
                      <a:pos x="T6" y="T7"/>
                    </a:cxn>
                    <a:cxn ang="0">
                      <a:pos x="T8" y="T9"/>
                    </a:cxn>
                    <a:cxn ang="0">
                      <a:pos x="T10" y="T11"/>
                    </a:cxn>
                  </a:cxnLst>
                  <a:rect l="0" t="0" r="r" b="b"/>
                  <a:pathLst>
                    <a:path w="112" h="112">
                      <a:moveTo>
                        <a:pt x="20" y="20"/>
                      </a:moveTo>
                      <a:lnTo>
                        <a:pt x="20" y="20"/>
                      </a:lnTo>
                      <a:cubicBezTo>
                        <a:pt x="0" y="40"/>
                        <a:pt x="0" y="72"/>
                        <a:pt x="20" y="92"/>
                      </a:cubicBezTo>
                      <a:cubicBezTo>
                        <a:pt x="40" y="112"/>
                        <a:pt x="72" y="112"/>
                        <a:pt x="92" y="92"/>
                      </a:cubicBezTo>
                      <a:cubicBezTo>
                        <a:pt x="112" y="72"/>
                        <a:pt x="112" y="40"/>
                        <a:pt x="92" y="20"/>
                      </a:cubicBezTo>
                      <a:cubicBezTo>
                        <a:pt x="72" y="0"/>
                        <a:pt x="40" y="0"/>
                        <a:pt x="20" y="20"/>
                      </a:cubicBezTo>
                      <a:close/>
                    </a:path>
                  </a:pathLst>
                </a:custGeom>
                <a:grpFill/>
                <a:ln w="0">
                  <a:solidFill>
                    <a:srgbClr val="000000"/>
                  </a:solidFill>
                  <a:prstDash val="solid"/>
                  <a:round/>
                  <a:headEnd/>
                  <a:tailEnd/>
                </a:ln>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F504F"/>
                    </a:solidFill>
                    <a:effectLst/>
                    <a:uLnTx/>
                    <a:uFillTx/>
                    <a:latin typeface="Segoe UI"/>
                    <a:ea typeface="+mn-ea"/>
                    <a:cs typeface="+mn-cs"/>
                  </a:endParaRPr>
                </a:p>
              </p:txBody>
            </p:sp>
            <p:sp>
              <p:nvSpPr>
                <p:cNvPr id="251" name="Freeform 8">
                  <a:extLst>
                    <a:ext uri="{FF2B5EF4-FFF2-40B4-BE49-F238E27FC236}">
                      <a16:creationId xmlns:a16="http://schemas.microsoft.com/office/drawing/2014/main" id="{711A5CCC-4251-46B6-B352-AFDA6A109618}"/>
                    </a:ext>
                  </a:extLst>
                </p:cNvPr>
                <p:cNvSpPr>
                  <a:spLocks/>
                </p:cNvSpPr>
                <p:nvPr/>
              </p:nvSpPr>
              <p:spPr bwMode="auto">
                <a:xfrm>
                  <a:off x="7653736" y="6287438"/>
                  <a:ext cx="66985" cy="67676"/>
                </a:xfrm>
                <a:custGeom>
                  <a:avLst/>
                  <a:gdLst>
                    <a:gd name="T0" fmla="*/ 20 w 112"/>
                    <a:gd name="T1" fmla="*/ 20 h 112"/>
                    <a:gd name="T2" fmla="*/ 20 w 112"/>
                    <a:gd name="T3" fmla="*/ 20 h 112"/>
                    <a:gd name="T4" fmla="*/ 20 w 112"/>
                    <a:gd name="T5" fmla="*/ 92 h 112"/>
                    <a:gd name="T6" fmla="*/ 92 w 112"/>
                    <a:gd name="T7" fmla="*/ 92 h 112"/>
                    <a:gd name="T8" fmla="*/ 92 w 112"/>
                    <a:gd name="T9" fmla="*/ 20 h 112"/>
                    <a:gd name="T10" fmla="*/ 20 w 112"/>
                    <a:gd name="T11" fmla="*/ 20 h 112"/>
                    <a:gd name="T12" fmla="*/ 20 w 112"/>
                    <a:gd name="T13" fmla="*/ 20 h 112"/>
                  </a:gdLst>
                  <a:ahLst/>
                  <a:cxnLst>
                    <a:cxn ang="0">
                      <a:pos x="T0" y="T1"/>
                    </a:cxn>
                    <a:cxn ang="0">
                      <a:pos x="T2" y="T3"/>
                    </a:cxn>
                    <a:cxn ang="0">
                      <a:pos x="T4" y="T5"/>
                    </a:cxn>
                    <a:cxn ang="0">
                      <a:pos x="T6" y="T7"/>
                    </a:cxn>
                    <a:cxn ang="0">
                      <a:pos x="T8" y="T9"/>
                    </a:cxn>
                    <a:cxn ang="0">
                      <a:pos x="T10" y="T11"/>
                    </a:cxn>
                    <a:cxn ang="0">
                      <a:pos x="T12" y="T13"/>
                    </a:cxn>
                  </a:cxnLst>
                  <a:rect l="0" t="0" r="r" b="b"/>
                  <a:pathLst>
                    <a:path w="112" h="112">
                      <a:moveTo>
                        <a:pt x="20" y="20"/>
                      </a:moveTo>
                      <a:lnTo>
                        <a:pt x="20" y="20"/>
                      </a:lnTo>
                      <a:cubicBezTo>
                        <a:pt x="0" y="40"/>
                        <a:pt x="0" y="72"/>
                        <a:pt x="20" y="92"/>
                      </a:cubicBezTo>
                      <a:cubicBezTo>
                        <a:pt x="40" y="112"/>
                        <a:pt x="72" y="112"/>
                        <a:pt x="92" y="92"/>
                      </a:cubicBezTo>
                      <a:cubicBezTo>
                        <a:pt x="112" y="72"/>
                        <a:pt x="112" y="40"/>
                        <a:pt x="92" y="20"/>
                      </a:cubicBezTo>
                      <a:cubicBezTo>
                        <a:pt x="72" y="0"/>
                        <a:pt x="40" y="0"/>
                        <a:pt x="20" y="20"/>
                      </a:cubicBezTo>
                      <a:lnTo>
                        <a:pt x="20" y="20"/>
                      </a:lnTo>
                      <a:close/>
                    </a:path>
                  </a:pathLst>
                </a:custGeom>
                <a:grpFill/>
                <a:ln w="12700" cap="flat">
                  <a:solidFill>
                    <a:srgbClr val="0078D7"/>
                  </a:solidFill>
                  <a:prstDash val="solid"/>
                  <a:miter lim="800000"/>
                  <a:headEnd/>
                  <a:tailEnd/>
                </a:ln>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F504F"/>
                    </a:solidFill>
                    <a:effectLst/>
                    <a:uLnTx/>
                    <a:uFillTx/>
                    <a:latin typeface="Segoe UI"/>
                    <a:ea typeface="+mn-ea"/>
                    <a:cs typeface="+mn-cs"/>
                  </a:endParaRPr>
                </a:p>
              </p:txBody>
            </p:sp>
            <p:sp>
              <p:nvSpPr>
                <p:cNvPr id="252" name="Freeform 9">
                  <a:extLst>
                    <a:ext uri="{FF2B5EF4-FFF2-40B4-BE49-F238E27FC236}">
                      <a16:creationId xmlns:a16="http://schemas.microsoft.com/office/drawing/2014/main" id="{61A12EB6-CDF9-488B-80D7-716C6EEB3A0C}"/>
                    </a:ext>
                  </a:extLst>
                </p:cNvPr>
                <p:cNvSpPr>
                  <a:spLocks/>
                </p:cNvSpPr>
                <p:nvPr/>
              </p:nvSpPr>
              <p:spPr bwMode="auto">
                <a:xfrm>
                  <a:off x="7215226" y="6139656"/>
                  <a:ext cx="653277" cy="653968"/>
                </a:xfrm>
                <a:custGeom>
                  <a:avLst/>
                  <a:gdLst>
                    <a:gd name="T0" fmla="*/ 0 w 1088"/>
                    <a:gd name="T1" fmla="*/ 544 h 1088"/>
                    <a:gd name="T2" fmla="*/ 0 w 1088"/>
                    <a:gd name="T3" fmla="*/ 544 h 1088"/>
                    <a:gd name="T4" fmla="*/ 544 w 1088"/>
                    <a:gd name="T5" fmla="*/ 1088 h 1088"/>
                    <a:gd name="T6" fmla="*/ 1088 w 1088"/>
                    <a:gd name="T7" fmla="*/ 544 h 1088"/>
                    <a:gd name="T8" fmla="*/ 544 w 1088"/>
                    <a:gd name="T9" fmla="*/ 0 h 1088"/>
                    <a:gd name="T10" fmla="*/ 0 w 1088"/>
                    <a:gd name="T11" fmla="*/ 544 h 1088"/>
                    <a:gd name="T12" fmla="*/ 0 w 1088"/>
                    <a:gd name="T13" fmla="*/ 544 h 1088"/>
                  </a:gdLst>
                  <a:ahLst/>
                  <a:cxnLst>
                    <a:cxn ang="0">
                      <a:pos x="T0" y="T1"/>
                    </a:cxn>
                    <a:cxn ang="0">
                      <a:pos x="T2" y="T3"/>
                    </a:cxn>
                    <a:cxn ang="0">
                      <a:pos x="T4" y="T5"/>
                    </a:cxn>
                    <a:cxn ang="0">
                      <a:pos x="T6" y="T7"/>
                    </a:cxn>
                    <a:cxn ang="0">
                      <a:pos x="T8" y="T9"/>
                    </a:cxn>
                    <a:cxn ang="0">
                      <a:pos x="T10" y="T11"/>
                    </a:cxn>
                    <a:cxn ang="0">
                      <a:pos x="T12" y="T13"/>
                    </a:cxn>
                  </a:cxnLst>
                  <a:rect l="0" t="0" r="r" b="b"/>
                  <a:pathLst>
                    <a:path w="1088" h="1088">
                      <a:moveTo>
                        <a:pt x="0" y="544"/>
                      </a:moveTo>
                      <a:lnTo>
                        <a:pt x="0" y="544"/>
                      </a:lnTo>
                      <a:cubicBezTo>
                        <a:pt x="0" y="844"/>
                        <a:pt x="244" y="1088"/>
                        <a:pt x="544" y="1088"/>
                      </a:cubicBezTo>
                      <a:cubicBezTo>
                        <a:pt x="845" y="1088"/>
                        <a:pt x="1088" y="844"/>
                        <a:pt x="1088" y="544"/>
                      </a:cubicBezTo>
                      <a:cubicBezTo>
                        <a:pt x="1088" y="243"/>
                        <a:pt x="845" y="0"/>
                        <a:pt x="544" y="0"/>
                      </a:cubicBezTo>
                      <a:cubicBezTo>
                        <a:pt x="244" y="0"/>
                        <a:pt x="0" y="243"/>
                        <a:pt x="0" y="544"/>
                      </a:cubicBezTo>
                      <a:lnTo>
                        <a:pt x="0" y="544"/>
                      </a:lnTo>
                      <a:close/>
                    </a:path>
                  </a:pathLst>
                </a:custGeom>
                <a:grpFill/>
                <a:ln w="12700" cap="flat">
                  <a:solidFill>
                    <a:srgbClr val="0078D7"/>
                  </a:solidFill>
                  <a:prstDash val="solid"/>
                  <a:miter lim="800000"/>
                  <a:headEnd/>
                  <a:tailEnd/>
                </a:ln>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F504F"/>
                    </a:solidFill>
                    <a:effectLst/>
                    <a:uLnTx/>
                    <a:uFillTx/>
                    <a:latin typeface="Segoe UI"/>
                    <a:ea typeface="+mn-ea"/>
                    <a:cs typeface="+mn-cs"/>
                  </a:endParaRPr>
                </a:p>
              </p:txBody>
            </p:sp>
            <p:sp>
              <p:nvSpPr>
                <p:cNvPr id="253" name="Freeform 10">
                  <a:extLst>
                    <a:ext uri="{FF2B5EF4-FFF2-40B4-BE49-F238E27FC236}">
                      <a16:creationId xmlns:a16="http://schemas.microsoft.com/office/drawing/2014/main" id="{C6DE980F-F344-49B6-B23B-0181B90C04A9}"/>
                    </a:ext>
                  </a:extLst>
                </p:cNvPr>
                <p:cNvSpPr>
                  <a:spLocks/>
                </p:cNvSpPr>
                <p:nvPr/>
              </p:nvSpPr>
              <p:spPr bwMode="auto">
                <a:xfrm>
                  <a:off x="7363698" y="6578167"/>
                  <a:ext cx="66294" cy="66985"/>
                </a:xfrm>
                <a:custGeom>
                  <a:avLst/>
                  <a:gdLst>
                    <a:gd name="T0" fmla="*/ 92 w 111"/>
                    <a:gd name="T1" fmla="*/ 91 h 111"/>
                    <a:gd name="T2" fmla="*/ 92 w 111"/>
                    <a:gd name="T3" fmla="*/ 91 h 111"/>
                    <a:gd name="T4" fmla="*/ 92 w 111"/>
                    <a:gd name="T5" fmla="*/ 19 h 111"/>
                    <a:gd name="T6" fmla="*/ 20 w 111"/>
                    <a:gd name="T7" fmla="*/ 19 h 111"/>
                    <a:gd name="T8" fmla="*/ 20 w 111"/>
                    <a:gd name="T9" fmla="*/ 91 h 111"/>
                    <a:gd name="T10" fmla="*/ 92 w 111"/>
                    <a:gd name="T11" fmla="*/ 91 h 111"/>
                  </a:gdLst>
                  <a:ahLst/>
                  <a:cxnLst>
                    <a:cxn ang="0">
                      <a:pos x="T0" y="T1"/>
                    </a:cxn>
                    <a:cxn ang="0">
                      <a:pos x="T2" y="T3"/>
                    </a:cxn>
                    <a:cxn ang="0">
                      <a:pos x="T4" y="T5"/>
                    </a:cxn>
                    <a:cxn ang="0">
                      <a:pos x="T6" y="T7"/>
                    </a:cxn>
                    <a:cxn ang="0">
                      <a:pos x="T8" y="T9"/>
                    </a:cxn>
                    <a:cxn ang="0">
                      <a:pos x="T10" y="T11"/>
                    </a:cxn>
                  </a:cxnLst>
                  <a:rect l="0" t="0" r="r" b="b"/>
                  <a:pathLst>
                    <a:path w="111" h="111">
                      <a:moveTo>
                        <a:pt x="92" y="91"/>
                      </a:moveTo>
                      <a:lnTo>
                        <a:pt x="92" y="91"/>
                      </a:lnTo>
                      <a:cubicBezTo>
                        <a:pt x="111" y="71"/>
                        <a:pt x="111" y="39"/>
                        <a:pt x="92" y="19"/>
                      </a:cubicBezTo>
                      <a:cubicBezTo>
                        <a:pt x="72" y="0"/>
                        <a:pt x="40" y="0"/>
                        <a:pt x="20" y="19"/>
                      </a:cubicBezTo>
                      <a:cubicBezTo>
                        <a:pt x="0" y="39"/>
                        <a:pt x="0" y="71"/>
                        <a:pt x="20" y="91"/>
                      </a:cubicBezTo>
                      <a:cubicBezTo>
                        <a:pt x="40" y="111"/>
                        <a:pt x="72" y="111"/>
                        <a:pt x="92" y="91"/>
                      </a:cubicBezTo>
                      <a:close/>
                    </a:path>
                  </a:pathLst>
                </a:custGeom>
                <a:grpFill/>
                <a:ln w="0">
                  <a:solidFill>
                    <a:srgbClr val="000000"/>
                  </a:solidFill>
                  <a:prstDash val="solid"/>
                  <a:round/>
                  <a:headEnd/>
                  <a:tailEnd/>
                </a:ln>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F504F"/>
                    </a:solidFill>
                    <a:effectLst/>
                    <a:uLnTx/>
                    <a:uFillTx/>
                    <a:latin typeface="Segoe UI"/>
                    <a:ea typeface="+mn-ea"/>
                    <a:cs typeface="+mn-cs"/>
                  </a:endParaRPr>
                </a:p>
              </p:txBody>
            </p:sp>
            <p:sp>
              <p:nvSpPr>
                <p:cNvPr id="254" name="Freeform 11">
                  <a:extLst>
                    <a:ext uri="{FF2B5EF4-FFF2-40B4-BE49-F238E27FC236}">
                      <a16:creationId xmlns:a16="http://schemas.microsoft.com/office/drawing/2014/main" id="{09865A7B-A6D2-4B27-B452-BC7BE2FD21C0}"/>
                    </a:ext>
                  </a:extLst>
                </p:cNvPr>
                <p:cNvSpPr>
                  <a:spLocks/>
                </p:cNvSpPr>
                <p:nvPr/>
              </p:nvSpPr>
              <p:spPr bwMode="auto">
                <a:xfrm>
                  <a:off x="7363698" y="6578167"/>
                  <a:ext cx="66294" cy="66985"/>
                </a:xfrm>
                <a:custGeom>
                  <a:avLst/>
                  <a:gdLst>
                    <a:gd name="T0" fmla="*/ 92 w 111"/>
                    <a:gd name="T1" fmla="*/ 91 h 111"/>
                    <a:gd name="T2" fmla="*/ 92 w 111"/>
                    <a:gd name="T3" fmla="*/ 91 h 111"/>
                    <a:gd name="T4" fmla="*/ 92 w 111"/>
                    <a:gd name="T5" fmla="*/ 19 h 111"/>
                    <a:gd name="T6" fmla="*/ 20 w 111"/>
                    <a:gd name="T7" fmla="*/ 19 h 111"/>
                    <a:gd name="T8" fmla="*/ 20 w 111"/>
                    <a:gd name="T9" fmla="*/ 91 h 111"/>
                    <a:gd name="T10" fmla="*/ 92 w 111"/>
                    <a:gd name="T11" fmla="*/ 91 h 111"/>
                    <a:gd name="T12" fmla="*/ 92 w 111"/>
                    <a:gd name="T13" fmla="*/ 91 h 111"/>
                  </a:gdLst>
                  <a:ahLst/>
                  <a:cxnLst>
                    <a:cxn ang="0">
                      <a:pos x="T0" y="T1"/>
                    </a:cxn>
                    <a:cxn ang="0">
                      <a:pos x="T2" y="T3"/>
                    </a:cxn>
                    <a:cxn ang="0">
                      <a:pos x="T4" y="T5"/>
                    </a:cxn>
                    <a:cxn ang="0">
                      <a:pos x="T6" y="T7"/>
                    </a:cxn>
                    <a:cxn ang="0">
                      <a:pos x="T8" y="T9"/>
                    </a:cxn>
                    <a:cxn ang="0">
                      <a:pos x="T10" y="T11"/>
                    </a:cxn>
                    <a:cxn ang="0">
                      <a:pos x="T12" y="T13"/>
                    </a:cxn>
                  </a:cxnLst>
                  <a:rect l="0" t="0" r="r" b="b"/>
                  <a:pathLst>
                    <a:path w="111" h="111">
                      <a:moveTo>
                        <a:pt x="92" y="91"/>
                      </a:moveTo>
                      <a:lnTo>
                        <a:pt x="92" y="91"/>
                      </a:lnTo>
                      <a:cubicBezTo>
                        <a:pt x="111" y="71"/>
                        <a:pt x="111" y="39"/>
                        <a:pt x="92" y="19"/>
                      </a:cubicBezTo>
                      <a:cubicBezTo>
                        <a:pt x="72" y="0"/>
                        <a:pt x="40" y="0"/>
                        <a:pt x="20" y="19"/>
                      </a:cubicBezTo>
                      <a:cubicBezTo>
                        <a:pt x="0" y="39"/>
                        <a:pt x="0" y="71"/>
                        <a:pt x="20" y="91"/>
                      </a:cubicBezTo>
                      <a:cubicBezTo>
                        <a:pt x="40" y="111"/>
                        <a:pt x="72" y="111"/>
                        <a:pt x="92" y="91"/>
                      </a:cubicBezTo>
                      <a:lnTo>
                        <a:pt x="92" y="91"/>
                      </a:lnTo>
                      <a:close/>
                    </a:path>
                  </a:pathLst>
                </a:custGeom>
                <a:grpFill/>
                <a:ln w="12700" cap="flat">
                  <a:solidFill>
                    <a:srgbClr val="0078D7"/>
                  </a:solidFill>
                  <a:prstDash val="solid"/>
                  <a:miter lim="800000"/>
                  <a:headEnd/>
                  <a:tailEnd/>
                </a:ln>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F504F"/>
                    </a:solidFill>
                    <a:effectLst/>
                    <a:uLnTx/>
                    <a:uFillTx/>
                    <a:latin typeface="Segoe UI"/>
                    <a:ea typeface="+mn-ea"/>
                    <a:cs typeface="+mn-cs"/>
                  </a:endParaRPr>
                </a:p>
              </p:txBody>
            </p:sp>
          </p:grpSp>
          <p:grpSp>
            <p:nvGrpSpPr>
              <p:cNvPr id="238" name="Group 14">
                <a:extLst>
                  <a:ext uri="{FF2B5EF4-FFF2-40B4-BE49-F238E27FC236}">
                    <a16:creationId xmlns:a16="http://schemas.microsoft.com/office/drawing/2014/main" id="{46A22902-97AE-4E7A-8F94-21BF3DB667FF}"/>
                  </a:ext>
                </a:extLst>
              </p:cNvPr>
              <p:cNvGrpSpPr>
                <a:grpSpLocks noChangeAspect="1"/>
              </p:cNvGrpSpPr>
              <p:nvPr/>
            </p:nvGrpSpPr>
            <p:grpSpPr bwMode="auto">
              <a:xfrm>
                <a:off x="3787410" y="4685251"/>
                <a:ext cx="411407" cy="411406"/>
                <a:chOff x="3765" y="3104"/>
                <a:chExt cx="874" cy="874"/>
              </a:xfrm>
              <a:grpFill/>
            </p:grpSpPr>
            <p:sp>
              <p:nvSpPr>
                <p:cNvPr id="239" name="AutoShape 13">
                  <a:extLst>
                    <a:ext uri="{FF2B5EF4-FFF2-40B4-BE49-F238E27FC236}">
                      <a16:creationId xmlns:a16="http://schemas.microsoft.com/office/drawing/2014/main" id="{2429CC6D-E5D5-41A4-9D99-94F9A51758E8}"/>
                    </a:ext>
                  </a:extLst>
                </p:cNvPr>
                <p:cNvSpPr>
                  <a:spLocks noChangeAspect="1" noChangeArrowheads="1" noTextEdit="1"/>
                </p:cNvSpPr>
                <p:nvPr/>
              </p:nvSpPr>
              <p:spPr bwMode="auto">
                <a:xfrm>
                  <a:off x="3765" y="3104"/>
                  <a:ext cx="874" cy="8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F504F"/>
                    </a:solidFill>
                    <a:effectLst/>
                    <a:uLnTx/>
                    <a:uFillTx/>
                    <a:latin typeface="Segoe UI"/>
                    <a:ea typeface="+mn-ea"/>
                    <a:cs typeface="+mn-cs"/>
                  </a:endParaRPr>
                </a:p>
              </p:txBody>
            </p:sp>
            <p:sp>
              <p:nvSpPr>
                <p:cNvPr id="240" name="Freeform 15">
                  <a:extLst>
                    <a:ext uri="{FF2B5EF4-FFF2-40B4-BE49-F238E27FC236}">
                      <a16:creationId xmlns:a16="http://schemas.microsoft.com/office/drawing/2014/main" id="{AE159019-C7D0-47CA-B5BF-5B97FFCE485C}"/>
                    </a:ext>
                  </a:extLst>
                </p:cNvPr>
                <p:cNvSpPr>
                  <a:spLocks/>
                </p:cNvSpPr>
                <p:nvPr/>
              </p:nvSpPr>
              <p:spPr bwMode="auto">
                <a:xfrm>
                  <a:off x="3941" y="3278"/>
                  <a:ext cx="531" cy="532"/>
                </a:xfrm>
                <a:custGeom>
                  <a:avLst/>
                  <a:gdLst>
                    <a:gd name="T0" fmla="*/ 0 w 612"/>
                    <a:gd name="T1" fmla="*/ 612 h 612"/>
                    <a:gd name="T2" fmla="*/ 0 w 612"/>
                    <a:gd name="T3" fmla="*/ 612 h 612"/>
                    <a:gd name="T4" fmla="*/ 612 w 612"/>
                    <a:gd name="T5" fmla="*/ 612 h 612"/>
                    <a:gd name="T6" fmla="*/ 612 w 612"/>
                    <a:gd name="T7" fmla="*/ 0 h 612"/>
                    <a:gd name="T8" fmla="*/ 0 w 612"/>
                    <a:gd name="T9" fmla="*/ 0 h 612"/>
                    <a:gd name="T10" fmla="*/ 0 w 612"/>
                    <a:gd name="T11" fmla="*/ 612 h 612"/>
                  </a:gdLst>
                  <a:ahLst/>
                  <a:cxnLst>
                    <a:cxn ang="0">
                      <a:pos x="T0" y="T1"/>
                    </a:cxn>
                    <a:cxn ang="0">
                      <a:pos x="T2" y="T3"/>
                    </a:cxn>
                    <a:cxn ang="0">
                      <a:pos x="T4" y="T5"/>
                    </a:cxn>
                    <a:cxn ang="0">
                      <a:pos x="T6" y="T7"/>
                    </a:cxn>
                    <a:cxn ang="0">
                      <a:pos x="T8" y="T9"/>
                    </a:cxn>
                    <a:cxn ang="0">
                      <a:pos x="T10" y="T11"/>
                    </a:cxn>
                  </a:cxnLst>
                  <a:rect l="0" t="0" r="r" b="b"/>
                  <a:pathLst>
                    <a:path w="612" h="612">
                      <a:moveTo>
                        <a:pt x="0" y="612"/>
                      </a:moveTo>
                      <a:lnTo>
                        <a:pt x="0" y="612"/>
                      </a:lnTo>
                      <a:lnTo>
                        <a:pt x="612" y="612"/>
                      </a:lnTo>
                      <a:lnTo>
                        <a:pt x="612" y="0"/>
                      </a:lnTo>
                      <a:lnTo>
                        <a:pt x="0" y="0"/>
                      </a:lnTo>
                      <a:lnTo>
                        <a:pt x="0" y="612"/>
                      </a:lnTo>
                      <a:close/>
                    </a:path>
                  </a:pathLst>
                </a:custGeom>
                <a:grpFill/>
                <a:ln w="0">
                  <a:solidFill>
                    <a:srgbClr val="000000"/>
                  </a:solidFill>
                  <a:prstDash val="solid"/>
                  <a:round/>
                  <a:headEnd/>
                  <a:tailEnd/>
                </a:ln>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F504F"/>
                    </a:solidFill>
                    <a:effectLst/>
                    <a:uLnTx/>
                    <a:uFillTx/>
                    <a:latin typeface="Segoe UI"/>
                    <a:ea typeface="+mn-ea"/>
                    <a:cs typeface="+mn-cs"/>
                  </a:endParaRPr>
                </a:p>
              </p:txBody>
            </p:sp>
            <p:sp>
              <p:nvSpPr>
                <p:cNvPr id="241" name="Freeform 16">
                  <a:extLst>
                    <a:ext uri="{FF2B5EF4-FFF2-40B4-BE49-F238E27FC236}">
                      <a16:creationId xmlns:a16="http://schemas.microsoft.com/office/drawing/2014/main" id="{C5B7C132-8168-494F-A29E-E7C1CA15223F}"/>
                    </a:ext>
                  </a:extLst>
                </p:cNvPr>
                <p:cNvSpPr>
                  <a:spLocks/>
                </p:cNvSpPr>
                <p:nvPr/>
              </p:nvSpPr>
              <p:spPr bwMode="auto">
                <a:xfrm>
                  <a:off x="3941" y="3278"/>
                  <a:ext cx="531" cy="532"/>
                </a:xfrm>
                <a:custGeom>
                  <a:avLst/>
                  <a:gdLst>
                    <a:gd name="T0" fmla="*/ 0 w 612"/>
                    <a:gd name="T1" fmla="*/ 612 h 612"/>
                    <a:gd name="T2" fmla="*/ 0 w 612"/>
                    <a:gd name="T3" fmla="*/ 612 h 612"/>
                    <a:gd name="T4" fmla="*/ 612 w 612"/>
                    <a:gd name="T5" fmla="*/ 612 h 612"/>
                    <a:gd name="T6" fmla="*/ 612 w 612"/>
                    <a:gd name="T7" fmla="*/ 0 h 612"/>
                    <a:gd name="T8" fmla="*/ 0 w 612"/>
                    <a:gd name="T9" fmla="*/ 0 h 612"/>
                    <a:gd name="T10" fmla="*/ 0 w 612"/>
                    <a:gd name="T11" fmla="*/ 612 h 612"/>
                  </a:gdLst>
                  <a:ahLst/>
                  <a:cxnLst>
                    <a:cxn ang="0">
                      <a:pos x="T0" y="T1"/>
                    </a:cxn>
                    <a:cxn ang="0">
                      <a:pos x="T2" y="T3"/>
                    </a:cxn>
                    <a:cxn ang="0">
                      <a:pos x="T4" y="T5"/>
                    </a:cxn>
                    <a:cxn ang="0">
                      <a:pos x="T6" y="T7"/>
                    </a:cxn>
                    <a:cxn ang="0">
                      <a:pos x="T8" y="T9"/>
                    </a:cxn>
                    <a:cxn ang="0">
                      <a:pos x="T10" y="T11"/>
                    </a:cxn>
                  </a:cxnLst>
                  <a:rect l="0" t="0" r="r" b="b"/>
                  <a:pathLst>
                    <a:path w="612" h="612">
                      <a:moveTo>
                        <a:pt x="0" y="612"/>
                      </a:moveTo>
                      <a:lnTo>
                        <a:pt x="0" y="612"/>
                      </a:lnTo>
                      <a:lnTo>
                        <a:pt x="612" y="612"/>
                      </a:lnTo>
                      <a:lnTo>
                        <a:pt x="612" y="0"/>
                      </a:lnTo>
                      <a:lnTo>
                        <a:pt x="0" y="0"/>
                      </a:lnTo>
                      <a:lnTo>
                        <a:pt x="0" y="612"/>
                      </a:lnTo>
                      <a:close/>
                    </a:path>
                  </a:pathLst>
                </a:custGeom>
                <a:grpFill/>
                <a:ln w="12700" cap="flat">
                  <a:solidFill>
                    <a:srgbClr val="0078D7"/>
                  </a:solidFill>
                  <a:prstDash val="solid"/>
                  <a:miter lim="800000"/>
                  <a:headEnd/>
                  <a:tailEnd/>
                </a:ln>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F504F"/>
                    </a:solidFill>
                    <a:effectLst/>
                    <a:uLnTx/>
                    <a:uFillTx/>
                    <a:latin typeface="Segoe UI"/>
                    <a:ea typeface="+mn-ea"/>
                    <a:cs typeface="+mn-cs"/>
                  </a:endParaRPr>
                </a:p>
              </p:txBody>
            </p:sp>
            <p:sp>
              <p:nvSpPr>
                <p:cNvPr id="242" name="Freeform 17">
                  <a:extLst>
                    <a:ext uri="{FF2B5EF4-FFF2-40B4-BE49-F238E27FC236}">
                      <a16:creationId xmlns:a16="http://schemas.microsoft.com/office/drawing/2014/main" id="{3F8A6388-A54C-4F7C-B69A-E7B98BBB245B}"/>
                    </a:ext>
                  </a:extLst>
                </p:cNvPr>
                <p:cNvSpPr>
                  <a:spLocks/>
                </p:cNvSpPr>
                <p:nvPr/>
              </p:nvSpPr>
              <p:spPr bwMode="auto">
                <a:xfrm>
                  <a:off x="3947" y="3724"/>
                  <a:ext cx="79" cy="79"/>
                </a:xfrm>
                <a:custGeom>
                  <a:avLst/>
                  <a:gdLst>
                    <a:gd name="T0" fmla="*/ 0 w 91"/>
                    <a:gd name="T1" fmla="*/ 91 h 91"/>
                    <a:gd name="T2" fmla="*/ 0 w 91"/>
                    <a:gd name="T3" fmla="*/ 91 h 91"/>
                    <a:gd name="T4" fmla="*/ 91 w 91"/>
                    <a:gd name="T5" fmla="*/ 91 h 91"/>
                    <a:gd name="T6" fmla="*/ 91 w 91"/>
                    <a:gd name="T7" fmla="*/ 0 h 91"/>
                    <a:gd name="T8" fmla="*/ 0 w 91"/>
                    <a:gd name="T9" fmla="*/ 0 h 91"/>
                    <a:gd name="T10" fmla="*/ 0 w 91"/>
                    <a:gd name="T11" fmla="*/ 91 h 91"/>
                  </a:gdLst>
                  <a:ahLst/>
                  <a:cxnLst>
                    <a:cxn ang="0">
                      <a:pos x="T0" y="T1"/>
                    </a:cxn>
                    <a:cxn ang="0">
                      <a:pos x="T2" y="T3"/>
                    </a:cxn>
                    <a:cxn ang="0">
                      <a:pos x="T4" y="T5"/>
                    </a:cxn>
                    <a:cxn ang="0">
                      <a:pos x="T6" y="T7"/>
                    </a:cxn>
                    <a:cxn ang="0">
                      <a:pos x="T8" y="T9"/>
                    </a:cxn>
                    <a:cxn ang="0">
                      <a:pos x="T10" y="T11"/>
                    </a:cxn>
                  </a:cxnLst>
                  <a:rect l="0" t="0" r="r" b="b"/>
                  <a:pathLst>
                    <a:path w="91" h="91">
                      <a:moveTo>
                        <a:pt x="0" y="91"/>
                      </a:moveTo>
                      <a:lnTo>
                        <a:pt x="0" y="91"/>
                      </a:lnTo>
                      <a:lnTo>
                        <a:pt x="91" y="91"/>
                      </a:lnTo>
                      <a:lnTo>
                        <a:pt x="91" y="0"/>
                      </a:lnTo>
                      <a:lnTo>
                        <a:pt x="0" y="0"/>
                      </a:lnTo>
                      <a:lnTo>
                        <a:pt x="0" y="91"/>
                      </a:lnTo>
                      <a:close/>
                    </a:path>
                  </a:pathLst>
                </a:custGeom>
                <a:grpFill/>
                <a:ln w="12700" cap="flat">
                  <a:solidFill>
                    <a:srgbClr val="0078D7"/>
                  </a:solidFill>
                  <a:prstDash val="solid"/>
                  <a:miter lim="800000"/>
                  <a:headEnd/>
                  <a:tailEnd/>
                </a:ln>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F504F"/>
                    </a:solidFill>
                    <a:effectLst/>
                    <a:uLnTx/>
                    <a:uFillTx/>
                    <a:latin typeface="Segoe UI"/>
                    <a:ea typeface="+mn-ea"/>
                    <a:cs typeface="+mn-cs"/>
                  </a:endParaRPr>
                </a:p>
              </p:txBody>
            </p:sp>
            <p:sp>
              <p:nvSpPr>
                <p:cNvPr id="243" name="Freeform 18">
                  <a:extLst>
                    <a:ext uri="{FF2B5EF4-FFF2-40B4-BE49-F238E27FC236}">
                      <a16:creationId xmlns:a16="http://schemas.microsoft.com/office/drawing/2014/main" id="{39241418-5761-4A19-AC0A-811EEDC5896C}"/>
                    </a:ext>
                  </a:extLst>
                </p:cNvPr>
                <p:cNvSpPr>
                  <a:spLocks/>
                </p:cNvSpPr>
                <p:nvPr/>
              </p:nvSpPr>
              <p:spPr bwMode="auto">
                <a:xfrm>
                  <a:off x="3947" y="3280"/>
                  <a:ext cx="79" cy="79"/>
                </a:xfrm>
                <a:custGeom>
                  <a:avLst/>
                  <a:gdLst>
                    <a:gd name="T0" fmla="*/ 0 w 91"/>
                    <a:gd name="T1" fmla="*/ 91 h 91"/>
                    <a:gd name="T2" fmla="*/ 0 w 91"/>
                    <a:gd name="T3" fmla="*/ 91 h 91"/>
                    <a:gd name="T4" fmla="*/ 91 w 91"/>
                    <a:gd name="T5" fmla="*/ 91 h 91"/>
                    <a:gd name="T6" fmla="*/ 91 w 91"/>
                    <a:gd name="T7" fmla="*/ 0 h 91"/>
                    <a:gd name="T8" fmla="*/ 0 w 91"/>
                    <a:gd name="T9" fmla="*/ 0 h 91"/>
                    <a:gd name="T10" fmla="*/ 0 w 91"/>
                    <a:gd name="T11" fmla="*/ 91 h 91"/>
                  </a:gdLst>
                  <a:ahLst/>
                  <a:cxnLst>
                    <a:cxn ang="0">
                      <a:pos x="T0" y="T1"/>
                    </a:cxn>
                    <a:cxn ang="0">
                      <a:pos x="T2" y="T3"/>
                    </a:cxn>
                    <a:cxn ang="0">
                      <a:pos x="T4" y="T5"/>
                    </a:cxn>
                    <a:cxn ang="0">
                      <a:pos x="T6" y="T7"/>
                    </a:cxn>
                    <a:cxn ang="0">
                      <a:pos x="T8" y="T9"/>
                    </a:cxn>
                    <a:cxn ang="0">
                      <a:pos x="T10" y="T11"/>
                    </a:cxn>
                  </a:cxnLst>
                  <a:rect l="0" t="0" r="r" b="b"/>
                  <a:pathLst>
                    <a:path w="91" h="91">
                      <a:moveTo>
                        <a:pt x="0" y="91"/>
                      </a:moveTo>
                      <a:lnTo>
                        <a:pt x="0" y="91"/>
                      </a:lnTo>
                      <a:lnTo>
                        <a:pt x="91" y="91"/>
                      </a:lnTo>
                      <a:lnTo>
                        <a:pt x="91" y="0"/>
                      </a:lnTo>
                      <a:lnTo>
                        <a:pt x="0" y="0"/>
                      </a:lnTo>
                      <a:lnTo>
                        <a:pt x="0" y="91"/>
                      </a:lnTo>
                      <a:close/>
                    </a:path>
                  </a:pathLst>
                </a:custGeom>
                <a:grpFill/>
                <a:ln w="12700" cap="flat">
                  <a:solidFill>
                    <a:srgbClr val="0078D7"/>
                  </a:solidFill>
                  <a:prstDash val="solid"/>
                  <a:miter lim="800000"/>
                  <a:headEnd/>
                  <a:tailEnd/>
                </a:ln>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F504F"/>
                    </a:solidFill>
                    <a:effectLst/>
                    <a:uLnTx/>
                    <a:uFillTx/>
                    <a:latin typeface="Segoe UI"/>
                    <a:ea typeface="+mn-ea"/>
                    <a:cs typeface="+mn-cs"/>
                  </a:endParaRPr>
                </a:p>
              </p:txBody>
            </p:sp>
            <p:sp>
              <p:nvSpPr>
                <p:cNvPr id="244" name="Freeform 19">
                  <a:extLst>
                    <a:ext uri="{FF2B5EF4-FFF2-40B4-BE49-F238E27FC236}">
                      <a16:creationId xmlns:a16="http://schemas.microsoft.com/office/drawing/2014/main" id="{61D77A1C-FEF3-4FA0-801C-D717FFBB02D5}"/>
                    </a:ext>
                  </a:extLst>
                </p:cNvPr>
                <p:cNvSpPr>
                  <a:spLocks/>
                </p:cNvSpPr>
                <p:nvPr/>
              </p:nvSpPr>
              <p:spPr bwMode="auto">
                <a:xfrm>
                  <a:off x="4388" y="3284"/>
                  <a:ext cx="79" cy="79"/>
                </a:xfrm>
                <a:custGeom>
                  <a:avLst/>
                  <a:gdLst>
                    <a:gd name="T0" fmla="*/ 0 w 91"/>
                    <a:gd name="T1" fmla="*/ 91 h 91"/>
                    <a:gd name="T2" fmla="*/ 0 w 91"/>
                    <a:gd name="T3" fmla="*/ 91 h 91"/>
                    <a:gd name="T4" fmla="*/ 91 w 91"/>
                    <a:gd name="T5" fmla="*/ 91 h 91"/>
                    <a:gd name="T6" fmla="*/ 91 w 91"/>
                    <a:gd name="T7" fmla="*/ 0 h 91"/>
                    <a:gd name="T8" fmla="*/ 0 w 91"/>
                    <a:gd name="T9" fmla="*/ 0 h 91"/>
                    <a:gd name="T10" fmla="*/ 0 w 91"/>
                    <a:gd name="T11" fmla="*/ 91 h 91"/>
                  </a:gdLst>
                  <a:ahLst/>
                  <a:cxnLst>
                    <a:cxn ang="0">
                      <a:pos x="T0" y="T1"/>
                    </a:cxn>
                    <a:cxn ang="0">
                      <a:pos x="T2" y="T3"/>
                    </a:cxn>
                    <a:cxn ang="0">
                      <a:pos x="T4" y="T5"/>
                    </a:cxn>
                    <a:cxn ang="0">
                      <a:pos x="T6" y="T7"/>
                    </a:cxn>
                    <a:cxn ang="0">
                      <a:pos x="T8" y="T9"/>
                    </a:cxn>
                    <a:cxn ang="0">
                      <a:pos x="T10" y="T11"/>
                    </a:cxn>
                  </a:cxnLst>
                  <a:rect l="0" t="0" r="r" b="b"/>
                  <a:pathLst>
                    <a:path w="91" h="91">
                      <a:moveTo>
                        <a:pt x="0" y="91"/>
                      </a:moveTo>
                      <a:lnTo>
                        <a:pt x="0" y="91"/>
                      </a:lnTo>
                      <a:lnTo>
                        <a:pt x="91" y="91"/>
                      </a:lnTo>
                      <a:lnTo>
                        <a:pt x="91" y="0"/>
                      </a:lnTo>
                      <a:lnTo>
                        <a:pt x="0" y="0"/>
                      </a:lnTo>
                      <a:lnTo>
                        <a:pt x="0" y="91"/>
                      </a:lnTo>
                      <a:close/>
                    </a:path>
                  </a:pathLst>
                </a:custGeom>
                <a:grpFill/>
                <a:ln w="12700" cap="flat">
                  <a:solidFill>
                    <a:srgbClr val="0078D7"/>
                  </a:solidFill>
                  <a:prstDash val="solid"/>
                  <a:miter lim="800000"/>
                  <a:headEnd/>
                  <a:tailEnd/>
                </a:ln>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F504F"/>
                    </a:solidFill>
                    <a:effectLst/>
                    <a:uLnTx/>
                    <a:uFillTx/>
                    <a:latin typeface="Segoe UI"/>
                    <a:ea typeface="+mn-ea"/>
                    <a:cs typeface="+mn-cs"/>
                  </a:endParaRPr>
                </a:p>
              </p:txBody>
            </p:sp>
            <p:sp>
              <p:nvSpPr>
                <p:cNvPr id="245" name="Freeform 20">
                  <a:extLst>
                    <a:ext uri="{FF2B5EF4-FFF2-40B4-BE49-F238E27FC236}">
                      <a16:creationId xmlns:a16="http://schemas.microsoft.com/office/drawing/2014/main" id="{97F483A7-BBFB-42B9-B472-D766DF4AFE97}"/>
                    </a:ext>
                  </a:extLst>
                </p:cNvPr>
                <p:cNvSpPr>
                  <a:spLocks/>
                </p:cNvSpPr>
                <p:nvPr/>
              </p:nvSpPr>
              <p:spPr bwMode="auto">
                <a:xfrm>
                  <a:off x="4384" y="3724"/>
                  <a:ext cx="79" cy="78"/>
                </a:xfrm>
                <a:custGeom>
                  <a:avLst/>
                  <a:gdLst>
                    <a:gd name="T0" fmla="*/ 0 w 91"/>
                    <a:gd name="T1" fmla="*/ 90 h 90"/>
                    <a:gd name="T2" fmla="*/ 0 w 91"/>
                    <a:gd name="T3" fmla="*/ 90 h 90"/>
                    <a:gd name="T4" fmla="*/ 91 w 91"/>
                    <a:gd name="T5" fmla="*/ 90 h 90"/>
                    <a:gd name="T6" fmla="*/ 91 w 91"/>
                    <a:gd name="T7" fmla="*/ 0 h 90"/>
                    <a:gd name="T8" fmla="*/ 0 w 91"/>
                    <a:gd name="T9" fmla="*/ 0 h 90"/>
                    <a:gd name="T10" fmla="*/ 0 w 91"/>
                    <a:gd name="T11" fmla="*/ 90 h 90"/>
                  </a:gdLst>
                  <a:ahLst/>
                  <a:cxnLst>
                    <a:cxn ang="0">
                      <a:pos x="T0" y="T1"/>
                    </a:cxn>
                    <a:cxn ang="0">
                      <a:pos x="T2" y="T3"/>
                    </a:cxn>
                    <a:cxn ang="0">
                      <a:pos x="T4" y="T5"/>
                    </a:cxn>
                    <a:cxn ang="0">
                      <a:pos x="T6" y="T7"/>
                    </a:cxn>
                    <a:cxn ang="0">
                      <a:pos x="T8" y="T9"/>
                    </a:cxn>
                    <a:cxn ang="0">
                      <a:pos x="T10" y="T11"/>
                    </a:cxn>
                  </a:cxnLst>
                  <a:rect l="0" t="0" r="r" b="b"/>
                  <a:pathLst>
                    <a:path w="91" h="90">
                      <a:moveTo>
                        <a:pt x="0" y="90"/>
                      </a:moveTo>
                      <a:lnTo>
                        <a:pt x="0" y="90"/>
                      </a:lnTo>
                      <a:lnTo>
                        <a:pt x="91" y="90"/>
                      </a:lnTo>
                      <a:lnTo>
                        <a:pt x="91" y="0"/>
                      </a:lnTo>
                      <a:lnTo>
                        <a:pt x="0" y="0"/>
                      </a:lnTo>
                      <a:lnTo>
                        <a:pt x="0" y="90"/>
                      </a:lnTo>
                      <a:close/>
                    </a:path>
                  </a:pathLst>
                </a:custGeom>
                <a:grpFill/>
                <a:ln w="12700" cap="flat">
                  <a:solidFill>
                    <a:srgbClr val="0078D7"/>
                  </a:solidFill>
                  <a:prstDash val="solid"/>
                  <a:miter lim="800000"/>
                  <a:headEnd/>
                  <a:tailEnd/>
                </a:ln>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F504F"/>
                    </a:solidFill>
                    <a:effectLst/>
                    <a:uLnTx/>
                    <a:uFillTx/>
                    <a:latin typeface="Segoe UI"/>
                    <a:ea typeface="+mn-ea"/>
                    <a:cs typeface="+mn-cs"/>
                  </a:endParaRPr>
                </a:p>
              </p:txBody>
            </p:sp>
            <p:sp>
              <p:nvSpPr>
                <p:cNvPr id="246" name="Freeform 21">
                  <a:extLst>
                    <a:ext uri="{FF2B5EF4-FFF2-40B4-BE49-F238E27FC236}">
                      <a16:creationId xmlns:a16="http://schemas.microsoft.com/office/drawing/2014/main" id="{2C59D69A-FEAC-4196-B26E-2DF3B3094B0A}"/>
                    </a:ext>
                  </a:extLst>
                </p:cNvPr>
                <p:cNvSpPr>
                  <a:spLocks/>
                </p:cNvSpPr>
                <p:nvPr/>
              </p:nvSpPr>
              <p:spPr bwMode="auto">
                <a:xfrm>
                  <a:off x="3781" y="3119"/>
                  <a:ext cx="851" cy="850"/>
                </a:xfrm>
                <a:custGeom>
                  <a:avLst/>
                  <a:gdLst>
                    <a:gd name="T0" fmla="*/ 0 w 980"/>
                    <a:gd name="T1" fmla="*/ 980 h 980"/>
                    <a:gd name="T2" fmla="*/ 0 w 980"/>
                    <a:gd name="T3" fmla="*/ 980 h 980"/>
                    <a:gd name="T4" fmla="*/ 980 w 980"/>
                    <a:gd name="T5" fmla="*/ 980 h 980"/>
                    <a:gd name="T6" fmla="*/ 980 w 980"/>
                    <a:gd name="T7" fmla="*/ 0 h 980"/>
                    <a:gd name="T8" fmla="*/ 0 w 980"/>
                    <a:gd name="T9" fmla="*/ 0 h 980"/>
                    <a:gd name="T10" fmla="*/ 0 w 980"/>
                    <a:gd name="T11" fmla="*/ 980 h 980"/>
                  </a:gdLst>
                  <a:ahLst/>
                  <a:cxnLst>
                    <a:cxn ang="0">
                      <a:pos x="T0" y="T1"/>
                    </a:cxn>
                    <a:cxn ang="0">
                      <a:pos x="T2" y="T3"/>
                    </a:cxn>
                    <a:cxn ang="0">
                      <a:pos x="T4" y="T5"/>
                    </a:cxn>
                    <a:cxn ang="0">
                      <a:pos x="T6" y="T7"/>
                    </a:cxn>
                    <a:cxn ang="0">
                      <a:pos x="T8" y="T9"/>
                    </a:cxn>
                    <a:cxn ang="0">
                      <a:pos x="T10" y="T11"/>
                    </a:cxn>
                  </a:cxnLst>
                  <a:rect l="0" t="0" r="r" b="b"/>
                  <a:pathLst>
                    <a:path w="980" h="980">
                      <a:moveTo>
                        <a:pt x="0" y="980"/>
                      </a:moveTo>
                      <a:lnTo>
                        <a:pt x="0" y="980"/>
                      </a:lnTo>
                      <a:lnTo>
                        <a:pt x="980" y="980"/>
                      </a:lnTo>
                      <a:lnTo>
                        <a:pt x="980" y="0"/>
                      </a:lnTo>
                      <a:lnTo>
                        <a:pt x="0" y="0"/>
                      </a:lnTo>
                      <a:lnTo>
                        <a:pt x="0" y="980"/>
                      </a:lnTo>
                      <a:close/>
                    </a:path>
                  </a:pathLst>
                </a:custGeom>
                <a:grpFill/>
                <a:ln w="12700" cap="flat">
                  <a:solidFill>
                    <a:srgbClr val="0078D7"/>
                  </a:solidFill>
                  <a:prstDash val="solid"/>
                  <a:miter lim="800000"/>
                  <a:headEnd/>
                  <a:tailEnd/>
                </a:ln>
              </p:spPr>
              <p:txBody>
                <a:bodyPr vert="horz" wrap="square" lIns="62329" tIns="31164" rIns="62329" bIns="31164" numCol="1" anchor="t" anchorCtr="0" compatLnSpc="1">
                  <a:prstTxWarp prst="textNoShape">
                    <a:avLst/>
                  </a:prstTxWarp>
                </a:bodyP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F504F"/>
                    </a:solidFill>
                    <a:effectLst/>
                    <a:uLnTx/>
                    <a:uFillTx/>
                    <a:latin typeface="Segoe UI"/>
                    <a:ea typeface="+mn-ea"/>
                    <a:cs typeface="+mn-cs"/>
                  </a:endParaRPr>
                </a:p>
              </p:txBody>
            </p:sp>
          </p:grpSp>
        </p:grpSp>
      </p:grpSp>
      <p:sp>
        <p:nvSpPr>
          <p:cNvPr id="258" name="Rectangle 257">
            <a:extLst>
              <a:ext uri="{FF2B5EF4-FFF2-40B4-BE49-F238E27FC236}">
                <a16:creationId xmlns:a16="http://schemas.microsoft.com/office/drawing/2014/main" id="{83867C12-9EC2-433D-9812-EF4389EBA5F5}"/>
              </a:ext>
            </a:extLst>
          </p:cNvPr>
          <p:cNvSpPr/>
          <p:nvPr/>
        </p:nvSpPr>
        <p:spPr bwMode="auto">
          <a:xfrm rot="16200000">
            <a:off x="8944295" y="682873"/>
            <a:ext cx="370324" cy="1465363"/>
          </a:xfrm>
          <a:prstGeom prst="rect">
            <a:avLst/>
          </a:prstGeom>
          <a:solidFill>
            <a:srgbClr val="0070C0"/>
          </a:solidFill>
          <a:ln w="15875" cap="flat">
            <a:noFill/>
            <a:prstDash val="solid"/>
            <a:miter lim="800000"/>
            <a:headEnd/>
            <a:tailEnd/>
          </a:ln>
          <a:effectLst>
            <a:outerShdw blurRad="63500" sx="102000" sy="102000" algn="ctr" rotWithShape="0">
              <a:prstClr val="black">
                <a:alpha val="40000"/>
              </a:prstClr>
            </a:outerShdw>
          </a:effectLst>
        </p:spPr>
        <p:txBody>
          <a:bodyPr vert="vert" wrap="square" lIns="0" tIns="0" rIns="0" bIns="0" numCol="1" anchor="ctr" anchorCtr="0" compatLnSpc="1">
            <a:prstTxWarp prst="textNoShape">
              <a:avLst/>
            </a:prstTxWarp>
          </a:bodyPr>
          <a:lstStyle/>
          <a:p>
            <a:pPr marL="0" marR="0" lvl="0" indent="0" algn="ctr" defTabSz="896215" rtl="0" eaLnBrk="1" fontAlgn="auto" latinLnBrk="0" hangingPunct="1">
              <a:lnSpc>
                <a:spcPct val="90000"/>
              </a:lnSpc>
              <a:spcBef>
                <a:spcPts val="0"/>
              </a:spcBef>
              <a:spcAft>
                <a:spcPts val="401"/>
              </a:spcAft>
              <a:buClrTx/>
              <a:buSzTx/>
              <a:buFontTx/>
              <a:buNone/>
              <a:tabLst/>
              <a:defRPr/>
            </a:pPr>
            <a:r>
              <a:rPr lang="en-US" sz="1600">
                <a:solidFill>
                  <a:schemeClr val="bg1"/>
                </a:solidFill>
                <a:latin typeface="Segoe UI Semibold"/>
              </a:rPr>
              <a:t>IoT Edge</a:t>
            </a:r>
            <a:endParaRPr kumimoji="0" lang="en-US" sz="1600" b="0" i="0" u="none" strike="noStrike" kern="1200" cap="none" spc="0" normalizeH="0" baseline="0" noProof="0">
              <a:ln>
                <a:noFill/>
              </a:ln>
              <a:solidFill>
                <a:schemeClr val="bg1"/>
              </a:solidFill>
              <a:effectLst/>
              <a:uLnTx/>
              <a:uFillTx/>
              <a:latin typeface="Segoe UI Semibold"/>
              <a:ea typeface="+mn-ea"/>
              <a:cs typeface="+mn-cs"/>
            </a:endParaRPr>
          </a:p>
        </p:txBody>
      </p:sp>
      <p:sp>
        <p:nvSpPr>
          <p:cNvPr id="259" name="Rectangle 258">
            <a:extLst>
              <a:ext uri="{FF2B5EF4-FFF2-40B4-BE49-F238E27FC236}">
                <a16:creationId xmlns:a16="http://schemas.microsoft.com/office/drawing/2014/main" id="{45CEEA3E-D4B0-42D4-B4FB-0B450BF196FA}"/>
              </a:ext>
            </a:extLst>
          </p:cNvPr>
          <p:cNvSpPr/>
          <p:nvPr/>
        </p:nvSpPr>
        <p:spPr bwMode="auto">
          <a:xfrm rot="10800000">
            <a:off x="10067945" y="1240979"/>
            <a:ext cx="471608" cy="4915962"/>
          </a:xfrm>
          <a:prstGeom prst="rect">
            <a:avLst/>
          </a:prstGeom>
          <a:solidFill>
            <a:schemeClr val="accent2">
              <a:lumMod val="90000"/>
              <a:lumOff val="10000"/>
            </a:schemeClr>
          </a:solidFill>
          <a:ln w="15875" cap="flat">
            <a:solidFill>
              <a:schemeClr val="accent1"/>
            </a:solidFill>
            <a:prstDash val="solid"/>
            <a:miter lim="800000"/>
            <a:headEnd/>
            <a:tailEnd/>
          </a:ln>
        </p:spPr>
        <p:txBody>
          <a:bodyPr vert="vert" wrap="square" lIns="0" tIns="0" rIns="0" bIns="0" numCol="1" anchor="ctr" anchorCtr="0" compatLnSpc="1">
            <a:prstTxWarp prst="textNoShape">
              <a:avLst/>
            </a:prstTxWarp>
          </a:bodyPr>
          <a:lstStyle/>
          <a:p>
            <a:pPr marL="0" marR="0" lvl="0" indent="0" algn="ctr" defTabSz="896215" rtl="0" eaLnBrk="1" fontAlgn="auto" latinLnBrk="0" hangingPunct="1">
              <a:lnSpc>
                <a:spcPct val="90000"/>
              </a:lnSpc>
              <a:spcBef>
                <a:spcPts val="0"/>
              </a:spcBef>
              <a:spcAft>
                <a:spcPts val="401"/>
              </a:spcAft>
              <a:buClrTx/>
              <a:buSzTx/>
              <a:buFontTx/>
              <a:buNone/>
              <a:tabLst/>
              <a:defRPr/>
            </a:pPr>
            <a:r>
              <a:rPr kumimoji="0" lang="en-US" sz="1600" b="0" i="0" u="none" strike="noStrike" kern="1200" cap="none" spc="0" normalizeH="0" baseline="0" noProof="0">
                <a:ln>
                  <a:noFill/>
                </a:ln>
                <a:gradFill>
                  <a:gsLst>
                    <a:gs pos="26804">
                      <a:srgbClr val="FFFFFF"/>
                    </a:gs>
                    <a:gs pos="49000">
                      <a:srgbClr val="FFFFFF"/>
                    </a:gs>
                  </a:gsLst>
                  <a:lin ang="5400000" scaled="1"/>
                </a:gradFill>
                <a:effectLst/>
                <a:uLnTx/>
                <a:uFillTx/>
                <a:latin typeface="Segoe UI Semibold"/>
                <a:ea typeface="+mn-ea"/>
                <a:cs typeface="+mn-cs"/>
              </a:rPr>
              <a:t>Partner Solutions</a:t>
            </a:r>
          </a:p>
        </p:txBody>
      </p:sp>
      <p:grpSp>
        <p:nvGrpSpPr>
          <p:cNvPr id="183" name="Group 196">
            <a:extLst>
              <a:ext uri="{FF2B5EF4-FFF2-40B4-BE49-F238E27FC236}">
                <a16:creationId xmlns:a16="http://schemas.microsoft.com/office/drawing/2014/main" id="{4D49D000-5B1C-426A-BA41-2D6949BC5AE3}"/>
              </a:ext>
            </a:extLst>
          </p:cNvPr>
          <p:cNvGrpSpPr>
            <a:grpSpLocks noChangeAspect="1"/>
          </p:cNvGrpSpPr>
          <p:nvPr/>
        </p:nvGrpSpPr>
        <p:grpSpPr bwMode="auto">
          <a:xfrm>
            <a:off x="9302829" y="3084165"/>
            <a:ext cx="159779" cy="304461"/>
            <a:chOff x="7261" y="805"/>
            <a:chExt cx="127" cy="242"/>
          </a:xfrm>
        </p:grpSpPr>
        <p:sp>
          <p:nvSpPr>
            <p:cNvPr id="186" name="Freeform 197">
              <a:extLst>
                <a:ext uri="{FF2B5EF4-FFF2-40B4-BE49-F238E27FC236}">
                  <a16:creationId xmlns:a16="http://schemas.microsoft.com/office/drawing/2014/main" id="{5C09856E-E64F-4B00-A39A-BB70EC3D094A}"/>
                </a:ext>
              </a:extLst>
            </p:cNvPr>
            <p:cNvSpPr>
              <a:spLocks/>
            </p:cNvSpPr>
            <p:nvPr/>
          </p:nvSpPr>
          <p:spPr bwMode="auto">
            <a:xfrm>
              <a:off x="7323" y="805"/>
              <a:ext cx="65" cy="194"/>
            </a:xfrm>
            <a:custGeom>
              <a:avLst/>
              <a:gdLst>
                <a:gd name="T0" fmla="*/ 90 w 90"/>
                <a:gd name="T1" fmla="*/ 166 h 268"/>
                <a:gd name="T2" fmla="*/ 90 w 90"/>
                <a:gd name="T3" fmla="*/ 46 h 268"/>
                <a:gd name="T4" fmla="*/ 45 w 90"/>
                <a:gd name="T5" fmla="*/ 0 h 268"/>
                <a:gd name="T6" fmla="*/ 0 w 90"/>
                <a:gd name="T7" fmla="*/ 46 h 268"/>
                <a:gd name="T8" fmla="*/ 0 w 90"/>
                <a:gd name="T9" fmla="*/ 268 h 268"/>
              </a:gdLst>
              <a:ahLst/>
              <a:cxnLst>
                <a:cxn ang="0">
                  <a:pos x="T0" y="T1"/>
                </a:cxn>
                <a:cxn ang="0">
                  <a:pos x="T2" y="T3"/>
                </a:cxn>
                <a:cxn ang="0">
                  <a:pos x="T4" y="T5"/>
                </a:cxn>
                <a:cxn ang="0">
                  <a:pos x="T6" y="T7"/>
                </a:cxn>
                <a:cxn ang="0">
                  <a:pos x="T8" y="T9"/>
                </a:cxn>
              </a:cxnLst>
              <a:rect l="0" t="0" r="r" b="b"/>
              <a:pathLst>
                <a:path w="90" h="268">
                  <a:moveTo>
                    <a:pt x="90" y="166"/>
                  </a:moveTo>
                  <a:cubicBezTo>
                    <a:pt x="90" y="46"/>
                    <a:pt x="90" y="46"/>
                    <a:pt x="90" y="46"/>
                  </a:cubicBezTo>
                  <a:cubicBezTo>
                    <a:pt x="90" y="20"/>
                    <a:pt x="70" y="0"/>
                    <a:pt x="45" y="0"/>
                  </a:cubicBezTo>
                  <a:cubicBezTo>
                    <a:pt x="20" y="0"/>
                    <a:pt x="0" y="20"/>
                    <a:pt x="0" y="46"/>
                  </a:cubicBezTo>
                  <a:cubicBezTo>
                    <a:pt x="0" y="268"/>
                    <a:pt x="0" y="268"/>
                    <a:pt x="0" y="268"/>
                  </a:cubicBezTo>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89" name="Freeform 198">
              <a:extLst>
                <a:ext uri="{FF2B5EF4-FFF2-40B4-BE49-F238E27FC236}">
                  <a16:creationId xmlns:a16="http://schemas.microsoft.com/office/drawing/2014/main" id="{8A5121AE-2DC3-4D04-A2B2-52BFEC8318BC}"/>
                </a:ext>
              </a:extLst>
            </p:cNvPr>
            <p:cNvSpPr>
              <a:spLocks/>
            </p:cNvSpPr>
            <p:nvPr/>
          </p:nvSpPr>
          <p:spPr bwMode="auto">
            <a:xfrm>
              <a:off x="7261" y="805"/>
              <a:ext cx="95" cy="194"/>
            </a:xfrm>
            <a:custGeom>
              <a:avLst/>
              <a:gdLst>
                <a:gd name="T0" fmla="*/ 131 w 131"/>
                <a:gd name="T1" fmla="*/ 0 h 268"/>
                <a:gd name="T2" fmla="*/ 45 w 131"/>
                <a:gd name="T3" fmla="*/ 0 h 268"/>
                <a:gd name="T4" fmla="*/ 0 w 131"/>
                <a:gd name="T5" fmla="*/ 46 h 268"/>
                <a:gd name="T6" fmla="*/ 0 w 131"/>
                <a:gd name="T7" fmla="*/ 268 h 268"/>
              </a:gdLst>
              <a:ahLst/>
              <a:cxnLst>
                <a:cxn ang="0">
                  <a:pos x="T0" y="T1"/>
                </a:cxn>
                <a:cxn ang="0">
                  <a:pos x="T2" y="T3"/>
                </a:cxn>
                <a:cxn ang="0">
                  <a:pos x="T4" y="T5"/>
                </a:cxn>
                <a:cxn ang="0">
                  <a:pos x="T6" y="T7"/>
                </a:cxn>
              </a:cxnLst>
              <a:rect l="0" t="0" r="r" b="b"/>
              <a:pathLst>
                <a:path w="131" h="268">
                  <a:moveTo>
                    <a:pt x="131" y="0"/>
                  </a:moveTo>
                  <a:cubicBezTo>
                    <a:pt x="45" y="0"/>
                    <a:pt x="45" y="0"/>
                    <a:pt x="45" y="0"/>
                  </a:cubicBezTo>
                  <a:cubicBezTo>
                    <a:pt x="20" y="0"/>
                    <a:pt x="0" y="20"/>
                    <a:pt x="0" y="46"/>
                  </a:cubicBezTo>
                  <a:cubicBezTo>
                    <a:pt x="0" y="268"/>
                    <a:pt x="0" y="268"/>
                    <a:pt x="0" y="268"/>
                  </a:cubicBezTo>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94" name="Freeform 199">
              <a:extLst>
                <a:ext uri="{FF2B5EF4-FFF2-40B4-BE49-F238E27FC236}">
                  <a16:creationId xmlns:a16="http://schemas.microsoft.com/office/drawing/2014/main" id="{76B3C3D1-6491-42B8-864E-715F12816F78}"/>
                </a:ext>
              </a:extLst>
            </p:cNvPr>
            <p:cNvSpPr>
              <a:spLocks/>
            </p:cNvSpPr>
            <p:nvPr/>
          </p:nvSpPr>
          <p:spPr bwMode="auto">
            <a:xfrm>
              <a:off x="7322" y="992"/>
              <a:ext cx="66" cy="55"/>
            </a:xfrm>
            <a:custGeom>
              <a:avLst/>
              <a:gdLst>
                <a:gd name="T0" fmla="*/ 91 w 91"/>
                <a:gd name="T1" fmla="*/ 0 h 77"/>
                <a:gd name="T2" fmla="*/ 91 w 91"/>
                <a:gd name="T3" fmla="*/ 32 h 77"/>
                <a:gd name="T4" fmla="*/ 46 w 91"/>
                <a:gd name="T5" fmla="*/ 77 h 77"/>
                <a:gd name="T6" fmla="*/ 0 w 91"/>
                <a:gd name="T7" fmla="*/ 32 h 77"/>
                <a:gd name="T8" fmla="*/ 0 w 91"/>
                <a:gd name="T9" fmla="*/ 6 h 77"/>
              </a:gdLst>
              <a:ahLst/>
              <a:cxnLst>
                <a:cxn ang="0">
                  <a:pos x="T0" y="T1"/>
                </a:cxn>
                <a:cxn ang="0">
                  <a:pos x="T2" y="T3"/>
                </a:cxn>
                <a:cxn ang="0">
                  <a:pos x="T4" y="T5"/>
                </a:cxn>
                <a:cxn ang="0">
                  <a:pos x="T6" y="T7"/>
                </a:cxn>
                <a:cxn ang="0">
                  <a:pos x="T8" y="T9"/>
                </a:cxn>
              </a:cxnLst>
              <a:rect l="0" t="0" r="r" b="b"/>
              <a:pathLst>
                <a:path w="91" h="77">
                  <a:moveTo>
                    <a:pt x="91" y="0"/>
                  </a:moveTo>
                  <a:cubicBezTo>
                    <a:pt x="91" y="32"/>
                    <a:pt x="91" y="32"/>
                    <a:pt x="91" y="32"/>
                  </a:cubicBezTo>
                  <a:cubicBezTo>
                    <a:pt x="91" y="57"/>
                    <a:pt x="71" y="77"/>
                    <a:pt x="46" y="77"/>
                  </a:cubicBezTo>
                  <a:cubicBezTo>
                    <a:pt x="21" y="77"/>
                    <a:pt x="0" y="57"/>
                    <a:pt x="0" y="32"/>
                  </a:cubicBezTo>
                  <a:cubicBezTo>
                    <a:pt x="0" y="6"/>
                    <a:pt x="0" y="6"/>
                    <a:pt x="0" y="6"/>
                  </a:cubicBezTo>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95" name="Freeform 200">
              <a:extLst>
                <a:ext uri="{FF2B5EF4-FFF2-40B4-BE49-F238E27FC236}">
                  <a16:creationId xmlns:a16="http://schemas.microsoft.com/office/drawing/2014/main" id="{7CF67F12-A4AB-4DB0-8615-B240DFE210BA}"/>
                </a:ext>
              </a:extLst>
            </p:cNvPr>
            <p:cNvSpPr>
              <a:spLocks/>
            </p:cNvSpPr>
            <p:nvPr/>
          </p:nvSpPr>
          <p:spPr bwMode="auto">
            <a:xfrm>
              <a:off x="7261" y="996"/>
              <a:ext cx="95" cy="51"/>
            </a:xfrm>
            <a:custGeom>
              <a:avLst/>
              <a:gdLst>
                <a:gd name="T0" fmla="*/ 131 w 131"/>
                <a:gd name="T1" fmla="*/ 71 h 71"/>
                <a:gd name="T2" fmla="*/ 45 w 131"/>
                <a:gd name="T3" fmla="*/ 71 h 71"/>
                <a:gd name="T4" fmla="*/ 0 w 131"/>
                <a:gd name="T5" fmla="*/ 26 h 71"/>
                <a:gd name="T6" fmla="*/ 0 w 131"/>
                <a:gd name="T7" fmla="*/ 0 h 71"/>
              </a:gdLst>
              <a:ahLst/>
              <a:cxnLst>
                <a:cxn ang="0">
                  <a:pos x="T0" y="T1"/>
                </a:cxn>
                <a:cxn ang="0">
                  <a:pos x="T2" y="T3"/>
                </a:cxn>
                <a:cxn ang="0">
                  <a:pos x="T4" y="T5"/>
                </a:cxn>
                <a:cxn ang="0">
                  <a:pos x="T6" y="T7"/>
                </a:cxn>
              </a:cxnLst>
              <a:rect l="0" t="0" r="r" b="b"/>
              <a:pathLst>
                <a:path w="131" h="71">
                  <a:moveTo>
                    <a:pt x="131" y="71"/>
                  </a:moveTo>
                  <a:cubicBezTo>
                    <a:pt x="45" y="71"/>
                    <a:pt x="45" y="71"/>
                    <a:pt x="45" y="71"/>
                  </a:cubicBezTo>
                  <a:cubicBezTo>
                    <a:pt x="20" y="71"/>
                    <a:pt x="0" y="51"/>
                    <a:pt x="0" y="26"/>
                  </a:cubicBezTo>
                  <a:cubicBezTo>
                    <a:pt x="0" y="0"/>
                    <a:pt x="0" y="0"/>
                    <a:pt x="0" y="0"/>
                  </a:cubicBezTo>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96" name="Oval 201">
              <a:extLst>
                <a:ext uri="{FF2B5EF4-FFF2-40B4-BE49-F238E27FC236}">
                  <a16:creationId xmlns:a16="http://schemas.microsoft.com/office/drawing/2014/main" id="{BF9AFD15-3E9F-41E1-8E5F-AD95B65BA96B}"/>
                </a:ext>
              </a:extLst>
            </p:cNvPr>
            <p:cNvSpPr>
              <a:spLocks noChangeArrowheads="1"/>
            </p:cNvSpPr>
            <p:nvPr/>
          </p:nvSpPr>
          <p:spPr bwMode="auto">
            <a:xfrm>
              <a:off x="7287" y="878"/>
              <a:ext cx="9" cy="8"/>
            </a:xfrm>
            <a:prstGeom prst="ellipse">
              <a:avLst/>
            </a:pr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97" name="Oval 202">
              <a:extLst>
                <a:ext uri="{FF2B5EF4-FFF2-40B4-BE49-F238E27FC236}">
                  <a16:creationId xmlns:a16="http://schemas.microsoft.com/office/drawing/2014/main" id="{15D5B87A-0B29-4C51-802E-6FADE08BF601}"/>
                </a:ext>
              </a:extLst>
            </p:cNvPr>
            <p:cNvSpPr>
              <a:spLocks noChangeArrowheads="1"/>
            </p:cNvSpPr>
            <p:nvPr/>
          </p:nvSpPr>
          <p:spPr bwMode="auto">
            <a:xfrm>
              <a:off x="7287" y="923"/>
              <a:ext cx="9" cy="8"/>
            </a:xfrm>
            <a:prstGeom prst="ellipse">
              <a:avLst/>
            </a:pr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98" name="Oval 203">
              <a:extLst>
                <a:ext uri="{FF2B5EF4-FFF2-40B4-BE49-F238E27FC236}">
                  <a16:creationId xmlns:a16="http://schemas.microsoft.com/office/drawing/2014/main" id="{4555C4ED-1366-4020-A539-B378D486970D}"/>
                </a:ext>
              </a:extLst>
            </p:cNvPr>
            <p:cNvSpPr>
              <a:spLocks noChangeArrowheads="1"/>
            </p:cNvSpPr>
            <p:nvPr/>
          </p:nvSpPr>
          <p:spPr bwMode="auto">
            <a:xfrm>
              <a:off x="7287" y="967"/>
              <a:ext cx="9" cy="8"/>
            </a:xfrm>
            <a:prstGeom prst="ellipse">
              <a:avLst/>
            </a:pr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199" name="Freeform 5">
            <a:extLst>
              <a:ext uri="{FF2B5EF4-FFF2-40B4-BE49-F238E27FC236}">
                <a16:creationId xmlns:a16="http://schemas.microsoft.com/office/drawing/2014/main" id="{9FBDD706-66E4-44DD-97FC-0DC75B591D26}"/>
              </a:ext>
            </a:extLst>
          </p:cNvPr>
          <p:cNvSpPr>
            <a:spLocks noEditPoints="1"/>
          </p:cNvSpPr>
          <p:nvPr/>
        </p:nvSpPr>
        <p:spPr bwMode="auto">
          <a:xfrm>
            <a:off x="9265332" y="2736514"/>
            <a:ext cx="234772" cy="143856"/>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0" name="Freeform 41">
            <a:extLst>
              <a:ext uri="{FF2B5EF4-FFF2-40B4-BE49-F238E27FC236}">
                <a16:creationId xmlns:a16="http://schemas.microsoft.com/office/drawing/2014/main" id="{554C2922-2974-45E6-A79C-1A9E573A45D8}"/>
              </a:ext>
            </a:extLst>
          </p:cNvPr>
          <p:cNvSpPr>
            <a:spLocks noEditPoints="1"/>
          </p:cNvSpPr>
          <p:nvPr/>
        </p:nvSpPr>
        <p:spPr bwMode="auto">
          <a:xfrm>
            <a:off x="9241209" y="2286711"/>
            <a:ext cx="283019" cy="246008"/>
          </a:xfrm>
          <a:custGeom>
            <a:avLst/>
            <a:gdLst>
              <a:gd name="T0" fmla="*/ 208 w 208"/>
              <a:gd name="T1" fmla="*/ 54 h 130"/>
              <a:gd name="T2" fmla="*/ 208 w 208"/>
              <a:gd name="T3" fmla="*/ 130 h 130"/>
              <a:gd name="T4" fmla="*/ 0 w 208"/>
              <a:gd name="T5" fmla="*/ 130 h 130"/>
              <a:gd name="T6" fmla="*/ 0 w 208"/>
              <a:gd name="T7" fmla="*/ 54 h 130"/>
              <a:gd name="T8" fmla="*/ 40 w 208"/>
              <a:gd name="T9" fmla="*/ 24 h 130"/>
              <a:gd name="T10" fmla="*/ 40 w 208"/>
              <a:gd name="T11" fmla="*/ 54 h 130"/>
              <a:gd name="T12" fmla="*/ 85 w 208"/>
              <a:gd name="T13" fmla="*/ 24 h 130"/>
              <a:gd name="T14" fmla="*/ 85 w 208"/>
              <a:gd name="T15" fmla="*/ 54 h 130"/>
              <a:gd name="T16" fmla="*/ 208 w 208"/>
              <a:gd name="T17" fmla="*/ 54 h 130"/>
              <a:gd name="T18" fmla="*/ 163 w 208"/>
              <a:gd name="T19" fmla="*/ 54 h 130"/>
              <a:gd name="T20" fmla="*/ 153 w 208"/>
              <a:gd name="T21" fmla="*/ 0 h 130"/>
              <a:gd name="T22" fmla="*/ 144 w 208"/>
              <a:gd name="T23" fmla="*/ 0 h 130"/>
              <a:gd name="T24" fmla="*/ 136 w 208"/>
              <a:gd name="T25" fmla="*/ 54 h 130"/>
              <a:gd name="T26" fmla="*/ 200 w 208"/>
              <a:gd name="T27" fmla="*/ 54 h 130"/>
              <a:gd name="T28" fmla="*/ 189 w 208"/>
              <a:gd name="T29" fmla="*/ 0 h 130"/>
              <a:gd name="T30" fmla="*/ 180 w 208"/>
              <a:gd name="T31" fmla="*/ 0 h 130"/>
              <a:gd name="T32" fmla="*/ 171 w 208"/>
              <a:gd name="T33" fmla="*/ 54 h 130"/>
              <a:gd name="T34" fmla="*/ 30 w 208"/>
              <a:gd name="T35" fmla="*/ 77 h 130"/>
              <a:gd name="T36" fmla="*/ 19 w 208"/>
              <a:gd name="T37" fmla="*/ 77 h 130"/>
              <a:gd name="T38" fmla="*/ 19 w 208"/>
              <a:gd name="T39" fmla="*/ 88 h 130"/>
              <a:gd name="T40" fmla="*/ 30 w 208"/>
              <a:gd name="T41" fmla="*/ 88 h 130"/>
              <a:gd name="T42" fmla="*/ 30 w 208"/>
              <a:gd name="T43" fmla="*/ 77 h 130"/>
              <a:gd name="T44" fmla="*/ 69 w 208"/>
              <a:gd name="T45" fmla="*/ 77 h 130"/>
              <a:gd name="T46" fmla="*/ 59 w 208"/>
              <a:gd name="T47" fmla="*/ 77 h 130"/>
              <a:gd name="T48" fmla="*/ 59 w 208"/>
              <a:gd name="T49" fmla="*/ 88 h 130"/>
              <a:gd name="T50" fmla="*/ 69 w 208"/>
              <a:gd name="T51" fmla="*/ 88 h 130"/>
              <a:gd name="T52" fmla="*/ 69 w 208"/>
              <a:gd name="T53" fmla="*/ 77 h 130"/>
              <a:gd name="T54" fmla="*/ 109 w 208"/>
              <a:gd name="T55" fmla="*/ 77 h 130"/>
              <a:gd name="T56" fmla="*/ 99 w 208"/>
              <a:gd name="T57" fmla="*/ 77 h 130"/>
              <a:gd name="T58" fmla="*/ 99 w 208"/>
              <a:gd name="T59" fmla="*/ 88 h 130"/>
              <a:gd name="T60" fmla="*/ 109 w 208"/>
              <a:gd name="T61" fmla="*/ 88 h 130"/>
              <a:gd name="T62" fmla="*/ 109 w 208"/>
              <a:gd name="T63" fmla="*/ 77 h 130"/>
              <a:gd name="T64" fmla="*/ 149 w 208"/>
              <a:gd name="T65" fmla="*/ 77 h 130"/>
              <a:gd name="T66" fmla="*/ 139 w 208"/>
              <a:gd name="T67" fmla="*/ 77 h 130"/>
              <a:gd name="T68" fmla="*/ 139 w 208"/>
              <a:gd name="T69" fmla="*/ 88 h 130"/>
              <a:gd name="T70" fmla="*/ 149 w 208"/>
              <a:gd name="T71" fmla="*/ 88 h 130"/>
              <a:gd name="T72" fmla="*/ 149 w 208"/>
              <a:gd name="T73" fmla="*/ 77 h 130"/>
              <a:gd name="T74" fmla="*/ 189 w 208"/>
              <a:gd name="T75" fmla="*/ 77 h 130"/>
              <a:gd name="T76" fmla="*/ 179 w 208"/>
              <a:gd name="T77" fmla="*/ 77 h 130"/>
              <a:gd name="T78" fmla="*/ 179 w 208"/>
              <a:gd name="T79" fmla="*/ 88 h 130"/>
              <a:gd name="T80" fmla="*/ 189 w 208"/>
              <a:gd name="T81" fmla="*/ 88 h 130"/>
              <a:gd name="T82" fmla="*/ 189 w 208"/>
              <a:gd name="T83" fmla="*/ 7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 h="130">
                <a:moveTo>
                  <a:pt x="208" y="54"/>
                </a:moveTo>
                <a:lnTo>
                  <a:pt x="208" y="130"/>
                </a:lnTo>
                <a:lnTo>
                  <a:pt x="0" y="130"/>
                </a:lnTo>
                <a:lnTo>
                  <a:pt x="0" y="54"/>
                </a:lnTo>
                <a:lnTo>
                  <a:pt x="40" y="24"/>
                </a:lnTo>
                <a:lnTo>
                  <a:pt x="40" y="54"/>
                </a:lnTo>
                <a:lnTo>
                  <a:pt x="85" y="24"/>
                </a:lnTo>
                <a:lnTo>
                  <a:pt x="85" y="54"/>
                </a:lnTo>
                <a:lnTo>
                  <a:pt x="208" y="54"/>
                </a:lnTo>
                <a:moveTo>
                  <a:pt x="163" y="54"/>
                </a:moveTo>
                <a:lnTo>
                  <a:pt x="153" y="0"/>
                </a:lnTo>
                <a:lnTo>
                  <a:pt x="144" y="0"/>
                </a:lnTo>
                <a:lnTo>
                  <a:pt x="136" y="54"/>
                </a:lnTo>
                <a:moveTo>
                  <a:pt x="200" y="54"/>
                </a:moveTo>
                <a:lnTo>
                  <a:pt x="189" y="0"/>
                </a:lnTo>
                <a:lnTo>
                  <a:pt x="180" y="0"/>
                </a:lnTo>
                <a:lnTo>
                  <a:pt x="171" y="54"/>
                </a:lnTo>
                <a:moveTo>
                  <a:pt x="30" y="77"/>
                </a:moveTo>
                <a:lnTo>
                  <a:pt x="19" y="77"/>
                </a:lnTo>
                <a:lnTo>
                  <a:pt x="19" y="88"/>
                </a:lnTo>
                <a:lnTo>
                  <a:pt x="30" y="88"/>
                </a:lnTo>
                <a:lnTo>
                  <a:pt x="30" y="77"/>
                </a:lnTo>
                <a:moveTo>
                  <a:pt x="69" y="77"/>
                </a:moveTo>
                <a:lnTo>
                  <a:pt x="59" y="77"/>
                </a:lnTo>
                <a:lnTo>
                  <a:pt x="59" y="88"/>
                </a:lnTo>
                <a:lnTo>
                  <a:pt x="69" y="88"/>
                </a:lnTo>
                <a:lnTo>
                  <a:pt x="69" y="77"/>
                </a:lnTo>
                <a:moveTo>
                  <a:pt x="109" y="77"/>
                </a:moveTo>
                <a:lnTo>
                  <a:pt x="99" y="77"/>
                </a:lnTo>
                <a:lnTo>
                  <a:pt x="99" y="88"/>
                </a:lnTo>
                <a:lnTo>
                  <a:pt x="109" y="88"/>
                </a:lnTo>
                <a:lnTo>
                  <a:pt x="109" y="77"/>
                </a:lnTo>
                <a:moveTo>
                  <a:pt x="149" y="77"/>
                </a:moveTo>
                <a:lnTo>
                  <a:pt x="139" y="77"/>
                </a:lnTo>
                <a:lnTo>
                  <a:pt x="139" y="88"/>
                </a:lnTo>
                <a:lnTo>
                  <a:pt x="149" y="88"/>
                </a:lnTo>
                <a:lnTo>
                  <a:pt x="149" y="77"/>
                </a:lnTo>
                <a:moveTo>
                  <a:pt x="189" y="77"/>
                </a:moveTo>
                <a:lnTo>
                  <a:pt x="179" y="77"/>
                </a:lnTo>
                <a:lnTo>
                  <a:pt x="179" y="88"/>
                </a:lnTo>
                <a:lnTo>
                  <a:pt x="189" y="88"/>
                </a:lnTo>
                <a:lnTo>
                  <a:pt x="189" y="77"/>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6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201" name="Group 8">
            <a:extLst>
              <a:ext uri="{FF2B5EF4-FFF2-40B4-BE49-F238E27FC236}">
                <a16:creationId xmlns:a16="http://schemas.microsoft.com/office/drawing/2014/main" id="{00A76115-07AF-414E-9000-C1C57C228A3B}"/>
              </a:ext>
            </a:extLst>
          </p:cNvPr>
          <p:cNvGrpSpPr>
            <a:grpSpLocks noChangeAspect="1"/>
          </p:cNvGrpSpPr>
          <p:nvPr/>
        </p:nvGrpSpPr>
        <p:grpSpPr bwMode="auto">
          <a:xfrm>
            <a:off x="9195662" y="4060660"/>
            <a:ext cx="374112" cy="303966"/>
            <a:chOff x="5458" y="3157"/>
            <a:chExt cx="304" cy="247"/>
          </a:xfrm>
        </p:grpSpPr>
        <p:sp>
          <p:nvSpPr>
            <p:cNvPr id="202" name="Freeform 9">
              <a:extLst>
                <a:ext uri="{FF2B5EF4-FFF2-40B4-BE49-F238E27FC236}">
                  <a16:creationId xmlns:a16="http://schemas.microsoft.com/office/drawing/2014/main" id="{205B6B3E-E5F8-4639-9A18-7817255261F0}"/>
                </a:ext>
              </a:extLst>
            </p:cNvPr>
            <p:cNvSpPr>
              <a:spLocks noEditPoints="1"/>
            </p:cNvSpPr>
            <p:nvPr/>
          </p:nvSpPr>
          <p:spPr bwMode="auto">
            <a:xfrm>
              <a:off x="5521" y="3157"/>
              <a:ext cx="241" cy="247"/>
            </a:xfrm>
            <a:custGeom>
              <a:avLst/>
              <a:gdLst>
                <a:gd name="T0" fmla="*/ 35 w 334"/>
                <a:gd name="T1" fmla="*/ 160 h 341"/>
                <a:gd name="T2" fmla="*/ 35 w 334"/>
                <a:gd name="T3" fmla="*/ 61 h 341"/>
                <a:gd name="T4" fmla="*/ 60 w 334"/>
                <a:gd name="T5" fmla="*/ 36 h 341"/>
                <a:gd name="T6" fmla="*/ 266 w 334"/>
                <a:gd name="T7" fmla="*/ 36 h 341"/>
                <a:gd name="T8" fmla="*/ 291 w 334"/>
                <a:gd name="T9" fmla="*/ 61 h 341"/>
                <a:gd name="T10" fmla="*/ 291 w 334"/>
                <a:gd name="T11" fmla="*/ 273 h 341"/>
                <a:gd name="T12" fmla="*/ 266 w 334"/>
                <a:gd name="T13" fmla="*/ 298 h 341"/>
                <a:gd name="T14" fmla="*/ 266 w 334"/>
                <a:gd name="T15" fmla="*/ 298 h 341"/>
                <a:gd name="T16" fmla="*/ 84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5 w 334"/>
                <a:gd name="T35" fmla="*/ 0 h 341"/>
                <a:gd name="T36" fmla="*/ 255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5 w 334"/>
                <a:gd name="T59" fmla="*/ 78 h 341"/>
                <a:gd name="T60" fmla="*/ 0 w 334"/>
                <a:gd name="T61" fmla="*/ 78 h 341"/>
                <a:gd name="T62" fmla="*/ 35 w 334"/>
                <a:gd name="T63" fmla="*/ 121 h 341"/>
                <a:gd name="T64" fmla="*/ 0 w 334"/>
                <a:gd name="T65" fmla="*/ 121 h 341"/>
                <a:gd name="T66" fmla="*/ 35 w 334"/>
                <a:gd name="T67" fmla="*/ 163 h 341"/>
                <a:gd name="T68" fmla="*/ 0 w 334"/>
                <a:gd name="T69" fmla="*/ 163 h 341"/>
                <a:gd name="T70" fmla="*/ 121 w 334"/>
                <a:gd name="T71" fmla="*/ 298 h 341"/>
                <a:gd name="T72" fmla="*/ 121 w 334"/>
                <a:gd name="T73" fmla="*/ 341 h 341"/>
                <a:gd name="T74" fmla="*/ 163 w 334"/>
                <a:gd name="T75" fmla="*/ 341 h 341"/>
                <a:gd name="T76" fmla="*/ 163 w 334"/>
                <a:gd name="T77" fmla="*/ 298 h 341"/>
                <a:gd name="T78" fmla="*/ 206 w 334"/>
                <a:gd name="T79" fmla="*/ 298 h 341"/>
                <a:gd name="T80" fmla="*/ 206 w 334"/>
                <a:gd name="T81" fmla="*/ 341 h 341"/>
                <a:gd name="T82" fmla="*/ 255 w 334"/>
                <a:gd name="T83" fmla="*/ 298 h 341"/>
                <a:gd name="T84" fmla="*/ 255 w 334"/>
                <a:gd name="T8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341">
                  <a:moveTo>
                    <a:pt x="35" y="160"/>
                  </a:moveTo>
                  <a:cubicBezTo>
                    <a:pt x="35" y="65"/>
                    <a:pt x="35" y="61"/>
                    <a:pt x="35" y="61"/>
                  </a:cubicBezTo>
                  <a:cubicBezTo>
                    <a:pt x="35" y="45"/>
                    <a:pt x="48" y="36"/>
                    <a:pt x="60" y="36"/>
                  </a:cubicBezTo>
                  <a:cubicBezTo>
                    <a:pt x="266" y="36"/>
                    <a:pt x="266" y="36"/>
                    <a:pt x="266" y="36"/>
                  </a:cubicBezTo>
                  <a:cubicBezTo>
                    <a:pt x="282" y="36"/>
                    <a:pt x="291" y="45"/>
                    <a:pt x="291" y="61"/>
                  </a:cubicBezTo>
                  <a:cubicBezTo>
                    <a:pt x="291" y="273"/>
                    <a:pt x="291" y="273"/>
                    <a:pt x="291" y="273"/>
                  </a:cubicBezTo>
                  <a:cubicBezTo>
                    <a:pt x="291" y="286"/>
                    <a:pt x="282" y="298"/>
                    <a:pt x="266" y="298"/>
                  </a:cubicBezTo>
                  <a:cubicBezTo>
                    <a:pt x="266" y="298"/>
                    <a:pt x="266" y="298"/>
                    <a:pt x="266" y="298"/>
                  </a:cubicBezTo>
                  <a:cubicBezTo>
                    <a:pt x="161" y="298"/>
                    <a:pt x="110" y="298"/>
                    <a:pt x="84" y="298"/>
                  </a:cubicBezTo>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5" y="0"/>
                  </a:moveTo>
                  <a:cubicBezTo>
                    <a:pt x="255" y="36"/>
                    <a:pt x="255" y="36"/>
                    <a:pt x="255"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5" y="78"/>
                  </a:moveTo>
                  <a:cubicBezTo>
                    <a:pt x="0" y="78"/>
                    <a:pt x="0" y="78"/>
                    <a:pt x="0" y="78"/>
                  </a:cubicBezTo>
                  <a:moveTo>
                    <a:pt x="35" y="121"/>
                  </a:moveTo>
                  <a:cubicBezTo>
                    <a:pt x="0" y="121"/>
                    <a:pt x="0" y="121"/>
                    <a:pt x="0" y="121"/>
                  </a:cubicBezTo>
                  <a:moveTo>
                    <a:pt x="35" y="163"/>
                  </a:moveTo>
                  <a:cubicBezTo>
                    <a:pt x="0" y="163"/>
                    <a:pt x="0" y="163"/>
                    <a:pt x="0" y="163"/>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5" y="298"/>
                  </a:moveTo>
                  <a:cubicBezTo>
                    <a:pt x="255" y="341"/>
                    <a:pt x="255" y="341"/>
                    <a:pt x="255" y="341"/>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6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03" name="Freeform 10">
              <a:extLst>
                <a:ext uri="{FF2B5EF4-FFF2-40B4-BE49-F238E27FC236}">
                  <a16:creationId xmlns:a16="http://schemas.microsoft.com/office/drawing/2014/main" id="{9749B58F-3900-4226-8D9B-FE210680E8B6}"/>
                </a:ext>
              </a:extLst>
            </p:cNvPr>
            <p:cNvSpPr>
              <a:spLocks noEditPoints="1"/>
            </p:cNvSpPr>
            <p:nvPr/>
          </p:nvSpPr>
          <p:spPr bwMode="auto">
            <a:xfrm>
              <a:off x="5458" y="3262"/>
              <a:ext cx="138" cy="141"/>
            </a:xfrm>
            <a:custGeom>
              <a:avLst/>
              <a:gdLst>
                <a:gd name="T0" fmla="*/ 153 w 191"/>
                <a:gd name="T1" fmla="*/ 171 h 195"/>
                <a:gd name="T2" fmla="*/ 35 w 191"/>
                <a:gd name="T3" fmla="*/ 171 h 195"/>
                <a:gd name="T4" fmla="*/ 21 w 191"/>
                <a:gd name="T5" fmla="*/ 156 h 195"/>
                <a:gd name="T6" fmla="*/ 21 w 191"/>
                <a:gd name="T7" fmla="*/ 35 h 195"/>
                <a:gd name="T8" fmla="*/ 35 w 191"/>
                <a:gd name="T9" fmla="*/ 20 h 195"/>
                <a:gd name="T10" fmla="*/ 153 w 191"/>
                <a:gd name="T11" fmla="*/ 20 h 195"/>
                <a:gd name="T12" fmla="*/ 167 w 191"/>
                <a:gd name="T13" fmla="*/ 35 h 195"/>
                <a:gd name="T14" fmla="*/ 167 w 191"/>
                <a:gd name="T15" fmla="*/ 156 h 195"/>
                <a:gd name="T16" fmla="*/ 153 w 191"/>
                <a:gd name="T17" fmla="*/ 171 h 195"/>
                <a:gd name="T18" fmla="*/ 45 w 191"/>
                <a:gd name="T19" fmla="*/ 20 h 195"/>
                <a:gd name="T20" fmla="*/ 45 w 191"/>
                <a:gd name="T21" fmla="*/ 0 h 195"/>
                <a:gd name="T22" fmla="*/ 69 w 191"/>
                <a:gd name="T23" fmla="*/ 20 h 195"/>
                <a:gd name="T24" fmla="*/ 69 w 191"/>
                <a:gd name="T25" fmla="*/ 0 h 195"/>
                <a:gd name="T26" fmla="*/ 94 w 191"/>
                <a:gd name="T27" fmla="*/ 0 h 195"/>
                <a:gd name="T28" fmla="*/ 94 w 191"/>
                <a:gd name="T29" fmla="*/ 20 h 195"/>
                <a:gd name="T30" fmla="*/ 118 w 191"/>
                <a:gd name="T31" fmla="*/ 0 h 195"/>
                <a:gd name="T32" fmla="*/ 118 w 191"/>
                <a:gd name="T33" fmla="*/ 20 h 195"/>
                <a:gd name="T34" fmla="*/ 146 w 191"/>
                <a:gd name="T35" fmla="*/ 0 h 195"/>
                <a:gd name="T36" fmla="*/ 146 w 191"/>
                <a:gd name="T37" fmla="*/ 20 h 195"/>
                <a:gd name="T38" fmla="*/ 191 w 191"/>
                <a:gd name="T39" fmla="*/ 45 h 195"/>
                <a:gd name="T40" fmla="*/ 167 w 191"/>
                <a:gd name="T41" fmla="*/ 45 h 195"/>
                <a:gd name="T42" fmla="*/ 191 w 191"/>
                <a:gd name="T43" fmla="*/ 69 h 195"/>
                <a:gd name="T44" fmla="*/ 167 w 191"/>
                <a:gd name="T45" fmla="*/ 69 h 195"/>
                <a:gd name="T46" fmla="*/ 191 w 191"/>
                <a:gd name="T47" fmla="*/ 93 h 195"/>
                <a:gd name="T48" fmla="*/ 167 w 191"/>
                <a:gd name="T49" fmla="*/ 93 h 195"/>
                <a:gd name="T50" fmla="*/ 191 w 191"/>
                <a:gd name="T51" fmla="*/ 122 h 195"/>
                <a:gd name="T52" fmla="*/ 167 w 191"/>
                <a:gd name="T53" fmla="*/ 122 h 195"/>
                <a:gd name="T54" fmla="*/ 191 w 191"/>
                <a:gd name="T55" fmla="*/ 146 h 195"/>
                <a:gd name="T56" fmla="*/ 167 w 191"/>
                <a:gd name="T57" fmla="*/ 146 h 195"/>
                <a:gd name="T58" fmla="*/ 21 w 191"/>
                <a:gd name="T59" fmla="*/ 45 h 195"/>
                <a:gd name="T60" fmla="*/ 0 w 191"/>
                <a:gd name="T61" fmla="*/ 45 h 195"/>
                <a:gd name="T62" fmla="*/ 21 w 191"/>
                <a:gd name="T63" fmla="*/ 69 h 195"/>
                <a:gd name="T64" fmla="*/ 0 w 191"/>
                <a:gd name="T65" fmla="*/ 69 h 195"/>
                <a:gd name="T66" fmla="*/ 21 w 191"/>
                <a:gd name="T67" fmla="*/ 93 h 195"/>
                <a:gd name="T68" fmla="*/ 0 w 191"/>
                <a:gd name="T69" fmla="*/ 93 h 195"/>
                <a:gd name="T70" fmla="*/ 21 w 191"/>
                <a:gd name="T71" fmla="*/ 122 h 195"/>
                <a:gd name="T72" fmla="*/ 0 w 191"/>
                <a:gd name="T73" fmla="*/ 122 h 195"/>
                <a:gd name="T74" fmla="*/ 21 w 191"/>
                <a:gd name="T75" fmla="*/ 146 h 195"/>
                <a:gd name="T76" fmla="*/ 0 w 191"/>
                <a:gd name="T77" fmla="*/ 146 h 195"/>
                <a:gd name="T78" fmla="*/ 45 w 191"/>
                <a:gd name="T79" fmla="*/ 171 h 195"/>
                <a:gd name="T80" fmla="*/ 45 w 191"/>
                <a:gd name="T81" fmla="*/ 195 h 195"/>
                <a:gd name="T82" fmla="*/ 69 w 191"/>
                <a:gd name="T83" fmla="*/ 171 h 195"/>
                <a:gd name="T84" fmla="*/ 69 w 191"/>
                <a:gd name="T85" fmla="*/ 195 h 195"/>
                <a:gd name="T86" fmla="*/ 94 w 191"/>
                <a:gd name="T87" fmla="*/ 195 h 195"/>
                <a:gd name="T88" fmla="*/ 94 w 191"/>
                <a:gd name="T89" fmla="*/ 171 h 195"/>
                <a:gd name="T90" fmla="*/ 118 w 191"/>
                <a:gd name="T91" fmla="*/ 171 h 195"/>
                <a:gd name="T92" fmla="*/ 118 w 191"/>
                <a:gd name="T93" fmla="*/ 195 h 195"/>
                <a:gd name="T94" fmla="*/ 146 w 191"/>
                <a:gd name="T95" fmla="*/ 171 h 195"/>
                <a:gd name="T96" fmla="*/ 146 w 191"/>
                <a:gd name="T9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95">
                  <a:moveTo>
                    <a:pt x="153" y="171"/>
                  </a:moveTo>
                  <a:cubicBezTo>
                    <a:pt x="35" y="171"/>
                    <a:pt x="35" y="171"/>
                    <a:pt x="35" y="171"/>
                  </a:cubicBezTo>
                  <a:cubicBezTo>
                    <a:pt x="28" y="171"/>
                    <a:pt x="21" y="163"/>
                    <a:pt x="21" y="156"/>
                  </a:cubicBezTo>
                  <a:cubicBezTo>
                    <a:pt x="21" y="35"/>
                    <a:pt x="21" y="35"/>
                    <a:pt x="21" y="35"/>
                  </a:cubicBezTo>
                  <a:cubicBezTo>
                    <a:pt x="21" y="26"/>
                    <a:pt x="28" y="20"/>
                    <a:pt x="35" y="20"/>
                  </a:cubicBezTo>
                  <a:cubicBezTo>
                    <a:pt x="153" y="20"/>
                    <a:pt x="153" y="20"/>
                    <a:pt x="153" y="20"/>
                  </a:cubicBezTo>
                  <a:cubicBezTo>
                    <a:pt x="162" y="20"/>
                    <a:pt x="167" y="26"/>
                    <a:pt x="167" y="35"/>
                  </a:cubicBezTo>
                  <a:cubicBezTo>
                    <a:pt x="167" y="156"/>
                    <a:pt x="167" y="156"/>
                    <a:pt x="167" y="156"/>
                  </a:cubicBezTo>
                  <a:cubicBezTo>
                    <a:pt x="167" y="163"/>
                    <a:pt x="162" y="171"/>
                    <a:pt x="153" y="171"/>
                  </a:cubicBezTo>
                  <a:close/>
                  <a:moveTo>
                    <a:pt x="45" y="20"/>
                  </a:moveTo>
                  <a:cubicBezTo>
                    <a:pt x="45" y="0"/>
                    <a:pt x="45" y="0"/>
                    <a:pt x="45" y="0"/>
                  </a:cubicBezTo>
                  <a:moveTo>
                    <a:pt x="69" y="20"/>
                  </a:moveTo>
                  <a:cubicBezTo>
                    <a:pt x="69" y="0"/>
                    <a:pt x="69" y="0"/>
                    <a:pt x="69" y="0"/>
                  </a:cubicBezTo>
                  <a:moveTo>
                    <a:pt x="94" y="0"/>
                  </a:moveTo>
                  <a:cubicBezTo>
                    <a:pt x="94" y="20"/>
                    <a:pt x="94" y="20"/>
                    <a:pt x="94" y="20"/>
                  </a:cubicBezTo>
                  <a:moveTo>
                    <a:pt x="118" y="0"/>
                  </a:moveTo>
                  <a:cubicBezTo>
                    <a:pt x="118" y="20"/>
                    <a:pt x="118" y="20"/>
                    <a:pt x="118" y="20"/>
                  </a:cubicBezTo>
                  <a:moveTo>
                    <a:pt x="146" y="0"/>
                  </a:moveTo>
                  <a:cubicBezTo>
                    <a:pt x="146" y="20"/>
                    <a:pt x="146" y="20"/>
                    <a:pt x="146" y="20"/>
                  </a:cubicBezTo>
                  <a:moveTo>
                    <a:pt x="191" y="45"/>
                  </a:moveTo>
                  <a:cubicBezTo>
                    <a:pt x="167" y="45"/>
                    <a:pt x="167" y="45"/>
                    <a:pt x="167" y="45"/>
                  </a:cubicBezTo>
                  <a:moveTo>
                    <a:pt x="191" y="69"/>
                  </a:moveTo>
                  <a:cubicBezTo>
                    <a:pt x="167" y="69"/>
                    <a:pt x="167" y="69"/>
                    <a:pt x="167" y="69"/>
                  </a:cubicBezTo>
                  <a:moveTo>
                    <a:pt x="191" y="93"/>
                  </a:moveTo>
                  <a:cubicBezTo>
                    <a:pt x="167" y="93"/>
                    <a:pt x="167" y="93"/>
                    <a:pt x="167" y="93"/>
                  </a:cubicBezTo>
                  <a:moveTo>
                    <a:pt x="191" y="122"/>
                  </a:moveTo>
                  <a:cubicBezTo>
                    <a:pt x="167" y="122"/>
                    <a:pt x="167" y="122"/>
                    <a:pt x="167" y="122"/>
                  </a:cubicBezTo>
                  <a:moveTo>
                    <a:pt x="191" y="146"/>
                  </a:moveTo>
                  <a:cubicBezTo>
                    <a:pt x="167" y="146"/>
                    <a:pt x="167" y="146"/>
                    <a:pt x="167" y="146"/>
                  </a:cubicBezTo>
                  <a:moveTo>
                    <a:pt x="21" y="45"/>
                  </a:moveTo>
                  <a:cubicBezTo>
                    <a:pt x="0" y="45"/>
                    <a:pt x="0" y="45"/>
                    <a:pt x="0" y="45"/>
                  </a:cubicBezTo>
                  <a:moveTo>
                    <a:pt x="21" y="69"/>
                  </a:moveTo>
                  <a:cubicBezTo>
                    <a:pt x="0" y="69"/>
                    <a:pt x="0" y="69"/>
                    <a:pt x="0" y="69"/>
                  </a:cubicBezTo>
                  <a:moveTo>
                    <a:pt x="21" y="93"/>
                  </a:moveTo>
                  <a:cubicBezTo>
                    <a:pt x="0" y="93"/>
                    <a:pt x="0" y="93"/>
                    <a:pt x="0" y="93"/>
                  </a:cubicBezTo>
                  <a:moveTo>
                    <a:pt x="21" y="122"/>
                  </a:moveTo>
                  <a:cubicBezTo>
                    <a:pt x="0" y="122"/>
                    <a:pt x="0" y="122"/>
                    <a:pt x="0" y="122"/>
                  </a:cubicBezTo>
                  <a:moveTo>
                    <a:pt x="21" y="146"/>
                  </a:moveTo>
                  <a:cubicBezTo>
                    <a:pt x="0" y="146"/>
                    <a:pt x="0" y="146"/>
                    <a:pt x="0" y="146"/>
                  </a:cubicBezTo>
                  <a:moveTo>
                    <a:pt x="45" y="171"/>
                  </a:moveTo>
                  <a:cubicBezTo>
                    <a:pt x="45" y="195"/>
                    <a:pt x="45" y="195"/>
                    <a:pt x="45" y="195"/>
                  </a:cubicBezTo>
                  <a:moveTo>
                    <a:pt x="69" y="171"/>
                  </a:moveTo>
                  <a:cubicBezTo>
                    <a:pt x="69" y="195"/>
                    <a:pt x="69" y="195"/>
                    <a:pt x="69" y="195"/>
                  </a:cubicBezTo>
                  <a:moveTo>
                    <a:pt x="94" y="195"/>
                  </a:moveTo>
                  <a:cubicBezTo>
                    <a:pt x="94" y="171"/>
                    <a:pt x="94" y="171"/>
                    <a:pt x="94" y="171"/>
                  </a:cubicBezTo>
                  <a:moveTo>
                    <a:pt x="118" y="171"/>
                  </a:moveTo>
                  <a:cubicBezTo>
                    <a:pt x="118" y="195"/>
                    <a:pt x="118" y="195"/>
                    <a:pt x="118" y="195"/>
                  </a:cubicBezTo>
                  <a:moveTo>
                    <a:pt x="146" y="171"/>
                  </a:moveTo>
                  <a:cubicBezTo>
                    <a:pt x="146" y="195"/>
                    <a:pt x="146" y="195"/>
                    <a:pt x="146" y="19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6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04" name="Group 203">
            <a:extLst>
              <a:ext uri="{FF2B5EF4-FFF2-40B4-BE49-F238E27FC236}">
                <a16:creationId xmlns:a16="http://schemas.microsoft.com/office/drawing/2014/main" id="{87F269E6-66A7-45C8-8FFC-E58F1784EEDF}"/>
              </a:ext>
            </a:extLst>
          </p:cNvPr>
          <p:cNvGrpSpPr/>
          <p:nvPr/>
        </p:nvGrpSpPr>
        <p:grpSpPr>
          <a:xfrm>
            <a:off x="9223688" y="5290846"/>
            <a:ext cx="318060" cy="173520"/>
            <a:chOff x="11030366" y="2382953"/>
            <a:chExt cx="397040" cy="231838"/>
          </a:xfrm>
        </p:grpSpPr>
        <p:sp>
          <p:nvSpPr>
            <p:cNvPr id="205" name="Freeform 77">
              <a:extLst>
                <a:ext uri="{FF2B5EF4-FFF2-40B4-BE49-F238E27FC236}">
                  <a16:creationId xmlns:a16="http://schemas.microsoft.com/office/drawing/2014/main" id="{E09D444D-6181-4AB7-9A5F-9F4DCACE3FE9}"/>
                </a:ext>
              </a:extLst>
            </p:cNvPr>
            <p:cNvSpPr>
              <a:spLocks/>
            </p:cNvSpPr>
            <p:nvPr/>
          </p:nvSpPr>
          <p:spPr bwMode="auto">
            <a:xfrm>
              <a:off x="11030366" y="2382953"/>
              <a:ext cx="397040" cy="231838"/>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6" name="Freeform 78">
              <a:extLst>
                <a:ext uri="{FF2B5EF4-FFF2-40B4-BE49-F238E27FC236}">
                  <a16:creationId xmlns:a16="http://schemas.microsoft.com/office/drawing/2014/main" id="{7BFB2190-F3A2-4407-8AA8-009BD44A1ADA}"/>
                </a:ext>
              </a:extLst>
            </p:cNvPr>
            <p:cNvSpPr>
              <a:spLocks/>
            </p:cNvSpPr>
            <p:nvPr/>
          </p:nvSpPr>
          <p:spPr bwMode="auto">
            <a:xfrm>
              <a:off x="11219168" y="2439871"/>
              <a:ext cx="19436" cy="20824"/>
            </a:xfrm>
            <a:custGeom>
              <a:avLst/>
              <a:gdLst>
                <a:gd name="T0" fmla="*/ 9 w 20"/>
                <a:gd name="T1" fmla="*/ 20 h 20"/>
                <a:gd name="T2" fmla="*/ 0 w 20"/>
                <a:gd name="T3" fmla="*/ 10 h 20"/>
                <a:gd name="T4" fmla="*/ 10 w 20"/>
                <a:gd name="T5" fmla="*/ 0 h 20"/>
                <a:gd name="T6" fmla="*/ 20 w 20"/>
                <a:gd name="T7" fmla="*/ 11 h 20"/>
                <a:gd name="T8" fmla="*/ 9 w 20"/>
                <a:gd name="T9" fmla="*/ 20 h 20"/>
              </a:gdLst>
              <a:ahLst/>
              <a:cxnLst>
                <a:cxn ang="0">
                  <a:pos x="T0" y="T1"/>
                </a:cxn>
                <a:cxn ang="0">
                  <a:pos x="T2" y="T3"/>
                </a:cxn>
                <a:cxn ang="0">
                  <a:pos x="T4" y="T5"/>
                </a:cxn>
                <a:cxn ang="0">
                  <a:pos x="T6" y="T7"/>
                </a:cxn>
                <a:cxn ang="0">
                  <a:pos x="T8" y="T9"/>
                </a:cxn>
              </a:cxnLst>
              <a:rect l="0" t="0" r="r" b="b"/>
              <a:pathLst>
                <a:path w="20" h="20">
                  <a:moveTo>
                    <a:pt x="9" y="20"/>
                  </a:moveTo>
                  <a:cubicBezTo>
                    <a:pt x="4" y="20"/>
                    <a:pt x="0" y="15"/>
                    <a:pt x="0" y="10"/>
                  </a:cubicBezTo>
                  <a:cubicBezTo>
                    <a:pt x="0" y="4"/>
                    <a:pt x="5" y="0"/>
                    <a:pt x="10" y="0"/>
                  </a:cubicBezTo>
                  <a:cubicBezTo>
                    <a:pt x="16" y="0"/>
                    <a:pt x="20" y="5"/>
                    <a:pt x="20" y="11"/>
                  </a:cubicBezTo>
                  <a:cubicBezTo>
                    <a:pt x="19" y="16"/>
                    <a:pt x="15" y="20"/>
                    <a:pt x="9" y="20"/>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207" name="car" title="Icon of a car">
            <a:extLst>
              <a:ext uri="{FF2B5EF4-FFF2-40B4-BE49-F238E27FC236}">
                <a16:creationId xmlns:a16="http://schemas.microsoft.com/office/drawing/2014/main" id="{AB46BF27-206C-4FB5-A75D-A33FEC9998A5}"/>
              </a:ext>
            </a:extLst>
          </p:cNvPr>
          <p:cNvSpPr>
            <a:spLocks noChangeAspect="1" noEditPoints="1"/>
          </p:cNvSpPr>
          <p:nvPr/>
        </p:nvSpPr>
        <p:spPr bwMode="auto">
          <a:xfrm>
            <a:off x="9227155" y="1844505"/>
            <a:ext cx="311127" cy="238411"/>
          </a:xfrm>
          <a:custGeom>
            <a:avLst/>
            <a:gdLst>
              <a:gd name="T0" fmla="*/ 349 w 360"/>
              <a:gd name="T1" fmla="*/ 148 h 276"/>
              <a:gd name="T2" fmla="*/ 349 w 360"/>
              <a:gd name="T3" fmla="*/ 252 h 276"/>
              <a:gd name="T4" fmla="*/ 14 w 360"/>
              <a:gd name="T5" fmla="*/ 252 h 276"/>
              <a:gd name="T6" fmla="*/ 14 w 360"/>
              <a:gd name="T7" fmla="*/ 149 h 276"/>
              <a:gd name="T8" fmla="*/ 51 w 360"/>
              <a:gd name="T9" fmla="*/ 43 h 276"/>
              <a:gd name="T10" fmla="*/ 94 w 360"/>
              <a:gd name="T11" fmla="*/ 0 h 276"/>
              <a:gd name="T12" fmla="*/ 268 w 360"/>
              <a:gd name="T13" fmla="*/ 0 h 276"/>
              <a:gd name="T14" fmla="*/ 311 w 360"/>
              <a:gd name="T15" fmla="*/ 43 h 276"/>
              <a:gd name="T16" fmla="*/ 349 w 360"/>
              <a:gd name="T17" fmla="*/ 148 h 276"/>
              <a:gd name="T18" fmla="*/ 77 w 360"/>
              <a:gd name="T19" fmla="*/ 174 h 276"/>
              <a:gd name="T20" fmla="*/ 91 w 360"/>
              <a:gd name="T21" fmla="*/ 160 h 276"/>
              <a:gd name="T22" fmla="*/ 77 w 360"/>
              <a:gd name="T23" fmla="*/ 145 h 276"/>
              <a:gd name="T24" fmla="*/ 63 w 360"/>
              <a:gd name="T25" fmla="*/ 160 h 276"/>
              <a:gd name="T26" fmla="*/ 77 w 360"/>
              <a:gd name="T27" fmla="*/ 174 h 276"/>
              <a:gd name="T28" fmla="*/ 14 w 360"/>
              <a:gd name="T29" fmla="*/ 252 h 276"/>
              <a:gd name="T30" fmla="*/ 14 w 360"/>
              <a:gd name="T31" fmla="*/ 260 h 276"/>
              <a:gd name="T32" fmla="*/ 30 w 360"/>
              <a:gd name="T33" fmla="*/ 276 h 276"/>
              <a:gd name="T34" fmla="*/ 50 w 360"/>
              <a:gd name="T35" fmla="*/ 276 h 276"/>
              <a:gd name="T36" fmla="*/ 67 w 360"/>
              <a:gd name="T37" fmla="*/ 260 h 276"/>
              <a:gd name="T38" fmla="*/ 67 w 360"/>
              <a:gd name="T39" fmla="*/ 252 h 276"/>
              <a:gd name="T40" fmla="*/ 295 w 360"/>
              <a:gd name="T41" fmla="*/ 252 h 276"/>
              <a:gd name="T42" fmla="*/ 295 w 360"/>
              <a:gd name="T43" fmla="*/ 260 h 276"/>
              <a:gd name="T44" fmla="*/ 312 w 360"/>
              <a:gd name="T45" fmla="*/ 276 h 276"/>
              <a:gd name="T46" fmla="*/ 332 w 360"/>
              <a:gd name="T47" fmla="*/ 276 h 276"/>
              <a:gd name="T48" fmla="*/ 349 w 360"/>
              <a:gd name="T49" fmla="*/ 260 h 276"/>
              <a:gd name="T50" fmla="*/ 349 w 360"/>
              <a:gd name="T51" fmla="*/ 252 h 276"/>
              <a:gd name="T52" fmla="*/ 283 w 360"/>
              <a:gd name="T53" fmla="*/ 174 h 276"/>
              <a:gd name="T54" fmla="*/ 297 w 360"/>
              <a:gd name="T55" fmla="*/ 160 h 276"/>
              <a:gd name="T56" fmla="*/ 283 w 360"/>
              <a:gd name="T57" fmla="*/ 145 h 276"/>
              <a:gd name="T58" fmla="*/ 268 w 360"/>
              <a:gd name="T59" fmla="*/ 160 h 276"/>
              <a:gd name="T60" fmla="*/ 283 w 360"/>
              <a:gd name="T61" fmla="*/ 174 h 276"/>
              <a:gd name="T62" fmla="*/ 245 w 360"/>
              <a:gd name="T63" fmla="*/ 252 h 276"/>
              <a:gd name="T64" fmla="*/ 245 w 360"/>
              <a:gd name="T65" fmla="*/ 222 h 276"/>
              <a:gd name="T66" fmla="*/ 229 w 360"/>
              <a:gd name="T67" fmla="*/ 197 h 276"/>
              <a:gd name="T68" fmla="*/ 133 w 360"/>
              <a:gd name="T69" fmla="*/ 197 h 276"/>
              <a:gd name="T70" fmla="*/ 117 w 360"/>
              <a:gd name="T71" fmla="*/ 222 h 276"/>
              <a:gd name="T72" fmla="*/ 117 w 360"/>
              <a:gd name="T73" fmla="*/ 252 h 276"/>
              <a:gd name="T74" fmla="*/ 0 w 360"/>
              <a:gd name="T75" fmla="*/ 75 h 276"/>
              <a:gd name="T76" fmla="*/ 16 w 360"/>
              <a:gd name="T77" fmla="*/ 75 h 276"/>
              <a:gd name="T78" fmla="*/ 32 w 360"/>
              <a:gd name="T79" fmla="*/ 96 h 276"/>
              <a:gd name="T80" fmla="*/ 330 w 360"/>
              <a:gd name="T81" fmla="*/ 96 h 276"/>
              <a:gd name="T82" fmla="*/ 345 w 360"/>
              <a:gd name="T83" fmla="*/ 75 h 276"/>
              <a:gd name="T84" fmla="*/ 360 w 360"/>
              <a:gd name="T85" fmla="*/ 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276">
                <a:moveTo>
                  <a:pt x="349" y="148"/>
                </a:moveTo>
                <a:cubicBezTo>
                  <a:pt x="349" y="252"/>
                  <a:pt x="349" y="252"/>
                  <a:pt x="349" y="252"/>
                </a:cubicBezTo>
                <a:cubicBezTo>
                  <a:pt x="14" y="252"/>
                  <a:pt x="14" y="252"/>
                  <a:pt x="14" y="252"/>
                </a:cubicBezTo>
                <a:cubicBezTo>
                  <a:pt x="14" y="149"/>
                  <a:pt x="14" y="149"/>
                  <a:pt x="14" y="149"/>
                </a:cubicBezTo>
                <a:cubicBezTo>
                  <a:pt x="51" y="43"/>
                  <a:pt x="51" y="43"/>
                  <a:pt x="51" y="43"/>
                </a:cubicBezTo>
                <a:cubicBezTo>
                  <a:pt x="59" y="19"/>
                  <a:pt x="70" y="0"/>
                  <a:pt x="94" y="0"/>
                </a:cubicBezTo>
                <a:cubicBezTo>
                  <a:pt x="268" y="0"/>
                  <a:pt x="268" y="0"/>
                  <a:pt x="268" y="0"/>
                </a:cubicBezTo>
                <a:cubicBezTo>
                  <a:pt x="292" y="0"/>
                  <a:pt x="304" y="19"/>
                  <a:pt x="311" y="43"/>
                </a:cubicBezTo>
                <a:lnTo>
                  <a:pt x="349" y="148"/>
                </a:lnTo>
                <a:close/>
                <a:moveTo>
                  <a:pt x="77" y="174"/>
                </a:moveTo>
                <a:cubicBezTo>
                  <a:pt x="85" y="174"/>
                  <a:pt x="91" y="167"/>
                  <a:pt x="91" y="160"/>
                </a:cubicBezTo>
                <a:cubicBezTo>
                  <a:pt x="91" y="152"/>
                  <a:pt x="85" y="145"/>
                  <a:pt x="77" y="145"/>
                </a:cubicBezTo>
                <a:cubicBezTo>
                  <a:pt x="69" y="145"/>
                  <a:pt x="63" y="152"/>
                  <a:pt x="63" y="160"/>
                </a:cubicBezTo>
                <a:cubicBezTo>
                  <a:pt x="63" y="167"/>
                  <a:pt x="69" y="174"/>
                  <a:pt x="77" y="174"/>
                </a:cubicBezTo>
                <a:close/>
                <a:moveTo>
                  <a:pt x="14" y="252"/>
                </a:moveTo>
                <a:cubicBezTo>
                  <a:pt x="14" y="260"/>
                  <a:pt x="14" y="260"/>
                  <a:pt x="14" y="260"/>
                </a:cubicBezTo>
                <a:cubicBezTo>
                  <a:pt x="14" y="269"/>
                  <a:pt x="21" y="276"/>
                  <a:pt x="30" y="276"/>
                </a:cubicBezTo>
                <a:cubicBezTo>
                  <a:pt x="50" y="276"/>
                  <a:pt x="50" y="276"/>
                  <a:pt x="50" y="276"/>
                </a:cubicBezTo>
                <a:cubicBezTo>
                  <a:pt x="59" y="276"/>
                  <a:pt x="67" y="269"/>
                  <a:pt x="67" y="260"/>
                </a:cubicBezTo>
                <a:cubicBezTo>
                  <a:pt x="67" y="252"/>
                  <a:pt x="67" y="252"/>
                  <a:pt x="67" y="252"/>
                </a:cubicBezTo>
                <a:moveTo>
                  <a:pt x="295" y="252"/>
                </a:moveTo>
                <a:cubicBezTo>
                  <a:pt x="295" y="260"/>
                  <a:pt x="295" y="260"/>
                  <a:pt x="295" y="260"/>
                </a:cubicBezTo>
                <a:cubicBezTo>
                  <a:pt x="295" y="269"/>
                  <a:pt x="303" y="276"/>
                  <a:pt x="312" y="276"/>
                </a:cubicBezTo>
                <a:cubicBezTo>
                  <a:pt x="332" y="276"/>
                  <a:pt x="332" y="276"/>
                  <a:pt x="332" y="276"/>
                </a:cubicBezTo>
                <a:cubicBezTo>
                  <a:pt x="341" y="276"/>
                  <a:pt x="349" y="269"/>
                  <a:pt x="349" y="260"/>
                </a:cubicBezTo>
                <a:cubicBezTo>
                  <a:pt x="349" y="252"/>
                  <a:pt x="349" y="252"/>
                  <a:pt x="349" y="252"/>
                </a:cubicBezTo>
                <a:moveTo>
                  <a:pt x="283" y="174"/>
                </a:moveTo>
                <a:cubicBezTo>
                  <a:pt x="290" y="174"/>
                  <a:pt x="297" y="167"/>
                  <a:pt x="297" y="160"/>
                </a:cubicBezTo>
                <a:cubicBezTo>
                  <a:pt x="297" y="152"/>
                  <a:pt x="290" y="145"/>
                  <a:pt x="283" y="145"/>
                </a:cubicBezTo>
                <a:cubicBezTo>
                  <a:pt x="275" y="145"/>
                  <a:pt x="268" y="152"/>
                  <a:pt x="268" y="160"/>
                </a:cubicBezTo>
                <a:cubicBezTo>
                  <a:pt x="268" y="167"/>
                  <a:pt x="275" y="174"/>
                  <a:pt x="283" y="174"/>
                </a:cubicBezTo>
                <a:close/>
                <a:moveTo>
                  <a:pt x="245" y="252"/>
                </a:moveTo>
                <a:cubicBezTo>
                  <a:pt x="245" y="222"/>
                  <a:pt x="245" y="222"/>
                  <a:pt x="245" y="222"/>
                </a:cubicBezTo>
                <a:cubicBezTo>
                  <a:pt x="229" y="197"/>
                  <a:pt x="229" y="197"/>
                  <a:pt x="229" y="197"/>
                </a:cubicBezTo>
                <a:cubicBezTo>
                  <a:pt x="133" y="197"/>
                  <a:pt x="133" y="197"/>
                  <a:pt x="133" y="197"/>
                </a:cubicBezTo>
                <a:cubicBezTo>
                  <a:pt x="117" y="222"/>
                  <a:pt x="117" y="222"/>
                  <a:pt x="117" y="222"/>
                </a:cubicBezTo>
                <a:cubicBezTo>
                  <a:pt x="117" y="252"/>
                  <a:pt x="117" y="252"/>
                  <a:pt x="117" y="252"/>
                </a:cubicBezTo>
                <a:moveTo>
                  <a:pt x="0" y="75"/>
                </a:moveTo>
                <a:cubicBezTo>
                  <a:pt x="16" y="75"/>
                  <a:pt x="16" y="75"/>
                  <a:pt x="16" y="75"/>
                </a:cubicBezTo>
                <a:cubicBezTo>
                  <a:pt x="32" y="96"/>
                  <a:pt x="32" y="96"/>
                  <a:pt x="32" y="96"/>
                </a:cubicBezTo>
                <a:cubicBezTo>
                  <a:pt x="330" y="96"/>
                  <a:pt x="330" y="96"/>
                  <a:pt x="330" y="96"/>
                </a:cubicBezTo>
                <a:cubicBezTo>
                  <a:pt x="345" y="75"/>
                  <a:pt x="345" y="75"/>
                  <a:pt x="345" y="75"/>
                </a:cubicBezTo>
                <a:cubicBezTo>
                  <a:pt x="360" y="75"/>
                  <a:pt x="360" y="75"/>
                  <a:pt x="360" y="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636"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208" name="Group 207">
            <a:extLst>
              <a:ext uri="{FF2B5EF4-FFF2-40B4-BE49-F238E27FC236}">
                <a16:creationId xmlns:a16="http://schemas.microsoft.com/office/drawing/2014/main" id="{93899AED-64BE-44BF-9BD3-1D105E5D05F8}"/>
              </a:ext>
            </a:extLst>
          </p:cNvPr>
          <p:cNvGrpSpPr/>
          <p:nvPr/>
        </p:nvGrpSpPr>
        <p:grpSpPr>
          <a:xfrm>
            <a:off x="9186699" y="3592421"/>
            <a:ext cx="392038" cy="264444"/>
            <a:chOff x="5955969" y="1176009"/>
            <a:chExt cx="285776" cy="179728"/>
          </a:xfrm>
          <a:noFill/>
        </p:grpSpPr>
        <p:sp>
          <p:nvSpPr>
            <p:cNvPr id="209" name="mobility">
              <a:extLst>
                <a:ext uri="{FF2B5EF4-FFF2-40B4-BE49-F238E27FC236}">
                  <a16:creationId xmlns:a16="http://schemas.microsoft.com/office/drawing/2014/main" id="{FFF26595-032A-4B2C-8E70-E177D77E7579}"/>
                </a:ext>
              </a:extLst>
            </p:cNvPr>
            <p:cNvSpPr>
              <a:spLocks noChangeAspect="1" noEditPoints="1"/>
            </p:cNvSpPr>
            <p:nvPr/>
          </p:nvSpPr>
          <p:spPr bwMode="auto">
            <a:xfrm>
              <a:off x="6066453" y="1176009"/>
              <a:ext cx="175292" cy="179728"/>
            </a:xfrm>
            <a:custGeom>
              <a:avLst/>
              <a:gdLst>
                <a:gd name="T0" fmla="*/ 152 w 237"/>
                <a:gd name="T1" fmla="*/ 141 h 243"/>
                <a:gd name="T2" fmla="*/ 0 w 237"/>
                <a:gd name="T3" fmla="*/ 141 h 243"/>
                <a:gd name="T4" fmla="*/ 0 w 237"/>
                <a:gd name="T5" fmla="*/ 0 h 243"/>
                <a:gd name="T6" fmla="*/ 188 w 237"/>
                <a:gd name="T7" fmla="*/ 0 h 243"/>
                <a:gd name="T8" fmla="*/ 188 w 237"/>
                <a:gd name="T9" fmla="*/ 102 h 243"/>
                <a:gd name="T10" fmla="*/ 90 w 237"/>
                <a:gd name="T11" fmla="*/ 116 h 243"/>
                <a:gd name="T12" fmla="*/ 102 w 237"/>
                <a:gd name="T13" fmla="*/ 116 h 243"/>
                <a:gd name="T14" fmla="*/ 152 w 237"/>
                <a:gd name="T15" fmla="*/ 120 h 243"/>
                <a:gd name="T16" fmla="*/ 237 w 237"/>
                <a:gd name="T17" fmla="*/ 120 h 243"/>
                <a:gd name="T18" fmla="*/ 152 w 237"/>
                <a:gd name="T19" fmla="*/ 205 h 243"/>
                <a:gd name="T20" fmla="*/ 237 w 237"/>
                <a:gd name="T21" fmla="*/ 205 h 243"/>
                <a:gd name="T22" fmla="*/ 189 w 237"/>
                <a:gd name="T23" fmla="*/ 225 h 243"/>
                <a:gd name="T24" fmla="*/ 200 w 237"/>
                <a:gd name="T25" fmla="*/ 225 h 243"/>
                <a:gd name="T26" fmla="*/ 237 w 237"/>
                <a:gd name="T27" fmla="*/ 170 h 243"/>
                <a:gd name="T28" fmla="*/ 237 w 237"/>
                <a:gd name="T29" fmla="*/ 102 h 243"/>
                <a:gd name="T30" fmla="*/ 152 w 237"/>
                <a:gd name="T31" fmla="*/ 102 h 243"/>
                <a:gd name="T32" fmla="*/ 152 w 237"/>
                <a:gd name="T33" fmla="*/ 243 h 243"/>
                <a:gd name="T34" fmla="*/ 237 w 237"/>
                <a:gd name="T35" fmla="*/ 243 h 243"/>
                <a:gd name="T36" fmla="*/ 237 w 237"/>
                <a:gd name="T37" fmla="*/ 17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243">
                  <a:moveTo>
                    <a:pt x="152" y="141"/>
                  </a:moveTo>
                  <a:lnTo>
                    <a:pt x="0" y="141"/>
                  </a:lnTo>
                  <a:lnTo>
                    <a:pt x="0" y="0"/>
                  </a:lnTo>
                  <a:lnTo>
                    <a:pt x="188" y="0"/>
                  </a:lnTo>
                  <a:lnTo>
                    <a:pt x="188" y="102"/>
                  </a:lnTo>
                  <a:moveTo>
                    <a:pt x="90" y="116"/>
                  </a:moveTo>
                  <a:lnTo>
                    <a:pt x="102" y="116"/>
                  </a:lnTo>
                  <a:moveTo>
                    <a:pt x="152" y="120"/>
                  </a:moveTo>
                  <a:lnTo>
                    <a:pt x="237" y="120"/>
                  </a:lnTo>
                  <a:moveTo>
                    <a:pt x="152" y="205"/>
                  </a:moveTo>
                  <a:lnTo>
                    <a:pt x="237" y="205"/>
                  </a:lnTo>
                  <a:moveTo>
                    <a:pt x="189" y="225"/>
                  </a:moveTo>
                  <a:lnTo>
                    <a:pt x="200" y="225"/>
                  </a:lnTo>
                  <a:moveTo>
                    <a:pt x="237" y="170"/>
                  </a:moveTo>
                  <a:lnTo>
                    <a:pt x="237" y="102"/>
                  </a:lnTo>
                  <a:lnTo>
                    <a:pt x="152" y="102"/>
                  </a:lnTo>
                  <a:lnTo>
                    <a:pt x="152" y="243"/>
                  </a:lnTo>
                  <a:lnTo>
                    <a:pt x="237" y="243"/>
                  </a:lnTo>
                  <a:lnTo>
                    <a:pt x="237" y="170"/>
                  </a:lnTo>
                </a:path>
              </a:pathLst>
            </a:custGeom>
            <a:grpFill/>
            <a:ln w="12700" cap="flat">
              <a:solidFill>
                <a:schemeClr val="accent1"/>
              </a:solid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0" name="Rectangle 209">
              <a:extLst>
                <a:ext uri="{FF2B5EF4-FFF2-40B4-BE49-F238E27FC236}">
                  <a16:creationId xmlns:a16="http://schemas.microsoft.com/office/drawing/2014/main" id="{3C8B9806-E60A-4141-AEFA-CD72B12E35C7}"/>
                </a:ext>
              </a:extLst>
            </p:cNvPr>
            <p:cNvSpPr/>
            <p:nvPr/>
          </p:nvSpPr>
          <p:spPr bwMode="auto">
            <a:xfrm>
              <a:off x="6039077" y="1238860"/>
              <a:ext cx="74330" cy="68334"/>
            </a:xfrm>
            <a:prstGeom prst="rect">
              <a:avLst/>
            </a:prstGeom>
            <a:solidFill>
              <a:schemeClr val="bg2"/>
            </a:solidFill>
            <a:ln w="12700" cap="flat">
              <a:no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211" name="laptop">
              <a:extLst>
                <a:ext uri="{FF2B5EF4-FFF2-40B4-BE49-F238E27FC236}">
                  <a16:creationId xmlns:a16="http://schemas.microsoft.com/office/drawing/2014/main" id="{6B780EFD-8FB1-4CE4-84CB-D5E854D57414}"/>
                </a:ext>
              </a:extLst>
            </p:cNvPr>
            <p:cNvSpPr>
              <a:spLocks noChangeAspect="1" noEditPoints="1"/>
            </p:cNvSpPr>
            <p:nvPr/>
          </p:nvSpPr>
          <p:spPr bwMode="auto">
            <a:xfrm>
              <a:off x="5955969" y="1241246"/>
              <a:ext cx="190085" cy="113163"/>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grpFill/>
            <a:ln w="12700" cap="flat">
              <a:solidFill>
                <a:schemeClr val="accent1"/>
              </a:solid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12" name="Group 211">
            <a:extLst>
              <a:ext uri="{FF2B5EF4-FFF2-40B4-BE49-F238E27FC236}">
                <a16:creationId xmlns:a16="http://schemas.microsoft.com/office/drawing/2014/main" id="{59EAC623-0B8A-4D22-A3BF-5E4CEE6E9C9B}"/>
              </a:ext>
            </a:extLst>
          </p:cNvPr>
          <p:cNvGrpSpPr/>
          <p:nvPr/>
        </p:nvGrpSpPr>
        <p:grpSpPr>
          <a:xfrm>
            <a:off x="9298511" y="5668165"/>
            <a:ext cx="168414" cy="328673"/>
            <a:chOff x="4990745" y="2685821"/>
            <a:chExt cx="144221" cy="410434"/>
          </a:xfrm>
        </p:grpSpPr>
        <p:sp>
          <p:nvSpPr>
            <p:cNvPr id="213" name="Freeform 5">
              <a:extLst>
                <a:ext uri="{FF2B5EF4-FFF2-40B4-BE49-F238E27FC236}">
                  <a16:creationId xmlns:a16="http://schemas.microsoft.com/office/drawing/2014/main" id="{7BD81CA1-F0CA-4C35-B519-B7C9ADDD66AB}"/>
                </a:ext>
              </a:extLst>
            </p:cNvPr>
            <p:cNvSpPr>
              <a:spLocks noEditPoints="1"/>
            </p:cNvSpPr>
            <p:nvPr/>
          </p:nvSpPr>
          <p:spPr bwMode="auto">
            <a:xfrm>
              <a:off x="5001398" y="2802730"/>
              <a:ext cx="122914" cy="293525"/>
            </a:xfrm>
            <a:custGeom>
              <a:avLst/>
              <a:gdLst>
                <a:gd name="T0" fmla="*/ 470 w 540"/>
                <a:gd name="T1" fmla="*/ 84 h 1296"/>
                <a:gd name="T2" fmla="*/ 266 w 540"/>
                <a:gd name="T3" fmla="*/ 154 h 1296"/>
                <a:gd name="T4" fmla="*/ 62 w 540"/>
                <a:gd name="T5" fmla="*/ 84 h 1296"/>
                <a:gd name="T6" fmla="*/ 266 w 540"/>
                <a:gd name="T7" fmla="*/ 14 h 1296"/>
                <a:gd name="T8" fmla="*/ 470 w 540"/>
                <a:gd name="T9" fmla="*/ 84 h 1296"/>
                <a:gd name="T10" fmla="*/ 266 w 540"/>
                <a:gd name="T11" fmla="*/ 0 h 1296"/>
                <a:gd name="T12" fmla="*/ 36 w 540"/>
                <a:gd name="T13" fmla="*/ 82 h 1296"/>
                <a:gd name="T14" fmla="*/ 266 w 540"/>
                <a:gd name="T15" fmla="*/ 164 h 1296"/>
                <a:gd name="T16" fmla="*/ 496 w 540"/>
                <a:gd name="T17" fmla="*/ 82 h 1296"/>
                <a:gd name="T18" fmla="*/ 266 w 540"/>
                <a:gd name="T19" fmla="*/ 0 h 1296"/>
                <a:gd name="T20" fmla="*/ 36 w 540"/>
                <a:gd name="T21" fmla="*/ 80 h 1296"/>
                <a:gd name="T22" fmla="*/ 36 w 540"/>
                <a:gd name="T23" fmla="*/ 708 h 1296"/>
                <a:gd name="T24" fmla="*/ 0 w 540"/>
                <a:gd name="T25" fmla="*/ 1170 h 1296"/>
                <a:gd name="T26" fmla="*/ 270 w 540"/>
                <a:gd name="T27" fmla="*/ 1296 h 1296"/>
                <a:gd name="T28" fmla="*/ 540 w 540"/>
                <a:gd name="T29" fmla="*/ 1170 h 1296"/>
                <a:gd name="T30" fmla="*/ 504 w 540"/>
                <a:gd name="T31" fmla="*/ 652 h 1296"/>
                <a:gd name="T32" fmla="*/ 496 w 540"/>
                <a:gd name="T33" fmla="*/ 80 h 1296"/>
                <a:gd name="T34" fmla="*/ 10 w 540"/>
                <a:gd name="T35" fmla="*/ 1040 h 1296"/>
                <a:gd name="T36" fmla="*/ 267 w 540"/>
                <a:gd name="T37" fmla="*/ 1164 h 1296"/>
                <a:gd name="T38" fmla="*/ 524 w 540"/>
                <a:gd name="T39" fmla="*/ 1040 h 1296"/>
                <a:gd name="T40" fmla="*/ 38 w 540"/>
                <a:gd name="T41" fmla="*/ 164 h 1296"/>
                <a:gd name="T42" fmla="*/ 267 w 540"/>
                <a:gd name="T43" fmla="*/ 250 h 1296"/>
                <a:gd name="T44" fmla="*/ 496 w 540"/>
                <a:gd name="T45" fmla="*/ 164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0" h="1296">
                  <a:moveTo>
                    <a:pt x="470" y="84"/>
                  </a:moveTo>
                  <a:cubicBezTo>
                    <a:pt x="470" y="123"/>
                    <a:pt x="379" y="154"/>
                    <a:pt x="266" y="154"/>
                  </a:cubicBezTo>
                  <a:cubicBezTo>
                    <a:pt x="153" y="154"/>
                    <a:pt x="62" y="123"/>
                    <a:pt x="62" y="84"/>
                  </a:cubicBezTo>
                  <a:cubicBezTo>
                    <a:pt x="62" y="45"/>
                    <a:pt x="153" y="14"/>
                    <a:pt x="266" y="14"/>
                  </a:cubicBezTo>
                  <a:cubicBezTo>
                    <a:pt x="379" y="14"/>
                    <a:pt x="470" y="45"/>
                    <a:pt x="470" y="84"/>
                  </a:cubicBezTo>
                  <a:close/>
                  <a:moveTo>
                    <a:pt x="266" y="0"/>
                  </a:moveTo>
                  <a:cubicBezTo>
                    <a:pt x="139" y="0"/>
                    <a:pt x="36" y="37"/>
                    <a:pt x="36" y="82"/>
                  </a:cubicBezTo>
                  <a:cubicBezTo>
                    <a:pt x="36" y="127"/>
                    <a:pt x="139" y="164"/>
                    <a:pt x="266" y="164"/>
                  </a:cubicBezTo>
                  <a:cubicBezTo>
                    <a:pt x="393" y="164"/>
                    <a:pt x="496" y="127"/>
                    <a:pt x="496" y="82"/>
                  </a:cubicBezTo>
                  <a:cubicBezTo>
                    <a:pt x="496" y="37"/>
                    <a:pt x="393" y="0"/>
                    <a:pt x="266" y="0"/>
                  </a:cubicBezTo>
                  <a:close/>
                  <a:moveTo>
                    <a:pt x="36" y="80"/>
                  </a:moveTo>
                  <a:cubicBezTo>
                    <a:pt x="36" y="80"/>
                    <a:pt x="40" y="640"/>
                    <a:pt x="36" y="708"/>
                  </a:cubicBezTo>
                  <a:cubicBezTo>
                    <a:pt x="32" y="776"/>
                    <a:pt x="0" y="1170"/>
                    <a:pt x="0" y="1170"/>
                  </a:cubicBezTo>
                  <a:cubicBezTo>
                    <a:pt x="0" y="1240"/>
                    <a:pt x="121" y="1296"/>
                    <a:pt x="270" y="1296"/>
                  </a:cubicBezTo>
                  <a:cubicBezTo>
                    <a:pt x="419" y="1296"/>
                    <a:pt x="540" y="1240"/>
                    <a:pt x="540" y="1170"/>
                  </a:cubicBezTo>
                  <a:cubicBezTo>
                    <a:pt x="540" y="1170"/>
                    <a:pt x="504" y="748"/>
                    <a:pt x="504" y="652"/>
                  </a:cubicBezTo>
                  <a:cubicBezTo>
                    <a:pt x="504" y="556"/>
                    <a:pt x="496" y="80"/>
                    <a:pt x="496" y="80"/>
                  </a:cubicBezTo>
                  <a:moveTo>
                    <a:pt x="10" y="1040"/>
                  </a:moveTo>
                  <a:cubicBezTo>
                    <a:pt x="10" y="1108"/>
                    <a:pt x="125" y="1164"/>
                    <a:pt x="267" y="1164"/>
                  </a:cubicBezTo>
                  <a:cubicBezTo>
                    <a:pt x="409" y="1164"/>
                    <a:pt x="524" y="1108"/>
                    <a:pt x="524" y="1040"/>
                  </a:cubicBezTo>
                  <a:moveTo>
                    <a:pt x="38" y="164"/>
                  </a:moveTo>
                  <a:cubicBezTo>
                    <a:pt x="38" y="211"/>
                    <a:pt x="141" y="250"/>
                    <a:pt x="267" y="250"/>
                  </a:cubicBezTo>
                  <a:cubicBezTo>
                    <a:pt x="393" y="250"/>
                    <a:pt x="496" y="211"/>
                    <a:pt x="496" y="164"/>
                  </a:cubicBezTo>
                </a:path>
              </a:pathLst>
            </a:custGeom>
            <a:noFill/>
            <a:ln w="1270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58" tIns="99726" rIns="124658" bIns="99726" numCol="1" spcCol="0" rtlCol="0" fromWordArt="0" anchor="t" anchorCtr="0" forceAA="0" compatLnSpc="1">
              <a:prstTxWarp prst="textNoShape">
                <a:avLst/>
              </a:prstTxWarp>
              <a:noAutofit/>
            </a:bodyPr>
            <a:lstStyle/>
            <a:p>
              <a:pPr marL="0" marR="0" lvl="0" indent="0" algn="l" defTabSz="635573" rtl="0" eaLnBrk="1" fontAlgn="base" latinLnBrk="0" hangingPunct="1">
                <a:lnSpc>
                  <a:spcPct val="100000"/>
                </a:lnSpc>
                <a:spcBef>
                  <a:spcPct val="0"/>
                </a:spcBef>
                <a:spcAft>
                  <a:spcPct val="0"/>
                </a:spcAft>
                <a:buClrTx/>
                <a:buSzTx/>
                <a:buFontTx/>
                <a:buNone/>
                <a:tabLst/>
                <a:defRPr/>
              </a:pPr>
              <a:endParaRPr kumimoji="0" lang="en-US" sz="163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14" name="Group 213">
              <a:extLst>
                <a:ext uri="{FF2B5EF4-FFF2-40B4-BE49-F238E27FC236}">
                  <a16:creationId xmlns:a16="http://schemas.microsoft.com/office/drawing/2014/main" id="{5D633355-0142-4D98-A2DB-FB326B57A4CA}"/>
                </a:ext>
              </a:extLst>
            </p:cNvPr>
            <p:cNvGrpSpPr/>
            <p:nvPr/>
          </p:nvGrpSpPr>
          <p:grpSpPr>
            <a:xfrm rot="16200000">
              <a:off x="5024487" y="2652079"/>
              <a:ext cx="76737" cy="144221"/>
              <a:chOff x="2866921" y="3947319"/>
              <a:chExt cx="103684" cy="194866"/>
            </a:xfrm>
          </p:grpSpPr>
          <p:sp>
            <p:nvSpPr>
              <p:cNvPr id="215" name="Oval 5">
                <a:extLst>
                  <a:ext uri="{FF2B5EF4-FFF2-40B4-BE49-F238E27FC236}">
                    <a16:creationId xmlns:a16="http://schemas.microsoft.com/office/drawing/2014/main" id="{6D4741C0-4360-4F8E-B553-1A936C9033D8}"/>
                  </a:ext>
                </a:extLst>
              </p:cNvPr>
              <p:cNvSpPr/>
              <p:nvPr/>
            </p:nvSpPr>
            <p:spPr bwMode="auto">
              <a:xfrm>
                <a:off x="2904207" y="3947319"/>
                <a:ext cx="66398" cy="194866"/>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solidFill>
                    <a:srgbClr val="505050"/>
                  </a:solidFill>
                  <a:effectLst/>
                  <a:uLnTx/>
                  <a:uFillTx/>
                  <a:latin typeface="Segoe UI Semilight"/>
                  <a:ea typeface="+mn-ea"/>
                  <a:cs typeface="+mn-cs"/>
                </a:endParaRPr>
              </a:p>
            </p:txBody>
          </p:sp>
          <p:sp>
            <p:nvSpPr>
              <p:cNvPr id="216" name="Oval 5">
                <a:extLst>
                  <a:ext uri="{FF2B5EF4-FFF2-40B4-BE49-F238E27FC236}">
                    <a16:creationId xmlns:a16="http://schemas.microsoft.com/office/drawing/2014/main" id="{4A17DF7E-782B-4D2E-83C5-E0C46E01C4C3}"/>
                  </a:ext>
                </a:extLst>
              </p:cNvPr>
              <p:cNvSpPr/>
              <p:nvPr/>
            </p:nvSpPr>
            <p:spPr bwMode="auto">
              <a:xfrm>
                <a:off x="2866921" y="3977662"/>
                <a:ext cx="45720" cy="134180"/>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err="1">
                  <a:ln>
                    <a:noFill/>
                  </a:ln>
                  <a:solidFill>
                    <a:srgbClr val="505050"/>
                  </a:solidFill>
                  <a:effectLst/>
                  <a:uLnTx/>
                  <a:uFillTx/>
                  <a:latin typeface="Segoe UI Semilight"/>
                  <a:ea typeface="+mn-ea"/>
                  <a:cs typeface="+mn-cs"/>
                </a:endParaRPr>
              </a:p>
            </p:txBody>
          </p:sp>
        </p:grpSp>
      </p:grpSp>
      <p:grpSp>
        <p:nvGrpSpPr>
          <p:cNvPr id="217" name="Group 4">
            <a:extLst>
              <a:ext uri="{FF2B5EF4-FFF2-40B4-BE49-F238E27FC236}">
                <a16:creationId xmlns:a16="http://schemas.microsoft.com/office/drawing/2014/main" id="{CD1BCD45-9746-4A40-8687-60893FA02D5A}"/>
              </a:ext>
            </a:extLst>
          </p:cNvPr>
          <p:cNvGrpSpPr>
            <a:grpSpLocks noChangeAspect="1"/>
          </p:cNvGrpSpPr>
          <p:nvPr/>
        </p:nvGrpSpPr>
        <p:grpSpPr bwMode="auto">
          <a:xfrm>
            <a:off x="9241732" y="4908019"/>
            <a:ext cx="281970" cy="173519"/>
            <a:chOff x="5597" y="3096"/>
            <a:chExt cx="546" cy="336"/>
          </a:xfrm>
        </p:grpSpPr>
        <p:sp>
          <p:nvSpPr>
            <p:cNvPr id="218" name="Rectangle 5">
              <a:extLst>
                <a:ext uri="{FF2B5EF4-FFF2-40B4-BE49-F238E27FC236}">
                  <a16:creationId xmlns:a16="http://schemas.microsoft.com/office/drawing/2014/main" id="{AB6F2CB0-5925-4BC9-B490-61B46C8A9D55}"/>
                </a:ext>
              </a:extLst>
            </p:cNvPr>
            <p:cNvSpPr>
              <a:spLocks noChangeArrowheads="1"/>
            </p:cNvSpPr>
            <p:nvPr/>
          </p:nvSpPr>
          <p:spPr bwMode="auto">
            <a:xfrm>
              <a:off x="5597" y="3096"/>
              <a:ext cx="169" cy="336"/>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9" name="Freeform 6">
              <a:extLst>
                <a:ext uri="{FF2B5EF4-FFF2-40B4-BE49-F238E27FC236}">
                  <a16:creationId xmlns:a16="http://schemas.microsoft.com/office/drawing/2014/main" id="{809120F3-9AE7-429E-A9F5-313E7053A0FE}"/>
                </a:ext>
              </a:extLst>
            </p:cNvPr>
            <p:cNvSpPr>
              <a:spLocks/>
            </p:cNvSpPr>
            <p:nvPr/>
          </p:nvSpPr>
          <p:spPr bwMode="auto">
            <a:xfrm>
              <a:off x="5766" y="3337"/>
              <a:ext cx="80" cy="95"/>
            </a:xfrm>
            <a:custGeom>
              <a:avLst/>
              <a:gdLst>
                <a:gd name="T0" fmla="*/ 80 w 80"/>
                <a:gd name="T1" fmla="*/ 0 h 95"/>
                <a:gd name="T2" fmla="*/ 80 w 80"/>
                <a:gd name="T3" fmla="*/ 26 h 95"/>
                <a:gd name="T4" fmla="*/ 0 w 80"/>
                <a:gd name="T5" fmla="*/ 95 h 95"/>
              </a:gdLst>
              <a:ahLst/>
              <a:cxnLst>
                <a:cxn ang="0">
                  <a:pos x="T0" y="T1"/>
                </a:cxn>
                <a:cxn ang="0">
                  <a:pos x="T2" y="T3"/>
                </a:cxn>
                <a:cxn ang="0">
                  <a:pos x="T4" y="T5"/>
                </a:cxn>
              </a:cxnLst>
              <a:rect l="0" t="0" r="r" b="b"/>
              <a:pathLst>
                <a:path w="80" h="95">
                  <a:moveTo>
                    <a:pt x="80" y="0"/>
                  </a:moveTo>
                  <a:lnTo>
                    <a:pt x="80" y="26"/>
                  </a:lnTo>
                  <a:lnTo>
                    <a:pt x="0" y="95"/>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0" name="Freeform 7">
              <a:extLst>
                <a:ext uri="{FF2B5EF4-FFF2-40B4-BE49-F238E27FC236}">
                  <a16:creationId xmlns:a16="http://schemas.microsoft.com/office/drawing/2014/main" id="{970015E8-3196-4B80-B814-2AE7BF9E7FB1}"/>
                </a:ext>
              </a:extLst>
            </p:cNvPr>
            <p:cNvSpPr>
              <a:spLocks/>
            </p:cNvSpPr>
            <p:nvPr/>
          </p:nvSpPr>
          <p:spPr bwMode="auto">
            <a:xfrm>
              <a:off x="5766" y="3096"/>
              <a:ext cx="80" cy="96"/>
            </a:xfrm>
            <a:custGeom>
              <a:avLst/>
              <a:gdLst>
                <a:gd name="T0" fmla="*/ 0 w 80"/>
                <a:gd name="T1" fmla="*/ 0 h 96"/>
                <a:gd name="T2" fmla="*/ 80 w 80"/>
                <a:gd name="T3" fmla="*/ 74 h 96"/>
                <a:gd name="T4" fmla="*/ 80 w 80"/>
                <a:gd name="T5" fmla="*/ 96 h 96"/>
              </a:gdLst>
              <a:ahLst/>
              <a:cxnLst>
                <a:cxn ang="0">
                  <a:pos x="T0" y="T1"/>
                </a:cxn>
                <a:cxn ang="0">
                  <a:pos x="T2" y="T3"/>
                </a:cxn>
                <a:cxn ang="0">
                  <a:pos x="T4" y="T5"/>
                </a:cxn>
              </a:cxnLst>
              <a:rect l="0" t="0" r="r" b="b"/>
              <a:pathLst>
                <a:path w="80" h="96">
                  <a:moveTo>
                    <a:pt x="0" y="0"/>
                  </a:moveTo>
                  <a:lnTo>
                    <a:pt x="80" y="74"/>
                  </a:lnTo>
                  <a:lnTo>
                    <a:pt x="80" y="96"/>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1" name="Line 8">
              <a:extLst>
                <a:ext uri="{FF2B5EF4-FFF2-40B4-BE49-F238E27FC236}">
                  <a16:creationId xmlns:a16="http://schemas.microsoft.com/office/drawing/2014/main" id="{18BDFA5D-9A95-4816-9E47-266DBA1527E3}"/>
                </a:ext>
              </a:extLst>
            </p:cNvPr>
            <p:cNvSpPr>
              <a:spLocks noChangeShapeType="1"/>
            </p:cNvSpPr>
            <p:nvPr/>
          </p:nvSpPr>
          <p:spPr bwMode="auto">
            <a:xfrm>
              <a:off x="5597" y="3205"/>
              <a:ext cx="169"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2" name="Line 9">
              <a:extLst>
                <a:ext uri="{FF2B5EF4-FFF2-40B4-BE49-F238E27FC236}">
                  <a16:creationId xmlns:a16="http://schemas.microsoft.com/office/drawing/2014/main" id="{B4DB20A4-9C3D-4922-B626-35736001A5ED}"/>
                </a:ext>
              </a:extLst>
            </p:cNvPr>
            <p:cNvSpPr>
              <a:spLocks noChangeShapeType="1"/>
            </p:cNvSpPr>
            <p:nvPr/>
          </p:nvSpPr>
          <p:spPr bwMode="auto">
            <a:xfrm>
              <a:off x="5597" y="3325"/>
              <a:ext cx="169"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3" name="Rectangle 10">
              <a:extLst>
                <a:ext uri="{FF2B5EF4-FFF2-40B4-BE49-F238E27FC236}">
                  <a16:creationId xmlns:a16="http://schemas.microsoft.com/office/drawing/2014/main" id="{D1AE6961-3E9A-4779-AD67-8F2C2BC91DAB}"/>
                </a:ext>
              </a:extLst>
            </p:cNvPr>
            <p:cNvSpPr>
              <a:spLocks noChangeArrowheads="1"/>
            </p:cNvSpPr>
            <p:nvPr/>
          </p:nvSpPr>
          <p:spPr bwMode="auto">
            <a:xfrm>
              <a:off x="5974" y="3096"/>
              <a:ext cx="169" cy="336"/>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4" name="Freeform 11">
              <a:extLst>
                <a:ext uri="{FF2B5EF4-FFF2-40B4-BE49-F238E27FC236}">
                  <a16:creationId xmlns:a16="http://schemas.microsoft.com/office/drawing/2014/main" id="{BEEA6447-73B0-4971-AC7C-16D00E920214}"/>
                </a:ext>
              </a:extLst>
            </p:cNvPr>
            <p:cNvSpPr>
              <a:spLocks/>
            </p:cNvSpPr>
            <p:nvPr/>
          </p:nvSpPr>
          <p:spPr bwMode="auto">
            <a:xfrm>
              <a:off x="5894" y="3336"/>
              <a:ext cx="80" cy="96"/>
            </a:xfrm>
            <a:custGeom>
              <a:avLst/>
              <a:gdLst>
                <a:gd name="T0" fmla="*/ 0 w 80"/>
                <a:gd name="T1" fmla="*/ 0 h 96"/>
                <a:gd name="T2" fmla="*/ 0 w 80"/>
                <a:gd name="T3" fmla="*/ 27 h 96"/>
                <a:gd name="T4" fmla="*/ 80 w 80"/>
                <a:gd name="T5" fmla="*/ 96 h 96"/>
              </a:gdLst>
              <a:ahLst/>
              <a:cxnLst>
                <a:cxn ang="0">
                  <a:pos x="T0" y="T1"/>
                </a:cxn>
                <a:cxn ang="0">
                  <a:pos x="T2" y="T3"/>
                </a:cxn>
                <a:cxn ang="0">
                  <a:pos x="T4" y="T5"/>
                </a:cxn>
              </a:cxnLst>
              <a:rect l="0" t="0" r="r" b="b"/>
              <a:pathLst>
                <a:path w="80" h="96">
                  <a:moveTo>
                    <a:pt x="0" y="0"/>
                  </a:moveTo>
                  <a:lnTo>
                    <a:pt x="0" y="27"/>
                  </a:lnTo>
                  <a:lnTo>
                    <a:pt x="80" y="96"/>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5" name="Freeform 12">
              <a:extLst>
                <a:ext uri="{FF2B5EF4-FFF2-40B4-BE49-F238E27FC236}">
                  <a16:creationId xmlns:a16="http://schemas.microsoft.com/office/drawing/2014/main" id="{2CE434EE-5650-4330-ADC4-57BDC1EBD660}"/>
                </a:ext>
              </a:extLst>
            </p:cNvPr>
            <p:cNvSpPr>
              <a:spLocks/>
            </p:cNvSpPr>
            <p:nvPr/>
          </p:nvSpPr>
          <p:spPr bwMode="auto">
            <a:xfrm>
              <a:off x="5894" y="3096"/>
              <a:ext cx="80" cy="94"/>
            </a:xfrm>
            <a:custGeom>
              <a:avLst/>
              <a:gdLst>
                <a:gd name="T0" fmla="*/ 80 w 80"/>
                <a:gd name="T1" fmla="*/ 0 h 94"/>
                <a:gd name="T2" fmla="*/ 0 w 80"/>
                <a:gd name="T3" fmla="*/ 74 h 94"/>
                <a:gd name="T4" fmla="*/ 0 w 80"/>
                <a:gd name="T5" fmla="*/ 94 h 94"/>
              </a:gdLst>
              <a:ahLst/>
              <a:cxnLst>
                <a:cxn ang="0">
                  <a:pos x="T0" y="T1"/>
                </a:cxn>
                <a:cxn ang="0">
                  <a:pos x="T2" y="T3"/>
                </a:cxn>
                <a:cxn ang="0">
                  <a:pos x="T4" y="T5"/>
                </a:cxn>
              </a:cxnLst>
              <a:rect l="0" t="0" r="r" b="b"/>
              <a:pathLst>
                <a:path w="80" h="94">
                  <a:moveTo>
                    <a:pt x="80" y="0"/>
                  </a:moveTo>
                  <a:lnTo>
                    <a:pt x="0" y="74"/>
                  </a:lnTo>
                  <a:lnTo>
                    <a:pt x="0" y="94"/>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6" name="Line 13">
              <a:extLst>
                <a:ext uri="{FF2B5EF4-FFF2-40B4-BE49-F238E27FC236}">
                  <a16:creationId xmlns:a16="http://schemas.microsoft.com/office/drawing/2014/main" id="{CEB40455-34BD-4453-8073-7AE8BCA4FBDB}"/>
                </a:ext>
              </a:extLst>
            </p:cNvPr>
            <p:cNvSpPr>
              <a:spLocks noChangeShapeType="1"/>
            </p:cNvSpPr>
            <p:nvPr/>
          </p:nvSpPr>
          <p:spPr bwMode="auto">
            <a:xfrm flipH="1">
              <a:off x="5974" y="3205"/>
              <a:ext cx="169"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7" name="Line 14">
              <a:extLst>
                <a:ext uri="{FF2B5EF4-FFF2-40B4-BE49-F238E27FC236}">
                  <a16:creationId xmlns:a16="http://schemas.microsoft.com/office/drawing/2014/main" id="{EC10C00F-BCD7-4003-A3F2-BE315667A2AA}"/>
                </a:ext>
              </a:extLst>
            </p:cNvPr>
            <p:cNvSpPr>
              <a:spLocks noChangeShapeType="1"/>
            </p:cNvSpPr>
            <p:nvPr/>
          </p:nvSpPr>
          <p:spPr bwMode="auto">
            <a:xfrm flipH="1">
              <a:off x="5974" y="3325"/>
              <a:ext cx="169"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8" name="Freeform 15">
              <a:extLst>
                <a:ext uri="{FF2B5EF4-FFF2-40B4-BE49-F238E27FC236}">
                  <a16:creationId xmlns:a16="http://schemas.microsoft.com/office/drawing/2014/main" id="{E790EE05-E5F4-42F9-A840-F13B95298AF6}"/>
                </a:ext>
              </a:extLst>
            </p:cNvPr>
            <p:cNvSpPr>
              <a:spLocks noEditPoints="1"/>
            </p:cNvSpPr>
            <p:nvPr/>
          </p:nvSpPr>
          <p:spPr bwMode="auto">
            <a:xfrm>
              <a:off x="5797" y="3207"/>
              <a:ext cx="146" cy="47"/>
            </a:xfrm>
            <a:custGeom>
              <a:avLst/>
              <a:gdLst>
                <a:gd name="T0" fmla="*/ 0 w 196"/>
                <a:gd name="T1" fmla="*/ 0 h 63"/>
                <a:gd name="T2" fmla="*/ 0 w 196"/>
                <a:gd name="T3" fmla="*/ 63 h 63"/>
                <a:gd name="T4" fmla="*/ 118 w 196"/>
                <a:gd name="T5" fmla="*/ 0 h 63"/>
                <a:gd name="T6" fmla="*/ 118 w 196"/>
                <a:gd name="T7" fmla="*/ 63 h 63"/>
                <a:gd name="T8" fmla="*/ 79 w 196"/>
                <a:gd name="T9" fmla="*/ 42 h 63"/>
                <a:gd name="T10" fmla="*/ 79 w 196"/>
                <a:gd name="T11" fmla="*/ 20 h 63"/>
                <a:gd name="T12" fmla="*/ 59 w 196"/>
                <a:gd name="T13" fmla="*/ 0 h 63"/>
                <a:gd name="T14" fmla="*/ 59 w 196"/>
                <a:gd name="T15" fmla="*/ 0 h 63"/>
                <a:gd name="T16" fmla="*/ 38 w 196"/>
                <a:gd name="T17" fmla="*/ 20 h 63"/>
                <a:gd name="T18" fmla="*/ 38 w 196"/>
                <a:gd name="T19" fmla="*/ 42 h 63"/>
                <a:gd name="T20" fmla="*/ 59 w 196"/>
                <a:gd name="T21" fmla="*/ 63 h 63"/>
                <a:gd name="T22" fmla="*/ 59 w 196"/>
                <a:gd name="T23" fmla="*/ 63 h 63"/>
                <a:gd name="T24" fmla="*/ 79 w 196"/>
                <a:gd name="T25" fmla="*/ 42 h 63"/>
                <a:gd name="T26" fmla="*/ 196 w 196"/>
                <a:gd name="T27" fmla="*/ 42 h 63"/>
                <a:gd name="T28" fmla="*/ 196 w 196"/>
                <a:gd name="T29" fmla="*/ 20 h 63"/>
                <a:gd name="T30" fmla="*/ 175 w 196"/>
                <a:gd name="T31" fmla="*/ 0 h 63"/>
                <a:gd name="T32" fmla="*/ 175 w 196"/>
                <a:gd name="T33" fmla="*/ 0 h 63"/>
                <a:gd name="T34" fmla="*/ 156 w 196"/>
                <a:gd name="T35" fmla="*/ 20 h 63"/>
                <a:gd name="T36" fmla="*/ 156 w 196"/>
                <a:gd name="T37" fmla="*/ 42 h 63"/>
                <a:gd name="T38" fmla="*/ 175 w 196"/>
                <a:gd name="T39" fmla="*/ 63 h 63"/>
                <a:gd name="T40" fmla="*/ 175 w 196"/>
                <a:gd name="T41" fmla="*/ 63 h 63"/>
                <a:gd name="T42" fmla="*/ 196 w 196"/>
                <a:gd name="T43" fmla="*/ 4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3">
                  <a:moveTo>
                    <a:pt x="0" y="0"/>
                  </a:moveTo>
                  <a:cubicBezTo>
                    <a:pt x="0" y="63"/>
                    <a:pt x="0" y="63"/>
                    <a:pt x="0" y="63"/>
                  </a:cubicBezTo>
                  <a:moveTo>
                    <a:pt x="118" y="0"/>
                  </a:moveTo>
                  <a:cubicBezTo>
                    <a:pt x="118" y="63"/>
                    <a:pt x="118" y="63"/>
                    <a:pt x="118" y="63"/>
                  </a:cubicBezTo>
                  <a:moveTo>
                    <a:pt x="79" y="42"/>
                  </a:moveTo>
                  <a:cubicBezTo>
                    <a:pt x="79" y="20"/>
                    <a:pt x="79" y="20"/>
                    <a:pt x="79" y="20"/>
                  </a:cubicBezTo>
                  <a:cubicBezTo>
                    <a:pt x="79" y="9"/>
                    <a:pt x="70" y="0"/>
                    <a:pt x="59" y="0"/>
                  </a:cubicBezTo>
                  <a:cubicBezTo>
                    <a:pt x="59" y="0"/>
                    <a:pt x="59" y="0"/>
                    <a:pt x="59" y="0"/>
                  </a:cubicBezTo>
                  <a:cubicBezTo>
                    <a:pt x="47" y="0"/>
                    <a:pt x="38" y="9"/>
                    <a:pt x="38" y="20"/>
                  </a:cubicBezTo>
                  <a:cubicBezTo>
                    <a:pt x="38" y="42"/>
                    <a:pt x="38" y="42"/>
                    <a:pt x="38" y="42"/>
                  </a:cubicBezTo>
                  <a:cubicBezTo>
                    <a:pt x="38" y="54"/>
                    <a:pt x="47" y="63"/>
                    <a:pt x="59" y="63"/>
                  </a:cubicBezTo>
                  <a:cubicBezTo>
                    <a:pt x="59" y="63"/>
                    <a:pt x="59" y="63"/>
                    <a:pt x="59" y="63"/>
                  </a:cubicBezTo>
                  <a:cubicBezTo>
                    <a:pt x="70" y="63"/>
                    <a:pt x="79" y="54"/>
                    <a:pt x="79" y="42"/>
                  </a:cubicBezTo>
                  <a:close/>
                  <a:moveTo>
                    <a:pt x="196" y="42"/>
                  </a:moveTo>
                  <a:cubicBezTo>
                    <a:pt x="196" y="20"/>
                    <a:pt x="196" y="20"/>
                    <a:pt x="196" y="20"/>
                  </a:cubicBezTo>
                  <a:cubicBezTo>
                    <a:pt x="196" y="9"/>
                    <a:pt x="187" y="0"/>
                    <a:pt x="175" y="0"/>
                  </a:cubicBezTo>
                  <a:cubicBezTo>
                    <a:pt x="175" y="0"/>
                    <a:pt x="175" y="0"/>
                    <a:pt x="175" y="0"/>
                  </a:cubicBezTo>
                  <a:cubicBezTo>
                    <a:pt x="165" y="0"/>
                    <a:pt x="156" y="9"/>
                    <a:pt x="156" y="20"/>
                  </a:cubicBezTo>
                  <a:cubicBezTo>
                    <a:pt x="156" y="42"/>
                    <a:pt x="156" y="42"/>
                    <a:pt x="156" y="42"/>
                  </a:cubicBezTo>
                  <a:cubicBezTo>
                    <a:pt x="156" y="54"/>
                    <a:pt x="165" y="63"/>
                    <a:pt x="175" y="63"/>
                  </a:cubicBezTo>
                  <a:cubicBezTo>
                    <a:pt x="175" y="63"/>
                    <a:pt x="175" y="63"/>
                    <a:pt x="175" y="63"/>
                  </a:cubicBezTo>
                  <a:cubicBezTo>
                    <a:pt x="187" y="63"/>
                    <a:pt x="196" y="54"/>
                    <a:pt x="196" y="42"/>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9" name="Freeform 16">
              <a:extLst>
                <a:ext uri="{FF2B5EF4-FFF2-40B4-BE49-F238E27FC236}">
                  <a16:creationId xmlns:a16="http://schemas.microsoft.com/office/drawing/2014/main" id="{3115EB0D-6B04-44E1-9799-BFEF8453C0C9}"/>
                </a:ext>
              </a:extLst>
            </p:cNvPr>
            <p:cNvSpPr>
              <a:spLocks noEditPoints="1"/>
            </p:cNvSpPr>
            <p:nvPr/>
          </p:nvSpPr>
          <p:spPr bwMode="auto">
            <a:xfrm>
              <a:off x="5797" y="3278"/>
              <a:ext cx="146" cy="48"/>
            </a:xfrm>
            <a:custGeom>
              <a:avLst/>
              <a:gdLst>
                <a:gd name="T0" fmla="*/ 196 w 196"/>
                <a:gd name="T1" fmla="*/ 64 h 64"/>
                <a:gd name="T2" fmla="*/ 196 w 196"/>
                <a:gd name="T3" fmla="*/ 0 h 64"/>
                <a:gd name="T4" fmla="*/ 79 w 196"/>
                <a:gd name="T5" fmla="*/ 64 h 64"/>
                <a:gd name="T6" fmla="*/ 79 w 196"/>
                <a:gd name="T7" fmla="*/ 0 h 64"/>
                <a:gd name="T8" fmla="*/ 118 w 196"/>
                <a:gd name="T9" fmla="*/ 43 h 64"/>
                <a:gd name="T10" fmla="*/ 138 w 196"/>
                <a:gd name="T11" fmla="*/ 64 h 64"/>
                <a:gd name="T12" fmla="*/ 138 w 196"/>
                <a:gd name="T13" fmla="*/ 64 h 64"/>
                <a:gd name="T14" fmla="*/ 158 w 196"/>
                <a:gd name="T15" fmla="*/ 43 h 64"/>
                <a:gd name="T16" fmla="*/ 158 w 196"/>
                <a:gd name="T17" fmla="*/ 21 h 64"/>
                <a:gd name="T18" fmla="*/ 138 w 196"/>
                <a:gd name="T19" fmla="*/ 0 h 64"/>
                <a:gd name="T20" fmla="*/ 138 w 196"/>
                <a:gd name="T21" fmla="*/ 0 h 64"/>
                <a:gd name="T22" fmla="*/ 118 w 196"/>
                <a:gd name="T23" fmla="*/ 21 h 64"/>
                <a:gd name="T24" fmla="*/ 118 w 196"/>
                <a:gd name="T25" fmla="*/ 43 h 64"/>
                <a:gd name="T26" fmla="*/ 0 w 196"/>
                <a:gd name="T27" fmla="*/ 43 h 64"/>
                <a:gd name="T28" fmla="*/ 20 w 196"/>
                <a:gd name="T29" fmla="*/ 64 h 64"/>
                <a:gd name="T30" fmla="*/ 20 w 196"/>
                <a:gd name="T31" fmla="*/ 64 h 64"/>
                <a:gd name="T32" fmla="*/ 41 w 196"/>
                <a:gd name="T33" fmla="*/ 43 h 64"/>
                <a:gd name="T34" fmla="*/ 41 w 196"/>
                <a:gd name="T35" fmla="*/ 21 h 64"/>
                <a:gd name="T36" fmla="*/ 20 w 196"/>
                <a:gd name="T37" fmla="*/ 0 h 64"/>
                <a:gd name="T38" fmla="*/ 20 w 196"/>
                <a:gd name="T39" fmla="*/ 0 h 64"/>
                <a:gd name="T40" fmla="*/ 0 w 196"/>
                <a:gd name="T41" fmla="*/ 21 h 64"/>
                <a:gd name="T42" fmla="*/ 0 w 196"/>
                <a:gd name="T43"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4">
                  <a:moveTo>
                    <a:pt x="196" y="64"/>
                  </a:moveTo>
                  <a:cubicBezTo>
                    <a:pt x="196" y="64"/>
                    <a:pt x="196" y="64"/>
                    <a:pt x="196" y="0"/>
                  </a:cubicBezTo>
                  <a:moveTo>
                    <a:pt x="79" y="64"/>
                  </a:moveTo>
                  <a:cubicBezTo>
                    <a:pt x="79" y="64"/>
                    <a:pt x="79" y="64"/>
                    <a:pt x="79" y="0"/>
                  </a:cubicBezTo>
                  <a:moveTo>
                    <a:pt x="118" y="43"/>
                  </a:moveTo>
                  <a:cubicBezTo>
                    <a:pt x="118" y="54"/>
                    <a:pt x="127" y="64"/>
                    <a:pt x="138" y="64"/>
                  </a:cubicBezTo>
                  <a:cubicBezTo>
                    <a:pt x="138" y="64"/>
                    <a:pt x="138" y="64"/>
                    <a:pt x="138" y="64"/>
                  </a:cubicBezTo>
                  <a:cubicBezTo>
                    <a:pt x="149" y="64"/>
                    <a:pt x="158" y="54"/>
                    <a:pt x="158" y="43"/>
                  </a:cubicBezTo>
                  <a:cubicBezTo>
                    <a:pt x="158" y="43"/>
                    <a:pt x="158" y="43"/>
                    <a:pt x="158" y="21"/>
                  </a:cubicBezTo>
                  <a:cubicBezTo>
                    <a:pt x="158" y="9"/>
                    <a:pt x="149" y="0"/>
                    <a:pt x="138" y="0"/>
                  </a:cubicBezTo>
                  <a:cubicBezTo>
                    <a:pt x="138" y="0"/>
                    <a:pt x="138" y="0"/>
                    <a:pt x="138" y="0"/>
                  </a:cubicBezTo>
                  <a:cubicBezTo>
                    <a:pt x="127" y="0"/>
                    <a:pt x="118" y="9"/>
                    <a:pt x="118" y="21"/>
                  </a:cubicBezTo>
                  <a:cubicBezTo>
                    <a:pt x="118" y="21"/>
                    <a:pt x="118" y="21"/>
                    <a:pt x="118" y="43"/>
                  </a:cubicBezTo>
                  <a:close/>
                  <a:moveTo>
                    <a:pt x="0" y="43"/>
                  </a:moveTo>
                  <a:cubicBezTo>
                    <a:pt x="0" y="54"/>
                    <a:pt x="10" y="64"/>
                    <a:pt x="20" y="64"/>
                  </a:cubicBezTo>
                  <a:cubicBezTo>
                    <a:pt x="20" y="64"/>
                    <a:pt x="20" y="64"/>
                    <a:pt x="20" y="64"/>
                  </a:cubicBezTo>
                  <a:cubicBezTo>
                    <a:pt x="32" y="64"/>
                    <a:pt x="41" y="54"/>
                    <a:pt x="41" y="43"/>
                  </a:cubicBezTo>
                  <a:cubicBezTo>
                    <a:pt x="41" y="43"/>
                    <a:pt x="41" y="43"/>
                    <a:pt x="41" y="21"/>
                  </a:cubicBezTo>
                  <a:cubicBezTo>
                    <a:pt x="41" y="9"/>
                    <a:pt x="32" y="0"/>
                    <a:pt x="20" y="0"/>
                  </a:cubicBezTo>
                  <a:cubicBezTo>
                    <a:pt x="20" y="0"/>
                    <a:pt x="20" y="0"/>
                    <a:pt x="20" y="0"/>
                  </a:cubicBezTo>
                  <a:cubicBezTo>
                    <a:pt x="10" y="0"/>
                    <a:pt x="0" y="9"/>
                    <a:pt x="0" y="21"/>
                  </a:cubicBezTo>
                  <a:cubicBezTo>
                    <a:pt x="0" y="21"/>
                    <a:pt x="0" y="21"/>
                    <a:pt x="0" y="43"/>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230" name="eye_2">
            <a:extLst>
              <a:ext uri="{FF2B5EF4-FFF2-40B4-BE49-F238E27FC236}">
                <a16:creationId xmlns:a16="http://schemas.microsoft.com/office/drawing/2014/main" id="{F2F9A618-59CD-4BDD-BD9E-32431EC5DBD0}"/>
              </a:ext>
            </a:extLst>
          </p:cNvPr>
          <p:cNvSpPr>
            <a:spLocks noChangeAspect="1" noEditPoints="1"/>
          </p:cNvSpPr>
          <p:nvPr/>
        </p:nvSpPr>
        <p:spPr bwMode="auto">
          <a:xfrm>
            <a:off x="9255372" y="4568421"/>
            <a:ext cx="254692" cy="141316"/>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2700" cap="flat">
            <a:solidFill>
              <a:schemeClr val="accent1"/>
            </a:solidFill>
            <a:prstDash val="solid"/>
            <a:miter lim="800000"/>
            <a:headEnd/>
            <a:tailEnd/>
          </a:ln>
        </p:spPr>
        <p:txBody>
          <a:bodyPr vert="horz" wrap="square" lIns="61103" tIns="30552" rIns="61103" bIns="30552" numCol="1" anchor="t" anchorCtr="0" compatLnSpc="1">
            <a:prstTxWarp prst="textNoShape">
              <a:avLst/>
            </a:prstTxWarp>
          </a:bodyPr>
          <a:lstStyle/>
          <a:p>
            <a:pPr marL="0" marR="0" lvl="0" indent="0" algn="l" defTabSz="623233" rtl="0" eaLnBrk="1" fontAlgn="auto" latinLnBrk="0" hangingPunct="1">
              <a:lnSpc>
                <a:spcPct val="100000"/>
              </a:lnSpc>
              <a:spcBef>
                <a:spcPts val="0"/>
              </a:spcBef>
              <a:spcAft>
                <a:spcPts val="0"/>
              </a:spcAft>
              <a:buClrTx/>
              <a:buSzTx/>
              <a:buFontTx/>
              <a:buNone/>
              <a:tabLst/>
              <a:defRPr/>
            </a:pPr>
            <a:endParaRPr kumimoji="0" lang="en-US" sz="1203" b="0" i="0" u="none" strike="noStrike" kern="1200" cap="none" spc="0" normalizeH="0" baseline="0" noProof="0">
              <a:ln>
                <a:noFill/>
              </a:ln>
              <a:solidFill>
                <a:srgbClr val="505050"/>
              </a:solidFill>
              <a:effectLst/>
              <a:uLnTx/>
              <a:uFillTx/>
              <a:latin typeface="Segoe UI Semilight"/>
              <a:ea typeface="+mn-ea"/>
              <a:cs typeface="+mn-cs"/>
            </a:endParaRPr>
          </a:p>
        </p:txBody>
      </p:sp>
    </p:spTree>
    <p:extLst>
      <p:ext uri="{BB962C8B-B14F-4D97-AF65-F5344CB8AC3E}">
        <p14:creationId xmlns:p14="http://schemas.microsoft.com/office/powerpoint/2010/main" val="14257412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7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1000"/>
                                        <p:tgtEl>
                                          <p:spTgt spid="24"/>
                                        </p:tgtEl>
                                      </p:cBhvr>
                                    </p:animEffect>
                                    <p:anim calcmode="lin" valueType="num">
                                      <p:cBhvr>
                                        <p:cTn id="8" dur="1000" fill="hold"/>
                                        <p:tgtEl>
                                          <p:spTgt spid="24"/>
                                        </p:tgtEl>
                                        <p:attrNameLst>
                                          <p:attrName>ppt_x</p:attrName>
                                        </p:attrNameLst>
                                      </p:cBhvr>
                                      <p:tavLst>
                                        <p:tav tm="0">
                                          <p:val>
                                            <p:strVal val="#ppt_x"/>
                                          </p:val>
                                        </p:tav>
                                        <p:tav tm="100000">
                                          <p:val>
                                            <p:strVal val="#ppt_x"/>
                                          </p:val>
                                        </p:tav>
                                      </p:tavLst>
                                    </p:anim>
                                    <p:anim calcmode="lin" valueType="num">
                                      <p:cBhvr>
                                        <p:cTn id="9" dur="1000" fill="hold"/>
                                        <p:tgtEl>
                                          <p:spTgt spid="24"/>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93"/>
                                        </p:tgtEl>
                                        <p:attrNameLst>
                                          <p:attrName>style.visibility</p:attrName>
                                        </p:attrNameLst>
                                      </p:cBhvr>
                                      <p:to>
                                        <p:strVal val="visible"/>
                                      </p:to>
                                    </p:set>
                                    <p:animEffect transition="in" filter="fade">
                                      <p:cBhvr>
                                        <p:cTn id="12" dur="1000"/>
                                        <p:tgtEl>
                                          <p:spTgt spid="93"/>
                                        </p:tgtEl>
                                      </p:cBhvr>
                                    </p:animEffect>
                                    <p:anim calcmode="lin" valueType="num">
                                      <p:cBhvr>
                                        <p:cTn id="13" dur="1000" fill="hold"/>
                                        <p:tgtEl>
                                          <p:spTgt spid="93"/>
                                        </p:tgtEl>
                                        <p:attrNameLst>
                                          <p:attrName>ppt_x</p:attrName>
                                        </p:attrNameLst>
                                      </p:cBhvr>
                                      <p:tavLst>
                                        <p:tav tm="0">
                                          <p:val>
                                            <p:strVal val="#ppt_x"/>
                                          </p:val>
                                        </p:tav>
                                        <p:tav tm="100000">
                                          <p:val>
                                            <p:strVal val="#ppt_x"/>
                                          </p:val>
                                        </p:tav>
                                      </p:tavLst>
                                    </p:anim>
                                    <p:anim calcmode="lin" valueType="num">
                                      <p:cBhvr>
                                        <p:cTn id="14" dur="1000" fill="hold"/>
                                        <p:tgtEl>
                                          <p:spTgt spid="93"/>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7" presetClass="entr" presetSubtype="0" fill="hold" grpId="0" nodeType="clickEffect">
                                  <p:stCondLst>
                                    <p:cond delay="0"/>
                                  </p:stCondLst>
                                  <p:childTnLst>
                                    <p:set>
                                      <p:cBhvr>
                                        <p:cTn id="18" dur="1" fill="hold">
                                          <p:stCondLst>
                                            <p:cond delay="0"/>
                                          </p:stCondLst>
                                        </p:cTn>
                                        <p:tgtEl>
                                          <p:spTgt spid="92"/>
                                        </p:tgtEl>
                                        <p:attrNameLst>
                                          <p:attrName>style.visibility</p:attrName>
                                        </p:attrNameLst>
                                      </p:cBhvr>
                                      <p:to>
                                        <p:strVal val="visible"/>
                                      </p:to>
                                    </p:set>
                                    <p:animEffect transition="in" filter="fade">
                                      <p:cBhvr>
                                        <p:cTn id="19" dur="800"/>
                                        <p:tgtEl>
                                          <p:spTgt spid="92"/>
                                        </p:tgtEl>
                                      </p:cBhvr>
                                    </p:animEffect>
                                    <p:anim calcmode="lin" valueType="num">
                                      <p:cBhvr>
                                        <p:cTn id="20" dur="800" fill="hold"/>
                                        <p:tgtEl>
                                          <p:spTgt spid="92"/>
                                        </p:tgtEl>
                                        <p:attrNameLst>
                                          <p:attrName>ppt_x</p:attrName>
                                        </p:attrNameLst>
                                      </p:cBhvr>
                                      <p:tavLst>
                                        <p:tav tm="0">
                                          <p:val>
                                            <p:strVal val="#ppt_x"/>
                                          </p:val>
                                        </p:tav>
                                        <p:tav tm="100000">
                                          <p:val>
                                            <p:strVal val="#ppt_x"/>
                                          </p:val>
                                        </p:tav>
                                      </p:tavLst>
                                    </p:anim>
                                    <p:anim calcmode="lin" valueType="num">
                                      <p:cBhvr>
                                        <p:cTn id="21" dur="800" fill="hold"/>
                                        <p:tgtEl>
                                          <p:spTgt spid="92"/>
                                        </p:tgtEl>
                                        <p:attrNameLst>
                                          <p:attrName>ppt_y</p:attrName>
                                        </p:attrNameLst>
                                      </p:cBhvr>
                                      <p:tavLst>
                                        <p:tav tm="0">
                                          <p:val>
                                            <p:strVal val="#ppt_y-.1"/>
                                          </p:val>
                                        </p:tav>
                                        <p:tav tm="100000">
                                          <p:val>
                                            <p:strVal val="#ppt_y"/>
                                          </p:val>
                                        </p:tav>
                                      </p:tavLst>
                                    </p:anim>
                                  </p:childTnLst>
                                </p:cTn>
                              </p:par>
                            </p:childTnLst>
                          </p:cTn>
                        </p:par>
                        <p:par>
                          <p:cTn id="22" fill="hold">
                            <p:stCondLst>
                              <p:cond delay="800"/>
                            </p:stCondLst>
                            <p:childTnLst>
                              <p:par>
                                <p:cTn id="23" presetID="47"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1000"/>
                                        <p:tgtEl>
                                          <p:spTgt spid="46"/>
                                        </p:tgtEl>
                                      </p:cBhvr>
                                    </p:animEffect>
                                    <p:anim calcmode="lin" valueType="num">
                                      <p:cBhvr>
                                        <p:cTn id="26" dur="1000" fill="hold"/>
                                        <p:tgtEl>
                                          <p:spTgt spid="46"/>
                                        </p:tgtEl>
                                        <p:attrNameLst>
                                          <p:attrName>ppt_x</p:attrName>
                                        </p:attrNameLst>
                                      </p:cBhvr>
                                      <p:tavLst>
                                        <p:tav tm="0">
                                          <p:val>
                                            <p:strVal val="#ppt_x"/>
                                          </p:val>
                                        </p:tav>
                                        <p:tav tm="100000">
                                          <p:val>
                                            <p:strVal val="#ppt_x"/>
                                          </p:val>
                                        </p:tav>
                                      </p:tavLst>
                                    </p:anim>
                                    <p:anim calcmode="lin" valueType="num">
                                      <p:cBhvr>
                                        <p:cTn id="27" dur="1000" fill="hold"/>
                                        <p:tgtEl>
                                          <p:spTgt spid="46"/>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4" fill="hold" nodeType="clickEffect">
                                  <p:stCondLst>
                                    <p:cond delay="0"/>
                                  </p:stCondLst>
                                  <p:childTnLst>
                                    <p:set>
                                      <p:cBhvr>
                                        <p:cTn id="31" dur="1" fill="hold">
                                          <p:stCondLst>
                                            <p:cond delay="0"/>
                                          </p:stCondLst>
                                        </p:cTn>
                                        <p:tgtEl>
                                          <p:spTgt spid="61"/>
                                        </p:tgtEl>
                                        <p:attrNameLst>
                                          <p:attrName>style.visibility</p:attrName>
                                        </p:attrNameLst>
                                      </p:cBhvr>
                                      <p:to>
                                        <p:strVal val="visible"/>
                                      </p:to>
                                    </p:set>
                                    <p:anim calcmode="lin" valueType="num">
                                      <p:cBhvr additive="base">
                                        <p:cTn id="32" dur="750" fill="hold"/>
                                        <p:tgtEl>
                                          <p:spTgt spid="61"/>
                                        </p:tgtEl>
                                        <p:attrNameLst>
                                          <p:attrName>ppt_x</p:attrName>
                                        </p:attrNameLst>
                                      </p:cBhvr>
                                      <p:tavLst>
                                        <p:tav tm="0">
                                          <p:val>
                                            <p:strVal val="#ppt_x"/>
                                          </p:val>
                                        </p:tav>
                                        <p:tav tm="100000">
                                          <p:val>
                                            <p:strVal val="#ppt_x"/>
                                          </p:val>
                                        </p:tav>
                                      </p:tavLst>
                                    </p:anim>
                                    <p:anim calcmode="lin" valueType="num">
                                      <p:cBhvr additive="base">
                                        <p:cTn id="33" dur="750" fill="hold"/>
                                        <p:tgtEl>
                                          <p:spTgt spid="61"/>
                                        </p:tgtEl>
                                        <p:attrNameLst>
                                          <p:attrName>ppt_y</p:attrName>
                                        </p:attrNameLst>
                                      </p:cBhvr>
                                      <p:tavLst>
                                        <p:tav tm="0">
                                          <p:val>
                                            <p:strVal val="1+#ppt_h/2"/>
                                          </p:val>
                                        </p:tav>
                                        <p:tav tm="100000">
                                          <p:val>
                                            <p:strVal val="#ppt_y"/>
                                          </p:val>
                                        </p:tav>
                                      </p:tavLst>
                                    </p:anim>
                                  </p:childTnLst>
                                </p:cTn>
                              </p:par>
                              <p:par>
                                <p:cTn id="34" presetID="2" presetClass="entr" presetSubtype="4" fill="hold" grpId="0" nodeType="withEffect">
                                  <p:stCondLst>
                                    <p:cond delay="0"/>
                                  </p:stCondLst>
                                  <p:childTnLst>
                                    <p:set>
                                      <p:cBhvr>
                                        <p:cTn id="35" dur="1" fill="hold">
                                          <p:stCondLst>
                                            <p:cond delay="0"/>
                                          </p:stCondLst>
                                        </p:cTn>
                                        <p:tgtEl>
                                          <p:spTgt spid="3"/>
                                        </p:tgtEl>
                                        <p:attrNameLst>
                                          <p:attrName>style.visibility</p:attrName>
                                        </p:attrNameLst>
                                      </p:cBhvr>
                                      <p:to>
                                        <p:strVal val="visible"/>
                                      </p:to>
                                    </p:set>
                                    <p:anim calcmode="lin" valueType="num">
                                      <p:cBhvr additive="base">
                                        <p:cTn id="36" dur="750" fill="hold"/>
                                        <p:tgtEl>
                                          <p:spTgt spid="3"/>
                                        </p:tgtEl>
                                        <p:attrNameLst>
                                          <p:attrName>ppt_x</p:attrName>
                                        </p:attrNameLst>
                                      </p:cBhvr>
                                      <p:tavLst>
                                        <p:tav tm="0">
                                          <p:val>
                                            <p:strVal val="#ppt_x"/>
                                          </p:val>
                                        </p:tav>
                                        <p:tav tm="100000">
                                          <p:val>
                                            <p:strVal val="#ppt_x"/>
                                          </p:val>
                                        </p:tav>
                                      </p:tavLst>
                                    </p:anim>
                                    <p:anim calcmode="lin" valueType="num">
                                      <p:cBhvr additive="base">
                                        <p:cTn id="37" dur="750" fill="hold"/>
                                        <p:tgtEl>
                                          <p:spTgt spid="3"/>
                                        </p:tgtEl>
                                        <p:attrNameLst>
                                          <p:attrName>ppt_y</p:attrName>
                                        </p:attrNameLst>
                                      </p:cBhvr>
                                      <p:tavLst>
                                        <p:tav tm="0">
                                          <p:val>
                                            <p:strVal val="1+#ppt_h/2"/>
                                          </p:val>
                                        </p:tav>
                                        <p:tav tm="100000">
                                          <p:val>
                                            <p:strVal val="#ppt_y"/>
                                          </p:val>
                                        </p:tav>
                                      </p:tavLst>
                                    </p:anim>
                                  </p:childTnLst>
                                </p:cTn>
                              </p:par>
                              <p:par>
                                <p:cTn id="38" presetID="2" presetClass="entr" presetSubtype="4" fill="hold" nodeType="withEffect">
                                  <p:stCondLst>
                                    <p:cond delay="0"/>
                                  </p:stCondLst>
                                  <p:childTnLst>
                                    <p:set>
                                      <p:cBhvr>
                                        <p:cTn id="39" dur="1" fill="hold">
                                          <p:stCondLst>
                                            <p:cond delay="0"/>
                                          </p:stCondLst>
                                        </p:cTn>
                                        <p:tgtEl>
                                          <p:spTgt spid="71"/>
                                        </p:tgtEl>
                                        <p:attrNameLst>
                                          <p:attrName>style.visibility</p:attrName>
                                        </p:attrNameLst>
                                      </p:cBhvr>
                                      <p:to>
                                        <p:strVal val="visible"/>
                                      </p:to>
                                    </p:set>
                                    <p:anim calcmode="lin" valueType="num">
                                      <p:cBhvr additive="base">
                                        <p:cTn id="40" dur="750" fill="hold"/>
                                        <p:tgtEl>
                                          <p:spTgt spid="71"/>
                                        </p:tgtEl>
                                        <p:attrNameLst>
                                          <p:attrName>ppt_x</p:attrName>
                                        </p:attrNameLst>
                                      </p:cBhvr>
                                      <p:tavLst>
                                        <p:tav tm="0">
                                          <p:val>
                                            <p:strVal val="#ppt_x"/>
                                          </p:val>
                                        </p:tav>
                                        <p:tav tm="100000">
                                          <p:val>
                                            <p:strVal val="#ppt_x"/>
                                          </p:val>
                                        </p:tav>
                                      </p:tavLst>
                                    </p:anim>
                                    <p:anim calcmode="lin" valueType="num">
                                      <p:cBhvr additive="base">
                                        <p:cTn id="41" dur="750" fill="hold"/>
                                        <p:tgtEl>
                                          <p:spTgt spid="71"/>
                                        </p:tgtEl>
                                        <p:attrNameLst>
                                          <p:attrName>ppt_y</p:attrName>
                                        </p:attrNameLst>
                                      </p:cBhvr>
                                      <p:tavLst>
                                        <p:tav tm="0">
                                          <p:val>
                                            <p:strVal val="1+#ppt_h/2"/>
                                          </p:val>
                                        </p:tav>
                                        <p:tav tm="100000">
                                          <p:val>
                                            <p:strVal val="#ppt_y"/>
                                          </p:val>
                                        </p:tav>
                                      </p:tavLst>
                                    </p:anim>
                                  </p:childTnLst>
                                </p:cTn>
                              </p:par>
                              <p:par>
                                <p:cTn id="42" presetID="2" presetClass="entr" presetSubtype="4" fill="hold" grpId="0" nodeType="withEffect">
                                  <p:stCondLst>
                                    <p:cond delay="0"/>
                                  </p:stCondLst>
                                  <p:childTnLst>
                                    <p:set>
                                      <p:cBhvr>
                                        <p:cTn id="43" dur="1" fill="hold">
                                          <p:stCondLst>
                                            <p:cond delay="0"/>
                                          </p:stCondLst>
                                        </p:cTn>
                                        <p:tgtEl>
                                          <p:spTgt spid="53"/>
                                        </p:tgtEl>
                                        <p:attrNameLst>
                                          <p:attrName>style.visibility</p:attrName>
                                        </p:attrNameLst>
                                      </p:cBhvr>
                                      <p:to>
                                        <p:strVal val="visible"/>
                                      </p:to>
                                    </p:set>
                                    <p:anim calcmode="lin" valueType="num">
                                      <p:cBhvr additive="base">
                                        <p:cTn id="44" dur="750" fill="hold"/>
                                        <p:tgtEl>
                                          <p:spTgt spid="53"/>
                                        </p:tgtEl>
                                        <p:attrNameLst>
                                          <p:attrName>ppt_x</p:attrName>
                                        </p:attrNameLst>
                                      </p:cBhvr>
                                      <p:tavLst>
                                        <p:tav tm="0">
                                          <p:val>
                                            <p:strVal val="#ppt_x"/>
                                          </p:val>
                                        </p:tav>
                                        <p:tav tm="100000">
                                          <p:val>
                                            <p:strVal val="#ppt_x"/>
                                          </p:val>
                                        </p:tav>
                                      </p:tavLst>
                                    </p:anim>
                                    <p:anim calcmode="lin" valueType="num">
                                      <p:cBhvr additive="base">
                                        <p:cTn id="45" dur="750" fill="hold"/>
                                        <p:tgtEl>
                                          <p:spTgt spid="53"/>
                                        </p:tgtEl>
                                        <p:attrNameLst>
                                          <p:attrName>ppt_y</p:attrName>
                                        </p:attrNameLst>
                                      </p:cBhvr>
                                      <p:tavLst>
                                        <p:tav tm="0">
                                          <p:val>
                                            <p:strVal val="1+#ppt_h/2"/>
                                          </p:val>
                                        </p:tav>
                                        <p:tav tm="100000">
                                          <p:val>
                                            <p:strVal val="#ppt_y"/>
                                          </p:val>
                                        </p:tav>
                                      </p:tavLst>
                                    </p:anim>
                                  </p:childTnLst>
                                </p:cTn>
                              </p:par>
                              <p:par>
                                <p:cTn id="46" presetID="2" presetClass="entr" presetSubtype="4" fill="hold" grpId="0" nodeType="withEffect">
                                  <p:stCondLst>
                                    <p:cond delay="0"/>
                                  </p:stCondLst>
                                  <p:childTnLst>
                                    <p:set>
                                      <p:cBhvr>
                                        <p:cTn id="47" dur="1" fill="hold">
                                          <p:stCondLst>
                                            <p:cond delay="0"/>
                                          </p:stCondLst>
                                        </p:cTn>
                                        <p:tgtEl>
                                          <p:spTgt spid="54"/>
                                        </p:tgtEl>
                                        <p:attrNameLst>
                                          <p:attrName>style.visibility</p:attrName>
                                        </p:attrNameLst>
                                      </p:cBhvr>
                                      <p:to>
                                        <p:strVal val="visible"/>
                                      </p:to>
                                    </p:set>
                                    <p:anim calcmode="lin" valueType="num">
                                      <p:cBhvr additive="base">
                                        <p:cTn id="48" dur="750" fill="hold"/>
                                        <p:tgtEl>
                                          <p:spTgt spid="54"/>
                                        </p:tgtEl>
                                        <p:attrNameLst>
                                          <p:attrName>ppt_x</p:attrName>
                                        </p:attrNameLst>
                                      </p:cBhvr>
                                      <p:tavLst>
                                        <p:tav tm="0">
                                          <p:val>
                                            <p:strVal val="#ppt_x"/>
                                          </p:val>
                                        </p:tav>
                                        <p:tav tm="100000">
                                          <p:val>
                                            <p:strVal val="#ppt_x"/>
                                          </p:val>
                                        </p:tav>
                                      </p:tavLst>
                                    </p:anim>
                                    <p:anim calcmode="lin" valueType="num">
                                      <p:cBhvr additive="base">
                                        <p:cTn id="49" dur="750" fill="hold"/>
                                        <p:tgtEl>
                                          <p:spTgt spid="54"/>
                                        </p:tgtEl>
                                        <p:attrNameLst>
                                          <p:attrName>ppt_y</p:attrName>
                                        </p:attrNameLst>
                                      </p:cBhvr>
                                      <p:tavLst>
                                        <p:tav tm="0">
                                          <p:val>
                                            <p:strVal val="1+#ppt_h/2"/>
                                          </p:val>
                                        </p:tav>
                                        <p:tav tm="100000">
                                          <p:val>
                                            <p:strVal val="#ppt_y"/>
                                          </p:val>
                                        </p:tav>
                                      </p:tavLst>
                                    </p:anim>
                                  </p:childTnLst>
                                </p:cTn>
                              </p:par>
                              <p:par>
                                <p:cTn id="50" presetID="2" presetClass="entr" presetSubtype="4" fill="hold" grpId="0" nodeType="withEffect">
                                  <p:stCondLst>
                                    <p:cond delay="0"/>
                                  </p:stCondLst>
                                  <p:childTnLst>
                                    <p:set>
                                      <p:cBhvr>
                                        <p:cTn id="51" dur="1" fill="hold">
                                          <p:stCondLst>
                                            <p:cond delay="0"/>
                                          </p:stCondLst>
                                        </p:cTn>
                                        <p:tgtEl>
                                          <p:spTgt spid="62"/>
                                        </p:tgtEl>
                                        <p:attrNameLst>
                                          <p:attrName>style.visibility</p:attrName>
                                        </p:attrNameLst>
                                      </p:cBhvr>
                                      <p:to>
                                        <p:strVal val="visible"/>
                                      </p:to>
                                    </p:set>
                                    <p:anim calcmode="lin" valueType="num">
                                      <p:cBhvr additive="base">
                                        <p:cTn id="52" dur="750" fill="hold"/>
                                        <p:tgtEl>
                                          <p:spTgt spid="62"/>
                                        </p:tgtEl>
                                        <p:attrNameLst>
                                          <p:attrName>ppt_x</p:attrName>
                                        </p:attrNameLst>
                                      </p:cBhvr>
                                      <p:tavLst>
                                        <p:tav tm="0">
                                          <p:val>
                                            <p:strVal val="#ppt_x"/>
                                          </p:val>
                                        </p:tav>
                                        <p:tav tm="100000">
                                          <p:val>
                                            <p:strVal val="#ppt_x"/>
                                          </p:val>
                                        </p:tav>
                                      </p:tavLst>
                                    </p:anim>
                                    <p:anim calcmode="lin" valueType="num">
                                      <p:cBhvr additive="base">
                                        <p:cTn id="53" dur="750" fill="hold"/>
                                        <p:tgtEl>
                                          <p:spTgt spid="62"/>
                                        </p:tgtEl>
                                        <p:attrNameLst>
                                          <p:attrName>ppt_y</p:attrName>
                                        </p:attrNameLst>
                                      </p:cBhvr>
                                      <p:tavLst>
                                        <p:tav tm="0">
                                          <p:val>
                                            <p:strVal val="1+#ppt_h/2"/>
                                          </p:val>
                                        </p:tav>
                                        <p:tav tm="100000">
                                          <p:val>
                                            <p:strVal val="#ppt_y"/>
                                          </p:val>
                                        </p:tav>
                                      </p:tavLst>
                                    </p:anim>
                                  </p:childTnLst>
                                </p:cTn>
                              </p:par>
                              <p:par>
                                <p:cTn id="54" presetID="2" presetClass="entr" presetSubtype="4" fill="hold" grpId="0" nodeType="withEffect">
                                  <p:stCondLst>
                                    <p:cond delay="0"/>
                                  </p:stCondLst>
                                  <p:childTnLst>
                                    <p:set>
                                      <p:cBhvr>
                                        <p:cTn id="55" dur="1" fill="hold">
                                          <p:stCondLst>
                                            <p:cond delay="0"/>
                                          </p:stCondLst>
                                        </p:cTn>
                                        <p:tgtEl>
                                          <p:spTgt spid="63"/>
                                        </p:tgtEl>
                                        <p:attrNameLst>
                                          <p:attrName>style.visibility</p:attrName>
                                        </p:attrNameLst>
                                      </p:cBhvr>
                                      <p:to>
                                        <p:strVal val="visible"/>
                                      </p:to>
                                    </p:set>
                                    <p:anim calcmode="lin" valueType="num">
                                      <p:cBhvr additive="base">
                                        <p:cTn id="56" dur="750" fill="hold"/>
                                        <p:tgtEl>
                                          <p:spTgt spid="63"/>
                                        </p:tgtEl>
                                        <p:attrNameLst>
                                          <p:attrName>ppt_x</p:attrName>
                                        </p:attrNameLst>
                                      </p:cBhvr>
                                      <p:tavLst>
                                        <p:tav tm="0">
                                          <p:val>
                                            <p:strVal val="#ppt_x"/>
                                          </p:val>
                                        </p:tav>
                                        <p:tav tm="100000">
                                          <p:val>
                                            <p:strVal val="#ppt_x"/>
                                          </p:val>
                                        </p:tav>
                                      </p:tavLst>
                                    </p:anim>
                                    <p:anim calcmode="lin" valueType="num">
                                      <p:cBhvr additive="base">
                                        <p:cTn id="57" dur="750" fill="hold"/>
                                        <p:tgtEl>
                                          <p:spTgt spid="63"/>
                                        </p:tgtEl>
                                        <p:attrNameLst>
                                          <p:attrName>ppt_y</p:attrName>
                                        </p:attrNameLst>
                                      </p:cBhvr>
                                      <p:tavLst>
                                        <p:tav tm="0">
                                          <p:val>
                                            <p:strVal val="1+#ppt_h/2"/>
                                          </p:val>
                                        </p:tav>
                                        <p:tav tm="100000">
                                          <p:val>
                                            <p:strVal val="#ppt_y"/>
                                          </p:val>
                                        </p:tav>
                                      </p:tavLst>
                                    </p:anim>
                                  </p:childTnLst>
                                </p:cTn>
                              </p:par>
                              <p:par>
                                <p:cTn id="58" presetID="2" presetClass="entr" presetSubtype="4" fill="hold" grpId="0" nodeType="withEffect">
                                  <p:stCondLst>
                                    <p:cond delay="0"/>
                                  </p:stCondLst>
                                  <p:childTnLst>
                                    <p:set>
                                      <p:cBhvr>
                                        <p:cTn id="59" dur="1" fill="hold">
                                          <p:stCondLst>
                                            <p:cond delay="0"/>
                                          </p:stCondLst>
                                        </p:cTn>
                                        <p:tgtEl>
                                          <p:spTgt spid="64"/>
                                        </p:tgtEl>
                                        <p:attrNameLst>
                                          <p:attrName>style.visibility</p:attrName>
                                        </p:attrNameLst>
                                      </p:cBhvr>
                                      <p:to>
                                        <p:strVal val="visible"/>
                                      </p:to>
                                    </p:set>
                                    <p:anim calcmode="lin" valueType="num">
                                      <p:cBhvr additive="base">
                                        <p:cTn id="60" dur="750" fill="hold"/>
                                        <p:tgtEl>
                                          <p:spTgt spid="64"/>
                                        </p:tgtEl>
                                        <p:attrNameLst>
                                          <p:attrName>ppt_x</p:attrName>
                                        </p:attrNameLst>
                                      </p:cBhvr>
                                      <p:tavLst>
                                        <p:tav tm="0">
                                          <p:val>
                                            <p:strVal val="#ppt_x"/>
                                          </p:val>
                                        </p:tav>
                                        <p:tav tm="100000">
                                          <p:val>
                                            <p:strVal val="#ppt_x"/>
                                          </p:val>
                                        </p:tav>
                                      </p:tavLst>
                                    </p:anim>
                                    <p:anim calcmode="lin" valueType="num">
                                      <p:cBhvr additive="base">
                                        <p:cTn id="61" dur="750" fill="hold"/>
                                        <p:tgtEl>
                                          <p:spTgt spid="64"/>
                                        </p:tgtEl>
                                        <p:attrNameLst>
                                          <p:attrName>ppt_y</p:attrName>
                                        </p:attrNameLst>
                                      </p:cBhvr>
                                      <p:tavLst>
                                        <p:tav tm="0">
                                          <p:val>
                                            <p:strVal val="1+#ppt_h/2"/>
                                          </p:val>
                                        </p:tav>
                                        <p:tav tm="100000">
                                          <p:val>
                                            <p:strVal val="#ppt_y"/>
                                          </p:val>
                                        </p:tav>
                                      </p:tavLst>
                                    </p:anim>
                                  </p:childTnLst>
                                </p:cTn>
                              </p:par>
                              <p:par>
                                <p:cTn id="62" presetID="2" presetClass="entr" presetSubtype="4" fill="hold" grpId="0" nodeType="withEffect">
                                  <p:stCondLst>
                                    <p:cond delay="0"/>
                                  </p:stCondLst>
                                  <p:childTnLst>
                                    <p:set>
                                      <p:cBhvr>
                                        <p:cTn id="63" dur="1" fill="hold">
                                          <p:stCondLst>
                                            <p:cond delay="0"/>
                                          </p:stCondLst>
                                        </p:cTn>
                                        <p:tgtEl>
                                          <p:spTgt spid="65"/>
                                        </p:tgtEl>
                                        <p:attrNameLst>
                                          <p:attrName>style.visibility</p:attrName>
                                        </p:attrNameLst>
                                      </p:cBhvr>
                                      <p:to>
                                        <p:strVal val="visible"/>
                                      </p:to>
                                    </p:set>
                                    <p:anim calcmode="lin" valueType="num">
                                      <p:cBhvr additive="base">
                                        <p:cTn id="64" dur="750" fill="hold"/>
                                        <p:tgtEl>
                                          <p:spTgt spid="65"/>
                                        </p:tgtEl>
                                        <p:attrNameLst>
                                          <p:attrName>ppt_x</p:attrName>
                                        </p:attrNameLst>
                                      </p:cBhvr>
                                      <p:tavLst>
                                        <p:tav tm="0">
                                          <p:val>
                                            <p:strVal val="#ppt_x"/>
                                          </p:val>
                                        </p:tav>
                                        <p:tav tm="100000">
                                          <p:val>
                                            <p:strVal val="#ppt_x"/>
                                          </p:val>
                                        </p:tav>
                                      </p:tavLst>
                                    </p:anim>
                                    <p:anim calcmode="lin" valueType="num">
                                      <p:cBhvr additive="base">
                                        <p:cTn id="65" dur="750" fill="hold"/>
                                        <p:tgtEl>
                                          <p:spTgt spid="65"/>
                                        </p:tgtEl>
                                        <p:attrNameLst>
                                          <p:attrName>ppt_y</p:attrName>
                                        </p:attrNameLst>
                                      </p:cBhvr>
                                      <p:tavLst>
                                        <p:tav tm="0">
                                          <p:val>
                                            <p:strVal val="1+#ppt_h/2"/>
                                          </p:val>
                                        </p:tav>
                                        <p:tav tm="100000">
                                          <p:val>
                                            <p:strVal val="#ppt_y"/>
                                          </p:val>
                                        </p:tav>
                                      </p:tavLst>
                                    </p:anim>
                                  </p:childTnLst>
                                </p:cTn>
                              </p:par>
                              <p:par>
                                <p:cTn id="66" presetID="2" presetClass="entr" presetSubtype="4" fill="hold" grpId="0" nodeType="withEffect">
                                  <p:stCondLst>
                                    <p:cond delay="0"/>
                                  </p:stCondLst>
                                  <p:childTnLst>
                                    <p:set>
                                      <p:cBhvr>
                                        <p:cTn id="67" dur="1" fill="hold">
                                          <p:stCondLst>
                                            <p:cond delay="0"/>
                                          </p:stCondLst>
                                        </p:cTn>
                                        <p:tgtEl>
                                          <p:spTgt spid="66"/>
                                        </p:tgtEl>
                                        <p:attrNameLst>
                                          <p:attrName>style.visibility</p:attrName>
                                        </p:attrNameLst>
                                      </p:cBhvr>
                                      <p:to>
                                        <p:strVal val="visible"/>
                                      </p:to>
                                    </p:set>
                                    <p:anim calcmode="lin" valueType="num">
                                      <p:cBhvr additive="base">
                                        <p:cTn id="68" dur="750" fill="hold"/>
                                        <p:tgtEl>
                                          <p:spTgt spid="66"/>
                                        </p:tgtEl>
                                        <p:attrNameLst>
                                          <p:attrName>ppt_x</p:attrName>
                                        </p:attrNameLst>
                                      </p:cBhvr>
                                      <p:tavLst>
                                        <p:tav tm="0">
                                          <p:val>
                                            <p:strVal val="#ppt_x"/>
                                          </p:val>
                                        </p:tav>
                                        <p:tav tm="100000">
                                          <p:val>
                                            <p:strVal val="#ppt_x"/>
                                          </p:val>
                                        </p:tav>
                                      </p:tavLst>
                                    </p:anim>
                                    <p:anim calcmode="lin" valueType="num">
                                      <p:cBhvr additive="base">
                                        <p:cTn id="69" dur="750" fill="hold"/>
                                        <p:tgtEl>
                                          <p:spTgt spid="66"/>
                                        </p:tgtEl>
                                        <p:attrNameLst>
                                          <p:attrName>ppt_y</p:attrName>
                                        </p:attrNameLst>
                                      </p:cBhvr>
                                      <p:tavLst>
                                        <p:tav tm="0">
                                          <p:val>
                                            <p:strVal val="1+#ppt_h/2"/>
                                          </p:val>
                                        </p:tav>
                                        <p:tav tm="100000">
                                          <p:val>
                                            <p:strVal val="#ppt_y"/>
                                          </p:val>
                                        </p:tav>
                                      </p:tavLst>
                                    </p:anim>
                                  </p:childTnLst>
                                </p:cTn>
                              </p:par>
                              <p:par>
                                <p:cTn id="70" presetID="2" presetClass="entr" presetSubtype="4" fill="hold" grpId="0" nodeType="withEffect">
                                  <p:stCondLst>
                                    <p:cond delay="0"/>
                                  </p:stCondLst>
                                  <p:childTnLst>
                                    <p:set>
                                      <p:cBhvr>
                                        <p:cTn id="71" dur="1" fill="hold">
                                          <p:stCondLst>
                                            <p:cond delay="0"/>
                                          </p:stCondLst>
                                        </p:cTn>
                                        <p:tgtEl>
                                          <p:spTgt spid="67"/>
                                        </p:tgtEl>
                                        <p:attrNameLst>
                                          <p:attrName>style.visibility</p:attrName>
                                        </p:attrNameLst>
                                      </p:cBhvr>
                                      <p:to>
                                        <p:strVal val="visible"/>
                                      </p:to>
                                    </p:set>
                                    <p:anim calcmode="lin" valueType="num">
                                      <p:cBhvr additive="base">
                                        <p:cTn id="72" dur="750" fill="hold"/>
                                        <p:tgtEl>
                                          <p:spTgt spid="67"/>
                                        </p:tgtEl>
                                        <p:attrNameLst>
                                          <p:attrName>ppt_x</p:attrName>
                                        </p:attrNameLst>
                                      </p:cBhvr>
                                      <p:tavLst>
                                        <p:tav tm="0">
                                          <p:val>
                                            <p:strVal val="#ppt_x"/>
                                          </p:val>
                                        </p:tav>
                                        <p:tav tm="100000">
                                          <p:val>
                                            <p:strVal val="#ppt_x"/>
                                          </p:val>
                                        </p:tav>
                                      </p:tavLst>
                                    </p:anim>
                                    <p:anim calcmode="lin" valueType="num">
                                      <p:cBhvr additive="base">
                                        <p:cTn id="73" dur="750" fill="hold"/>
                                        <p:tgtEl>
                                          <p:spTgt spid="67"/>
                                        </p:tgtEl>
                                        <p:attrNameLst>
                                          <p:attrName>ppt_y</p:attrName>
                                        </p:attrNameLst>
                                      </p:cBhvr>
                                      <p:tavLst>
                                        <p:tav tm="0">
                                          <p:val>
                                            <p:strVal val="1+#ppt_h/2"/>
                                          </p:val>
                                        </p:tav>
                                        <p:tav tm="100000">
                                          <p:val>
                                            <p:strVal val="#ppt_y"/>
                                          </p:val>
                                        </p:tav>
                                      </p:tavLst>
                                    </p:anim>
                                  </p:childTnLst>
                                </p:cTn>
                              </p:par>
                            </p:childTnLst>
                          </p:cTn>
                        </p:par>
                        <p:par>
                          <p:cTn id="74" fill="hold">
                            <p:stCondLst>
                              <p:cond delay="750"/>
                            </p:stCondLst>
                            <p:childTnLst>
                              <p:par>
                                <p:cTn id="75" presetID="1" presetClass="entr" presetSubtype="0" fill="hold" grpId="0" nodeType="afterEffect">
                                  <p:stCondLst>
                                    <p:cond delay="0"/>
                                  </p:stCondLst>
                                  <p:childTnLst>
                                    <p:set>
                                      <p:cBhvr>
                                        <p:cTn id="76" dur="1" fill="hold">
                                          <p:stCondLst>
                                            <p:cond delay="0"/>
                                          </p:stCondLst>
                                        </p:cTn>
                                        <p:tgtEl>
                                          <p:spTgt spid="91"/>
                                        </p:tgtEl>
                                        <p:attrNameLst>
                                          <p:attrName>style.visibility</p:attrName>
                                        </p:attrNameLst>
                                      </p:cBhvr>
                                      <p:to>
                                        <p:strVal val="visible"/>
                                      </p:to>
                                    </p:set>
                                  </p:childTnLst>
                                </p:cTn>
                              </p:par>
                            </p:childTnLst>
                          </p:cTn>
                        </p:par>
                        <p:par>
                          <p:cTn id="77" fill="hold">
                            <p:stCondLst>
                              <p:cond delay="750"/>
                            </p:stCondLst>
                            <p:childTnLst>
                              <p:par>
                                <p:cTn id="78" presetID="1" presetClass="entr" presetSubtype="0" fill="hold" grpId="0" nodeType="afterEffect">
                                  <p:stCondLst>
                                    <p:cond delay="0"/>
                                  </p:stCondLst>
                                  <p:childTnLst>
                                    <p:set>
                                      <p:cBhvr>
                                        <p:cTn id="79" dur="1" fill="hold">
                                          <p:stCondLst>
                                            <p:cond delay="0"/>
                                          </p:stCondLst>
                                        </p:cTn>
                                        <p:tgtEl>
                                          <p:spTgt spid="184"/>
                                        </p:tgtEl>
                                        <p:attrNameLst>
                                          <p:attrName>style.visibility</p:attrName>
                                        </p:attrNameLst>
                                      </p:cBhvr>
                                      <p:to>
                                        <p:strVal val="visible"/>
                                      </p:to>
                                    </p:set>
                                  </p:childTnLst>
                                </p:cTn>
                              </p:par>
                            </p:childTnLst>
                          </p:cTn>
                        </p:par>
                        <p:par>
                          <p:cTn id="80" fill="hold">
                            <p:stCondLst>
                              <p:cond delay="750"/>
                            </p:stCondLst>
                            <p:childTnLst>
                              <p:par>
                                <p:cTn id="81" presetID="1" presetClass="entr" presetSubtype="0" fill="hold" grpId="0" nodeType="afterEffect">
                                  <p:stCondLst>
                                    <p:cond delay="0"/>
                                  </p:stCondLst>
                                  <p:childTnLst>
                                    <p:set>
                                      <p:cBhvr>
                                        <p:cTn id="82" dur="1" fill="hold">
                                          <p:stCondLst>
                                            <p:cond delay="0"/>
                                          </p:stCondLst>
                                        </p:cTn>
                                        <p:tgtEl>
                                          <p:spTgt spid="34"/>
                                        </p:tgtEl>
                                        <p:attrNameLst>
                                          <p:attrName>style.visibility</p:attrName>
                                        </p:attrNameLst>
                                      </p:cBhvr>
                                      <p:to>
                                        <p:strVal val="visible"/>
                                      </p:to>
                                    </p:set>
                                  </p:childTnLst>
                                </p:cTn>
                              </p:par>
                            </p:childTnLst>
                          </p:cTn>
                        </p:par>
                        <p:par>
                          <p:cTn id="83" fill="hold">
                            <p:stCondLst>
                              <p:cond delay="750"/>
                            </p:stCondLst>
                            <p:childTnLst>
                              <p:par>
                                <p:cTn id="84" presetID="2" presetClass="entr" presetSubtype="4" fill="hold" nodeType="afterEffect">
                                  <p:stCondLst>
                                    <p:cond delay="0"/>
                                  </p:stCondLst>
                                  <p:childTnLst>
                                    <p:set>
                                      <p:cBhvr>
                                        <p:cTn id="85" dur="1" fill="hold">
                                          <p:stCondLst>
                                            <p:cond delay="0"/>
                                          </p:stCondLst>
                                        </p:cTn>
                                        <p:tgtEl>
                                          <p:spTgt spid="45"/>
                                        </p:tgtEl>
                                        <p:attrNameLst>
                                          <p:attrName>style.visibility</p:attrName>
                                        </p:attrNameLst>
                                      </p:cBhvr>
                                      <p:to>
                                        <p:strVal val="visible"/>
                                      </p:to>
                                    </p:set>
                                    <p:anim calcmode="lin" valueType="num">
                                      <p:cBhvr additive="base">
                                        <p:cTn id="86" dur="10500" fill="hold"/>
                                        <p:tgtEl>
                                          <p:spTgt spid="45"/>
                                        </p:tgtEl>
                                        <p:attrNameLst>
                                          <p:attrName>ppt_x</p:attrName>
                                        </p:attrNameLst>
                                      </p:cBhvr>
                                      <p:tavLst>
                                        <p:tav tm="0">
                                          <p:val>
                                            <p:strVal val="#ppt_x"/>
                                          </p:val>
                                        </p:tav>
                                        <p:tav tm="100000">
                                          <p:val>
                                            <p:strVal val="#ppt_x"/>
                                          </p:val>
                                        </p:tav>
                                      </p:tavLst>
                                    </p:anim>
                                    <p:anim calcmode="lin" valueType="num">
                                      <p:cBhvr additive="base">
                                        <p:cTn id="87" dur="10500" fill="hold"/>
                                        <p:tgtEl>
                                          <p:spTgt spid="45"/>
                                        </p:tgtEl>
                                        <p:attrNameLst>
                                          <p:attrName>ppt_y</p:attrName>
                                        </p:attrNameLst>
                                      </p:cBhvr>
                                      <p:tavLst>
                                        <p:tav tm="0">
                                          <p:val>
                                            <p:strVal val="1+#ppt_h/2"/>
                                          </p:val>
                                        </p:tav>
                                        <p:tav tm="100000">
                                          <p:val>
                                            <p:strVal val="#ppt_y"/>
                                          </p:val>
                                        </p:tav>
                                      </p:tavLst>
                                    </p:anim>
                                  </p:childTnLst>
                                </p:cTn>
                              </p:par>
                              <p:par>
                                <p:cTn id="88" presetID="2" presetClass="entr" presetSubtype="4" fill="hold" nodeType="withEffect">
                                  <p:stCondLst>
                                    <p:cond delay="0"/>
                                  </p:stCondLst>
                                  <p:childTnLst>
                                    <p:set>
                                      <p:cBhvr>
                                        <p:cTn id="89" dur="1" fill="hold">
                                          <p:stCondLst>
                                            <p:cond delay="0"/>
                                          </p:stCondLst>
                                        </p:cTn>
                                        <p:tgtEl>
                                          <p:spTgt spid="44"/>
                                        </p:tgtEl>
                                        <p:attrNameLst>
                                          <p:attrName>style.visibility</p:attrName>
                                        </p:attrNameLst>
                                      </p:cBhvr>
                                      <p:to>
                                        <p:strVal val="visible"/>
                                      </p:to>
                                    </p:set>
                                    <p:anim calcmode="lin" valueType="num">
                                      <p:cBhvr additive="base">
                                        <p:cTn id="90" dur="10500" fill="hold"/>
                                        <p:tgtEl>
                                          <p:spTgt spid="44"/>
                                        </p:tgtEl>
                                        <p:attrNameLst>
                                          <p:attrName>ppt_x</p:attrName>
                                        </p:attrNameLst>
                                      </p:cBhvr>
                                      <p:tavLst>
                                        <p:tav tm="0">
                                          <p:val>
                                            <p:strVal val="#ppt_x"/>
                                          </p:val>
                                        </p:tav>
                                        <p:tav tm="100000">
                                          <p:val>
                                            <p:strVal val="#ppt_x"/>
                                          </p:val>
                                        </p:tav>
                                      </p:tavLst>
                                    </p:anim>
                                    <p:anim calcmode="lin" valueType="num">
                                      <p:cBhvr additive="base">
                                        <p:cTn id="91" dur="10500" fill="hold"/>
                                        <p:tgtEl>
                                          <p:spTgt spid="44"/>
                                        </p:tgtEl>
                                        <p:attrNameLst>
                                          <p:attrName>ppt_y</p:attrName>
                                        </p:attrNameLst>
                                      </p:cBhvr>
                                      <p:tavLst>
                                        <p:tav tm="0">
                                          <p:val>
                                            <p:strVal val="1+#ppt_h/2"/>
                                          </p:val>
                                        </p:tav>
                                        <p:tav tm="100000">
                                          <p:val>
                                            <p:strVal val="#ppt_y"/>
                                          </p:val>
                                        </p:tav>
                                      </p:tavLst>
                                    </p:anim>
                                  </p:childTnLst>
                                </p:cTn>
                              </p:par>
                              <p:par>
                                <p:cTn id="92" presetID="2" presetClass="entr" presetSubtype="4" fill="hold" nodeType="withEffect">
                                  <p:stCondLst>
                                    <p:cond delay="0"/>
                                  </p:stCondLst>
                                  <p:childTnLst>
                                    <p:set>
                                      <p:cBhvr>
                                        <p:cTn id="93" dur="1" fill="hold">
                                          <p:stCondLst>
                                            <p:cond delay="0"/>
                                          </p:stCondLst>
                                        </p:cTn>
                                        <p:tgtEl>
                                          <p:spTgt spid="43"/>
                                        </p:tgtEl>
                                        <p:attrNameLst>
                                          <p:attrName>style.visibility</p:attrName>
                                        </p:attrNameLst>
                                      </p:cBhvr>
                                      <p:to>
                                        <p:strVal val="visible"/>
                                      </p:to>
                                    </p:set>
                                    <p:anim calcmode="lin" valueType="num">
                                      <p:cBhvr additive="base">
                                        <p:cTn id="94" dur="10500" fill="hold"/>
                                        <p:tgtEl>
                                          <p:spTgt spid="43"/>
                                        </p:tgtEl>
                                        <p:attrNameLst>
                                          <p:attrName>ppt_x</p:attrName>
                                        </p:attrNameLst>
                                      </p:cBhvr>
                                      <p:tavLst>
                                        <p:tav tm="0">
                                          <p:val>
                                            <p:strVal val="#ppt_x"/>
                                          </p:val>
                                        </p:tav>
                                        <p:tav tm="100000">
                                          <p:val>
                                            <p:strVal val="#ppt_x"/>
                                          </p:val>
                                        </p:tav>
                                      </p:tavLst>
                                    </p:anim>
                                    <p:anim calcmode="lin" valueType="num">
                                      <p:cBhvr additive="base">
                                        <p:cTn id="95" dur="105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96" fill="hold">
                      <p:stCondLst>
                        <p:cond delay="indefinite"/>
                      </p:stCondLst>
                      <p:childTnLst>
                        <p:par>
                          <p:cTn id="97" fill="hold">
                            <p:stCondLst>
                              <p:cond delay="0"/>
                            </p:stCondLst>
                            <p:childTnLst>
                              <p:par>
                                <p:cTn id="98" presetID="47" presetClass="entr" presetSubtype="0" fill="hold" grpId="0" nodeType="clickEffect">
                                  <p:stCondLst>
                                    <p:cond delay="0"/>
                                  </p:stCondLst>
                                  <p:childTnLst>
                                    <p:set>
                                      <p:cBhvr>
                                        <p:cTn id="99" dur="1" fill="hold">
                                          <p:stCondLst>
                                            <p:cond delay="0"/>
                                          </p:stCondLst>
                                        </p:cTn>
                                        <p:tgtEl>
                                          <p:spTgt spid="258"/>
                                        </p:tgtEl>
                                        <p:attrNameLst>
                                          <p:attrName>style.visibility</p:attrName>
                                        </p:attrNameLst>
                                      </p:cBhvr>
                                      <p:to>
                                        <p:strVal val="visible"/>
                                      </p:to>
                                    </p:set>
                                    <p:animEffect transition="in" filter="fade">
                                      <p:cBhvr>
                                        <p:cTn id="100" dur="1000"/>
                                        <p:tgtEl>
                                          <p:spTgt spid="258"/>
                                        </p:tgtEl>
                                      </p:cBhvr>
                                    </p:animEffect>
                                    <p:anim calcmode="lin" valueType="num">
                                      <p:cBhvr>
                                        <p:cTn id="101" dur="1000" fill="hold"/>
                                        <p:tgtEl>
                                          <p:spTgt spid="258"/>
                                        </p:tgtEl>
                                        <p:attrNameLst>
                                          <p:attrName>ppt_x</p:attrName>
                                        </p:attrNameLst>
                                      </p:cBhvr>
                                      <p:tavLst>
                                        <p:tav tm="0">
                                          <p:val>
                                            <p:strVal val="#ppt_x"/>
                                          </p:val>
                                        </p:tav>
                                        <p:tav tm="100000">
                                          <p:val>
                                            <p:strVal val="#ppt_x"/>
                                          </p:val>
                                        </p:tav>
                                      </p:tavLst>
                                    </p:anim>
                                    <p:anim calcmode="lin" valueType="num">
                                      <p:cBhvr>
                                        <p:cTn id="102" dur="1000" fill="hold"/>
                                        <p:tgtEl>
                                          <p:spTgt spid="258"/>
                                        </p:tgtEl>
                                        <p:attrNameLst>
                                          <p:attrName>ppt_y</p:attrName>
                                        </p:attrNameLst>
                                      </p:cBhvr>
                                      <p:tavLst>
                                        <p:tav tm="0">
                                          <p:val>
                                            <p:strVal val="#ppt_y-.1"/>
                                          </p:val>
                                        </p:tav>
                                        <p:tav tm="100000">
                                          <p:val>
                                            <p:strVal val="#ppt_y"/>
                                          </p:val>
                                        </p:tav>
                                      </p:tavLst>
                                    </p:anim>
                                  </p:childTnLst>
                                </p:cTn>
                              </p:par>
                              <p:par>
                                <p:cTn id="103" presetID="47" presetClass="entr" presetSubtype="0" fill="hold" nodeType="withEffect">
                                  <p:stCondLst>
                                    <p:cond delay="0"/>
                                  </p:stCondLst>
                                  <p:childTnLst>
                                    <p:set>
                                      <p:cBhvr>
                                        <p:cTn id="104" dur="1" fill="hold">
                                          <p:stCondLst>
                                            <p:cond delay="0"/>
                                          </p:stCondLst>
                                        </p:cTn>
                                        <p:tgtEl>
                                          <p:spTgt spid="152"/>
                                        </p:tgtEl>
                                        <p:attrNameLst>
                                          <p:attrName>style.visibility</p:attrName>
                                        </p:attrNameLst>
                                      </p:cBhvr>
                                      <p:to>
                                        <p:strVal val="visible"/>
                                      </p:to>
                                    </p:set>
                                    <p:animEffect transition="in" filter="fade">
                                      <p:cBhvr>
                                        <p:cTn id="105" dur="1000"/>
                                        <p:tgtEl>
                                          <p:spTgt spid="152"/>
                                        </p:tgtEl>
                                      </p:cBhvr>
                                    </p:animEffect>
                                    <p:anim calcmode="lin" valueType="num">
                                      <p:cBhvr>
                                        <p:cTn id="106" dur="1000" fill="hold"/>
                                        <p:tgtEl>
                                          <p:spTgt spid="152"/>
                                        </p:tgtEl>
                                        <p:attrNameLst>
                                          <p:attrName>ppt_x</p:attrName>
                                        </p:attrNameLst>
                                      </p:cBhvr>
                                      <p:tavLst>
                                        <p:tav tm="0">
                                          <p:val>
                                            <p:strVal val="#ppt_x"/>
                                          </p:val>
                                        </p:tav>
                                        <p:tav tm="100000">
                                          <p:val>
                                            <p:strVal val="#ppt_x"/>
                                          </p:val>
                                        </p:tav>
                                      </p:tavLst>
                                    </p:anim>
                                    <p:anim calcmode="lin" valueType="num">
                                      <p:cBhvr>
                                        <p:cTn id="107" dur="1000" fill="hold"/>
                                        <p:tgtEl>
                                          <p:spTgt spid="152"/>
                                        </p:tgtEl>
                                        <p:attrNameLst>
                                          <p:attrName>ppt_y</p:attrName>
                                        </p:attrNameLst>
                                      </p:cBhvr>
                                      <p:tavLst>
                                        <p:tav tm="0">
                                          <p:val>
                                            <p:strVal val="#ppt_y-.1"/>
                                          </p:val>
                                        </p:tav>
                                        <p:tav tm="100000">
                                          <p:val>
                                            <p:strVal val="#ppt_y"/>
                                          </p:val>
                                        </p:tav>
                                      </p:tavLst>
                                    </p:anim>
                                  </p:childTnLst>
                                </p:cTn>
                              </p:par>
                              <p:par>
                                <p:cTn id="108" presetID="47" presetClass="entr" presetSubtype="0" fill="hold" grpId="0" nodeType="withEffect">
                                  <p:stCondLst>
                                    <p:cond delay="0"/>
                                  </p:stCondLst>
                                  <p:childTnLst>
                                    <p:set>
                                      <p:cBhvr>
                                        <p:cTn id="109" dur="1" fill="hold">
                                          <p:stCondLst>
                                            <p:cond delay="0"/>
                                          </p:stCondLst>
                                        </p:cTn>
                                        <p:tgtEl>
                                          <p:spTgt spid="150"/>
                                        </p:tgtEl>
                                        <p:attrNameLst>
                                          <p:attrName>style.visibility</p:attrName>
                                        </p:attrNameLst>
                                      </p:cBhvr>
                                      <p:to>
                                        <p:strVal val="visible"/>
                                      </p:to>
                                    </p:set>
                                    <p:animEffect transition="in" filter="fade">
                                      <p:cBhvr>
                                        <p:cTn id="110" dur="1000"/>
                                        <p:tgtEl>
                                          <p:spTgt spid="150"/>
                                        </p:tgtEl>
                                      </p:cBhvr>
                                    </p:animEffect>
                                    <p:anim calcmode="lin" valueType="num">
                                      <p:cBhvr>
                                        <p:cTn id="111" dur="1000" fill="hold"/>
                                        <p:tgtEl>
                                          <p:spTgt spid="150"/>
                                        </p:tgtEl>
                                        <p:attrNameLst>
                                          <p:attrName>ppt_x</p:attrName>
                                        </p:attrNameLst>
                                      </p:cBhvr>
                                      <p:tavLst>
                                        <p:tav tm="0">
                                          <p:val>
                                            <p:strVal val="#ppt_x"/>
                                          </p:val>
                                        </p:tav>
                                        <p:tav tm="100000">
                                          <p:val>
                                            <p:strVal val="#ppt_x"/>
                                          </p:val>
                                        </p:tav>
                                      </p:tavLst>
                                    </p:anim>
                                    <p:anim calcmode="lin" valueType="num">
                                      <p:cBhvr>
                                        <p:cTn id="112" dur="1000" fill="hold"/>
                                        <p:tgtEl>
                                          <p:spTgt spid="150"/>
                                        </p:tgtEl>
                                        <p:attrNameLst>
                                          <p:attrName>ppt_y</p:attrName>
                                        </p:attrNameLst>
                                      </p:cBhvr>
                                      <p:tavLst>
                                        <p:tav tm="0">
                                          <p:val>
                                            <p:strVal val="#ppt_y-.1"/>
                                          </p:val>
                                        </p:tav>
                                        <p:tav tm="100000">
                                          <p:val>
                                            <p:strVal val="#ppt_y"/>
                                          </p:val>
                                        </p:tav>
                                      </p:tavLst>
                                    </p:anim>
                                  </p:childTnLst>
                                </p:cTn>
                              </p:par>
                              <p:par>
                                <p:cTn id="113" presetID="42" presetClass="entr" presetSubtype="0" fill="hold" nodeType="withEffect">
                                  <p:stCondLst>
                                    <p:cond delay="0"/>
                                  </p:stCondLst>
                                  <p:childTnLst>
                                    <p:set>
                                      <p:cBhvr>
                                        <p:cTn id="114" dur="1" fill="hold">
                                          <p:stCondLst>
                                            <p:cond delay="0"/>
                                          </p:stCondLst>
                                        </p:cTn>
                                        <p:tgtEl>
                                          <p:spTgt spid="204"/>
                                        </p:tgtEl>
                                        <p:attrNameLst>
                                          <p:attrName>style.visibility</p:attrName>
                                        </p:attrNameLst>
                                      </p:cBhvr>
                                      <p:to>
                                        <p:strVal val="visible"/>
                                      </p:to>
                                    </p:set>
                                    <p:animEffect transition="in" filter="fade">
                                      <p:cBhvr>
                                        <p:cTn id="115" dur="1000"/>
                                        <p:tgtEl>
                                          <p:spTgt spid="204"/>
                                        </p:tgtEl>
                                      </p:cBhvr>
                                    </p:animEffect>
                                    <p:anim calcmode="lin" valueType="num">
                                      <p:cBhvr>
                                        <p:cTn id="116" dur="1000" fill="hold"/>
                                        <p:tgtEl>
                                          <p:spTgt spid="204"/>
                                        </p:tgtEl>
                                        <p:attrNameLst>
                                          <p:attrName>ppt_x</p:attrName>
                                        </p:attrNameLst>
                                      </p:cBhvr>
                                      <p:tavLst>
                                        <p:tav tm="0">
                                          <p:val>
                                            <p:strVal val="#ppt_x"/>
                                          </p:val>
                                        </p:tav>
                                        <p:tav tm="100000">
                                          <p:val>
                                            <p:strVal val="#ppt_x"/>
                                          </p:val>
                                        </p:tav>
                                      </p:tavLst>
                                    </p:anim>
                                    <p:anim calcmode="lin" valueType="num">
                                      <p:cBhvr>
                                        <p:cTn id="117" dur="1000" fill="hold"/>
                                        <p:tgtEl>
                                          <p:spTgt spid="204"/>
                                        </p:tgtEl>
                                        <p:attrNameLst>
                                          <p:attrName>ppt_y</p:attrName>
                                        </p:attrNameLst>
                                      </p:cBhvr>
                                      <p:tavLst>
                                        <p:tav tm="0">
                                          <p:val>
                                            <p:strVal val="#ppt_y+.1"/>
                                          </p:val>
                                        </p:tav>
                                        <p:tav tm="100000">
                                          <p:val>
                                            <p:strVal val="#ppt_y"/>
                                          </p:val>
                                        </p:tav>
                                      </p:tavLst>
                                    </p:anim>
                                  </p:childTnLst>
                                </p:cTn>
                              </p:par>
                              <p:par>
                                <p:cTn id="118" presetID="42" presetClass="entr" presetSubtype="0" fill="hold" grpId="0" nodeType="withEffect">
                                  <p:stCondLst>
                                    <p:cond delay="0"/>
                                  </p:stCondLst>
                                  <p:childTnLst>
                                    <p:set>
                                      <p:cBhvr>
                                        <p:cTn id="119" dur="1" fill="hold">
                                          <p:stCondLst>
                                            <p:cond delay="0"/>
                                          </p:stCondLst>
                                        </p:cTn>
                                        <p:tgtEl>
                                          <p:spTgt spid="207"/>
                                        </p:tgtEl>
                                        <p:attrNameLst>
                                          <p:attrName>style.visibility</p:attrName>
                                        </p:attrNameLst>
                                      </p:cBhvr>
                                      <p:to>
                                        <p:strVal val="visible"/>
                                      </p:to>
                                    </p:set>
                                    <p:animEffect transition="in" filter="fade">
                                      <p:cBhvr>
                                        <p:cTn id="120" dur="1000"/>
                                        <p:tgtEl>
                                          <p:spTgt spid="207"/>
                                        </p:tgtEl>
                                      </p:cBhvr>
                                    </p:animEffect>
                                    <p:anim calcmode="lin" valueType="num">
                                      <p:cBhvr>
                                        <p:cTn id="121" dur="1000" fill="hold"/>
                                        <p:tgtEl>
                                          <p:spTgt spid="207"/>
                                        </p:tgtEl>
                                        <p:attrNameLst>
                                          <p:attrName>ppt_x</p:attrName>
                                        </p:attrNameLst>
                                      </p:cBhvr>
                                      <p:tavLst>
                                        <p:tav tm="0">
                                          <p:val>
                                            <p:strVal val="#ppt_x"/>
                                          </p:val>
                                        </p:tav>
                                        <p:tav tm="100000">
                                          <p:val>
                                            <p:strVal val="#ppt_x"/>
                                          </p:val>
                                        </p:tav>
                                      </p:tavLst>
                                    </p:anim>
                                    <p:anim calcmode="lin" valueType="num">
                                      <p:cBhvr>
                                        <p:cTn id="122" dur="1000" fill="hold"/>
                                        <p:tgtEl>
                                          <p:spTgt spid="207"/>
                                        </p:tgtEl>
                                        <p:attrNameLst>
                                          <p:attrName>ppt_y</p:attrName>
                                        </p:attrNameLst>
                                      </p:cBhvr>
                                      <p:tavLst>
                                        <p:tav tm="0">
                                          <p:val>
                                            <p:strVal val="#ppt_y+.1"/>
                                          </p:val>
                                        </p:tav>
                                        <p:tav tm="100000">
                                          <p:val>
                                            <p:strVal val="#ppt_y"/>
                                          </p:val>
                                        </p:tav>
                                      </p:tavLst>
                                    </p:anim>
                                  </p:childTnLst>
                                </p:cTn>
                              </p:par>
                              <p:par>
                                <p:cTn id="123" presetID="42" presetClass="entr" presetSubtype="0" fill="hold" nodeType="withEffect">
                                  <p:stCondLst>
                                    <p:cond delay="0"/>
                                  </p:stCondLst>
                                  <p:childTnLst>
                                    <p:set>
                                      <p:cBhvr>
                                        <p:cTn id="124" dur="1" fill="hold">
                                          <p:stCondLst>
                                            <p:cond delay="0"/>
                                          </p:stCondLst>
                                        </p:cTn>
                                        <p:tgtEl>
                                          <p:spTgt spid="212"/>
                                        </p:tgtEl>
                                        <p:attrNameLst>
                                          <p:attrName>style.visibility</p:attrName>
                                        </p:attrNameLst>
                                      </p:cBhvr>
                                      <p:to>
                                        <p:strVal val="visible"/>
                                      </p:to>
                                    </p:set>
                                    <p:animEffect transition="in" filter="fade">
                                      <p:cBhvr>
                                        <p:cTn id="125" dur="1000"/>
                                        <p:tgtEl>
                                          <p:spTgt spid="212"/>
                                        </p:tgtEl>
                                      </p:cBhvr>
                                    </p:animEffect>
                                    <p:anim calcmode="lin" valueType="num">
                                      <p:cBhvr>
                                        <p:cTn id="126" dur="1000" fill="hold"/>
                                        <p:tgtEl>
                                          <p:spTgt spid="212"/>
                                        </p:tgtEl>
                                        <p:attrNameLst>
                                          <p:attrName>ppt_x</p:attrName>
                                        </p:attrNameLst>
                                      </p:cBhvr>
                                      <p:tavLst>
                                        <p:tav tm="0">
                                          <p:val>
                                            <p:strVal val="#ppt_x"/>
                                          </p:val>
                                        </p:tav>
                                        <p:tav tm="100000">
                                          <p:val>
                                            <p:strVal val="#ppt_x"/>
                                          </p:val>
                                        </p:tav>
                                      </p:tavLst>
                                    </p:anim>
                                    <p:anim calcmode="lin" valueType="num">
                                      <p:cBhvr>
                                        <p:cTn id="127" dur="1000" fill="hold"/>
                                        <p:tgtEl>
                                          <p:spTgt spid="212"/>
                                        </p:tgtEl>
                                        <p:attrNameLst>
                                          <p:attrName>ppt_y</p:attrName>
                                        </p:attrNameLst>
                                      </p:cBhvr>
                                      <p:tavLst>
                                        <p:tav tm="0">
                                          <p:val>
                                            <p:strVal val="#ppt_y+.1"/>
                                          </p:val>
                                        </p:tav>
                                        <p:tav tm="100000">
                                          <p:val>
                                            <p:strVal val="#ppt_y"/>
                                          </p:val>
                                        </p:tav>
                                      </p:tavLst>
                                    </p:anim>
                                  </p:childTnLst>
                                </p:cTn>
                              </p:par>
                              <p:par>
                                <p:cTn id="128" presetID="42" presetClass="entr" presetSubtype="0" fill="hold" grpId="1" nodeType="withEffect">
                                  <p:stCondLst>
                                    <p:cond delay="0"/>
                                  </p:stCondLst>
                                  <p:childTnLst>
                                    <p:set>
                                      <p:cBhvr>
                                        <p:cTn id="129" dur="1" fill="hold">
                                          <p:stCondLst>
                                            <p:cond delay="0"/>
                                          </p:stCondLst>
                                        </p:cTn>
                                        <p:tgtEl>
                                          <p:spTgt spid="200"/>
                                        </p:tgtEl>
                                        <p:attrNameLst>
                                          <p:attrName>style.visibility</p:attrName>
                                        </p:attrNameLst>
                                      </p:cBhvr>
                                      <p:to>
                                        <p:strVal val="visible"/>
                                      </p:to>
                                    </p:set>
                                    <p:animEffect transition="in" filter="fade">
                                      <p:cBhvr>
                                        <p:cTn id="130" dur="1000"/>
                                        <p:tgtEl>
                                          <p:spTgt spid="200"/>
                                        </p:tgtEl>
                                      </p:cBhvr>
                                    </p:animEffect>
                                    <p:anim calcmode="lin" valueType="num">
                                      <p:cBhvr>
                                        <p:cTn id="131" dur="1000" fill="hold"/>
                                        <p:tgtEl>
                                          <p:spTgt spid="200"/>
                                        </p:tgtEl>
                                        <p:attrNameLst>
                                          <p:attrName>ppt_x</p:attrName>
                                        </p:attrNameLst>
                                      </p:cBhvr>
                                      <p:tavLst>
                                        <p:tav tm="0">
                                          <p:val>
                                            <p:strVal val="#ppt_x"/>
                                          </p:val>
                                        </p:tav>
                                        <p:tav tm="100000">
                                          <p:val>
                                            <p:strVal val="#ppt_x"/>
                                          </p:val>
                                        </p:tav>
                                      </p:tavLst>
                                    </p:anim>
                                    <p:anim calcmode="lin" valueType="num">
                                      <p:cBhvr>
                                        <p:cTn id="132" dur="1000" fill="hold"/>
                                        <p:tgtEl>
                                          <p:spTgt spid="200"/>
                                        </p:tgtEl>
                                        <p:attrNameLst>
                                          <p:attrName>ppt_y</p:attrName>
                                        </p:attrNameLst>
                                      </p:cBhvr>
                                      <p:tavLst>
                                        <p:tav tm="0">
                                          <p:val>
                                            <p:strVal val="#ppt_y+.1"/>
                                          </p:val>
                                        </p:tav>
                                        <p:tav tm="100000">
                                          <p:val>
                                            <p:strVal val="#ppt_y"/>
                                          </p:val>
                                        </p:tav>
                                      </p:tavLst>
                                    </p:anim>
                                  </p:childTnLst>
                                </p:cTn>
                              </p:par>
                              <p:par>
                                <p:cTn id="133" presetID="42" presetClass="entr" presetSubtype="0" fill="hold" grpId="1" nodeType="withEffect">
                                  <p:stCondLst>
                                    <p:cond delay="0"/>
                                  </p:stCondLst>
                                  <p:childTnLst>
                                    <p:set>
                                      <p:cBhvr>
                                        <p:cTn id="134" dur="1" fill="hold">
                                          <p:stCondLst>
                                            <p:cond delay="0"/>
                                          </p:stCondLst>
                                        </p:cTn>
                                        <p:tgtEl>
                                          <p:spTgt spid="199"/>
                                        </p:tgtEl>
                                        <p:attrNameLst>
                                          <p:attrName>style.visibility</p:attrName>
                                        </p:attrNameLst>
                                      </p:cBhvr>
                                      <p:to>
                                        <p:strVal val="visible"/>
                                      </p:to>
                                    </p:set>
                                    <p:animEffect transition="in" filter="fade">
                                      <p:cBhvr>
                                        <p:cTn id="135" dur="1000"/>
                                        <p:tgtEl>
                                          <p:spTgt spid="199"/>
                                        </p:tgtEl>
                                      </p:cBhvr>
                                    </p:animEffect>
                                    <p:anim calcmode="lin" valueType="num">
                                      <p:cBhvr>
                                        <p:cTn id="136" dur="1000" fill="hold"/>
                                        <p:tgtEl>
                                          <p:spTgt spid="199"/>
                                        </p:tgtEl>
                                        <p:attrNameLst>
                                          <p:attrName>ppt_x</p:attrName>
                                        </p:attrNameLst>
                                      </p:cBhvr>
                                      <p:tavLst>
                                        <p:tav tm="0">
                                          <p:val>
                                            <p:strVal val="#ppt_x"/>
                                          </p:val>
                                        </p:tav>
                                        <p:tav tm="100000">
                                          <p:val>
                                            <p:strVal val="#ppt_x"/>
                                          </p:val>
                                        </p:tav>
                                      </p:tavLst>
                                    </p:anim>
                                    <p:anim calcmode="lin" valueType="num">
                                      <p:cBhvr>
                                        <p:cTn id="137" dur="1000" fill="hold"/>
                                        <p:tgtEl>
                                          <p:spTgt spid="199"/>
                                        </p:tgtEl>
                                        <p:attrNameLst>
                                          <p:attrName>ppt_y</p:attrName>
                                        </p:attrNameLst>
                                      </p:cBhvr>
                                      <p:tavLst>
                                        <p:tav tm="0">
                                          <p:val>
                                            <p:strVal val="#ppt_y+.1"/>
                                          </p:val>
                                        </p:tav>
                                        <p:tav tm="100000">
                                          <p:val>
                                            <p:strVal val="#ppt_y"/>
                                          </p:val>
                                        </p:tav>
                                      </p:tavLst>
                                    </p:anim>
                                  </p:childTnLst>
                                </p:cTn>
                              </p:par>
                              <p:par>
                                <p:cTn id="138" presetID="42" presetClass="entr" presetSubtype="0" fill="hold" nodeType="withEffect">
                                  <p:stCondLst>
                                    <p:cond delay="0"/>
                                  </p:stCondLst>
                                  <p:childTnLst>
                                    <p:set>
                                      <p:cBhvr>
                                        <p:cTn id="139" dur="1" fill="hold">
                                          <p:stCondLst>
                                            <p:cond delay="0"/>
                                          </p:stCondLst>
                                        </p:cTn>
                                        <p:tgtEl>
                                          <p:spTgt spid="217"/>
                                        </p:tgtEl>
                                        <p:attrNameLst>
                                          <p:attrName>style.visibility</p:attrName>
                                        </p:attrNameLst>
                                      </p:cBhvr>
                                      <p:to>
                                        <p:strVal val="visible"/>
                                      </p:to>
                                    </p:set>
                                    <p:animEffect transition="in" filter="fade">
                                      <p:cBhvr>
                                        <p:cTn id="140" dur="1000"/>
                                        <p:tgtEl>
                                          <p:spTgt spid="217"/>
                                        </p:tgtEl>
                                      </p:cBhvr>
                                    </p:animEffect>
                                    <p:anim calcmode="lin" valueType="num">
                                      <p:cBhvr>
                                        <p:cTn id="141" dur="1000" fill="hold"/>
                                        <p:tgtEl>
                                          <p:spTgt spid="217"/>
                                        </p:tgtEl>
                                        <p:attrNameLst>
                                          <p:attrName>ppt_x</p:attrName>
                                        </p:attrNameLst>
                                      </p:cBhvr>
                                      <p:tavLst>
                                        <p:tav tm="0">
                                          <p:val>
                                            <p:strVal val="#ppt_x"/>
                                          </p:val>
                                        </p:tav>
                                        <p:tav tm="100000">
                                          <p:val>
                                            <p:strVal val="#ppt_x"/>
                                          </p:val>
                                        </p:tav>
                                      </p:tavLst>
                                    </p:anim>
                                    <p:anim calcmode="lin" valueType="num">
                                      <p:cBhvr>
                                        <p:cTn id="142" dur="1000" fill="hold"/>
                                        <p:tgtEl>
                                          <p:spTgt spid="217"/>
                                        </p:tgtEl>
                                        <p:attrNameLst>
                                          <p:attrName>ppt_y</p:attrName>
                                        </p:attrNameLst>
                                      </p:cBhvr>
                                      <p:tavLst>
                                        <p:tav tm="0">
                                          <p:val>
                                            <p:strVal val="#ppt_y+.1"/>
                                          </p:val>
                                        </p:tav>
                                        <p:tav tm="100000">
                                          <p:val>
                                            <p:strVal val="#ppt_y"/>
                                          </p:val>
                                        </p:tav>
                                      </p:tavLst>
                                    </p:anim>
                                  </p:childTnLst>
                                </p:cTn>
                              </p:par>
                              <p:par>
                                <p:cTn id="143" presetID="42" presetClass="entr" presetSubtype="0" fill="hold" nodeType="withEffect">
                                  <p:stCondLst>
                                    <p:cond delay="0"/>
                                  </p:stCondLst>
                                  <p:childTnLst>
                                    <p:set>
                                      <p:cBhvr>
                                        <p:cTn id="144" dur="1" fill="hold">
                                          <p:stCondLst>
                                            <p:cond delay="0"/>
                                          </p:stCondLst>
                                        </p:cTn>
                                        <p:tgtEl>
                                          <p:spTgt spid="183"/>
                                        </p:tgtEl>
                                        <p:attrNameLst>
                                          <p:attrName>style.visibility</p:attrName>
                                        </p:attrNameLst>
                                      </p:cBhvr>
                                      <p:to>
                                        <p:strVal val="visible"/>
                                      </p:to>
                                    </p:set>
                                    <p:animEffect transition="in" filter="fade">
                                      <p:cBhvr>
                                        <p:cTn id="145" dur="1000"/>
                                        <p:tgtEl>
                                          <p:spTgt spid="183"/>
                                        </p:tgtEl>
                                      </p:cBhvr>
                                    </p:animEffect>
                                    <p:anim calcmode="lin" valueType="num">
                                      <p:cBhvr>
                                        <p:cTn id="146" dur="1000" fill="hold"/>
                                        <p:tgtEl>
                                          <p:spTgt spid="183"/>
                                        </p:tgtEl>
                                        <p:attrNameLst>
                                          <p:attrName>ppt_x</p:attrName>
                                        </p:attrNameLst>
                                      </p:cBhvr>
                                      <p:tavLst>
                                        <p:tav tm="0">
                                          <p:val>
                                            <p:strVal val="#ppt_x"/>
                                          </p:val>
                                        </p:tav>
                                        <p:tav tm="100000">
                                          <p:val>
                                            <p:strVal val="#ppt_x"/>
                                          </p:val>
                                        </p:tav>
                                      </p:tavLst>
                                    </p:anim>
                                    <p:anim calcmode="lin" valueType="num">
                                      <p:cBhvr>
                                        <p:cTn id="147" dur="1000" fill="hold"/>
                                        <p:tgtEl>
                                          <p:spTgt spid="183"/>
                                        </p:tgtEl>
                                        <p:attrNameLst>
                                          <p:attrName>ppt_y</p:attrName>
                                        </p:attrNameLst>
                                      </p:cBhvr>
                                      <p:tavLst>
                                        <p:tav tm="0">
                                          <p:val>
                                            <p:strVal val="#ppt_y+.1"/>
                                          </p:val>
                                        </p:tav>
                                        <p:tav tm="100000">
                                          <p:val>
                                            <p:strVal val="#ppt_y"/>
                                          </p:val>
                                        </p:tav>
                                      </p:tavLst>
                                    </p:anim>
                                  </p:childTnLst>
                                </p:cTn>
                              </p:par>
                              <p:par>
                                <p:cTn id="148" presetID="42" presetClass="entr" presetSubtype="0" fill="hold" nodeType="withEffect">
                                  <p:stCondLst>
                                    <p:cond delay="0"/>
                                  </p:stCondLst>
                                  <p:childTnLst>
                                    <p:set>
                                      <p:cBhvr>
                                        <p:cTn id="149" dur="1" fill="hold">
                                          <p:stCondLst>
                                            <p:cond delay="0"/>
                                          </p:stCondLst>
                                        </p:cTn>
                                        <p:tgtEl>
                                          <p:spTgt spid="208"/>
                                        </p:tgtEl>
                                        <p:attrNameLst>
                                          <p:attrName>style.visibility</p:attrName>
                                        </p:attrNameLst>
                                      </p:cBhvr>
                                      <p:to>
                                        <p:strVal val="visible"/>
                                      </p:to>
                                    </p:set>
                                    <p:animEffect transition="in" filter="fade">
                                      <p:cBhvr>
                                        <p:cTn id="150" dur="1000"/>
                                        <p:tgtEl>
                                          <p:spTgt spid="208"/>
                                        </p:tgtEl>
                                      </p:cBhvr>
                                    </p:animEffect>
                                    <p:anim calcmode="lin" valueType="num">
                                      <p:cBhvr>
                                        <p:cTn id="151" dur="1000" fill="hold"/>
                                        <p:tgtEl>
                                          <p:spTgt spid="208"/>
                                        </p:tgtEl>
                                        <p:attrNameLst>
                                          <p:attrName>ppt_x</p:attrName>
                                        </p:attrNameLst>
                                      </p:cBhvr>
                                      <p:tavLst>
                                        <p:tav tm="0">
                                          <p:val>
                                            <p:strVal val="#ppt_x"/>
                                          </p:val>
                                        </p:tav>
                                        <p:tav tm="100000">
                                          <p:val>
                                            <p:strVal val="#ppt_x"/>
                                          </p:val>
                                        </p:tav>
                                      </p:tavLst>
                                    </p:anim>
                                    <p:anim calcmode="lin" valueType="num">
                                      <p:cBhvr>
                                        <p:cTn id="152" dur="1000" fill="hold"/>
                                        <p:tgtEl>
                                          <p:spTgt spid="208"/>
                                        </p:tgtEl>
                                        <p:attrNameLst>
                                          <p:attrName>ppt_y</p:attrName>
                                        </p:attrNameLst>
                                      </p:cBhvr>
                                      <p:tavLst>
                                        <p:tav tm="0">
                                          <p:val>
                                            <p:strVal val="#ppt_y+.1"/>
                                          </p:val>
                                        </p:tav>
                                        <p:tav tm="100000">
                                          <p:val>
                                            <p:strVal val="#ppt_y"/>
                                          </p:val>
                                        </p:tav>
                                      </p:tavLst>
                                    </p:anim>
                                  </p:childTnLst>
                                </p:cTn>
                              </p:par>
                              <p:par>
                                <p:cTn id="153" presetID="42" presetClass="entr" presetSubtype="0" fill="hold" nodeType="withEffect">
                                  <p:stCondLst>
                                    <p:cond delay="0"/>
                                  </p:stCondLst>
                                  <p:childTnLst>
                                    <p:set>
                                      <p:cBhvr>
                                        <p:cTn id="154" dur="1" fill="hold">
                                          <p:stCondLst>
                                            <p:cond delay="0"/>
                                          </p:stCondLst>
                                        </p:cTn>
                                        <p:tgtEl>
                                          <p:spTgt spid="201"/>
                                        </p:tgtEl>
                                        <p:attrNameLst>
                                          <p:attrName>style.visibility</p:attrName>
                                        </p:attrNameLst>
                                      </p:cBhvr>
                                      <p:to>
                                        <p:strVal val="visible"/>
                                      </p:to>
                                    </p:set>
                                    <p:animEffect transition="in" filter="fade">
                                      <p:cBhvr>
                                        <p:cTn id="155" dur="1000"/>
                                        <p:tgtEl>
                                          <p:spTgt spid="201"/>
                                        </p:tgtEl>
                                      </p:cBhvr>
                                    </p:animEffect>
                                    <p:anim calcmode="lin" valueType="num">
                                      <p:cBhvr>
                                        <p:cTn id="156" dur="1000" fill="hold"/>
                                        <p:tgtEl>
                                          <p:spTgt spid="201"/>
                                        </p:tgtEl>
                                        <p:attrNameLst>
                                          <p:attrName>ppt_x</p:attrName>
                                        </p:attrNameLst>
                                      </p:cBhvr>
                                      <p:tavLst>
                                        <p:tav tm="0">
                                          <p:val>
                                            <p:strVal val="#ppt_x"/>
                                          </p:val>
                                        </p:tav>
                                        <p:tav tm="100000">
                                          <p:val>
                                            <p:strVal val="#ppt_x"/>
                                          </p:val>
                                        </p:tav>
                                      </p:tavLst>
                                    </p:anim>
                                    <p:anim calcmode="lin" valueType="num">
                                      <p:cBhvr>
                                        <p:cTn id="157" dur="1000" fill="hold"/>
                                        <p:tgtEl>
                                          <p:spTgt spid="201"/>
                                        </p:tgtEl>
                                        <p:attrNameLst>
                                          <p:attrName>ppt_y</p:attrName>
                                        </p:attrNameLst>
                                      </p:cBhvr>
                                      <p:tavLst>
                                        <p:tav tm="0">
                                          <p:val>
                                            <p:strVal val="#ppt_y+.1"/>
                                          </p:val>
                                        </p:tav>
                                        <p:tav tm="100000">
                                          <p:val>
                                            <p:strVal val="#ppt_y"/>
                                          </p:val>
                                        </p:tav>
                                      </p:tavLst>
                                    </p:anim>
                                  </p:childTnLst>
                                </p:cTn>
                              </p:par>
                              <p:par>
                                <p:cTn id="158" presetID="42" presetClass="entr" presetSubtype="0" fill="hold" grpId="1" nodeType="withEffect">
                                  <p:stCondLst>
                                    <p:cond delay="0"/>
                                  </p:stCondLst>
                                  <p:childTnLst>
                                    <p:set>
                                      <p:cBhvr>
                                        <p:cTn id="159" dur="1" fill="hold">
                                          <p:stCondLst>
                                            <p:cond delay="0"/>
                                          </p:stCondLst>
                                        </p:cTn>
                                        <p:tgtEl>
                                          <p:spTgt spid="230"/>
                                        </p:tgtEl>
                                        <p:attrNameLst>
                                          <p:attrName>style.visibility</p:attrName>
                                        </p:attrNameLst>
                                      </p:cBhvr>
                                      <p:to>
                                        <p:strVal val="visible"/>
                                      </p:to>
                                    </p:set>
                                    <p:animEffect transition="in" filter="fade">
                                      <p:cBhvr>
                                        <p:cTn id="160" dur="1000"/>
                                        <p:tgtEl>
                                          <p:spTgt spid="230"/>
                                        </p:tgtEl>
                                      </p:cBhvr>
                                    </p:animEffect>
                                    <p:anim calcmode="lin" valueType="num">
                                      <p:cBhvr>
                                        <p:cTn id="161" dur="1000" fill="hold"/>
                                        <p:tgtEl>
                                          <p:spTgt spid="230"/>
                                        </p:tgtEl>
                                        <p:attrNameLst>
                                          <p:attrName>ppt_x</p:attrName>
                                        </p:attrNameLst>
                                      </p:cBhvr>
                                      <p:tavLst>
                                        <p:tav tm="0">
                                          <p:val>
                                            <p:strVal val="#ppt_x"/>
                                          </p:val>
                                        </p:tav>
                                        <p:tav tm="100000">
                                          <p:val>
                                            <p:strVal val="#ppt_x"/>
                                          </p:val>
                                        </p:tav>
                                      </p:tavLst>
                                    </p:anim>
                                    <p:anim calcmode="lin" valueType="num">
                                      <p:cBhvr>
                                        <p:cTn id="162" dur="1000" fill="hold"/>
                                        <p:tgtEl>
                                          <p:spTgt spid="230"/>
                                        </p:tgtEl>
                                        <p:attrNameLst>
                                          <p:attrName>ppt_y</p:attrName>
                                        </p:attrNameLst>
                                      </p:cBhvr>
                                      <p:tavLst>
                                        <p:tav tm="0">
                                          <p:val>
                                            <p:strVal val="#ppt_y+.1"/>
                                          </p:val>
                                        </p:tav>
                                        <p:tav tm="100000">
                                          <p:val>
                                            <p:strVal val="#ppt_y"/>
                                          </p:val>
                                        </p:tav>
                                      </p:tavLst>
                                    </p:anim>
                                  </p:childTnLst>
                                </p:cTn>
                              </p:par>
                            </p:childTnLst>
                          </p:cTn>
                        </p:par>
                      </p:childTnLst>
                    </p:cTn>
                  </p:par>
                  <p:par>
                    <p:cTn id="163" fill="hold">
                      <p:stCondLst>
                        <p:cond delay="indefinite"/>
                      </p:stCondLst>
                      <p:childTnLst>
                        <p:par>
                          <p:cTn id="164" fill="hold">
                            <p:stCondLst>
                              <p:cond delay="0"/>
                            </p:stCondLst>
                            <p:childTnLst>
                              <p:par>
                                <p:cTn id="165" presetID="2" presetClass="entr" presetSubtype="2" fill="hold" grpId="0" nodeType="clickEffect">
                                  <p:stCondLst>
                                    <p:cond delay="0"/>
                                  </p:stCondLst>
                                  <p:childTnLst>
                                    <p:set>
                                      <p:cBhvr>
                                        <p:cTn id="166" dur="1" fill="hold">
                                          <p:stCondLst>
                                            <p:cond delay="0"/>
                                          </p:stCondLst>
                                        </p:cTn>
                                        <p:tgtEl>
                                          <p:spTgt spid="259"/>
                                        </p:tgtEl>
                                        <p:attrNameLst>
                                          <p:attrName>style.visibility</p:attrName>
                                        </p:attrNameLst>
                                      </p:cBhvr>
                                      <p:to>
                                        <p:strVal val="visible"/>
                                      </p:to>
                                    </p:set>
                                    <p:anim calcmode="lin" valueType="num">
                                      <p:cBhvr additive="base">
                                        <p:cTn id="167" dur="1000" fill="hold"/>
                                        <p:tgtEl>
                                          <p:spTgt spid="259"/>
                                        </p:tgtEl>
                                        <p:attrNameLst>
                                          <p:attrName>ppt_x</p:attrName>
                                        </p:attrNameLst>
                                      </p:cBhvr>
                                      <p:tavLst>
                                        <p:tav tm="0">
                                          <p:val>
                                            <p:strVal val="1+#ppt_w/2"/>
                                          </p:val>
                                        </p:tav>
                                        <p:tav tm="100000">
                                          <p:val>
                                            <p:strVal val="#ppt_x"/>
                                          </p:val>
                                        </p:tav>
                                      </p:tavLst>
                                    </p:anim>
                                    <p:anim calcmode="lin" valueType="num">
                                      <p:cBhvr additive="base">
                                        <p:cTn id="168" dur="1000" fill="hold"/>
                                        <p:tgtEl>
                                          <p:spTgt spid="259"/>
                                        </p:tgtEl>
                                        <p:attrNameLst>
                                          <p:attrName>ppt_y</p:attrName>
                                        </p:attrNameLst>
                                      </p:cBhvr>
                                      <p:tavLst>
                                        <p:tav tm="0">
                                          <p:val>
                                            <p:strVal val="#ppt_y"/>
                                          </p:val>
                                        </p:tav>
                                        <p:tav tm="100000">
                                          <p:val>
                                            <p:strVal val="#ppt_y"/>
                                          </p:val>
                                        </p:tav>
                                      </p:tavLst>
                                    </p:anim>
                                  </p:childTnLst>
                                </p:cTn>
                              </p:par>
                              <p:par>
                                <p:cTn id="169" presetID="53" presetClass="entr" presetSubtype="16" fill="hold" nodeType="withEffect">
                                  <p:stCondLst>
                                    <p:cond delay="0"/>
                                  </p:stCondLst>
                                  <p:childTnLst>
                                    <p:set>
                                      <p:cBhvr>
                                        <p:cTn id="170" dur="1" fill="hold">
                                          <p:stCondLst>
                                            <p:cond delay="0"/>
                                          </p:stCondLst>
                                        </p:cTn>
                                        <p:tgtEl>
                                          <p:spTgt spid="231"/>
                                        </p:tgtEl>
                                        <p:attrNameLst>
                                          <p:attrName>style.visibility</p:attrName>
                                        </p:attrNameLst>
                                      </p:cBhvr>
                                      <p:to>
                                        <p:strVal val="visible"/>
                                      </p:to>
                                    </p:set>
                                    <p:anim calcmode="lin" valueType="num">
                                      <p:cBhvr>
                                        <p:cTn id="171" dur="1000" fill="hold"/>
                                        <p:tgtEl>
                                          <p:spTgt spid="231"/>
                                        </p:tgtEl>
                                        <p:attrNameLst>
                                          <p:attrName>ppt_w</p:attrName>
                                        </p:attrNameLst>
                                      </p:cBhvr>
                                      <p:tavLst>
                                        <p:tav tm="0">
                                          <p:val>
                                            <p:fltVal val="0"/>
                                          </p:val>
                                        </p:tav>
                                        <p:tav tm="100000">
                                          <p:val>
                                            <p:strVal val="#ppt_w"/>
                                          </p:val>
                                        </p:tav>
                                      </p:tavLst>
                                    </p:anim>
                                    <p:anim calcmode="lin" valueType="num">
                                      <p:cBhvr>
                                        <p:cTn id="172" dur="1000" fill="hold"/>
                                        <p:tgtEl>
                                          <p:spTgt spid="231"/>
                                        </p:tgtEl>
                                        <p:attrNameLst>
                                          <p:attrName>ppt_h</p:attrName>
                                        </p:attrNameLst>
                                      </p:cBhvr>
                                      <p:tavLst>
                                        <p:tav tm="0">
                                          <p:val>
                                            <p:fltVal val="0"/>
                                          </p:val>
                                        </p:tav>
                                        <p:tav tm="100000">
                                          <p:val>
                                            <p:strVal val="#ppt_h"/>
                                          </p:val>
                                        </p:tav>
                                      </p:tavLst>
                                    </p:anim>
                                    <p:animEffect transition="in" filter="fade">
                                      <p:cBhvr>
                                        <p:cTn id="173" dur="1000"/>
                                        <p:tgtEl>
                                          <p:spTgt spid="231"/>
                                        </p:tgtEl>
                                      </p:cBhvr>
                                    </p:animEffect>
                                  </p:childTnLst>
                                </p:cTn>
                              </p:par>
                              <p:par>
                                <p:cTn id="174" presetID="42" presetClass="path" presetSubtype="0" accel="50000" decel="50000" fill="hold" nodeType="withEffect">
                                  <p:stCondLst>
                                    <p:cond delay="0"/>
                                  </p:stCondLst>
                                  <p:childTnLst>
                                    <p:animMotion origin="layout" path="M -1.25E-6 2.22222E-6 L -1.25E-6 0.02801 " pathEditMode="relative" rAng="0" ptsTypes="AA">
                                      <p:cBhvr>
                                        <p:cTn id="175" dur="1000" fill="hold"/>
                                        <p:tgtEl>
                                          <p:spTgt spid="204"/>
                                        </p:tgtEl>
                                        <p:attrNameLst>
                                          <p:attrName>ppt_x</p:attrName>
                                          <p:attrName>ppt_y</p:attrName>
                                        </p:attrNameLst>
                                      </p:cBhvr>
                                      <p:rCtr x="0" y="1389"/>
                                    </p:animMotion>
                                  </p:childTnLst>
                                </p:cTn>
                              </p:par>
                              <p:par>
                                <p:cTn id="176" presetID="64" presetClass="path" presetSubtype="0" accel="50000" decel="50000" fill="hold" grpId="0" nodeType="withEffect">
                                  <p:stCondLst>
                                    <p:cond delay="0"/>
                                  </p:stCondLst>
                                  <p:childTnLst>
                                    <p:animMotion origin="layout" path="M -1.25E-6 2.59259E-6 L 0.00065 -0.0132 " pathEditMode="relative" rAng="0" ptsTypes="AA">
                                      <p:cBhvr>
                                        <p:cTn id="177" dur="1000" fill="hold"/>
                                        <p:tgtEl>
                                          <p:spTgt spid="200"/>
                                        </p:tgtEl>
                                        <p:attrNameLst>
                                          <p:attrName>ppt_x</p:attrName>
                                          <p:attrName>ppt_y</p:attrName>
                                        </p:attrNameLst>
                                      </p:cBhvr>
                                      <p:rCtr x="26" y="-671"/>
                                    </p:animMotion>
                                  </p:childTnLst>
                                </p:cTn>
                              </p:par>
                              <p:par>
                                <p:cTn id="178" presetID="64" presetClass="path" presetSubtype="0" accel="50000" decel="50000" fill="hold" grpId="0" nodeType="withEffect">
                                  <p:stCondLst>
                                    <p:cond delay="0"/>
                                  </p:stCondLst>
                                  <p:childTnLst>
                                    <p:animMotion origin="layout" path="M -1.25E-6 -7.40741E-7 L 0.00065 -0.02824 " pathEditMode="relative" rAng="0" ptsTypes="AA">
                                      <p:cBhvr>
                                        <p:cTn id="179" dur="1000" fill="hold"/>
                                        <p:tgtEl>
                                          <p:spTgt spid="199"/>
                                        </p:tgtEl>
                                        <p:attrNameLst>
                                          <p:attrName>ppt_x</p:attrName>
                                          <p:attrName>ppt_y</p:attrName>
                                        </p:attrNameLst>
                                      </p:cBhvr>
                                      <p:rCtr x="26" y="-1412"/>
                                    </p:animMotion>
                                  </p:childTnLst>
                                </p:cTn>
                              </p:par>
                              <p:par>
                                <p:cTn id="180" presetID="64" presetClass="path" presetSubtype="0" accel="50000" decel="50000" fill="hold" nodeType="withEffect">
                                  <p:stCondLst>
                                    <p:cond delay="0"/>
                                  </p:stCondLst>
                                  <p:childTnLst>
                                    <p:animMotion origin="layout" path="M -1.25E-6 -7.40741E-7 L 0.00065 -0.03333 " pathEditMode="relative" rAng="0" ptsTypes="AA">
                                      <p:cBhvr>
                                        <p:cTn id="181" dur="1000" fill="hold"/>
                                        <p:tgtEl>
                                          <p:spTgt spid="183"/>
                                        </p:tgtEl>
                                        <p:attrNameLst>
                                          <p:attrName>ppt_x</p:attrName>
                                          <p:attrName>ppt_y</p:attrName>
                                        </p:attrNameLst>
                                      </p:cBhvr>
                                      <p:rCtr x="26" y="-1667"/>
                                    </p:animMotion>
                                  </p:childTnLst>
                                </p:cTn>
                              </p:par>
                              <p:par>
                                <p:cTn id="182" presetID="64" presetClass="path" presetSubtype="0" accel="50000" decel="50000" fill="hold" nodeType="withEffect">
                                  <p:stCondLst>
                                    <p:cond delay="0"/>
                                  </p:stCondLst>
                                  <p:childTnLst>
                                    <p:animMotion origin="layout" path="M -1.25E-6 4.44444E-6 L 0.00065 -0.04005 " pathEditMode="relative" rAng="0" ptsTypes="AA">
                                      <p:cBhvr>
                                        <p:cTn id="183" dur="1000" fill="hold"/>
                                        <p:tgtEl>
                                          <p:spTgt spid="208"/>
                                        </p:tgtEl>
                                        <p:attrNameLst>
                                          <p:attrName>ppt_x</p:attrName>
                                          <p:attrName>ppt_y</p:attrName>
                                        </p:attrNameLst>
                                      </p:cBhvr>
                                      <p:rCtr x="26" y="-2014"/>
                                    </p:animMotion>
                                  </p:childTnLst>
                                </p:cTn>
                              </p:par>
                              <p:par>
                                <p:cTn id="184" presetID="42" presetClass="path" presetSubtype="0" accel="50000" decel="50000" fill="hold" nodeType="withEffect">
                                  <p:stCondLst>
                                    <p:cond delay="0"/>
                                  </p:stCondLst>
                                  <p:childTnLst>
                                    <p:animMotion origin="layout" path="M -1.25E-6 -3.7037E-7 L -2.29167E-6 0.06226 " pathEditMode="relative" rAng="0" ptsTypes="AA">
                                      <p:cBhvr>
                                        <p:cTn id="185" dur="1000" fill="hold"/>
                                        <p:tgtEl>
                                          <p:spTgt spid="201"/>
                                        </p:tgtEl>
                                        <p:attrNameLst>
                                          <p:attrName>ppt_x</p:attrName>
                                          <p:attrName>ppt_y</p:attrName>
                                        </p:attrNameLst>
                                      </p:cBhvr>
                                      <p:rCtr x="26" y="2523"/>
                                    </p:animMotion>
                                  </p:childTnLst>
                                </p:cTn>
                              </p:par>
                              <p:par>
                                <p:cTn id="186" presetID="42" presetClass="path" presetSubtype="0" accel="50000" decel="50000" fill="hold" grpId="0" nodeType="withEffect">
                                  <p:stCondLst>
                                    <p:cond delay="0"/>
                                  </p:stCondLst>
                                  <p:childTnLst>
                                    <p:animMotion origin="layout" path="M -1.25E-6 1.11111E-6 L -2.08333E-7 0.05255 " pathEditMode="relative" rAng="0" ptsTypes="AA">
                                      <p:cBhvr>
                                        <p:cTn id="187" dur="1000" fill="hold"/>
                                        <p:tgtEl>
                                          <p:spTgt spid="230"/>
                                        </p:tgtEl>
                                        <p:attrNameLst>
                                          <p:attrName>ppt_x</p:attrName>
                                          <p:attrName>ppt_y</p:attrName>
                                        </p:attrNameLst>
                                      </p:cBhvr>
                                      <p:rCtr x="-39" y="1481"/>
                                    </p:animMotion>
                                  </p:childTnLst>
                                </p:cTn>
                              </p:par>
                              <p:par>
                                <p:cTn id="188" presetID="42" presetClass="path" presetSubtype="0" accel="50000" decel="50000" fill="hold" nodeType="withEffect">
                                  <p:stCondLst>
                                    <p:cond delay="0"/>
                                  </p:stCondLst>
                                  <p:childTnLst>
                                    <p:animMotion origin="layout" path="M -1.25E-6 -7.40741E-7 L -0.00065 0.03634 " pathEditMode="relative" rAng="0" ptsTypes="AA">
                                      <p:cBhvr>
                                        <p:cTn id="189" dur="1000" fill="hold"/>
                                        <p:tgtEl>
                                          <p:spTgt spid="217"/>
                                        </p:tgtEl>
                                        <p:attrNameLst>
                                          <p:attrName>ppt_x</p:attrName>
                                          <p:attrName>ppt_y</p:attrName>
                                        </p:attrNameLst>
                                      </p:cBhvr>
                                      <p:rCtr x="-39" y="18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184" grpId="0" animBg="1"/>
      <p:bldP spid="3" grpId="0"/>
      <p:bldP spid="53" grpId="0"/>
      <p:bldP spid="54" grpId="0"/>
      <p:bldP spid="62" grpId="0" animBg="1"/>
      <p:bldP spid="63" grpId="0" animBg="1"/>
      <p:bldP spid="64" grpId="0" animBg="1"/>
      <p:bldP spid="65" grpId="0" animBg="1"/>
      <p:bldP spid="66" grpId="0" animBg="1"/>
      <p:bldP spid="67" grpId="0" animBg="1"/>
      <p:bldP spid="91" grpId="0" animBg="1"/>
      <p:bldP spid="92" grpId="0" animBg="1"/>
      <p:bldP spid="93" grpId="0" animBg="1"/>
      <p:bldP spid="150" grpId="0" animBg="1"/>
      <p:bldP spid="258" grpId="0" animBg="1"/>
      <p:bldP spid="259" grpId="0" animBg="1"/>
      <p:bldP spid="199" grpId="0" animBg="1"/>
      <p:bldP spid="199" grpId="1" animBg="1"/>
      <p:bldP spid="200" grpId="0" animBg="1"/>
      <p:bldP spid="200" grpId="1" animBg="1"/>
      <p:bldP spid="207" grpId="0" animBg="1"/>
      <p:bldP spid="230" grpId="0" animBg="1"/>
      <p:bldP spid="230" grpId="1"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55E150A-A63F-471C-9709-B61674C7B52D}"/>
              </a:ext>
            </a:extLst>
          </p:cNvPr>
          <p:cNvSpPr/>
          <p:nvPr/>
        </p:nvSpPr>
        <p:spPr bwMode="auto">
          <a:xfrm>
            <a:off x="559343" y="2231643"/>
            <a:ext cx="3187365" cy="3491370"/>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X</a:t>
            </a:r>
          </a:p>
        </p:txBody>
      </p:sp>
      <p:sp>
        <p:nvSpPr>
          <p:cNvPr id="47" name="Rectangle 46">
            <a:extLst>
              <a:ext uri="{FF2B5EF4-FFF2-40B4-BE49-F238E27FC236}">
                <a16:creationId xmlns:a16="http://schemas.microsoft.com/office/drawing/2014/main" id="{C5F3CACC-079D-D848-AE92-E8C2B56DA557}"/>
              </a:ext>
            </a:extLst>
          </p:cNvPr>
          <p:cNvSpPr/>
          <p:nvPr/>
        </p:nvSpPr>
        <p:spPr bwMode="auto">
          <a:xfrm>
            <a:off x="3669087" y="2957934"/>
            <a:ext cx="192249" cy="240890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3" name="Straight Connector 52">
            <a:extLst>
              <a:ext uri="{FF2B5EF4-FFF2-40B4-BE49-F238E27FC236}">
                <a16:creationId xmlns:a16="http://schemas.microsoft.com/office/drawing/2014/main" id="{D534E4B0-48AB-4F4B-BD7E-E88D1899B427}"/>
              </a:ext>
            </a:extLst>
          </p:cNvPr>
          <p:cNvCxnSpPr>
            <a:cxnSpLocks/>
          </p:cNvCxnSpPr>
          <p:nvPr/>
        </p:nvCxnSpPr>
        <p:spPr>
          <a:xfrm flipH="1" flipV="1">
            <a:off x="7024584" y="4213763"/>
            <a:ext cx="1322337" cy="5985"/>
          </a:xfrm>
          <a:prstGeom prst="line">
            <a:avLst/>
          </a:prstGeom>
          <a:ln w="19050">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69513E0E-8D11-47A7-AF39-45828A6911FE}"/>
              </a:ext>
            </a:extLst>
          </p:cNvPr>
          <p:cNvSpPr/>
          <p:nvPr/>
        </p:nvSpPr>
        <p:spPr bwMode="auto">
          <a:xfrm>
            <a:off x="8346726" y="3400380"/>
            <a:ext cx="3187365" cy="1617888"/>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Y</a:t>
            </a:r>
          </a:p>
        </p:txBody>
      </p:sp>
      <p:sp>
        <p:nvSpPr>
          <p:cNvPr id="5" name="Rectangle 4">
            <a:extLst>
              <a:ext uri="{FF2B5EF4-FFF2-40B4-BE49-F238E27FC236}">
                <a16:creationId xmlns:a16="http://schemas.microsoft.com/office/drawing/2014/main" id="{51A8CFDC-123D-4849-8132-4B9FDA22157B}"/>
              </a:ext>
            </a:extLst>
          </p:cNvPr>
          <p:cNvSpPr/>
          <p:nvPr/>
        </p:nvSpPr>
        <p:spPr bwMode="auto">
          <a:xfrm>
            <a:off x="794202" y="2861826"/>
            <a:ext cx="2717648" cy="7261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ar brand</a:t>
            </a:r>
          </a:p>
        </p:txBody>
      </p:sp>
      <p:sp>
        <p:nvSpPr>
          <p:cNvPr id="170" name="Rectangle 169">
            <a:extLst>
              <a:ext uri="{FF2B5EF4-FFF2-40B4-BE49-F238E27FC236}">
                <a16:creationId xmlns:a16="http://schemas.microsoft.com/office/drawing/2014/main" id="{693E43BD-C6B2-4D91-8F47-2871F38894DC}"/>
              </a:ext>
            </a:extLst>
          </p:cNvPr>
          <p:cNvSpPr/>
          <p:nvPr/>
        </p:nvSpPr>
        <p:spPr bwMode="auto">
          <a:xfrm>
            <a:off x="794202" y="3795507"/>
            <a:ext cx="2717648" cy="7240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Year of make</a:t>
            </a:r>
          </a:p>
        </p:txBody>
      </p:sp>
      <p:sp>
        <p:nvSpPr>
          <p:cNvPr id="171" name="Rectangle 170">
            <a:extLst>
              <a:ext uri="{FF2B5EF4-FFF2-40B4-BE49-F238E27FC236}">
                <a16:creationId xmlns:a16="http://schemas.microsoft.com/office/drawing/2014/main" id="{8CE89132-B9CF-4A12-8007-6121C496A030}"/>
              </a:ext>
            </a:extLst>
          </p:cNvPr>
          <p:cNvSpPr/>
          <p:nvPr/>
        </p:nvSpPr>
        <p:spPr bwMode="auto">
          <a:xfrm>
            <a:off x="794202" y="4729189"/>
            <a:ext cx="2717648" cy="7240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ileage</a:t>
            </a:r>
          </a:p>
        </p:txBody>
      </p:sp>
      <p:sp>
        <p:nvSpPr>
          <p:cNvPr id="173" name="Rectangle 172">
            <a:extLst>
              <a:ext uri="{FF2B5EF4-FFF2-40B4-BE49-F238E27FC236}">
                <a16:creationId xmlns:a16="http://schemas.microsoft.com/office/drawing/2014/main" id="{1BB153EB-0D40-4658-B018-C4BA5E1B45A3}"/>
              </a:ext>
            </a:extLst>
          </p:cNvPr>
          <p:cNvSpPr/>
          <p:nvPr/>
        </p:nvSpPr>
        <p:spPr bwMode="auto">
          <a:xfrm>
            <a:off x="8573198" y="4013787"/>
            <a:ext cx="2716167" cy="7261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ar value</a:t>
            </a:r>
          </a:p>
        </p:txBody>
      </p:sp>
      <p:sp>
        <p:nvSpPr>
          <p:cNvPr id="7" name="Oval 6">
            <a:extLst>
              <a:ext uri="{FF2B5EF4-FFF2-40B4-BE49-F238E27FC236}">
                <a16:creationId xmlns:a16="http://schemas.microsoft.com/office/drawing/2014/main" id="{899ABF68-592C-40E1-802E-F3C81693107E}"/>
              </a:ext>
            </a:extLst>
          </p:cNvPr>
          <p:cNvSpPr/>
          <p:nvPr/>
        </p:nvSpPr>
        <p:spPr bwMode="auto">
          <a:xfrm>
            <a:off x="4834186" y="2957933"/>
            <a:ext cx="2523629" cy="2523629"/>
          </a:xfrm>
          <a:prstGeom prst="ellipse">
            <a:avLst/>
          </a:prstGeom>
          <a:solidFill>
            <a:schemeClr val="accent5"/>
          </a:solid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9" name="Rectangle 18">
            <a:extLst>
              <a:ext uri="{FF2B5EF4-FFF2-40B4-BE49-F238E27FC236}">
                <a16:creationId xmlns:a16="http://schemas.microsoft.com/office/drawing/2014/main" id="{9EB225CA-84BB-4C0B-A1E4-948EA0E03F35}"/>
              </a:ext>
            </a:extLst>
          </p:cNvPr>
          <p:cNvSpPr/>
          <p:nvPr/>
        </p:nvSpPr>
        <p:spPr bwMode="auto">
          <a:xfrm>
            <a:off x="4735619" y="4537545"/>
            <a:ext cx="2717648" cy="8292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Model</a:t>
            </a:r>
          </a:p>
        </p:txBody>
      </p:sp>
      <p:sp>
        <p:nvSpPr>
          <p:cNvPr id="12" name="Title 11">
            <a:extLst>
              <a:ext uri="{FF2B5EF4-FFF2-40B4-BE49-F238E27FC236}">
                <a16:creationId xmlns:a16="http://schemas.microsoft.com/office/drawing/2014/main" id="{7E13C980-E81F-EB4A-81DA-0996AC983B57}"/>
              </a:ext>
            </a:extLst>
          </p:cNvPr>
          <p:cNvSpPr>
            <a:spLocks noGrp="1"/>
          </p:cNvSpPr>
          <p:nvPr>
            <p:ph type="title"/>
          </p:nvPr>
        </p:nvSpPr>
        <p:spPr/>
        <p:txBody>
          <a:bodyPr/>
          <a:lstStyle/>
          <a:p>
            <a:r>
              <a:rPr lang="en-US" dirty="0"/>
              <a:t>Building your own AI models</a:t>
            </a:r>
          </a:p>
        </p:txBody>
      </p:sp>
      <p:sp>
        <p:nvSpPr>
          <p:cNvPr id="14" name="Text Placeholder 13">
            <a:extLst>
              <a:ext uri="{FF2B5EF4-FFF2-40B4-BE49-F238E27FC236}">
                <a16:creationId xmlns:a16="http://schemas.microsoft.com/office/drawing/2014/main" id="{C94EF732-65A6-D649-AC1B-28798640115D}"/>
              </a:ext>
            </a:extLst>
          </p:cNvPr>
          <p:cNvSpPr>
            <a:spLocks noGrp="1"/>
          </p:cNvSpPr>
          <p:nvPr>
            <p:ph type="body" sz="quarter" idx="12"/>
          </p:nvPr>
        </p:nvSpPr>
        <p:spPr/>
        <p:txBody>
          <a:bodyPr/>
          <a:lstStyle/>
          <a:p>
            <a:r>
              <a:rPr lang="en-US" b="1" dirty="0">
                <a:latin typeface="Segoe UI Semibold" panose="020B0502040204020203" pitchFamily="34" charset="0"/>
                <a:cs typeface="Segoe UI Semibold" panose="020B0502040204020203" pitchFamily="34" charset="0"/>
              </a:rPr>
              <a:t>Step 2</a:t>
            </a:r>
            <a:r>
              <a:rPr lang="en-US" dirty="0"/>
              <a:t>: Build and Train</a:t>
            </a:r>
          </a:p>
        </p:txBody>
      </p:sp>
      <p:grpSp>
        <p:nvGrpSpPr>
          <p:cNvPr id="40" name="Group 11">
            <a:extLst>
              <a:ext uri="{FF2B5EF4-FFF2-40B4-BE49-F238E27FC236}">
                <a16:creationId xmlns:a16="http://schemas.microsoft.com/office/drawing/2014/main" id="{E32D2C72-8C41-D244-B8B8-310B2900E801}"/>
              </a:ext>
            </a:extLst>
          </p:cNvPr>
          <p:cNvGrpSpPr>
            <a:grpSpLocks noChangeAspect="1"/>
          </p:cNvGrpSpPr>
          <p:nvPr/>
        </p:nvGrpSpPr>
        <p:grpSpPr bwMode="auto">
          <a:xfrm>
            <a:off x="5600663" y="3429000"/>
            <a:ext cx="987562" cy="1075741"/>
            <a:chOff x="3861" y="4291602"/>
            <a:chExt cx="112" cy="244433"/>
          </a:xfrm>
        </p:grpSpPr>
        <p:sp>
          <p:nvSpPr>
            <p:cNvPr id="41" name="Freeform 12">
              <a:extLst>
                <a:ext uri="{FF2B5EF4-FFF2-40B4-BE49-F238E27FC236}">
                  <a16:creationId xmlns:a16="http://schemas.microsoft.com/office/drawing/2014/main" id="{3F8B3F14-F539-E547-89D2-5F6A75254893}"/>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42" name="Line 13">
              <a:extLst>
                <a:ext uri="{FF2B5EF4-FFF2-40B4-BE49-F238E27FC236}">
                  <a16:creationId xmlns:a16="http://schemas.microsoft.com/office/drawing/2014/main" id="{242E0B58-E01B-8249-A9EF-FB29FDDF6B98}"/>
                </a:ext>
              </a:extLst>
            </p:cNvPr>
            <p:cNvSpPr>
              <a:spLocks noChangeShapeType="1"/>
            </p:cNvSpPr>
            <p:nvPr/>
          </p:nvSpPr>
          <p:spPr bwMode="auto">
            <a:xfrm>
              <a:off x="3874" y="4469918"/>
              <a:ext cx="8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43" name="Line 14">
              <a:extLst>
                <a:ext uri="{FF2B5EF4-FFF2-40B4-BE49-F238E27FC236}">
                  <a16:creationId xmlns:a16="http://schemas.microsoft.com/office/drawing/2014/main" id="{450BF87F-AB00-3840-A272-CEDE16B6B671}"/>
                </a:ext>
              </a:extLst>
            </p:cNvPr>
            <p:cNvSpPr>
              <a:spLocks noChangeShapeType="1"/>
            </p:cNvSpPr>
            <p:nvPr/>
          </p:nvSpPr>
          <p:spPr bwMode="auto">
            <a:xfrm>
              <a:off x="3923" y="4335680"/>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44" name="Line 15">
              <a:extLst>
                <a:ext uri="{FF2B5EF4-FFF2-40B4-BE49-F238E27FC236}">
                  <a16:creationId xmlns:a16="http://schemas.microsoft.com/office/drawing/2014/main" id="{864497AC-2698-124C-B259-E1E328B04FA6}"/>
                </a:ext>
              </a:extLst>
            </p:cNvPr>
            <p:cNvSpPr>
              <a:spLocks noChangeShapeType="1"/>
            </p:cNvSpPr>
            <p:nvPr/>
          </p:nvSpPr>
          <p:spPr bwMode="auto">
            <a:xfrm>
              <a:off x="3923" y="4379758"/>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45" name="Line 16">
              <a:extLst>
                <a:ext uri="{FF2B5EF4-FFF2-40B4-BE49-F238E27FC236}">
                  <a16:creationId xmlns:a16="http://schemas.microsoft.com/office/drawing/2014/main" id="{70EA48C4-25C6-B044-B9A2-A76AD4311647}"/>
                </a:ext>
              </a:extLst>
            </p:cNvPr>
            <p:cNvSpPr>
              <a:spLocks noChangeShapeType="1"/>
            </p:cNvSpPr>
            <p:nvPr/>
          </p:nvSpPr>
          <p:spPr bwMode="auto">
            <a:xfrm>
              <a:off x="3923" y="4425840"/>
              <a:ext cx="2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46" name="Line 17">
              <a:extLst>
                <a:ext uri="{FF2B5EF4-FFF2-40B4-BE49-F238E27FC236}">
                  <a16:creationId xmlns:a16="http://schemas.microsoft.com/office/drawing/2014/main" id="{4DAD2D03-9806-194B-A325-A04E492D4B56}"/>
                </a:ext>
              </a:extLst>
            </p:cNvPr>
            <p:cNvSpPr>
              <a:spLocks noChangeShapeType="1"/>
            </p:cNvSpPr>
            <p:nvPr/>
          </p:nvSpPr>
          <p:spPr bwMode="auto">
            <a:xfrm>
              <a:off x="3883" y="4291602"/>
              <a:ext cx="68"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grpSp>
      <p:cxnSp>
        <p:nvCxnSpPr>
          <p:cNvPr id="29" name="Straight Connector 28">
            <a:extLst>
              <a:ext uri="{FF2B5EF4-FFF2-40B4-BE49-F238E27FC236}">
                <a16:creationId xmlns:a16="http://schemas.microsoft.com/office/drawing/2014/main" id="{08520BCF-4966-E044-898C-5D305D837379}"/>
              </a:ext>
            </a:extLst>
          </p:cNvPr>
          <p:cNvCxnSpPr>
            <a:stCxn id="7" idx="2"/>
          </p:cNvCxnSpPr>
          <p:nvPr/>
        </p:nvCxnSpPr>
        <p:spPr>
          <a:xfrm flipH="1" flipV="1">
            <a:off x="3511849" y="4213763"/>
            <a:ext cx="1322337" cy="5985"/>
          </a:xfrm>
          <a:prstGeom prst="line">
            <a:avLst/>
          </a:prstGeom>
          <a:ln w="19050">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8" name="Right Bracket 57">
            <a:extLst>
              <a:ext uri="{FF2B5EF4-FFF2-40B4-BE49-F238E27FC236}">
                <a16:creationId xmlns:a16="http://schemas.microsoft.com/office/drawing/2014/main" id="{612C9922-8CC2-AB4B-A780-A98274E473FD}"/>
              </a:ext>
            </a:extLst>
          </p:cNvPr>
          <p:cNvSpPr/>
          <p:nvPr/>
        </p:nvSpPr>
        <p:spPr>
          <a:xfrm>
            <a:off x="3508647" y="3219467"/>
            <a:ext cx="670109" cy="1861345"/>
          </a:xfrm>
          <a:prstGeom prst="rightBracket">
            <a:avLst>
              <a:gd name="adj" fmla="val 0"/>
            </a:avLst>
          </a:prstGeom>
          <a:ln w="19050">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728891568"/>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750"/>
                            </p:stCondLst>
                            <p:childTnLst>
                              <p:par>
                                <p:cTn id="13" presetID="10" presetClass="entr" presetSubtype="0" fill="hold" grpId="0" nodeType="afterEffect">
                                  <p:stCondLst>
                                    <p:cond delay="0"/>
                                  </p:stCondLst>
                                  <p:childTnLst>
                                    <p:set>
                                      <p:cBhvr>
                                        <p:cTn id="14" dur="1" fill="hold">
                                          <p:stCondLst>
                                            <p:cond delay="0"/>
                                          </p:stCondLst>
                                        </p:cTn>
                                        <p:tgtEl>
                                          <p:spTgt spid="170"/>
                                        </p:tgtEl>
                                        <p:attrNameLst>
                                          <p:attrName>style.visibility</p:attrName>
                                        </p:attrNameLst>
                                      </p:cBhvr>
                                      <p:to>
                                        <p:strVal val="visible"/>
                                      </p:to>
                                    </p:set>
                                    <p:animEffect transition="in" filter="fade">
                                      <p:cBhvr>
                                        <p:cTn id="15" dur="250"/>
                                        <p:tgtEl>
                                          <p:spTgt spid="170"/>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171"/>
                                        </p:tgtEl>
                                        <p:attrNameLst>
                                          <p:attrName>style.visibility</p:attrName>
                                        </p:attrNameLst>
                                      </p:cBhvr>
                                      <p:to>
                                        <p:strVal val="visible"/>
                                      </p:to>
                                    </p:set>
                                    <p:animEffect transition="in" filter="fade">
                                      <p:cBhvr>
                                        <p:cTn id="19" dur="250"/>
                                        <p:tgtEl>
                                          <p:spTgt spid="171"/>
                                        </p:tgtEl>
                                      </p:cBhvr>
                                    </p:animEffect>
                                  </p:childTnLst>
                                </p:cTn>
                              </p:par>
                            </p:childTnLst>
                          </p:cTn>
                        </p:par>
                        <p:par>
                          <p:cTn id="20" fill="hold">
                            <p:stCondLst>
                              <p:cond delay="1250"/>
                            </p:stCondLst>
                            <p:childTnLst>
                              <p:par>
                                <p:cTn id="21" presetID="10" presetClass="entr" presetSubtype="0" fill="hold" grpId="0" nodeType="afterEffect">
                                  <p:stCondLst>
                                    <p:cond delay="0"/>
                                  </p:stCondLst>
                                  <p:childTnLst>
                                    <p:set>
                                      <p:cBhvr>
                                        <p:cTn id="22" dur="1" fill="hold">
                                          <p:stCondLst>
                                            <p:cond delay="0"/>
                                          </p:stCondLst>
                                        </p:cTn>
                                        <p:tgtEl>
                                          <p:spTgt spid="174"/>
                                        </p:tgtEl>
                                        <p:attrNameLst>
                                          <p:attrName>style.visibility</p:attrName>
                                        </p:attrNameLst>
                                      </p:cBhvr>
                                      <p:to>
                                        <p:strVal val="visible"/>
                                      </p:to>
                                    </p:set>
                                    <p:animEffect transition="in" filter="fade">
                                      <p:cBhvr>
                                        <p:cTn id="23" dur="500"/>
                                        <p:tgtEl>
                                          <p:spTgt spid="174"/>
                                        </p:tgtEl>
                                      </p:cBhvr>
                                    </p:animEffect>
                                  </p:childTnLst>
                                </p:cTn>
                              </p:par>
                            </p:childTnLst>
                          </p:cTn>
                        </p:par>
                        <p:par>
                          <p:cTn id="24" fill="hold">
                            <p:stCondLst>
                              <p:cond delay="1750"/>
                            </p:stCondLst>
                            <p:childTnLst>
                              <p:par>
                                <p:cTn id="25" presetID="10" presetClass="entr" presetSubtype="0" fill="hold" grpId="0" nodeType="afterEffect">
                                  <p:stCondLst>
                                    <p:cond delay="0"/>
                                  </p:stCondLst>
                                  <p:childTnLst>
                                    <p:set>
                                      <p:cBhvr>
                                        <p:cTn id="26" dur="1" fill="hold">
                                          <p:stCondLst>
                                            <p:cond delay="0"/>
                                          </p:stCondLst>
                                        </p:cTn>
                                        <p:tgtEl>
                                          <p:spTgt spid="173"/>
                                        </p:tgtEl>
                                        <p:attrNameLst>
                                          <p:attrName>style.visibility</p:attrName>
                                        </p:attrNameLst>
                                      </p:cBhvr>
                                      <p:to>
                                        <p:strVal val="visible"/>
                                      </p:to>
                                    </p:set>
                                    <p:animEffect transition="in" filter="fade">
                                      <p:cBhvr>
                                        <p:cTn id="27" dur="500"/>
                                        <p:tgtEl>
                                          <p:spTgt spid="1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74" grpId="0" animBg="1"/>
      <p:bldP spid="5" grpId="0" animBg="1"/>
      <p:bldP spid="170" grpId="0" animBg="1"/>
      <p:bldP spid="171" grpId="0" animBg="1"/>
      <p:bldP spid="173"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1" name="Straight Connector 100">
            <a:extLst>
              <a:ext uri="{FF2B5EF4-FFF2-40B4-BE49-F238E27FC236}">
                <a16:creationId xmlns:a16="http://schemas.microsoft.com/office/drawing/2014/main" id="{B3BBDDC6-5FEE-4FCC-9A8B-8F576045E732}"/>
              </a:ext>
            </a:extLst>
          </p:cNvPr>
          <p:cNvCxnSpPr>
            <a:cxnSpLocks/>
          </p:cNvCxnSpPr>
          <p:nvPr/>
        </p:nvCxnSpPr>
        <p:spPr>
          <a:xfrm>
            <a:off x="6853749" y="3919127"/>
            <a:ext cx="1657343" cy="0"/>
          </a:xfrm>
          <a:prstGeom prst="line">
            <a:avLst/>
          </a:prstGeom>
          <a:ln w="1905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4865955D-FDFF-43C3-A44A-7D699C54F65F}"/>
              </a:ext>
            </a:extLst>
          </p:cNvPr>
          <p:cNvCxnSpPr>
            <a:cxnSpLocks/>
          </p:cNvCxnSpPr>
          <p:nvPr/>
        </p:nvCxnSpPr>
        <p:spPr>
          <a:xfrm>
            <a:off x="3835865" y="3919127"/>
            <a:ext cx="1375908" cy="0"/>
          </a:xfrm>
          <a:prstGeom prst="line">
            <a:avLst/>
          </a:prstGeom>
          <a:ln w="1905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67DC3B26-3D91-4987-8C18-EAF47B71F060}"/>
              </a:ext>
            </a:extLst>
          </p:cNvPr>
          <p:cNvSpPr/>
          <p:nvPr/>
        </p:nvSpPr>
        <p:spPr>
          <a:xfrm>
            <a:off x="4809351" y="4769848"/>
            <a:ext cx="2427369" cy="693970"/>
          </a:xfrm>
          <a:prstGeom prst="rect">
            <a:avLst/>
          </a:prstGeom>
        </p:spPr>
        <p:txBody>
          <a:bodyPr wrap="square">
            <a:spAutoFit/>
          </a:bodyPr>
          <a:lstStyle/>
          <a:p>
            <a:pPr marL="0" marR="0" lvl="0" indent="0" algn="ctr" defTabSz="931399" rtl="0" eaLnBrk="1" fontAlgn="auto" latinLnBrk="0" hangingPunct="1">
              <a:lnSpc>
                <a:spcPct val="100000"/>
              </a:lnSpc>
              <a:spcBef>
                <a:spcPts val="1000"/>
              </a:spcBef>
              <a:spcAft>
                <a:spcPts val="0"/>
              </a:spcAft>
              <a:buClrTx/>
              <a:buSzTx/>
              <a:buFontTx/>
              <a:buNone/>
              <a:tabLst/>
              <a:defRPr/>
            </a:pPr>
            <a:r>
              <a:rPr kumimoji="0" lang="en-US" sz="1961" b="0" i="0" u="none" strike="noStrike" kern="1200" cap="none" spc="0" normalizeH="0" baseline="0" noProof="0" dirty="0">
                <a:ln>
                  <a:noFill/>
                </a:ln>
                <a:solidFill>
                  <a:srgbClr val="0078D4"/>
                </a:solidFill>
                <a:effectLst/>
                <a:uLnTx/>
                <a:uFillTx/>
                <a:latin typeface="Segoe UI Semibold"/>
                <a:ea typeface="+mn-ea"/>
                <a:cs typeface="+mn-cs"/>
              </a:rPr>
              <a:t>Azure Machine Learning service</a:t>
            </a:r>
          </a:p>
        </p:txBody>
      </p:sp>
      <p:sp>
        <p:nvSpPr>
          <p:cNvPr id="2" name="Title 1">
            <a:extLst>
              <a:ext uri="{FF2B5EF4-FFF2-40B4-BE49-F238E27FC236}">
                <a16:creationId xmlns:a16="http://schemas.microsoft.com/office/drawing/2014/main" id="{B6FEE0EE-24D2-B945-B7D7-EC142204954D}"/>
              </a:ext>
            </a:extLst>
          </p:cNvPr>
          <p:cNvSpPr>
            <a:spLocks noGrp="1"/>
          </p:cNvSpPr>
          <p:nvPr>
            <p:ph type="title"/>
          </p:nvPr>
        </p:nvSpPr>
        <p:spPr/>
        <p:txBody>
          <a:bodyPr/>
          <a:lstStyle/>
          <a:p>
            <a:r>
              <a:rPr lang="en-US" dirty="0"/>
              <a:t>Azure Machine Learning service</a:t>
            </a:r>
          </a:p>
        </p:txBody>
      </p:sp>
      <p:sp>
        <p:nvSpPr>
          <p:cNvPr id="3" name="Text Placeholder 2">
            <a:extLst>
              <a:ext uri="{FF2B5EF4-FFF2-40B4-BE49-F238E27FC236}">
                <a16:creationId xmlns:a16="http://schemas.microsoft.com/office/drawing/2014/main" id="{DC43B8D9-0D1B-9C40-A287-A552FEE235E0}"/>
              </a:ext>
            </a:extLst>
          </p:cNvPr>
          <p:cNvSpPr>
            <a:spLocks noGrp="1"/>
          </p:cNvSpPr>
          <p:nvPr>
            <p:ph type="body" sz="quarter" idx="12"/>
          </p:nvPr>
        </p:nvSpPr>
        <p:spPr/>
        <p:txBody>
          <a:bodyPr/>
          <a:lstStyle/>
          <a:p>
            <a:r>
              <a:rPr lang="en-US" dirty="0"/>
              <a:t>Build and train models anywhere</a:t>
            </a:r>
          </a:p>
        </p:txBody>
      </p:sp>
      <p:grpSp>
        <p:nvGrpSpPr>
          <p:cNvPr id="20" name="Group 19">
            <a:extLst>
              <a:ext uri="{FF2B5EF4-FFF2-40B4-BE49-F238E27FC236}">
                <a16:creationId xmlns:a16="http://schemas.microsoft.com/office/drawing/2014/main" id="{89FEF42A-84A9-1B4F-AEA6-54991D115CA0}"/>
              </a:ext>
            </a:extLst>
          </p:cNvPr>
          <p:cNvGrpSpPr/>
          <p:nvPr/>
        </p:nvGrpSpPr>
        <p:grpSpPr>
          <a:xfrm>
            <a:off x="5313570" y="3160506"/>
            <a:ext cx="1418932" cy="1517242"/>
            <a:chOff x="8882196" y="3721867"/>
            <a:chExt cx="285941" cy="305752"/>
          </a:xfrm>
          <a:solidFill>
            <a:schemeClr val="bg1"/>
          </a:solidFill>
        </p:grpSpPr>
        <p:sp>
          <p:nvSpPr>
            <p:cNvPr id="21" name="Rectangle 20">
              <a:extLst>
                <a:ext uri="{FF2B5EF4-FFF2-40B4-BE49-F238E27FC236}">
                  <a16:creationId xmlns:a16="http://schemas.microsoft.com/office/drawing/2014/main" id="{3A4D787F-5665-314A-99B5-498CBF0A7DAC}"/>
                </a:ext>
              </a:extLst>
            </p:cNvPr>
            <p:cNvSpPr/>
            <p:nvPr/>
          </p:nvSpPr>
          <p:spPr bwMode="auto">
            <a:xfrm>
              <a:off x="8901347" y="3950022"/>
              <a:ext cx="247639" cy="77597"/>
            </a:xfrm>
            <a:prstGeom prst="rect">
              <a:avLst/>
            </a:prstGeom>
            <a:grp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Freeform 123">
              <a:extLst>
                <a:ext uri="{FF2B5EF4-FFF2-40B4-BE49-F238E27FC236}">
                  <a16:creationId xmlns:a16="http://schemas.microsoft.com/office/drawing/2014/main" id="{2AE2204A-03D6-584A-8A11-9615B4E75C66}"/>
                </a:ext>
              </a:extLst>
            </p:cNvPr>
            <p:cNvSpPr/>
            <p:nvPr/>
          </p:nvSpPr>
          <p:spPr bwMode="auto">
            <a:xfrm>
              <a:off x="8882196" y="3721867"/>
              <a:ext cx="180942" cy="305752"/>
            </a:xfrm>
            <a:custGeom>
              <a:avLst/>
              <a:gdLst>
                <a:gd name="connsiteX0" fmla="*/ 1641764 w 2847109"/>
                <a:gd name="connsiteY0" fmla="*/ 0 h 4810991"/>
                <a:gd name="connsiteX1" fmla="*/ 2847109 w 2847109"/>
                <a:gd name="connsiteY1" fmla="*/ 0 h 4810991"/>
                <a:gd name="connsiteX2" fmla="*/ 2847109 w 2847109"/>
                <a:gd name="connsiteY2" fmla="*/ 1797627 h 4810991"/>
                <a:gd name="connsiteX3" fmla="*/ 290946 w 2847109"/>
                <a:gd name="connsiteY3" fmla="*/ 4810991 h 4810991"/>
                <a:gd name="connsiteX4" fmla="*/ 0 w 2847109"/>
                <a:gd name="connsiteY4" fmla="*/ 3647209 h 4810991"/>
                <a:gd name="connsiteX5" fmla="*/ 1662546 w 2847109"/>
                <a:gd name="connsiteY5" fmla="*/ 1787236 h 4810991"/>
                <a:gd name="connsiteX6" fmla="*/ 1641764 w 2847109"/>
                <a:gd name="connsiteY6" fmla="*/ 0 h 481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7109" h="4810991">
                  <a:moveTo>
                    <a:pt x="1641764" y="0"/>
                  </a:moveTo>
                  <a:lnTo>
                    <a:pt x="2847109" y="0"/>
                  </a:lnTo>
                  <a:lnTo>
                    <a:pt x="2847109" y="1797627"/>
                  </a:lnTo>
                  <a:lnTo>
                    <a:pt x="290946" y="4810991"/>
                  </a:lnTo>
                  <a:lnTo>
                    <a:pt x="0" y="3647209"/>
                  </a:lnTo>
                  <a:lnTo>
                    <a:pt x="1662546" y="1787236"/>
                  </a:lnTo>
                  <a:lnTo>
                    <a:pt x="1641764" y="0"/>
                  </a:lnTo>
                  <a:close/>
                </a:path>
              </a:pathLst>
            </a:custGeom>
            <a:grp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Freeform 124">
              <a:extLst>
                <a:ext uri="{FF2B5EF4-FFF2-40B4-BE49-F238E27FC236}">
                  <a16:creationId xmlns:a16="http://schemas.microsoft.com/office/drawing/2014/main" id="{96BCAD42-AA72-C84E-9DB4-B11EC47D6E99}"/>
                </a:ext>
              </a:extLst>
            </p:cNvPr>
            <p:cNvSpPr/>
            <p:nvPr/>
          </p:nvSpPr>
          <p:spPr bwMode="auto">
            <a:xfrm>
              <a:off x="9035402" y="3857904"/>
              <a:ext cx="132735" cy="169715"/>
            </a:xfrm>
            <a:custGeom>
              <a:avLst/>
              <a:gdLst>
                <a:gd name="connsiteX0" fmla="*/ 0 w 2088573"/>
                <a:gd name="connsiteY0" fmla="*/ 883227 h 2670464"/>
                <a:gd name="connsiteX1" fmla="*/ 737755 w 2088573"/>
                <a:gd name="connsiteY1" fmla="*/ 0 h 2670464"/>
                <a:gd name="connsiteX2" fmla="*/ 2088573 w 2088573"/>
                <a:gd name="connsiteY2" fmla="*/ 1517073 h 2670464"/>
                <a:gd name="connsiteX3" fmla="*/ 1797627 w 2088573"/>
                <a:gd name="connsiteY3" fmla="*/ 2670464 h 2670464"/>
                <a:gd name="connsiteX4" fmla="*/ 0 w 2088573"/>
                <a:gd name="connsiteY4" fmla="*/ 883227 h 2670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573" h="2670464">
                  <a:moveTo>
                    <a:pt x="0" y="883227"/>
                  </a:moveTo>
                  <a:lnTo>
                    <a:pt x="737755" y="0"/>
                  </a:lnTo>
                  <a:lnTo>
                    <a:pt x="2088573" y="1517073"/>
                  </a:lnTo>
                  <a:lnTo>
                    <a:pt x="1797627" y="2670464"/>
                  </a:lnTo>
                  <a:lnTo>
                    <a:pt x="0" y="883227"/>
                  </a:lnTo>
                  <a:close/>
                </a:path>
              </a:pathLst>
            </a:custGeom>
            <a:grp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 name="Group 9">
            <a:extLst>
              <a:ext uri="{FF2B5EF4-FFF2-40B4-BE49-F238E27FC236}">
                <a16:creationId xmlns:a16="http://schemas.microsoft.com/office/drawing/2014/main" id="{5C56304D-ECFF-7849-9073-F34B0E9DF6C5}"/>
              </a:ext>
            </a:extLst>
          </p:cNvPr>
          <p:cNvGrpSpPr/>
          <p:nvPr/>
        </p:nvGrpSpPr>
        <p:grpSpPr>
          <a:xfrm>
            <a:off x="1063275" y="2793919"/>
            <a:ext cx="2513528" cy="2241216"/>
            <a:chOff x="765544" y="2860000"/>
            <a:chExt cx="2563929" cy="2286157"/>
          </a:xfrm>
        </p:grpSpPr>
        <p:sp>
          <p:nvSpPr>
            <p:cNvPr id="7" name="Rectangle 6">
              <a:extLst>
                <a:ext uri="{FF2B5EF4-FFF2-40B4-BE49-F238E27FC236}">
                  <a16:creationId xmlns:a16="http://schemas.microsoft.com/office/drawing/2014/main" id="{8524270F-6BFF-0443-B69C-3F0250F8ACE6}"/>
                </a:ext>
              </a:extLst>
            </p:cNvPr>
            <p:cNvSpPr/>
            <p:nvPr/>
          </p:nvSpPr>
          <p:spPr bwMode="auto">
            <a:xfrm>
              <a:off x="765544" y="2860000"/>
              <a:ext cx="2563929" cy="4470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auto" latinLnBrk="0" hangingPunct="1">
                <a:lnSpc>
                  <a:spcPct val="100000"/>
                </a:lnSpc>
                <a:spcBef>
                  <a:spcPts val="1000"/>
                </a:spcBef>
                <a:spcAft>
                  <a:spcPts val="0"/>
                </a:spcAft>
                <a:buClrTx/>
                <a:buSzTx/>
                <a:buFontTx/>
                <a:buNone/>
                <a:tabLst/>
                <a:defRPr/>
              </a:pPr>
              <a:r>
                <a:rPr kumimoji="0" lang="en-US" sz="1372" b="0" i="0" u="none" strike="noStrike" kern="1200" cap="none" spc="0" normalizeH="0" baseline="0" noProof="0" dirty="0">
                  <a:ln>
                    <a:noFill/>
                  </a:ln>
                  <a:solidFill>
                    <a:prstClr val="white"/>
                  </a:solidFill>
                  <a:effectLst/>
                  <a:uLnTx/>
                  <a:uFillTx/>
                  <a:latin typeface="Segoe UI"/>
                  <a:ea typeface="+mn-ea"/>
                  <a:cs typeface="+mn-cs"/>
                </a:rPr>
                <a:t>Machine Learning CLI</a:t>
              </a:r>
            </a:p>
          </p:txBody>
        </p:sp>
        <p:sp>
          <p:nvSpPr>
            <p:cNvPr id="25" name="Rectangle 24">
              <a:extLst>
                <a:ext uri="{FF2B5EF4-FFF2-40B4-BE49-F238E27FC236}">
                  <a16:creationId xmlns:a16="http://schemas.microsoft.com/office/drawing/2014/main" id="{BACC4C14-3FA5-044D-90EA-F7A290835652}"/>
                </a:ext>
              </a:extLst>
            </p:cNvPr>
            <p:cNvSpPr/>
            <p:nvPr/>
          </p:nvSpPr>
          <p:spPr bwMode="auto">
            <a:xfrm>
              <a:off x="765544" y="3473035"/>
              <a:ext cx="2563929" cy="4470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auto" latinLnBrk="0" hangingPunct="1">
                <a:lnSpc>
                  <a:spcPct val="100000"/>
                </a:lnSpc>
                <a:spcBef>
                  <a:spcPts val="1000"/>
                </a:spcBef>
                <a:spcAft>
                  <a:spcPts val="0"/>
                </a:spcAft>
                <a:buClrTx/>
                <a:buSzTx/>
                <a:buFontTx/>
                <a:buNone/>
                <a:tabLst/>
                <a:defRPr/>
              </a:pPr>
              <a:r>
                <a:rPr kumimoji="0" lang="en-US" sz="1372" b="0" i="0" u="none" strike="noStrike" kern="1200" cap="none" spc="0" normalizeH="0" baseline="0" noProof="0" dirty="0">
                  <a:ln>
                    <a:noFill/>
                  </a:ln>
                  <a:solidFill>
                    <a:prstClr val="white"/>
                  </a:solidFill>
                  <a:effectLst/>
                  <a:uLnTx/>
                  <a:uFillTx/>
                  <a:latin typeface="Segoe UI"/>
                  <a:ea typeface="+mn-ea"/>
                  <a:cs typeface="+mn-cs"/>
                </a:rPr>
                <a:t>VS Code ML extension</a:t>
              </a:r>
            </a:p>
          </p:txBody>
        </p:sp>
        <p:sp>
          <p:nvSpPr>
            <p:cNvPr id="26" name="Rectangle 25">
              <a:extLst>
                <a:ext uri="{FF2B5EF4-FFF2-40B4-BE49-F238E27FC236}">
                  <a16:creationId xmlns:a16="http://schemas.microsoft.com/office/drawing/2014/main" id="{835B4E52-A317-394C-B0E9-B494C2311911}"/>
                </a:ext>
              </a:extLst>
            </p:cNvPr>
            <p:cNvSpPr/>
            <p:nvPr/>
          </p:nvSpPr>
          <p:spPr bwMode="auto">
            <a:xfrm>
              <a:off x="765544" y="4086069"/>
              <a:ext cx="2563929" cy="4470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auto" latinLnBrk="0" hangingPunct="1">
                <a:lnSpc>
                  <a:spcPct val="100000"/>
                </a:lnSpc>
                <a:spcBef>
                  <a:spcPts val="1000"/>
                </a:spcBef>
                <a:spcAft>
                  <a:spcPts val="0"/>
                </a:spcAft>
                <a:buClrTx/>
                <a:buSzTx/>
                <a:buFontTx/>
                <a:buNone/>
                <a:tabLst/>
                <a:defRPr/>
              </a:pPr>
              <a:r>
                <a:rPr kumimoji="0" lang="en-US" sz="1372" b="0" i="0" u="none" strike="noStrike" kern="1200" cap="none" spc="0" normalizeH="0" baseline="0" noProof="0" dirty="0">
                  <a:ln>
                    <a:noFill/>
                  </a:ln>
                  <a:solidFill>
                    <a:prstClr val="white"/>
                  </a:solidFill>
                  <a:effectLst/>
                  <a:uLnTx/>
                  <a:uFillTx/>
                  <a:latin typeface="Segoe UI"/>
                  <a:ea typeface="+mn-ea"/>
                  <a:cs typeface="+mn-cs"/>
                </a:rPr>
                <a:t>Notebooks</a:t>
              </a:r>
            </a:p>
          </p:txBody>
        </p:sp>
        <p:sp>
          <p:nvSpPr>
            <p:cNvPr id="27" name="Rectangle 26">
              <a:extLst>
                <a:ext uri="{FF2B5EF4-FFF2-40B4-BE49-F238E27FC236}">
                  <a16:creationId xmlns:a16="http://schemas.microsoft.com/office/drawing/2014/main" id="{1FC45532-64AC-BD44-814A-4DBDDB555B87}"/>
                </a:ext>
              </a:extLst>
            </p:cNvPr>
            <p:cNvSpPr/>
            <p:nvPr/>
          </p:nvSpPr>
          <p:spPr bwMode="auto">
            <a:xfrm>
              <a:off x="765544" y="4699103"/>
              <a:ext cx="2563929" cy="4470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auto" latinLnBrk="0" hangingPunct="1">
                <a:lnSpc>
                  <a:spcPct val="100000"/>
                </a:lnSpc>
                <a:spcBef>
                  <a:spcPts val="1000"/>
                </a:spcBef>
                <a:spcAft>
                  <a:spcPts val="0"/>
                </a:spcAft>
                <a:buClrTx/>
                <a:buSzTx/>
                <a:buFontTx/>
                <a:buNone/>
                <a:tabLst/>
                <a:defRPr/>
              </a:pPr>
              <a:r>
                <a:rPr kumimoji="0" lang="en-US" sz="1372" b="0" i="0" u="none" strike="noStrike" kern="1200" cap="none" spc="0" normalizeH="0" baseline="0" noProof="0" dirty="0">
                  <a:ln>
                    <a:noFill/>
                  </a:ln>
                  <a:solidFill>
                    <a:prstClr val="white"/>
                  </a:solidFill>
                  <a:effectLst/>
                  <a:uLnTx/>
                  <a:uFillTx/>
                  <a:latin typeface="Segoe UI"/>
                  <a:ea typeface="+mn-ea"/>
                  <a:cs typeface="+mn-cs"/>
                </a:rPr>
                <a:t>Open source Python IDEs</a:t>
              </a:r>
            </a:p>
          </p:txBody>
        </p:sp>
      </p:grpSp>
      <p:grpSp>
        <p:nvGrpSpPr>
          <p:cNvPr id="9" name="Group 8">
            <a:extLst>
              <a:ext uri="{FF2B5EF4-FFF2-40B4-BE49-F238E27FC236}">
                <a16:creationId xmlns:a16="http://schemas.microsoft.com/office/drawing/2014/main" id="{C8B9B841-790A-DD4C-A548-E10F833DC5C3}"/>
              </a:ext>
            </a:extLst>
          </p:cNvPr>
          <p:cNvGrpSpPr/>
          <p:nvPr/>
        </p:nvGrpSpPr>
        <p:grpSpPr>
          <a:xfrm>
            <a:off x="8595465" y="3099011"/>
            <a:ext cx="2513528" cy="1640233"/>
            <a:chOff x="9219431" y="2761796"/>
            <a:chExt cx="2563929" cy="1673123"/>
          </a:xfrm>
        </p:grpSpPr>
        <p:sp>
          <p:nvSpPr>
            <p:cNvPr id="28" name="Rectangle 27">
              <a:extLst>
                <a:ext uri="{FF2B5EF4-FFF2-40B4-BE49-F238E27FC236}">
                  <a16:creationId xmlns:a16="http://schemas.microsoft.com/office/drawing/2014/main" id="{C5D86D2E-FC5A-7346-A23F-C40B7E5310A8}"/>
                </a:ext>
              </a:extLst>
            </p:cNvPr>
            <p:cNvSpPr/>
            <p:nvPr/>
          </p:nvSpPr>
          <p:spPr bwMode="auto">
            <a:xfrm>
              <a:off x="9219431" y="2761796"/>
              <a:ext cx="2563929" cy="4470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auto" latinLnBrk="0" hangingPunct="1">
                <a:lnSpc>
                  <a:spcPct val="90000"/>
                </a:lnSpc>
                <a:spcBef>
                  <a:spcPts val="1000"/>
                </a:spcBef>
                <a:spcAft>
                  <a:spcPts val="0"/>
                </a:spcAft>
                <a:buClrTx/>
                <a:buSzTx/>
                <a:buFontTx/>
                <a:buNone/>
                <a:tabLst/>
                <a:defRPr/>
              </a:pPr>
              <a:r>
                <a:rPr kumimoji="0" lang="en-US" sz="1372" b="0" i="0" u="none" strike="noStrike" kern="1200" cap="none" spc="0" normalizeH="0" baseline="0" noProof="0" dirty="0">
                  <a:ln>
                    <a:noFill/>
                  </a:ln>
                  <a:solidFill>
                    <a:prstClr val="white"/>
                  </a:solidFill>
                  <a:effectLst/>
                  <a:uLnTx/>
                  <a:uFillTx/>
                  <a:latin typeface="Segoe UI"/>
                  <a:ea typeface="+mn-ea"/>
                  <a:cs typeface="+mn-cs"/>
                </a:rPr>
                <a:t>Local machine</a:t>
              </a:r>
            </a:p>
          </p:txBody>
        </p:sp>
        <p:sp>
          <p:nvSpPr>
            <p:cNvPr id="29" name="Rectangle 28">
              <a:extLst>
                <a:ext uri="{FF2B5EF4-FFF2-40B4-BE49-F238E27FC236}">
                  <a16:creationId xmlns:a16="http://schemas.microsoft.com/office/drawing/2014/main" id="{83A8FB96-E008-B844-B580-93FD4A20380A}"/>
                </a:ext>
              </a:extLst>
            </p:cNvPr>
            <p:cNvSpPr/>
            <p:nvPr/>
          </p:nvSpPr>
          <p:spPr bwMode="auto">
            <a:xfrm>
              <a:off x="9219431" y="3374831"/>
              <a:ext cx="2563929" cy="4470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marL="0" marR="0" lvl="0" indent="0" algn="ctr" defTabSz="913523" rtl="0" eaLnBrk="1" fontAlgn="auto" latinLnBrk="0" hangingPunct="1">
                <a:lnSpc>
                  <a:spcPct val="80000"/>
                </a:lnSpc>
                <a:spcBef>
                  <a:spcPts val="0"/>
                </a:spcBef>
                <a:spcAft>
                  <a:spcPts val="0"/>
                </a:spcAft>
                <a:buClrTx/>
                <a:buSzTx/>
                <a:buFontTx/>
                <a:buNone/>
                <a:tabLst/>
                <a:defRPr/>
              </a:pPr>
              <a:r>
                <a:rPr kumimoji="0" lang="en-US" sz="1372" b="0" i="0" u="none" strike="noStrike" kern="1200" cap="none" spc="0" normalizeH="0" baseline="0" noProof="0" dirty="0">
                  <a:ln>
                    <a:noFill/>
                  </a:ln>
                  <a:solidFill>
                    <a:prstClr val="white"/>
                  </a:solidFill>
                  <a:effectLst/>
                  <a:uLnTx/>
                  <a:uFillTx/>
                  <a:latin typeface="Segoe UI"/>
                  <a:ea typeface="+mn-ea"/>
                  <a:cs typeface="+mn-cs"/>
                </a:rPr>
                <a:t>Scale out with </a:t>
              </a:r>
              <a:br>
                <a:rPr kumimoji="0" lang="en-US" sz="1372" b="0" i="0" u="none" strike="noStrike" kern="1200" cap="none" spc="0" normalizeH="0" baseline="0" noProof="0" dirty="0">
                  <a:ln>
                    <a:noFill/>
                  </a:ln>
                  <a:solidFill>
                    <a:prstClr val="white"/>
                  </a:solidFill>
                  <a:effectLst/>
                  <a:uLnTx/>
                  <a:uFillTx/>
                  <a:latin typeface="Segoe UI"/>
                  <a:ea typeface="+mn-ea"/>
                  <a:cs typeface="+mn-cs"/>
                </a:rPr>
              </a:br>
              <a:r>
                <a:rPr kumimoji="0" lang="en-US" sz="1372" b="0" i="0" u="none" strike="noStrike" kern="1200" cap="none" spc="0" normalizeH="0" baseline="0" noProof="0" dirty="0">
                  <a:ln>
                    <a:noFill/>
                  </a:ln>
                  <a:solidFill>
                    <a:prstClr val="white"/>
                  </a:solidFill>
                  <a:effectLst/>
                  <a:uLnTx/>
                  <a:uFillTx/>
                  <a:latin typeface="Segoe UI"/>
                  <a:ea typeface="+mn-ea"/>
                  <a:cs typeface="+mn-cs"/>
                </a:rPr>
                <a:t>Azure ML compute</a:t>
              </a:r>
            </a:p>
          </p:txBody>
        </p:sp>
        <p:sp>
          <p:nvSpPr>
            <p:cNvPr id="30" name="Rectangle 29">
              <a:extLst>
                <a:ext uri="{FF2B5EF4-FFF2-40B4-BE49-F238E27FC236}">
                  <a16:creationId xmlns:a16="http://schemas.microsoft.com/office/drawing/2014/main" id="{787BDF66-9226-FC41-87EC-0AEBC33D641B}"/>
                </a:ext>
              </a:extLst>
            </p:cNvPr>
            <p:cNvSpPr/>
            <p:nvPr/>
          </p:nvSpPr>
          <p:spPr bwMode="auto">
            <a:xfrm>
              <a:off x="9219431" y="3987865"/>
              <a:ext cx="2563929" cy="4470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auto" latinLnBrk="0" hangingPunct="1">
                <a:lnSpc>
                  <a:spcPct val="90000"/>
                </a:lnSpc>
                <a:spcBef>
                  <a:spcPts val="1000"/>
                </a:spcBef>
                <a:spcAft>
                  <a:spcPts val="0"/>
                </a:spcAft>
                <a:buClrTx/>
                <a:buSzTx/>
                <a:buFontTx/>
                <a:buNone/>
                <a:tabLst/>
                <a:defRPr/>
              </a:pPr>
              <a:r>
                <a:rPr kumimoji="0" lang="en-US" sz="1372" b="0" i="0" u="none" strike="noStrike" kern="1200" cap="none" spc="0" normalizeH="0" baseline="0" noProof="0" dirty="0">
                  <a:ln>
                    <a:noFill/>
                  </a:ln>
                  <a:solidFill>
                    <a:prstClr val="white"/>
                  </a:solidFill>
                  <a:effectLst/>
                  <a:uLnTx/>
                  <a:uFillTx/>
                  <a:latin typeface="Segoe UI"/>
                  <a:ea typeface="+mn-ea"/>
                  <a:cs typeface="+mn-cs"/>
                </a:rPr>
                <a:t>Scale out with Apache Spark</a:t>
              </a:r>
            </a:p>
          </p:txBody>
        </p:sp>
      </p:grpSp>
      <p:sp>
        <p:nvSpPr>
          <p:cNvPr id="11" name="Right Bracket 10">
            <a:extLst>
              <a:ext uri="{FF2B5EF4-FFF2-40B4-BE49-F238E27FC236}">
                <a16:creationId xmlns:a16="http://schemas.microsoft.com/office/drawing/2014/main" id="{80B145D7-A67E-FF4C-BAE6-6DA423730670}"/>
              </a:ext>
            </a:extLst>
          </p:cNvPr>
          <p:cNvSpPr/>
          <p:nvPr/>
        </p:nvSpPr>
        <p:spPr>
          <a:xfrm>
            <a:off x="3722866" y="2616796"/>
            <a:ext cx="113691" cy="2595463"/>
          </a:xfrm>
          <a:prstGeom prst="rightBracket">
            <a:avLst>
              <a:gd name="adj" fmla="val 0"/>
            </a:avLst>
          </a:prstGeom>
          <a:ln w="19050">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37" name="Right Bracket 36">
            <a:extLst>
              <a:ext uri="{FF2B5EF4-FFF2-40B4-BE49-F238E27FC236}">
                <a16:creationId xmlns:a16="http://schemas.microsoft.com/office/drawing/2014/main" id="{DE89A5CE-1127-6340-8D05-B0C3F1ABC907}"/>
              </a:ext>
            </a:extLst>
          </p:cNvPr>
          <p:cNvSpPr/>
          <p:nvPr/>
        </p:nvSpPr>
        <p:spPr>
          <a:xfrm rot="10800000">
            <a:off x="8209515" y="3319780"/>
            <a:ext cx="290915" cy="1198695"/>
          </a:xfrm>
          <a:prstGeom prst="rightBracket">
            <a:avLst>
              <a:gd name="adj" fmla="val 0"/>
            </a:avLst>
          </a:prstGeom>
          <a:ln w="19050">
            <a:solidFill>
              <a:schemeClr val="tx2"/>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143931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6DA8C529-DA21-48E3-B6BD-E1C2049ADD9B}"/>
              </a:ext>
            </a:extLst>
          </p:cNvPr>
          <p:cNvCxnSpPr>
            <a:cxnSpLocks/>
          </p:cNvCxnSpPr>
          <p:nvPr/>
        </p:nvCxnSpPr>
        <p:spPr>
          <a:xfrm flipV="1">
            <a:off x="3152872" y="4010420"/>
            <a:ext cx="1868331" cy="1216"/>
          </a:xfrm>
          <a:prstGeom prst="line">
            <a:avLst/>
          </a:prstGeom>
          <a:ln w="1905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ABC3E16B-3AB4-A14D-8CD4-673545AB6149}"/>
              </a:ext>
            </a:extLst>
          </p:cNvPr>
          <p:cNvSpPr>
            <a:spLocks noGrp="1"/>
          </p:cNvSpPr>
          <p:nvPr>
            <p:ph type="title"/>
          </p:nvPr>
        </p:nvSpPr>
        <p:spPr/>
        <p:txBody>
          <a:bodyPr/>
          <a:lstStyle/>
          <a:p>
            <a:r>
              <a:rPr lang="en-US" dirty="0"/>
              <a:t>Building your own AI models</a:t>
            </a:r>
          </a:p>
        </p:txBody>
      </p:sp>
      <p:sp>
        <p:nvSpPr>
          <p:cNvPr id="8" name="Text Placeholder 7">
            <a:extLst>
              <a:ext uri="{FF2B5EF4-FFF2-40B4-BE49-F238E27FC236}">
                <a16:creationId xmlns:a16="http://schemas.microsoft.com/office/drawing/2014/main" id="{A6A0D912-DD6C-9344-AC2D-F27B17E5A749}"/>
              </a:ext>
            </a:extLst>
          </p:cNvPr>
          <p:cNvSpPr>
            <a:spLocks noGrp="1"/>
          </p:cNvSpPr>
          <p:nvPr>
            <p:ph type="body" sz="quarter" idx="12"/>
          </p:nvPr>
        </p:nvSpPr>
        <p:spPr/>
        <p:txBody>
          <a:bodyPr/>
          <a:lstStyle/>
          <a:p>
            <a:r>
              <a:rPr lang="en-US" b="1" dirty="0">
                <a:latin typeface="Segoe UI Semibold" panose="020B0502040204020203" pitchFamily="34" charset="0"/>
                <a:cs typeface="Segoe UI Semibold" panose="020B0502040204020203" pitchFamily="34" charset="0"/>
              </a:rPr>
              <a:t>Step 2: </a:t>
            </a:r>
            <a:r>
              <a:rPr lang="en-US" dirty="0"/>
              <a:t>Build and train</a:t>
            </a:r>
          </a:p>
        </p:txBody>
      </p:sp>
      <p:sp>
        <p:nvSpPr>
          <p:cNvPr id="29" name="Oval 28">
            <a:extLst>
              <a:ext uri="{FF2B5EF4-FFF2-40B4-BE49-F238E27FC236}">
                <a16:creationId xmlns:a16="http://schemas.microsoft.com/office/drawing/2014/main" id="{C9058876-5599-6446-A754-019BEF5F775B}"/>
              </a:ext>
            </a:extLst>
          </p:cNvPr>
          <p:cNvSpPr/>
          <p:nvPr/>
        </p:nvSpPr>
        <p:spPr bwMode="auto">
          <a:xfrm>
            <a:off x="659437" y="2749821"/>
            <a:ext cx="2523629" cy="2523629"/>
          </a:xfrm>
          <a:prstGeom prst="ellipse">
            <a:avLst/>
          </a:prstGeom>
          <a:solidFill>
            <a:schemeClr val="accent5"/>
          </a:solid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0" name="Rectangle 29">
            <a:extLst>
              <a:ext uri="{FF2B5EF4-FFF2-40B4-BE49-F238E27FC236}">
                <a16:creationId xmlns:a16="http://schemas.microsoft.com/office/drawing/2014/main" id="{17103F03-82E8-0344-B9D2-DD070B647C1F}"/>
              </a:ext>
            </a:extLst>
          </p:cNvPr>
          <p:cNvSpPr/>
          <p:nvPr/>
        </p:nvSpPr>
        <p:spPr bwMode="auto">
          <a:xfrm>
            <a:off x="560870" y="4329433"/>
            <a:ext cx="2717648" cy="8292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Model</a:t>
            </a:r>
          </a:p>
        </p:txBody>
      </p:sp>
      <p:grpSp>
        <p:nvGrpSpPr>
          <p:cNvPr id="31" name="Group 11">
            <a:extLst>
              <a:ext uri="{FF2B5EF4-FFF2-40B4-BE49-F238E27FC236}">
                <a16:creationId xmlns:a16="http://schemas.microsoft.com/office/drawing/2014/main" id="{5DD05E5F-5DA4-FB45-81B2-6F3C3A4AEDE9}"/>
              </a:ext>
            </a:extLst>
          </p:cNvPr>
          <p:cNvGrpSpPr>
            <a:grpSpLocks noChangeAspect="1"/>
          </p:cNvGrpSpPr>
          <p:nvPr/>
        </p:nvGrpSpPr>
        <p:grpSpPr bwMode="auto">
          <a:xfrm>
            <a:off x="1425914" y="3220888"/>
            <a:ext cx="987562" cy="1075741"/>
            <a:chOff x="3861" y="4291602"/>
            <a:chExt cx="112" cy="244433"/>
          </a:xfrm>
        </p:grpSpPr>
        <p:sp>
          <p:nvSpPr>
            <p:cNvPr id="32" name="Freeform 12">
              <a:extLst>
                <a:ext uri="{FF2B5EF4-FFF2-40B4-BE49-F238E27FC236}">
                  <a16:creationId xmlns:a16="http://schemas.microsoft.com/office/drawing/2014/main" id="{BAD9B2B5-DD1D-394D-A53B-A78CB603A74D}"/>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33" name="Line 13">
              <a:extLst>
                <a:ext uri="{FF2B5EF4-FFF2-40B4-BE49-F238E27FC236}">
                  <a16:creationId xmlns:a16="http://schemas.microsoft.com/office/drawing/2014/main" id="{472201AF-0D59-D443-8F7E-1D5CE4F1BA6F}"/>
                </a:ext>
              </a:extLst>
            </p:cNvPr>
            <p:cNvSpPr>
              <a:spLocks noChangeShapeType="1"/>
            </p:cNvSpPr>
            <p:nvPr/>
          </p:nvSpPr>
          <p:spPr bwMode="auto">
            <a:xfrm>
              <a:off x="3874" y="4469918"/>
              <a:ext cx="8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34" name="Line 14">
              <a:extLst>
                <a:ext uri="{FF2B5EF4-FFF2-40B4-BE49-F238E27FC236}">
                  <a16:creationId xmlns:a16="http://schemas.microsoft.com/office/drawing/2014/main" id="{AC5F0F42-CF6B-5645-B764-BFBD79136A8F}"/>
                </a:ext>
              </a:extLst>
            </p:cNvPr>
            <p:cNvSpPr>
              <a:spLocks noChangeShapeType="1"/>
            </p:cNvSpPr>
            <p:nvPr/>
          </p:nvSpPr>
          <p:spPr bwMode="auto">
            <a:xfrm>
              <a:off x="3923" y="4335680"/>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35" name="Line 15">
              <a:extLst>
                <a:ext uri="{FF2B5EF4-FFF2-40B4-BE49-F238E27FC236}">
                  <a16:creationId xmlns:a16="http://schemas.microsoft.com/office/drawing/2014/main" id="{04294FEF-B5D3-EF4C-9977-D87DE61677A6}"/>
                </a:ext>
              </a:extLst>
            </p:cNvPr>
            <p:cNvSpPr>
              <a:spLocks noChangeShapeType="1"/>
            </p:cNvSpPr>
            <p:nvPr/>
          </p:nvSpPr>
          <p:spPr bwMode="auto">
            <a:xfrm>
              <a:off x="3923" y="4379758"/>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36" name="Line 16">
              <a:extLst>
                <a:ext uri="{FF2B5EF4-FFF2-40B4-BE49-F238E27FC236}">
                  <a16:creationId xmlns:a16="http://schemas.microsoft.com/office/drawing/2014/main" id="{CCBB0163-4F60-2C42-AF54-B28DF4F5C5D3}"/>
                </a:ext>
              </a:extLst>
            </p:cNvPr>
            <p:cNvSpPr>
              <a:spLocks noChangeShapeType="1"/>
            </p:cNvSpPr>
            <p:nvPr/>
          </p:nvSpPr>
          <p:spPr bwMode="auto">
            <a:xfrm>
              <a:off x="3923" y="4425840"/>
              <a:ext cx="2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37" name="Line 17">
              <a:extLst>
                <a:ext uri="{FF2B5EF4-FFF2-40B4-BE49-F238E27FC236}">
                  <a16:creationId xmlns:a16="http://schemas.microsoft.com/office/drawing/2014/main" id="{D6AA55D1-377B-C84A-84F4-E4FC69775C90}"/>
                </a:ext>
              </a:extLst>
            </p:cNvPr>
            <p:cNvSpPr>
              <a:spLocks noChangeShapeType="1"/>
            </p:cNvSpPr>
            <p:nvPr/>
          </p:nvSpPr>
          <p:spPr bwMode="auto">
            <a:xfrm>
              <a:off x="3883" y="4291602"/>
              <a:ext cx="68"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20" name="Freeform 19">
            <a:extLst>
              <a:ext uri="{FF2B5EF4-FFF2-40B4-BE49-F238E27FC236}">
                <a16:creationId xmlns:a16="http://schemas.microsoft.com/office/drawing/2014/main" id="{0B34FA62-271A-2043-9149-9BE1AABD3948}"/>
              </a:ext>
            </a:extLst>
          </p:cNvPr>
          <p:cNvSpPr/>
          <p:nvPr/>
        </p:nvSpPr>
        <p:spPr bwMode="auto">
          <a:xfrm>
            <a:off x="6518670" y="3235860"/>
            <a:ext cx="3987544" cy="1864976"/>
          </a:xfrm>
          <a:custGeom>
            <a:avLst/>
            <a:gdLst>
              <a:gd name="connsiteX0" fmla="*/ 0 w 4067503"/>
              <a:gd name="connsiteY0" fmla="*/ 1902373 h 1902373"/>
              <a:gd name="connsiteX1" fmla="*/ 325820 w 4067503"/>
              <a:gd name="connsiteY1" fmla="*/ 1513490 h 1902373"/>
              <a:gd name="connsiteX2" fmla="*/ 683172 w 4067503"/>
              <a:gd name="connsiteY2" fmla="*/ 840828 h 1902373"/>
              <a:gd name="connsiteX3" fmla="*/ 998482 w 4067503"/>
              <a:gd name="connsiteY3" fmla="*/ 672662 h 1902373"/>
              <a:gd name="connsiteX4" fmla="*/ 1355834 w 4067503"/>
              <a:gd name="connsiteY4" fmla="*/ 515007 h 1902373"/>
              <a:gd name="connsiteX5" fmla="*/ 1681655 w 4067503"/>
              <a:gd name="connsiteY5" fmla="*/ 231228 h 1902373"/>
              <a:gd name="connsiteX6" fmla="*/ 2049517 w 4067503"/>
              <a:gd name="connsiteY6" fmla="*/ 241738 h 1902373"/>
              <a:gd name="connsiteX7" fmla="*/ 2364827 w 4067503"/>
              <a:gd name="connsiteY7" fmla="*/ 115614 h 1902373"/>
              <a:gd name="connsiteX8" fmla="*/ 2711669 w 4067503"/>
              <a:gd name="connsiteY8" fmla="*/ 115614 h 1902373"/>
              <a:gd name="connsiteX9" fmla="*/ 3037489 w 4067503"/>
              <a:gd name="connsiteY9" fmla="*/ 0 h 1902373"/>
              <a:gd name="connsiteX10" fmla="*/ 3394841 w 4067503"/>
              <a:gd name="connsiteY10" fmla="*/ 21021 h 1902373"/>
              <a:gd name="connsiteX11" fmla="*/ 3720662 w 4067503"/>
              <a:gd name="connsiteY11" fmla="*/ 10511 h 1902373"/>
              <a:gd name="connsiteX12" fmla="*/ 4067503 w 4067503"/>
              <a:gd name="connsiteY12" fmla="*/ 10511 h 1902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67503" h="1902373">
                <a:moveTo>
                  <a:pt x="0" y="1902373"/>
                </a:moveTo>
                <a:lnTo>
                  <a:pt x="325820" y="1513490"/>
                </a:lnTo>
                <a:lnTo>
                  <a:pt x="683172" y="840828"/>
                </a:lnTo>
                <a:lnTo>
                  <a:pt x="998482" y="672662"/>
                </a:lnTo>
                <a:lnTo>
                  <a:pt x="1355834" y="515007"/>
                </a:lnTo>
                <a:lnTo>
                  <a:pt x="1681655" y="231228"/>
                </a:lnTo>
                <a:lnTo>
                  <a:pt x="2049517" y="241738"/>
                </a:lnTo>
                <a:lnTo>
                  <a:pt x="2364827" y="115614"/>
                </a:lnTo>
                <a:lnTo>
                  <a:pt x="2711669" y="115614"/>
                </a:lnTo>
                <a:lnTo>
                  <a:pt x="3037489" y="0"/>
                </a:lnTo>
                <a:lnTo>
                  <a:pt x="3394841" y="21021"/>
                </a:lnTo>
                <a:lnTo>
                  <a:pt x="3720662" y="10511"/>
                </a:lnTo>
                <a:lnTo>
                  <a:pt x="4067503" y="10511"/>
                </a:lnTo>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21" name="Oval 20">
            <a:extLst>
              <a:ext uri="{FF2B5EF4-FFF2-40B4-BE49-F238E27FC236}">
                <a16:creationId xmlns:a16="http://schemas.microsoft.com/office/drawing/2014/main" id="{D1D3DD7B-3108-F645-8A0F-9D73B4D0C038}"/>
              </a:ext>
            </a:extLst>
          </p:cNvPr>
          <p:cNvSpPr>
            <a:spLocks noChangeAspect="1"/>
          </p:cNvSpPr>
          <p:nvPr/>
        </p:nvSpPr>
        <p:spPr bwMode="auto">
          <a:xfrm>
            <a:off x="6441092" y="5033797"/>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585E99C8-B615-8A44-B57D-E9283E2E446D}"/>
              </a:ext>
            </a:extLst>
          </p:cNvPr>
          <p:cNvSpPr>
            <a:spLocks noChangeAspect="1"/>
          </p:cNvSpPr>
          <p:nvPr/>
        </p:nvSpPr>
        <p:spPr bwMode="auto">
          <a:xfrm>
            <a:off x="6777900" y="4671082"/>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8E902CDF-25BD-DD43-AAD5-79C007B4BD5A}"/>
              </a:ext>
            </a:extLst>
          </p:cNvPr>
          <p:cNvSpPr>
            <a:spLocks noChangeAspect="1"/>
          </p:cNvSpPr>
          <p:nvPr/>
        </p:nvSpPr>
        <p:spPr bwMode="auto">
          <a:xfrm>
            <a:off x="7109525" y="4002649"/>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C42340C3-004B-A54C-A7CF-CD394B9C9619}"/>
              </a:ext>
            </a:extLst>
          </p:cNvPr>
          <p:cNvSpPr>
            <a:spLocks noChangeAspect="1"/>
          </p:cNvSpPr>
          <p:nvPr/>
        </p:nvSpPr>
        <p:spPr bwMode="auto">
          <a:xfrm>
            <a:off x="7435968" y="3821110"/>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9D03C3A1-A0C1-3B4A-A1D3-F1EE56F2EC26}"/>
              </a:ext>
            </a:extLst>
          </p:cNvPr>
          <p:cNvSpPr>
            <a:spLocks noChangeAspect="1"/>
          </p:cNvSpPr>
          <p:nvPr/>
        </p:nvSpPr>
        <p:spPr bwMode="auto">
          <a:xfrm>
            <a:off x="7772775" y="3676205"/>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EA5E1DE0-EF5B-024F-A7CB-C0EBB1EE675E}"/>
              </a:ext>
            </a:extLst>
          </p:cNvPr>
          <p:cNvSpPr>
            <a:spLocks noChangeAspect="1"/>
          </p:cNvSpPr>
          <p:nvPr/>
        </p:nvSpPr>
        <p:spPr bwMode="auto">
          <a:xfrm>
            <a:off x="8109583" y="3406760"/>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75CA865A-CEC3-FB4D-AC4A-A61DCF9500C7}"/>
              </a:ext>
            </a:extLst>
          </p:cNvPr>
          <p:cNvSpPr>
            <a:spLocks noChangeAspect="1"/>
          </p:cNvSpPr>
          <p:nvPr/>
        </p:nvSpPr>
        <p:spPr bwMode="auto">
          <a:xfrm>
            <a:off x="8441209" y="3411942"/>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2FBE8B91-FA9E-8B43-8C4D-97349B609D62}"/>
              </a:ext>
            </a:extLst>
          </p:cNvPr>
          <p:cNvSpPr>
            <a:spLocks noChangeAspect="1"/>
          </p:cNvSpPr>
          <p:nvPr/>
        </p:nvSpPr>
        <p:spPr bwMode="auto">
          <a:xfrm>
            <a:off x="8778015" y="3282401"/>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31ECDA91-26BD-D449-A81C-9D0647D0A870}"/>
              </a:ext>
            </a:extLst>
          </p:cNvPr>
          <p:cNvSpPr>
            <a:spLocks noChangeAspect="1"/>
          </p:cNvSpPr>
          <p:nvPr/>
        </p:nvSpPr>
        <p:spPr bwMode="auto">
          <a:xfrm>
            <a:off x="9114823" y="3282401"/>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687651D9-8FFE-BE43-AEC6-CB7EFE7D5974}"/>
              </a:ext>
            </a:extLst>
          </p:cNvPr>
          <p:cNvSpPr>
            <a:spLocks noChangeAspect="1"/>
          </p:cNvSpPr>
          <p:nvPr/>
        </p:nvSpPr>
        <p:spPr bwMode="auto">
          <a:xfrm>
            <a:off x="9446448" y="3183949"/>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46FF14C0-5831-4E4D-B7EA-90F4C6207C83}"/>
              </a:ext>
            </a:extLst>
          </p:cNvPr>
          <p:cNvSpPr>
            <a:spLocks noChangeAspect="1"/>
          </p:cNvSpPr>
          <p:nvPr/>
        </p:nvSpPr>
        <p:spPr bwMode="auto">
          <a:xfrm>
            <a:off x="10114880" y="3183949"/>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FC17F8CF-B1BB-B94D-8A5C-D1FD059BD723}"/>
              </a:ext>
            </a:extLst>
          </p:cNvPr>
          <p:cNvSpPr>
            <a:spLocks noChangeAspect="1"/>
          </p:cNvSpPr>
          <p:nvPr/>
        </p:nvSpPr>
        <p:spPr bwMode="auto">
          <a:xfrm>
            <a:off x="10446506" y="3183949"/>
            <a:ext cx="125499" cy="125499"/>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TextBox 49">
            <a:extLst>
              <a:ext uri="{FF2B5EF4-FFF2-40B4-BE49-F238E27FC236}">
                <a16:creationId xmlns:a16="http://schemas.microsoft.com/office/drawing/2014/main" id="{85404B22-FBD5-804E-9B13-94A8D3A8E287}"/>
              </a:ext>
            </a:extLst>
          </p:cNvPr>
          <p:cNvSpPr txBox="1"/>
          <p:nvPr/>
        </p:nvSpPr>
        <p:spPr>
          <a:xfrm>
            <a:off x="5573013" y="3069627"/>
            <a:ext cx="622280" cy="2231343"/>
          </a:xfrm>
          <a:prstGeom prst="rect">
            <a:avLst/>
          </a:prstGeom>
          <a:noFill/>
        </p:spPr>
        <p:txBody>
          <a:bodyPr wrap="square" lIns="179285" tIns="143428" rIns="179285" bIns="143428" rtlCol="0">
            <a:spAutoFit/>
          </a:bodyPr>
          <a:lstStyle/>
          <a:p>
            <a:pPr marL="0" marR="0" lvl="0" indent="0" algn="r" defTabSz="914367" rtl="0" eaLnBrk="1" fontAlgn="auto" latinLnBrk="0" hangingPunct="1">
              <a:lnSpc>
                <a:spcPts val="1706"/>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0.95</a:t>
            </a:r>
          </a:p>
          <a:p>
            <a:pPr marL="0" marR="0" lvl="0" indent="0" algn="r" defTabSz="914367" rtl="0" eaLnBrk="1" fontAlgn="auto" latinLnBrk="0" hangingPunct="1">
              <a:lnSpc>
                <a:spcPts val="1706"/>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0.9</a:t>
            </a:r>
          </a:p>
          <a:p>
            <a:pPr marL="0" marR="0" lvl="0" indent="0" algn="r" defTabSz="914367" rtl="0" eaLnBrk="1" fontAlgn="auto" latinLnBrk="0" hangingPunct="1">
              <a:lnSpc>
                <a:spcPts val="1706"/>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0.85</a:t>
            </a:r>
          </a:p>
          <a:p>
            <a:pPr marL="0" marR="0" lvl="0" indent="0" algn="r" defTabSz="914367" rtl="0" eaLnBrk="1" fontAlgn="auto" latinLnBrk="0" hangingPunct="1">
              <a:lnSpc>
                <a:spcPts val="1706"/>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0.8</a:t>
            </a:r>
          </a:p>
          <a:p>
            <a:pPr marL="0" marR="0" lvl="0" indent="0" algn="r" defTabSz="914367" rtl="0" eaLnBrk="1" fontAlgn="auto" latinLnBrk="0" hangingPunct="1">
              <a:lnSpc>
                <a:spcPts val="1706"/>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0.75</a:t>
            </a:r>
          </a:p>
          <a:p>
            <a:pPr marL="0" marR="0" lvl="0" indent="0" algn="r" defTabSz="914367" rtl="0" eaLnBrk="1" fontAlgn="auto" latinLnBrk="0" hangingPunct="1">
              <a:lnSpc>
                <a:spcPts val="1706"/>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0.7</a:t>
            </a:r>
          </a:p>
        </p:txBody>
      </p:sp>
      <p:sp>
        <p:nvSpPr>
          <p:cNvPr id="54" name="Freeform 53">
            <a:extLst>
              <a:ext uri="{FF2B5EF4-FFF2-40B4-BE49-F238E27FC236}">
                <a16:creationId xmlns:a16="http://schemas.microsoft.com/office/drawing/2014/main" id="{E8C25A5C-E7D0-5A47-B53D-B907EA9BA2B4}"/>
              </a:ext>
            </a:extLst>
          </p:cNvPr>
          <p:cNvSpPr/>
          <p:nvPr/>
        </p:nvSpPr>
        <p:spPr bwMode="auto">
          <a:xfrm>
            <a:off x="6219383" y="3030263"/>
            <a:ext cx="4621104" cy="2279282"/>
          </a:xfrm>
          <a:custGeom>
            <a:avLst/>
            <a:gdLst>
              <a:gd name="connsiteX0" fmla="*/ 0 w 4713767"/>
              <a:gd name="connsiteY0" fmla="*/ 0 h 2324986"/>
              <a:gd name="connsiteX1" fmla="*/ 0 w 4713767"/>
              <a:gd name="connsiteY1" fmla="*/ 2324986 h 2324986"/>
              <a:gd name="connsiteX2" fmla="*/ 77972 w 4713767"/>
              <a:gd name="connsiteY2" fmla="*/ 2324986 h 2324986"/>
              <a:gd name="connsiteX3" fmla="*/ 4713767 w 4713767"/>
              <a:gd name="connsiteY3" fmla="*/ 2324986 h 2324986"/>
            </a:gdLst>
            <a:ahLst/>
            <a:cxnLst>
              <a:cxn ang="0">
                <a:pos x="connsiteX0" y="connsiteY0"/>
              </a:cxn>
              <a:cxn ang="0">
                <a:pos x="connsiteX1" y="connsiteY1"/>
              </a:cxn>
              <a:cxn ang="0">
                <a:pos x="connsiteX2" y="connsiteY2"/>
              </a:cxn>
              <a:cxn ang="0">
                <a:pos x="connsiteX3" y="connsiteY3"/>
              </a:cxn>
            </a:cxnLst>
            <a:rect l="l" t="t" r="r" b="b"/>
            <a:pathLst>
              <a:path w="4713767" h="2324986">
                <a:moveTo>
                  <a:pt x="0" y="0"/>
                </a:moveTo>
                <a:lnTo>
                  <a:pt x="0" y="2324986"/>
                </a:lnTo>
                <a:lnTo>
                  <a:pt x="77972" y="2324986"/>
                </a:lnTo>
                <a:lnTo>
                  <a:pt x="4713767" y="2324986"/>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nvGrpSpPr>
          <p:cNvPr id="67" name="Group 66">
            <a:extLst>
              <a:ext uri="{FF2B5EF4-FFF2-40B4-BE49-F238E27FC236}">
                <a16:creationId xmlns:a16="http://schemas.microsoft.com/office/drawing/2014/main" id="{D35F82FC-6A1D-2A4C-AFCC-EFC86E2F0792}"/>
              </a:ext>
            </a:extLst>
          </p:cNvPr>
          <p:cNvGrpSpPr/>
          <p:nvPr/>
        </p:nvGrpSpPr>
        <p:grpSpPr>
          <a:xfrm>
            <a:off x="6143629" y="3030263"/>
            <a:ext cx="80678" cy="2280466"/>
            <a:chOff x="6585798" y="3090530"/>
            <a:chExt cx="82296" cy="2326194"/>
          </a:xfrm>
        </p:grpSpPr>
        <p:cxnSp>
          <p:nvCxnSpPr>
            <p:cNvPr id="56" name="Straight Connector 55">
              <a:extLst>
                <a:ext uri="{FF2B5EF4-FFF2-40B4-BE49-F238E27FC236}">
                  <a16:creationId xmlns:a16="http://schemas.microsoft.com/office/drawing/2014/main" id="{89F4944A-E37D-2A43-863E-39487A41412E}"/>
                </a:ext>
              </a:extLst>
            </p:cNvPr>
            <p:cNvCxnSpPr>
              <a:cxnSpLocks/>
            </p:cNvCxnSpPr>
            <p:nvPr/>
          </p:nvCxnSpPr>
          <p:spPr>
            <a:xfrm flipH="1">
              <a:off x="6585798" y="3090530"/>
              <a:ext cx="82296"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DEDEEF0-DF50-2A4A-BB92-CCD16FF78BAE}"/>
                </a:ext>
              </a:extLst>
            </p:cNvPr>
            <p:cNvCxnSpPr>
              <a:cxnSpLocks/>
            </p:cNvCxnSpPr>
            <p:nvPr/>
          </p:nvCxnSpPr>
          <p:spPr>
            <a:xfrm flipH="1">
              <a:off x="6585798" y="3423801"/>
              <a:ext cx="82296"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F0863E6F-DA6A-1A45-BC3E-7B2656F17ED7}"/>
                </a:ext>
              </a:extLst>
            </p:cNvPr>
            <p:cNvCxnSpPr>
              <a:cxnSpLocks/>
            </p:cNvCxnSpPr>
            <p:nvPr/>
          </p:nvCxnSpPr>
          <p:spPr>
            <a:xfrm flipH="1">
              <a:off x="6585798" y="3757071"/>
              <a:ext cx="82296"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F0D1B96-0466-134F-B4E0-1F530C5D9C57}"/>
                </a:ext>
              </a:extLst>
            </p:cNvPr>
            <p:cNvCxnSpPr>
              <a:cxnSpLocks/>
            </p:cNvCxnSpPr>
            <p:nvPr/>
          </p:nvCxnSpPr>
          <p:spPr>
            <a:xfrm flipH="1">
              <a:off x="6585798" y="4090341"/>
              <a:ext cx="82296"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DCDB9BD-D565-EA4F-B3A9-FBC5C84D80CD}"/>
                </a:ext>
              </a:extLst>
            </p:cNvPr>
            <p:cNvCxnSpPr>
              <a:cxnSpLocks/>
            </p:cNvCxnSpPr>
            <p:nvPr/>
          </p:nvCxnSpPr>
          <p:spPr>
            <a:xfrm flipH="1">
              <a:off x="6585798" y="4423611"/>
              <a:ext cx="82296"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1D7E186-6837-1849-A91F-CDF3C25F99F8}"/>
                </a:ext>
              </a:extLst>
            </p:cNvPr>
            <p:cNvCxnSpPr>
              <a:cxnSpLocks/>
            </p:cNvCxnSpPr>
            <p:nvPr/>
          </p:nvCxnSpPr>
          <p:spPr>
            <a:xfrm flipH="1">
              <a:off x="6585798" y="4756881"/>
              <a:ext cx="82296"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94A25CD-CDC6-BC43-948D-6D5C1726F2AA}"/>
                </a:ext>
              </a:extLst>
            </p:cNvPr>
            <p:cNvCxnSpPr>
              <a:cxnSpLocks/>
            </p:cNvCxnSpPr>
            <p:nvPr/>
          </p:nvCxnSpPr>
          <p:spPr>
            <a:xfrm flipH="1">
              <a:off x="6585798" y="5090153"/>
              <a:ext cx="82296"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EC9E7EAA-687D-CF45-AE35-77975AFA4FCD}"/>
                </a:ext>
              </a:extLst>
            </p:cNvPr>
            <p:cNvCxnSpPr>
              <a:cxnSpLocks/>
            </p:cNvCxnSpPr>
            <p:nvPr/>
          </p:nvCxnSpPr>
          <p:spPr>
            <a:xfrm flipH="1">
              <a:off x="6585798" y="5416724"/>
              <a:ext cx="82296"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1CD9830C-CE87-0144-B9C4-DF4F2E4DBDCD}"/>
              </a:ext>
            </a:extLst>
          </p:cNvPr>
          <p:cNvGrpSpPr/>
          <p:nvPr/>
        </p:nvGrpSpPr>
        <p:grpSpPr>
          <a:xfrm>
            <a:off x="6509265" y="5298436"/>
            <a:ext cx="4031668" cy="96326"/>
            <a:chOff x="6958765" y="5404184"/>
            <a:chExt cx="4112511" cy="98258"/>
          </a:xfrm>
        </p:grpSpPr>
        <p:cxnSp>
          <p:nvCxnSpPr>
            <p:cNvPr id="70" name="Straight Connector 69">
              <a:extLst>
                <a:ext uri="{FF2B5EF4-FFF2-40B4-BE49-F238E27FC236}">
                  <a16:creationId xmlns:a16="http://schemas.microsoft.com/office/drawing/2014/main" id="{6A3CFC12-B55D-B743-A225-A6992D1C5026}"/>
                </a:ext>
              </a:extLst>
            </p:cNvPr>
            <p:cNvCxnSpPr>
              <a:cxnSpLocks/>
            </p:cNvCxnSpPr>
            <p:nvPr/>
          </p:nvCxnSpPr>
          <p:spPr>
            <a:xfrm rot="16200000" flipH="1">
              <a:off x="6909636" y="5453313"/>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0EEF80F-8166-5F41-A90E-22B5762E3BCC}"/>
                </a:ext>
              </a:extLst>
            </p:cNvPr>
            <p:cNvCxnSpPr>
              <a:cxnSpLocks/>
            </p:cNvCxnSpPr>
            <p:nvPr/>
          </p:nvCxnSpPr>
          <p:spPr>
            <a:xfrm rot="16200000" flipH="1">
              <a:off x="7252345" y="5453313"/>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5107B15-00FB-D043-A2D2-6B68C0C27CA3}"/>
                </a:ext>
              </a:extLst>
            </p:cNvPr>
            <p:cNvCxnSpPr>
              <a:cxnSpLocks/>
            </p:cNvCxnSpPr>
            <p:nvPr/>
          </p:nvCxnSpPr>
          <p:spPr>
            <a:xfrm rot="16200000" flipH="1">
              <a:off x="7595054" y="5453313"/>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CC105E87-4C86-6E4E-BB57-B96B13CF092E}"/>
                </a:ext>
              </a:extLst>
            </p:cNvPr>
            <p:cNvCxnSpPr>
              <a:cxnSpLocks/>
            </p:cNvCxnSpPr>
            <p:nvPr/>
          </p:nvCxnSpPr>
          <p:spPr>
            <a:xfrm rot="16200000" flipH="1">
              <a:off x="7937763" y="5453313"/>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284AA89-0EF2-974A-ADB3-0395874F87D3}"/>
                </a:ext>
              </a:extLst>
            </p:cNvPr>
            <p:cNvCxnSpPr>
              <a:cxnSpLocks/>
            </p:cNvCxnSpPr>
            <p:nvPr/>
          </p:nvCxnSpPr>
          <p:spPr>
            <a:xfrm rot="16200000" flipH="1">
              <a:off x="8280472" y="5453313"/>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2C74A6FE-CF09-C94C-BAC0-193577555BC9}"/>
                </a:ext>
              </a:extLst>
            </p:cNvPr>
            <p:cNvCxnSpPr>
              <a:cxnSpLocks/>
            </p:cNvCxnSpPr>
            <p:nvPr/>
          </p:nvCxnSpPr>
          <p:spPr>
            <a:xfrm rot="16200000" flipH="1">
              <a:off x="8623181" y="5453313"/>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82CE1062-5BA2-5649-A8CF-0535C2559819}"/>
                </a:ext>
              </a:extLst>
            </p:cNvPr>
            <p:cNvCxnSpPr>
              <a:cxnSpLocks/>
            </p:cNvCxnSpPr>
            <p:nvPr/>
          </p:nvCxnSpPr>
          <p:spPr>
            <a:xfrm rot="16200000" flipH="1">
              <a:off x="8965890" y="5453313"/>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677DA88E-040E-D942-8A29-2F2937371AB1}"/>
                </a:ext>
              </a:extLst>
            </p:cNvPr>
            <p:cNvCxnSpPr>
              <a:cxnSpLocks/>
            </p:cNvCxnSpPr>
            <p:nvPr/>
          </p:nvCxnSpPr>
          <p:spPr>
            <a:xfrm rot="16200000" flipH="1">
              <a:off x="9308599" y="5453313"/>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D9E9BE8-772D-C44B-8A4D-6CA184DACDE9}"/>
                </a:ext>
              </a:extLst>
            </p:cNvPr>
            <p:cNvCxnSpPr>
              <a:cxnSpLocks/>
            </p:cNvCxnSpPr>
            <p:nvPr/>
          </p:nvCxnSpPr>
          <p:spPr>
            <a:xfrm rot="16200000" flipH="1">
              <a:off x="9651308" y="5453314"/>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2003904D-43CA-994B-9FE8-2131F62644EE}"/>
                </a:ext>
              </a:extLst>
            </p:cNvPr>
            <p:cNvCxnSpPr>
              <a:cxnSpLocks/>
            </p:cNvCxnSpPr>
            <p:nvPr/>
          </p:nvCxnSpPr>
          <p:spPr>
            <a:xfrm rot="16200000" flipH="1">
              <a:off x="9994017" y="5453314"/>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7743CFB-96BE-5441-B3D7-EF965D405955}"/>
                </a:ext>
              </a:extLst>
            </p:cNvPr>
            <p:cNvCxnSpPr>
              <a:cxnSpLocks/>
            </p:cNvCxnSpPr>
            <p:nvPr/>
          </p:nvCxnSpPr>
          <p:spPr>
            <a:xfrm rot="16200000" flipH="1">
              <a:off x="10336726" y="5453314"/>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905FA17-8C6D-5448-85E1-50ED7D144661}"/>
                </a:ext>
              </a:extLst>
            </p:cNvPr>
            <p:cNvCxnSpPr>
              <a:cxnSpLocks/>
            </p:cNvCxnSpPr>
            <p:nvPr/>
          </p:nvCxnSpPr>
          <p:spPr>
            <a:xfrm rot="16200000" flipH="1">
              <a:off x="10679435" y="5453314"/>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446D9BBB-BB61-B74D-ADF6-56B3FF70111F}"/>
                </a:ext>
              </a:extLst>
            </p:cNvPr>
            <p:cNvCxnSpPr>
              <a:cxnSpLocks/>
            </p:cNvCxnSpPr>
            <p:nvPr/>
          </p:nvCxnSpPr>
          <p:spPr>
            <a:xfrm rot="16200000" flipH="1">
              <a:off x="11022147" y="5453314"/>
              <a:ext cx="98257" cy="0"/>
            </a:xfrm>
            <a:prstGeom prst="line">
              <a:avLst/>
            </a:prstGeom>
            <a:ln w="1905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0" name="TextBox 89">
            <a:extLst>
              <a:ext uri="{FF2B5EF4-FFF2-40B4-BE49-F238E27FC236}">
                <a16:creationId xmlns:a16="http://schemas.microsoft.com/office/drawing/2014/main" id="{563BAF7D-BB8E-7949-9D4D-47636083B703}"/>
              </a:ext>
            </a:extLst>
          </p:cNvPr>
          <p:cNvSpPr txBox="1"/>
          <p:nvPr/>
        </p:nvSpPr>
        <p:spPr>
          <a:xfrm>
            <a:off x="6408970"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9</a:t>
            </a:r>
          </a:p>
        </p:txBody>
      </p:sp>
      <p:sp>
        <p:nvSpPr>
          <p:cNvPr id="91" name="TextBox 90">
            <a:extLst>
              <a:ext uri="{FF2B5EF4-FFF2-40B4-BE49-F238E27FC236}">
                <a16:creationId xmlns:a16="http://schemas.microsoft.com/office/drawing/2014/main" id="{31EDA913-68B8-C847-AED5-E16460817A2F}"/>
              </a:ext>
            </a:extLst>
          </p:cNvPr>
          <p:cNvSpPr txBox="1"/>
          <p:nvPr/>
        </p:nvSpPr>
        <p:spPr>
          <a:xfrm>
            <a:off x="6745045"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1</a:t>
            </a:r>
          </a:p>
        </p:txBody>
      </p:sp>
      <p:sp>
        <p:nvSpPr>
          <p:cNvPr id="92" name="TextBox 91">
            <a:extLst>
              <a:ext uri="{FF2B5EF4-FFF2-40B4-BE49-F238E27FC236}">
                <a16:creationId xmlns:a16="http://schemas.microsoft.com/office/drawing/2014/main" id="{83B1FACB-DC71-DB45-B237-566DFFF29524}"/>
              </a:ext>
            </a:extLst>
          </p:cNvPr>
          <p:cNvSpPr txBox="1"/>
          <p:nvPr/>
        </p:nvSpPr>
        <p:spPr>
          <a:xfrm>
            <a:off x="7081120"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3</a:t>
            </a:r>
          </a:p>
        </p:txBody>
      </p:sp>
      <p:sp>
        <p:nvSpPr>
          <p:cNvPr id="93" name="TextBox 92">
            <a:extLst>
              <a:ext uri="{FF2B5EF4-FFF2-40B4-BE49-F238E27FC236}">
                <a16:creationId xmlns:a16="http://schemas.microsoft.com/office/drawing/2014/main" id="{93E4579D-3540-2247-8D54-691B142204F7}"/>
              </a:ext>
            </a:extLst>
          </p:cNvPr>
          <p:cNvSpPr txBox="1"/>
          <p:nvPr/>
        </p:nvSpPr>
        <p:spPr>
          <a:xfrm>
            <a:off x="7417195"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4</a:t>
            </a:r>
          </a:p>
        </p:txBody>
      </p:sp>
      <p:sp>
        <p:nvSpPr>
          <p:cNvPr id="94" name="TextBox 93">
            <a:extLst>
              <a:ext uri="{FF2B5EF4-FFF2-40B4-BE49-F238E27FC236}">
                <a16:creationId xmlns:a16="http://schemas.microsoft.com/office/drawing/2014/main" id="{84DC752A-406F-0140-9B68-F60CA9F0FED8}"/>
              </a:ext>
            </a:extLst>
          </p:cNvPr>
          <p:cNvSpPr txBox="1"/>
          <p:nvPr/>
        </p:nvSpPr>
        <p:spPr>
          <a:xfrm>
            <a:off x="7753270"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5</a:t>
            </a:r>
          </a:p>
        </p:txBody>
      </p:sp>
      <p:sp>
        <p:nvSpPr>
          <p:cNvPr id="95" name="TextBox 94">
            <a:extLst>
              <a:ext uri="{FF2B5EF4-FFF2-40B4-BE49-F238E27FC236}">
                <a16:creationId xmlns:a16="http://schemas.microsoft.com/office/drawing/2014/main" id="{993E2325-E038-2D43-BD20-BFD3F5B2A9B3}"/>
              </a:ext>
            </a:extLst>
          </p:cNvPr>
          <p:cNvSpPr txBox="1"/>
          <p:nvPr/>
        </p:nvSpPr>
        <p:spPr>
          <a:xfrm>
            <a:off x="8089345"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6</a:t>
            </a:r>
          </a:p>
        </p:txBody>
      </p:sp>
      <p:sp>
        <p:nvSpPr>
          <p:cNvPr id="96" name="TextBox 95">
            <a:extLst>
              <a:ext uri="{FF2B5EF4-FFF2-40B4-BE49-F238E27FC236}">
                <a16:creationId xmlns:a16="http://schemas.microsoft.com/office/drawing/2014/main" id="{58A17167-E239-E045-9B8B-913012052875}"/>
              </a:ext>
            </a:extLst>
          </p:cNvPr>
          <p:cNvSpPr txBox="1"/>
          <p:nvPr/>
        </p:nvSpPr>
        <p:spPr>
          <a:xfrm>
            <a:off x="8425420"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7</a:t>
            </a:r>
          </a:p>
        </p:txBody>
      </p:sp>
      <p:sp>
        <p:nvSpPr>
          <p:cNvPr id="97" name="TextBox 96">
            <a:extLst>
              <a:ext uri="{FF2B5EF4-FFF2-40B4-BE49-F238E27FC236}">
                <a16:creationId xmlns:a16="http://schemas.microsoft.com/office/drawing/2014/main" id="{9CE5BEA8-856C-F942-87D4-42221C50A0CB}"/>
              </a:ext>
            </a:extLst>
          </p:cNvPr>
          <p:cNvSpPr txBox="1"/>
          <p:nvPr/>
        </p:nvSpPr>
        <p:spPr>
          <a:xfrm>
            <a:off x="8761495"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8</a:t>
            </a:r>
          </a:p>
        </p:txBody>
      </p:sp>
      <p:sp>
        <p:nvSpPr>
          <p:cNvPr id="98" name="TextBox 97">
            <a:extLst>
              <a:ext uri="{FF2B5EF4-FFF2-40B4-BE49-F238E27FC236}">
                <a16:creationId xmlns:a16="http://schemas.microsoft.com/office/drawing/2014/main" id="{CE5EC248-DE8F-2140-933D-C88F43478CF3}"/>
              </a:ext>
            </a:extLst>
          </p:cNvPr>
          <p:cNvSpPr txBox="1"/>
          <p:nvPr/>
        </p:nvSpPr>
        <p:spPr>
          <a:xfrm>
            <a:off x="9097570"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9</a:t>
            </a:r>
          </a:p>
        </p:txBody>
      </p:sp>
      <p:sp>
        <p:nvSpPr>
          <p:cNvPr id="99" name="TextBox 98">
            <a:extLst>
              <a:ext uri="{FF2B5EF4-FFF2-40B4-BE49-F238E27FC236}">
                <a16:creationId xmlns:a16="http://schemas.microsoft.com/office/drawing/2014/main" id="{ED5EA271-A4C6-C44D-8430-4569126FE5DC}"/>
              </a:ext>
            </a:extLst>
          </p:cNvPr>
          <p:cNvSpPr txBox="1"/>
          <p:nvPr/>
        </p:nvSpPr>
        <p:spPr>
          <a:xfrm>
            <a:off x="9433645"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20</a:t>
            </a:r>
          </a:p>
        </p:txBody>
      </p:sp>
      <p:sp>
        <p:nvSpPr>
          <p:cNvPr id="100" name="TextBox 99">
            <a:extLst>
              <a:ext uri="{FF2B5EF4-FFF2-40B4-BE49-F238E27FC236}">
                <a16:creationId xmlns:a16="http://schemas.microsoft.com/office/drawing/2014/main" id="{B3E34348-C34B-6842-A274-8A47C2437A4F}"/>
              </a:ext>
            </a:extLst>
          </p:cNvPr>
          <p:cNvSpPr txBox="1"/>
          <p:nvPr/>
        </p:nvSpPr>
        <p:spPr>
          <a:xfrm>
            <a:off x="9769720"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21</a:t>
            </a:r>
          </a:p>
        </p:txBody>
      </p:sp>
      <p:sp>
        <p:nvSpPr>
          <p:cNvPr id="101" name="TextBox 100">
            <a:extLst>
              <a:ext uri="{FF2B5EF4-FFF2-40B4-BE49-F238E27FC236}">
                <a16:creationId xmlns:a16="http://schemas.microsoft.com/office/drawing/2014/main" id="{F19E10A3-B7BE-5646-A6D1-8BF73E20C609}"/>
              </a:ext>
            </a:extLst>
          </p:cNvPr>
          <p:cNvSpPr txBox="1"/>
          <p:nvPr/>
        </p:nvSpPr>
        <p:spPr>
          <a:xfrm>
            <a:off x="10105795"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22</a:t>
            </a:r>
          </a:p>
        </p:txBody>
      </p:sp>
      <p:sp>
        <p:nvSpPr>
          <p:cNvPr id="102" name="TextBox 101">
            <a:extLst>
              <a:ext uri="{FF2B5EF4-FFF2-40B4-BE49-F238E27FC236}">
                <a16:creationId xmlns:a16="http://schemas.microsoft.com/office/drawing/2014/main" id="{7F02BE3F-FE37-614D-BDB8-79F575C32561}"/>
              </a:ext>
            </a:extLst>
          </p:cNvPr>
          <p:cNvSpPr txBox="1"/>
          <p:nvPr/>
        </p:nvSpPr>
        <p:spPr>
          <a:xfrm>
            <a:off x="10441875" y="5386943"/>
            <a:ext cx="199317" cy="226472"/>
          </a:xfrm>
          <a:prstGeom prst="rect">
            <a:avLst/>
          </a:prstGeom>
          <a:noFill/>
        </p:spPr>
        <p:txBody>
          <a:bodyPr wrap="square" lIns="0" tIns="0" rIns="0" bIns="0" rtlCol="0">
            <a:spAutoFit/>
          </a:bodyPr>
          <a:lstStyle/>
          <a:p>
            <a:pPr marL="0" marR="0" lvl="0" indent="0" algn="ctr" defTabSz="914367" rtl="0" eaLnBrk="1" fontAlgn="auto" latinLnBrk="0" hangingPunct="1">
              <a:lnSpc>
                <a:spcPts val="1985"/>
              </a:lnSpc>
              <a:spcBef>
                <a:spcPts val="0"/>
              </a:spcBef>
              <a:spcAft>
                <a:spcPts val="588"/>
              </a:spcAft>
              <a:buClrTx/>
              <a:buSzTx/>
              <a:buFontTx/>
              <a:buNone/>
              <a:tabLst/>
              <a:defRPr/>
            </a:pPr>
            <a:r>
              <a:rPr kumimoji="0" lang="en-US" sz="1176"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23</a:t>
            </a:r>
          </a:p>
        </p:txBody>
      </p:sp>
      <p:grpSp>
        <p:nvGrpSpPr>
          <p:cNvPr id="105" name="Group 104">
            <a:extLst>
              <a:ext uri="{FF2B5EF4-FFF2-40B4-BE49-F238E27FC236}">
                <a16:creationId xmlns:a16="http://schemas.microsoft.com/office/drawing/2014/main" id="{D120FB68-33A7-FC43-BB0C-395606C0747D}"/>
              </a:ext>
            </a:extLst>
          </p:cNvPr>
          <p:cNvGrpSpPr/>
          <p:nvPr/>
        </p:nvGrpSpPr>
        <p:grpSpPr>
          <a:xfrm>
            <a:off x="9728651" y="2479330"/>
            <a:ext cx="621069" cy="388315"/>
            <a:chOff x="9776063" y="1963199"/>
            <a:chExt cx="1267045" cy="792203"/>
          </a:xfrm>
        </p:grpSpPr>
        <p:sp>
          <p:nvSpPr>
            <p:cNvPr id="3" name="Speech Bubble: Rectangle 2">
              <a:extLst>
                <a:ext uri="{FF2B5EF4-FFF2-40B4-BE49-F238E27FC236}">
                  <a16:creationId xmlns:a16="http://schemas.microsoft.com/office/drawing/2014/main" id="{DFF93EC6-5564-4339-B504-445D3EA1B17C}"/>
                </a:ext>
              </a:extLst>
            </p:cNvPr>
            <p:cNvSpPr/>
            <p:nvPr/>
          </p:nvSpPr>
          <p:spPr bwMode="auto">
            <a:xfrm>
              <a:off x="9776063" y="1963199"/>
              <a:ext cx="1267045" cy="792203"/>
            </a:xfrm>
            <a:prstGeom prst="wedgeRectCallout">
              <a:avLst>
                <a:gd name="adj1" fmla="val -31507"/>
                <a:gd name="adj2" fmla="val 8764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3" name="Freeform 5">
              <a:extLst>
                <a:ext uri="{FF2B5EF4-FFF2-40B4-BE49-F238E27FC236}">
                  <a16:creationId xmlns:a16="http://schemas.microsoft.com/office/drawing/2014/main" id="{65670CF4-BAA5-7348-AB48-9BE6F4AE1FC5}"/>
                </a:ext>
              </a:extLst>
            </p:cNvPr>
            <p:cNvSpPr>
              <a:spLocks noEditPoints="1"/>
            </p:cNvSpPr>
            <p:nvPr/>
          </p:nvSpPr>
          <p:spPr bwMode="auto">
            <a:xfrm>
              <a:off x="10008615" y="2119628"/>
              <a:ext cx="775380" cy="466487"/>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905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sp>
        <p:nvSpPr>
          <p:cNvPr id="104" name="Rectangle 103">
            <a:extLst>
              <a:ext uri="{FF2B5EF4-FFF2-40B4-BE49-F238E27FC236}">
                <a16:creationId xmlns:a16="http://schemas.microsoft.com/office/drawing/2014/main" id="{F58073F1-52F0-0E4C-8A62-5E896DD640A8}"/>
              </a:ext>
            </a:extLst>
          </p:cNvPr>
          <p:cNvSpPr/>
          <p:nvPr/>
        </p:nvSpPr>
        <p:spPr bwMode="auto">
          <a:xfrm>
            <a:off x="7066596" y="1898917"/>
            <a:ext cx="2717648" cy="8292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Accuracy</a:t>
            </a:r>
          </a:p>
        </p:txBody>
      </p:sp>
      <p:sp>
        <p:nvSpPr>
          <p:cNvPr id="106" name="Oval 105">
            <a:extLst>
              <a:ext uri="{FF2B5EF4-FFF2-40B4-BE49-F238E27FC236}">
                <a16:creationId xmlns:a16="http://schemas.microsoft.com/office/drawing/2014/main" id="{6B260759-BF82-4A4F-870C-43C7EB2AA676}"/>
              </a:ext>
            </a:extLst>
          </p:cNvPr>
          <p:cNvSpPr/>
          <p:nvPr/>
        </p:nvSpPr>
        <p:spPr bwMode="auto">
          <a:xfrm>
            <a:off x="9728651" y="3141963"/>
            <a:ext cx="225382" cy="22538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D222D3F0-CD70-324B-9E44-C3EF1A674D29}"/>
              </a:ext>
            </a:extLst>
          </p:cNvPr>
          <p:cNvSpPr/>
          <p:nvPr/>
        </p:nvSpPr>
        <p:spPr bwMode="auto">
          <a:xfrm>
            <a:off x="5174817" y="2112928"/>
            <a:ext cx="6357748" cy="3747041"/>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98441227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2C047E9-12C1-B54D-A831-3510A78FDB32}"/>
              </a:ext>
            </a:extLst>
          </p:cNvPr>
          <p:cNvSpPr>
            <a:spLocks noGrp="1"/>
          </p:cNvSpPr>
          <p:nvPr>
            <p:ph type="title"/>
          </p:nvPr>
        </p:nvSpPr>
        <p:spPr/>
        <p:txBody>
          <a:bodyPr/>
          <a:lstStyle/>
          <a:p>
            <a:r>
              <a:rPr lang="en-US" dirty="0"/>
              <a:t>Building your own AI models</a:t>
            </a:r>
          </a:p>
        </p:txBody>
      </p:sp>
      <p:sp>
        <p:nvSpPr>
          <p:cNvPr id="4" name="Text Placeholder 3">
            <a:extLst>
              <a:ext uri="{FF2B5EF4-FFF2-40B4-BE49-F238E27FC236}">
                <a16:creationId xmlns:a16="http://schemas.microsoft.com/office/drawing/2014/main" id="{CF0CD7D1-8A86-2F49-AE71-43A5B4C995FA}"/>
              </a:ext>
            </a:extLst>
          </p:cNvPr>
          <p:cNvSpPr>
            <a:spLocks noGrp="1"/>
          </p:cNvSpPr>
          <p:nvPr>
            <p:ph type="body" sz="quarter" idx="12"/>
          </p:nvPr>
        </p:nvSpPr>
        <p:spPr/>
        <p:txBody>
          <a:bodyPr/>
          <a:lstStyle/>
          <a:p>
            <a:r>
              <a:rPr lang="en-US" dirty="0"/>
              <a:t>Transforming data into intelligence</a:t>
            </a:r>
          </a:p>
        </p:txBody>
      </p:sp>
      <p:sp>
        <p:nvSpPr>
          <p:cNvPr id="76" name="Rectangle 75">
            <a:extLst>
              <a:ext uri="{FF2B5EF4-FFF2-40B4-BE49-F238E27FC236}">
                <a16:creationId xmlns:a16="http://schemas.microsoft.com/office/drawing/2014/main" id="{EA9FA490-CBF3-494E-8220-FE673C4F6B6F}"/>
              </a:ext>
            </a:extLst>
          </p:cNvPr>
          <p:cNvSpPr/>
          <p:nvPr/>
        </p:nvSpPr>
        <p:spPr>
          <a:xfrm>
            <a:off x="1135110" y="4705161"/>
            <a:ext cx="1777357"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Prepare data</a:t>
            </a:r>
          </a:p>
        </p:txBody>
      </p:sp>
      <p:sp>
        <p:nvSpPr>
          <p:cNvPr id="77" name="Rectangle 76">
            <a:extLst>
              <a:ext uri="{FF2B5EF4-FFF2-40B4-BE49-F238E27FC236}">
                <a16:creationId xmlns:a16="http://schemas.microsoft.com/office/drawing/2014/main" id="{0DA2EC07-53F5-3B4F-AF9E-A3A294FBACC4}"/>
              </a:ext>
            </a:extLst>
          </p:cNvPr>
          <p:cNvSpPr/>
          <p:nvPr/>
        </p:nvSpPr>
        <p:spPr>
          <a:xfrm>
            <a:off x="4989206" y="4705161"/>
            <a:ext cx="2025966"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Build and train</a:t>
            </a:r>
          </a:p>
        </p:txBody>
      </p:sp>
      <p:sp>
        <p:nvSpPr>
          <p:cNvPr id="78" name="Rectangle 77">
            <a:extLst>
              <a:ext uri="{FF2B5EF4-FFF2-40B4-BE49-F238E27FC236}">
                <a16:creationId xmlns:a16="http://schemas.microsoft.com/office/drawing/2014/main" id="{1B9C28C2-8A4B-9942-BD1A-1DC55EB6175D}"/>
              </a:ext>
            </a:extLst>
          </p:cNvPr>
          <p:cNvSpPr/>
          <p:nvPr/>
        </p:nvSpPr>
        <p:spPr>
          <a:xfrm>
            <a:off x="9468437" y="4705161"/>
            <a:ext cx="1070500"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Deploy</a:t>
            </a:r>
          </a:p>
        </p:txBody>
      </p:sp>
      <p:grpSp>
        <p:nvGrpSpPr>
          <p:cNvPr id="79" name="Group 78">
            <a:extLst>
              <a:ext uri="{FF2B5EF4-FFF2-40B4-BE49-F238E27FC236}">
                <a16:creationId xmlns:a16="http://schemas.microsoft.com/office/drawing/2014/main" id="{F9240BDF-6B05-AD49-8D24-763228C8FF6C}"/>
              </a:ext>
            </a:extLst>
          </p:cNvPr>
          <p:cNvGrpSpPr/>
          <p:nvPr/>
        </p:nvGrpSpPr>
        <p:grpSpPr>
          <a:xfrm>
            <a:off x="9012965" y="2581371"/>
            <a:ext cx="1981445" cy="1637978"/>
            <a:chOff x="9524460" y="2632636"/>
            <a:chExt cx="2021177" cy="1670823"/>
          </a:xfrm>
        </p:grpSpPr>
        <p:sp>
          <p:nvSpPr>
            <p:cNvPr id="80" name="gear_3">
              <a:extLst>
                <a:ext uri="{FF2B5EF4-FFF2-40B4-BE49-F238E27FC236}">
                  <a16:creationId xmlns:a16="http://schemas.microsoft.com/office/drawing/2014/main" id="{010DA379-9386-1647-A54E-923BEBBC3F55}"/>
                </a:ext>
              </a:extLst>
            </p:cNvPr>
            <p:cNvSpPr>
              <a:spLocks noChangeAspect="1" noEditPoints="1"/>
            </p:cNvSpPr>
            <p:nvPr/>
          </p:nvSpPr>
          <p:spPr bwMode="auto">
            <a:xfrm>
              <a:off x="9524460" y="3183698"/>
              <a:ext cx="1110355" cy="111976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gear_3">
              <a:extLst>
                <a:ext uri="{FF2B5EF4-FFF2-40B4-BE49-F238E27FC236}">
                  <a16:creationId xmlns:a16="http://schemas.microsoft.com/office/drawing/2014/main" id="{F4428B06-4335-1042-B130-E8D3869BF19A}"/>
                </a:ext>
              </a:extLst>
            </p:cNvPr>
            <p:cNvSpPr>
              <a:spLocks noChangeAspect="1" noEditPoints="1"/>
            </p:cNvSpPr>
            <p:nvPr/>
          </p:nvSpPr>
          <p:spPr bwMode="auto">
            <a:xfrm>
              <a:off x="10421433" y="2632636"/>
              <a:ext cx="735342" cy="74157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 name="gear_3">
              <a:extLst>
                <a:ext uri="{FF2B5EF4-FFF2-40B4-BE49-F238E27FC236}">
                  <a16:creationId xmlns:a16="http://schemas.microsoft.com/office/drawing/2014/main" id="{13D0DF77-B720-714C-B017-F74D6CEDAD63}"/>
                </a:ext>
              </a:extLst>
            </p:cNvPr>
            <p:cNvSpPr>
              <a:spLocks noChangeAspect="1" noEditPoints="1"/>
            </p:cNvSpPr>
            <p:nvPr/>
          </p:nvSpPr>
          <p:spPr bwMode="auto">
            <a:xfrm>
              <a:off x="11022746" y="3309209"/>
              <a:ext cx="522891" cy="527320"/>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83" name="Group 82">
            <a:extLst>
              <a:ext uri="{FF2B5EF4-FFF2-40B4-BE49-F238E27FC236}">
                <a16:creationId xmlns:a16="http://schemas.microsoft.com/office/drawing/2014/main" id="{D9F1B450-B203-9E40-A2F9-B3457E98D384}"/>
              </a:ext>
            </a:extLst>
          </p:cNvPr>
          <p:cNvGrpSpPr/>
          <p:nvPr/>
        </p:nvGrpSpPr>
        <p:grpSpPr>
          <a:xfrm>
            <a:off x="1144934" y="2677641"/>
            <a:ext cx="1757706" cy="1650960"/>
            <a:chOff x="1239394" y="2531811"/>
            <a:chExt cx="1792952" cy="1684065"/>
          </a:xfrm>
        </p:grpSpPr>
        <p:grpSp>
          <p:nvGrpSpPr>
            <p:cNvPr id="84" name="Group 83">
              <a:extLst>
                <a:ext uri="{FF2B5EF4-FFF2-40B4-BE49-F238E27FC236}">
                  <a16:creationId xmlns:a16="http://schemas.microsoft.com/office/drawing/2014/main" id="{086886B6-F080-E546-9656-F879EA17439A}"/>
                </a:ext>
              </a:extLst>
            </p:cNvPr>
            <p:cNvGrpSpPr/>
            <p:nvPr/>
          </p:nvGrpSpPr>
          <p:grpSpPr>
            <a:xfrm>
              <a:off x="1239394" y="2531811"/>
              <a:ext cx="523013" cy="1684065"/>
              <a:chOff x="1395310" y="3332039"/>
              <a:chExt cx="430961" cy="1387665"/>
            </a:xfrm>
            <a:solidFill>
              <a:schemeClr val="bg1"/>
            </a:solidFill>
          </p:grpSpPr>
          <p:sp>
            <p:nvSpPr>
              <p:cNvPr id="93" name="Isosceles Triangle 86">
                <a:extLst>
                  <a:ext uri="{FF2B5EF4-FFF2-40B4-BE49-F238E27FC236}">
                    <a16:creationId xmlns:a16="http://schemas.microsoft.com/office/drawing/2014/main" id="{F4D46995-B37D-394C-B67F-11FB0F4E80EB}"/>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 name="Rectangle 93">
                <a:extLst>
                  <a:ext uri="{FF2B5EF4-FFF2-40B4-BE49-F238E27FC236}">
                    <a16:creationId xmlns:a16="http://schemas.microsoft.com/office/drawing/2014/main" id="{DB6D5717-5A77-C546-9AAB-A72440A6B44A}"/>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 name="Oval 94">
                <a:extLst>
                  <a:ext uri="{FF2B5EF4-FFF2-40B4-BE49-F238E27FC236}">
                    <a16:creationId xmlns:a16="http://schemas.microsoft.com/office/drawing/2014/main" id="{54B3B62E-BA96-A648-A27E-2D7A7807C8CC}"/>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85" name="Group 84">
              <a:extLst>
                <a:ext uri="{FF2B5EF4-FFF2-40B4-BE49-F238E27FC236}">
                  <a16:creationId xmlns:a16="http://schemas.microsoft.com/office/drawing/2014/main" id="{089F6C72-582E-984A-8587-C9D56450A12F}"/>
                </a:ext>
              </a:extLst>
            </p:cNvPr>
            <p:cNvGrpSpPr/>
            <p:nvPr/>
          </p:nvGrpSpPr>
          <p:grpSpPr>
            <a:xfrm>
              <a:off x="1874363" y="2531811"/>
              <a:ext cx="523013" cy="1684065"/>
              <a:chOff x="1395310" y="3332039"/>
              <a:chExt cx="430961" cy="1387665"/>
            </a:xfrm>
            <a:solidFill>
              <a:schemeClr val="bg1"/>
            </a:solidFill>
          </p:grpSpPr>
          <p:sp>
            <p:nvSpPr>
              <p:cNvPr id="90" name="Isosceles Triangle 83">
                <a:extLst>
                  <a:ext uri="{FF2B5EF4-FFF2-40B4-BE49-F238E27FC236}">
                    <a16:creationId xmlns:a16="http://schemas.microsoft.com/office/drawing/2014/main" id="{40F0F70B-B914-DF43-8E9F-010351A3630C}"/>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 name="Rectangle 90">
                <a:extLst>
                  <a:ext uri="{FF2B5EF4-FFF2-40B4-BE49-F238E27FC236}">
                    <a16:creationId xmlns:a16="http://schemas.microsoft.com/office/drawing/2014/main" id="{09C4FA8D-B314-8F46-87AF-616EE1DCC44A}"/>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 name="Oval 91">
                <a:extLst>
                  <a:ext uri="{FF2B5EF4-FFF2-40B4-BE49-F238E27FC236}">
                    <a16:creationId xmlns:a16="http://schemas.microsoft.com/office/drawing/2014/main" id="{1D5FFC60-3118-E741-9DD6-1C3DEE75D1DB}"/>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86" name="Group 85">
              <a:extLst>
                <a:ext uri="{FF2B5EF4-FFF2-40B4-BE49-F238E27FC236}">
                  <a16:creationId xmlns:a16="http://schemas.microsoft.com/office/drawing/2014/main" id="{BED2F9DF-7079-014C-A275-9E8DCD704DFF}"/>
                </a:ext>
              </a:extLst>
            </p:cNvPr>
            <p:cNvGrpSpPr/>
            <p:nvPr/>
          </p:nvGrpSpPr>
          <p:grpSpPr>
            <a:xfrm>
              <a:off x="2509333" y="2531811"/>
              <a:ext cx="523013" cy="1684065"/>
              <a:chOff x="1395310" y="3332039"/>
              <a:chExt cx="430961" cy="1387665"/>
            </a:xfrm>
            <a:solidFill>
              <a:schemeClr val="bg1"/>
            </a:solidFill>
          </p:grpSpPr>
          <p:sp>
            <p:nvSpPr>
              <p:cNvPr id="87" name="Isosceles Triangle 80">
                <a:extLst>
                  <a:ext uri="{FF2B5EF4-FFF2-40B4-BE49-F238E27FC236}">
                    <a16:creationId xmlns:a16="http://schemas.microsoft.com/office/drawing/2014/main" id="{FAC7CB9A-86FF-DD4F-9AA7-AAC69139A9A3}"/>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 name="Rectangle 87">
                <a:extLst>
                  <a:ext uri="{FF2B5EF4-FFF2-40B4-BE49-F238E27FC236}">
                    <a16:creationId xmlns:a16="http://schemas.microsoft.com/office/drawing/2014/main" id="{189C852B-B2FE-B94A-A439-1652E781ACF2}"/>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 name="Oval 88">
                <a:extLst>
                  <a:ext uri="{FF2B5EF4-FFF2-40B4-BE49-F238E27FC236}">
                    <a16:creationId xmlns:a16="http://schemas.microsoft.com/office/drawing/2014/main" id="{2D0520C8-8C59-5A44-B4D9-900EEE4E237D}"/>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grpSp>
        <p:nvGrpSpPr>
          <p:cNvPr id="96" name="Group 95">
            <a:extLst>
              <a:ext uri="{FF2B5EF4-FFF2-40B4-BE49-F238E27FC236}">
                <a16:creationId xmlns:a16="http://schemas.microsoft.com/office/drawing/2014/main" id="{B1E5F12C-0B3B-4F44-A3A9-34D491940DCE}"/>
              </a:ext>
            </a:extLst>
          </p:cNvPr>
          <p:cNvGrpSpPr/>
          <p:nvPr/>
        </p:nvGrpSpPr>
        <p:grpSpPr>
          <a:xfrm>
            <a:off x="4848627" y="2491813"/>
            <a:ext cx="2301051" cy="1998974"/>
            <a:chOff x="4986639" y="2541282"/>
            <a:chExt cx="2347192" cy="2039058"/>
          </a:xfrm>
        </p:grpSpPr>
        <p:sp>
          <p:nvSpPr>
            <p:cNvPr id="97" name="Line 19">
              <a:extLst>
                <a:ext uri="{FF2B5EF4-FFF2-40B4-BE49-F238E27FC236}">
                  <a16:creationId xmlns:a16="http://schemas.microsoft.com/office/drawing/2014/main" id="{403063CA-9A8A-8B43-BBEF-D97E85FAC477}"/>
                </a:ext>
              </a:extLst>
            </p:cNvPr>
            <p:cNvSpPr>
              <a:spLocks noChangeShapeType="1"/>
            </p:cNvSpPr>
            <p:nvPr/>
          </p:nvSpPr>
          <p:spPr bwMode="auto">
            <a:xfrm rot="16200000">
              <a:off x="6005770" y="3401735"/>
              <a:ext cx="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nvGrpSpPr>
            <p:cNvPr id="98" name="Group 11">
              <a:extLst>
                <a:ext uri="{FF2B5EF4-FFF2-40B4-BE49-F238E27FC236}">
                  <a16:creationId xmlns:a16="http://schemas.microsoft.com/office/drawing/2014/main" id="{920898A3-3BB9-374D-BA5D-AA77FDB36747}"/>
                </a:ext>
              </a:extLst>
            </p:cNvPr>
            <p:cNvGrpSpPr>
              <a:grpSpLocks noChangeAspect="1"/>
            </p:cNvGrpSpPr>
            <p:nvPr/>
          </p:nvGrpSpPr>
          <p:grpSpPr bwMode="auto">
            <a:xfrm>
              <a:off x="5712422" y="3055262"/>
              <a:ext cx="1007365" cy="1097312"/>
              <a:chOff x="3861" y="4291602"/>
              <a:chExt cx="112" cy="244433"/>
            </a:xfrm>
          </p:grpSpPr>
          <p:sp>
            <p:nvSpPr>
              <p:cNvPr id="105" name="Freeform 12">
                <a:extLst>
                  <a:ext uri="{FF2B5EF4-FFF2-40B4-BE49-F238E27FC236}">
                    <a16:creationId xmlns:a16="http://schemas.microsoft.com/office/drawing/2014/main" id="{89828247-5BC5-8F4C-8CF4-5C10EE739F5A}"/>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6" name="Line 13">
                <a:extLst>
                  <a:ext uri="{FF2B5EF4-FFF2-40B4-BE49-F238E27FC236}">
                    <a16:creationId xmlns:a16="http://schemas.microsoft.com/office/drawing/2014/main" id="{F4A4A98C-32F1-4F4E-9EF1-191D6CF38E5A}"/>
                  </a:ext>
                </a:extLst>
              </p:cNvPr>
              <p:cNvSpPr>
                <a:spLocks noChangeShapeType="1"/>
              </p:cNvSpPr>
              <p:nvPr/>
            </p:nvSpPr>
            <p:spPr bwMode="auto">
              <a:xfrm>
                <a:off x="3874" y="4469918"/>
                <a:ext cx="8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7" name="Line 14">
                <a:extLst>
                  <a:ext uri="{FF2B5EF4-FFF2-40B4-BE49-F238E27FC236}">
                    <a16:creationId xmlns:a16="http://schemas.microsoft.com/office/drawing/2014/main" id="{252E7C43-C52A-4249-BBDA-8C1804407BE1}"/>
                  </a:ext>
                </a:extLst>
              </p:cNvPr>
              <p:cNvSpPr>
                <a:spLocks noChangeShapeType="1"/>
              </p:cNvSpPr>
              <p:nvPr/>
            </p:nvSpPr>
            <p:spPr bwMode="auto">
              <a:xfrm>
                <a:off x="3923" y="4335680"/>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8" name="Line 15">
                <a:extLst>
                  <a:ext uri="{FF2B5EF4-FFF2-40B4-BE49-F238E27FC236}">
                    <a16:creationId xmlns:a16="http://schemas.microsoft.com/office/drawing/2014/main" id="{63F88EB8-0EC0-AA44-8BC4-4BDEEAB1388E}"/>
                  </a:ext>
                </a:extLst>
              </p:cNvPr>
              <p:cNvSpPr>
                <a:spLocks noChangeShapeType="1"/>
              </p:cNvSpPr>
              <p:nvPr/>
            </p:nvSpPr>
            <p:spPr bwMode="auto">
              <a:xfrm>
                <a:off x="3923" y="4379758"/>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9" name="Line 16">
                <a:extLst>
                  <a:ext uri="{FF2B5EF4-FFF2-40B4-BE49-F238E27FC236}">
                    <a16:creationId xmlns:a16="http://schemas.microsoft.com/office/drawing/2014/main" id="{0460214C-CE7A-4E4F-A542-AF47F452DDD6}"/>
                  </a:ext>
                </a:extLst>
              </p:cNvPr>
              <p:cNvSpPr>
                <a:spLocks noChangeShapeType="1"/>
              </p:cNvSpPr>
              <p:nvPr/>
            </p:nvSpPr>
            <p:spPr bwMode="auto">
              <a:xfrm>
                <a:off x="3923" y="4425840"/>
                <a:ext cx="2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0" name="Line 17">
                <a:extLst>
                  <a:ext uri="{FF2B5EF4-FFF2-40B4-BE49-F238E27FC236}">
                    <a16:creationId xmlns:a16="http://schemas.microsoft.com/office/drawing/2014/main" id="{2C434F0B-B024-F941-96DD-28E2D8E5DD1E}"/>
                  </a:ext>
                </a:extLst>
              </p:cNvPr>
              <p:cNvSpPr>
                <a:spLocks noChangeShapeType="1"/>
              </p:cNvSpPr>
              <p:nvPr/>
            </p:nvSpPr>
            <p:spPr bwMode="auto">
              <a:xfrm>
                <a:off x="3883" y="4291602"/>
                <a:ext cx="68"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99" name="Group 98">
              <a:extLst>
                <a:ext uri="{FF2B5EF4-FFF2-40B4-BE49-F238E27FC236}">
                  <a16:creationId xmlns:a16="http://schemas.microsoft.com/office/drawing/2014/main" id="{91C31877-853F-B34C-BEAA-79EE924FB6B9}"/>
                </a:ext>
              </a:extLst>
            </p:cNvPr>
            <p:cNvGrpSpPr/>
            <p:nvPr/>
          </p:nvGrpSpPr>
          <p:grpSpPr>
            <a:xfrm>
              <a:off x="5359189" y="2541282"/>
              <a:ext cx="1974642" cy="1799700"/>
              <a:chOff x="4723382" y="2415376"/>
              <a:chExt cx="2374103" cy="2163771"/>
            </a:xfrm>
          </p:grpSpPr>
          <p:sp>
            <p:nvSpPr>
              <p:cNvPr id="103" name="Freeform 22">
                <a:extLst>
                  <a:ext uri="{FF2B5EF4-FFF2-40B4-BE49-F238E27FC236}">
                    <a16:creationId xmlns:a16="http://schemas.microsoft.com/office/drawing/2014/main" id="{EA702CFD-5514-CE49-9DD4-33210DCAFE4E}"/>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04" name="Arc 103">
                <a:extLst>
                  <a:ext uri="{FF2B5EF4-FFF2-40B4-BE49-F238E27FC236}">
                    <a16:creationId xmlns:a16="http://schemas.microsoft.com/office/drawing/2014/main" id="{715D6AE3-18C7-0C4F-8E72-07E69EEED28F}"/>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grpSp>
          <p:nvGrpSpPr>
            <p:cNvPr id="100" name="Group 99">
              <a:extLst>
                <a:ext uri="{FF2B5EF4-FFF2-40B4-BE49-F238E27FC236}">
                  <a16:creationId xmlns:a16="http://schemas.microsoft.com/office/drawing/2014/main" id="{1AB33EB3-5CF9-4D45-8772-7C380D0598BC}"/>
                </a:ext>
              </a:extLst>
            </p:cNvPr>
            <p:cNvGrpSpPr/>
            <p:nvPr/>
          </p:nvGrpSpPr>
          <p:grpSpPr>
            <a:xfrm rot="10800000">
              <a:off x="4986639" y="2780640"/>
              <a:ext cx="1974642" cy="1799700"/>
              <a:chOff x="4723382" y="2415376"/>
              <a:chExt cx="2374103" cy="2163771"/>
            </a:xfrm>
          </p:grpSpPr>
          <p:sp>
            <p:nvSpPr>
              <p:cNvPr id="101" name="Freeform 22">
                <a:extLst>
                  <a:ext uri="{FF2B5EF4-FFF2-40B4-BE49-F238E27FC236}">
                    <a16:creationId xmlns:a16="http://schemas.microsoft.com/office/drawing/2014/main" id="{E562E5DB-1BF6-5B4A-9C99-7E895B48D136}"/>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02" name="Arc 101">
                <a:extLst>
                  <a:ext uri="{FF2B5EF4-FFF2-40B4-BE49-F238E27FC236}">
                    <a16:creationId xmlns:a16="http://schemas.microsoft.com/office/drawing/2014/main" id="{DEB4BA75-EE96-794E-B20E-925FA31A3517}"/>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grpSp>
      <p:sp>
        <p:nvSpPr>
          <p:cNvPr id="111" name="Freeform 110">
            <a:extLst>
              <a:ext uri="{FF2B5EF4-FFF2-40B4-BE49-F238E27FC236}">
                <a16:creationId xmlns:a16="http://schemas.microsoft.com/office/drawing/2014/main" id="{5520309F-6321-5A41-A101-EC044091382B}"/>
              </a:ext>
            </a:extLst>
          </p:cNvPr>
          <p:cNvSpPr/>
          <p:nvPr/>
        </p:nvSpPr>
        <p:spPr bwMode="auto">
          <a:xfrm flipH="1">
            <a:off x="7970370" y="3136710"/>
            <a:ext cx="401865" cy="89951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12" name="Freeform 111">
            <a:extLst>
              <a:ext uri="{FF2B5EF4-FFF2-40B4-BE49-F238E27FC236}">
                <a16:creationId xmlns:a16="http://schemas.microsoft.com/office/drawing/2014/main" id="{F39B4A7C-28D5-804B-A17A-6A0066A02C2D}"/>
              </a:ext>
            </a:extLst>
          </p:cNvPr>
          <p:cNvSpPr/>
          <p:nvPr/>
        </p:nvSpPr>
        <p:spPr bwMode="auto">
          <a:xfrm flipH="1">
            <a:off x="3591924" y="3136710"/>
            <a:ext cx="401865" cy="89951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13" name="Rectangle 112">
            <a:extLst>
              <a:ext uri="{FF2B5EF4-FFF2-40B4-BE49-F238E27FC236}">
                <a16:creationId xmlns:a16="http://schemas.microsoft.com/office/drawing/2014/main" id="{EF45380B-5EE2-FC43-9426-C5B3A219D3E4}"/>
              </a:ext>
            </a:extLst>
          </p:cNvPr>
          <p:cNvSpPr/>
          <p:nvPr/>
        </p:nvSpPr>
        <p:spPr bwMode="auto">
          <a:xfrm>
            <a:off x="505472" y="2272820"/>
            <a:ext cx="8067823" cy="3593227"/>
          </a:xfrm>
          <a:prstGeom prst="rect">
            <a:avLst/>
          </a:prstGeom>
          <a:solidFill>
            <a:schemeClr val="bg1">
              <a:alpha val="7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005038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5929C79D-CEC6-4510-ADDE-FBD37A0D7E7C}"/>
              </a:ext>
            </a:extLst>
          </p:cNvPr>
          <p:cNvSpPr/>
          <p:nvPr/>
        </p:nvSpPr>
        <p:spPr>
          <a:xfrm>
            <a:off x="4957590" y="4732694"/>
            <a:ext cx="1418935" cy="343443"/>
          </a:xfrm>
          <a:prstGeom prst="rect">
            <a:avLst/>
          </a:prstGeom>
        </p:spPr>
        <p:txBody>
          <a:bodyPr wrap="square">
            <a:spAutoFit/>
          </a:bodyPr>
          <a:lstStyle/>
          <a:p>
            <a:pPr marL="0" marR="0" lvl="0" indent="0" algn="ctr" defTabSz="931399" rtl="0" eaLnBrk="1" fontAlgn="auto" latinLnBrk="0" hangingPunct="1">
              <a:lnSpc>
                <a:spcPct val="100000"/>
              </a:lnSpc>
              <a:spcBef>
                <a:spcPts val="100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Docker</a:t>
            </a:r>
          </a:p>
        </p:txBody>
      </p:sp>
      <p:sp>
        <p:nvSpPr>
          <p:cNvPr id="112" name="Rectangle 111">
            <a:extLst>
              <a:ext uri="{FF2B5EF4-FFF2-40B4-BE49-F238E27FC236}">
                <a16:creationId xmlns:a16="http://schemas.microsoft.com/office/drawing/2014/main" id="{1A40313A-C93B-403B-BBC7-A3F00E30F9C3}"/>
              </a:ext>
            </a:extLst>
          </p:cNvPr>
          <p:cNvSpPr/>
          <p:nvPr/>
        </p:nvSpPr>
        <p:spPr>
          <a:xfrm>
            <a:off x="9044683" y="2057008"/>
            <a:ext cx="2742811" cy="261830"/>
          </a:xfrm>
          <a:prstGeom prst="rect">
            <a:avLst/>
          </a:prstGeom>
        </p:spPr>
        <p:txBody>
          <a:bodyPr wrap="square">
            <a:spAutoFit/>
          </a:bodyPr>
          <a:lstStyle/>
          <a:p>
            <a:pPr marL="0" marR="0" lvl="0" indent="0" algn="l" defTabSz="913523" rtl="0" eaLnBrk="1" fontAlgn="auto" latinLnBrk="0" hangingPunct="1">
              <a:lnSpc>
                <a:spcPct val="90000"/>
              </a:lnSpc>
              <a:spcBef>
                <a:spcPts val="100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On-prem deployment</a:t>
            </a:r>
          </a:p>
        </p:txBody>
      </p:sp>
      <p:sp>
        <p:nvSpPr>
          <p:cNvPr id="113" name="Rectangle 112">
            <a:extLst>
              <a:ext uri="{FF2B5EF4-FFF2-40B4-BE49-F238E27FC236}">
                <a16:creationId xmlns:a16="http://schemas.microsoft.com/office/drawing/2014/main" id="{485D191E-75C6-4E89-A68D-E8AB7AD728A9}"/>
              </a:ext>
            </a:extLst>
          </p:cNvPr>
          <p:cNvSpPr/>
          <p:nvPr/>
        </p:nvSpPr>
        <p:spPr>
          <a:xfrm>
            <a:off x="9044683" y="3467721"/>
            <a:ext cx="2742811" cy="261830"/>
          </a:xfrm>
          <a:prstGeom prst="rect">
            <a:avLst/>
          </a:prstGeom>
        </p:spPr>
        <p:txBody>
          <a:bodyPr wrap="square">
            <a:spAutoFit/>
          </a:bodyPr>
          <a:lstStyle/>
          <a:p>
            <a:pPr marL="0" marR="0" lvl="0" indent="0" algn="l" defTabSz="913523" rtl="0" eaLnBrk="1" fontAlgn="auto" latinLnBrk="0" hangingPunct="1">
              <a:lnSpc>
                <a:spcPct val="90000"/>
              </a:lnSpc>
              <a:spcBef>
                <a:spcPts val="100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Azure Container Instance</a:t>
            </a:r>
          </a:p>
        </p:txBody>
      </p:sp>
      <p:sp>
        <p:nvSpPr>
          <p:cNvPr id="114" name="Rectangle 113">
            <a:extLst>
              <a:ext uri="{FF2B5EF4-FFF2-40B4-BE49-F238E27FC236}">
                <a16:creationId xmlns:a16="http://schemas.microsoft.com/office/drawing/2014/main" id="{01E389C3-1871-42FE-A052-F664A220D1E4}"/>
              </a:ext>
            </a:extLst>
          </p:cNvPr>
          <p:cNvSpPr/>
          <p:nvPr/>
        </p:nvSpPr>
        <p:spPr>
          <a:xfrm>
            <a:off x="9044683" y="2713915"/>
            <a:ext cx="2742811" cy="261830"/>
          </a:xfrm>
          <a:prstGeom prst="rect">
            <a:avLst/>
          </a:prstGeom>
        </p:spPr>
        <p:txBody>
          <a:bodyPr wrap="square">
            <a:spAutoFit/>
          </a:bodyPr>
          <a:lstStyle/>
          <a:p>
            <a:pPr marL="0" marR="0" lvl="0" indent="0" algn="l" defTabSz="913523" rtl="0" eaLnBrk="1" fontAlgn="auto" latinLnBrk="0" hangingPunct="1">
              <a:lnSpc>
                <a:spcPct val="90000"/>
              </a:lnSpc>
              <a:spcBef>
                <a:spcPts val="100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Azure IoT edge</a:t>
            </a:r>
          </a:p>
        </p:txBody>
      </p:sp>
      <p:sp>
        <p:nvSpPr>
          <p:cNvPr id="115" name="Rectangle 114">
            <a:extLst>
              <a:ext uri="{FF2B5EF4-FFF2-40B4-BE49-F238E27FC236}">
                <a16:creationId xmlns:a16="http://schemas.microsoft.com/office/drawing/2014/main" id="{0CC502B3-2262-4596-AD25-ECC8A35D32F8}"/>
              </a:ext>
            </a:extLst>
          </p:cNvPr>
          <p:cNvSpPr/>
          <p:nvPr/>
        </p:nvSpPr>
        <p:spPr>
          <a:xfrm>
            <a:off x="9044683" y="4898382"/>
            <a:ext cx="2843183" cy="261830"/>
          </a:xfrm>
          <a:prstGeom prst="rect">
            <a:avLst/>
          </a:prstGeom>
        </p:spPr>
        <p:txBody>
          <a:bodyPr wrap="square">
            <a:spAutoFit/>
          </a:bodyPr>
          <a:lstStyle/>
          <a:p>
            <a:pPr marL="0" marR="0" lvl="0" indent="0" algn="l" defTabSz="913523" rtl="0" eaLnBrk="1" fontAlgn="auto" latinLnBrk="0" hangingPunct="1">
              <a:lnSpc>
                <a:spcPct val="90000"/>
              </a:lnSpc>
              <a:spcBef>
                <a:spcPts val="1000"/>
              </a:spcBef>
              <a:spcAft>
                <a:spcPts val="0"/>
              </a:spcAft>
              <a:buClrTx/>
              <a:buSzTx/>
              <a:buFontTx/>
              <a:buNone/>
              <a:tabLst/>
              <a:defRPr/>
            </a:pPr>
            <a:r>
              <a:rPr kumimoji="0" lang="en-US" sz="1200" b="0" i="0" u="none" strike="noStrike" kern="1200" cap="none" spc="0" normalizeH="0" baseline="0" noProof="0" dirty="0" err="1">
                <a:ln>
                  <a:noFill/>
                </a:ln>
                <a:solidFill>
                  <a:srgbClr val="1A1A1A"/>
                </a:solidFill>
                <a:effectLst/>
                <a:uLnTx/>
                <a:uFillTx/>
                <a:latin typeface="Segoe UI"/>
                <a:ea typeface="+mn-ea"/>
                <a:cs typeface="+mn-cs"/>
              </a:rPr>
              <a:t>IoT</a:t>
            </a:r>
            <a:r>
              <a:rPr kumimoji="0" lang="en-US" sz="1200" b="0" i="0" u="none" strike="noStrike" kern="1200" cap="none" spc="0" normalizeH="0" baseline="0" noProof="0" dirty="0">
                <a:ln>
                  <a:noFill/>
                </a:ln>
                <a:solidFill>
                  <a:srgbClr val="1A1A1A"/>
                </a:solidFill>
                <a:effectLst/>
                <a:uLnTx/>
                <a:uFillTx/>
                <a:latin typeface="Segoe UI"/>
                <a:ea typeface="+mn-ea"/>
                <a:cs typeface="+mn-cs"/>
              </a:rPr>
              <a:t> accelerated targets</a:t>
            </a:r>
          </a:p>
        </p:txBody>
      </p:sp>
      <p:sp>
        <p:nvSpPr>
          <p:cNvPr id="116" name="Rectangle 115">
            <a:extLst>
              <a:ext uri="{FF2B5EF4-FFF2-40B4-BE49-F238E27FC236}">
                <a16:creationId xmlns:a16="http://schemas.microsoft.com/office/drawing/2014/main" id="{1B88131D-D0D0-434C-A5DB-D5A2C1FFA83A}"/>
              </a:ext>
            </a:extLst>
          </p:cNvPr>
          <p:cNvSpPr/>
          <p:nvPr/>
        </p:nvSpPr>
        <p:spPr>
          <a:xfrm>
            <a:off x="9044683" y="5604217"/>
            <a:ext cx="2742811" cy="261830"/>
          </a:xfrm>
          <a:prstGeom prst="rect">
            <a:avLst/>
          </a:prstGeom>
        </p:spPr>
        <p:txBody>
          <a:bodyPr wrap="square">
            <a:spAutoFit/>
          </a:bodyPr>
          <a:lstStyle/>
          <a:p>
            <a:pPr marL="0" marR="0" lvl="0" indent="0" algn="l" defTabSz="913523" rtl="0" eaLnBrk="1" fontAlgn="auto" latinLnBrk="0" hangingPunct="1">
              <a:lnSpc>
                <a:spcPct val="90000"/>
              </a:lnSpc>
              <a:spcBef>
                <a:spcPts val="100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Project Brainwave (FPGAs)</a:t>
            </a:r>
          </a:p>
        </p:txBody>
      </p:sp>
      <p:cxnSp>
        <p:nvCxnSpPr>
          <p:cNvPr id="117" name="Straight Connector 116">
            <a:extLst>
              <a:ext uri="{FF2B5EF4-FFF2-40B4-BE49-F238E27FC236}">
                <a16:creationId xmlns:a16="http://schemas.microsoft.com/office/drawing/2014/main" id="{0FF4AE60-A8E5-46BD-A150-051D4B229268}"/>
              </a:ext>
            </a:extLst>
          </p:cNvPr>
          <p:cNvCxnSpPr>
            <a:cxnSpLocks/>
          </p:cNvCxnSpPr>
          <p:nvPr/>
        </p:nvCxnSpPr>
        <p:spPr>
          <a:xfrm>
            <a:off x="8401532" y="2183510"/>
            <a:ext cx="0" cy="3558824"/>
          </a:xfrm>
          <a:prstGeom prst="line">
            <a:avLst/>
          </a:prstGeom>
          <a:ln w="12700">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527A7F45-F155-4C0C-99B5-FE8DDC714335}"/>
              </a:ext>
            </a:extLst>
          </p:cNvPr>
          <p:cNvCxnSpPr>
            <a:cxnSpLocks/>
          </p:cNvCxnSpPr>
          <p:nvPr/>
        </p:nvCxnSpPr>
        <p:spPr>
          <a:xfrm>
            <a:off x="8392909" y="2193773"/>
            <a:ext cx="581930" cy="4474"/>
          </a:xfrm>
          <a:prstGeom prst="straightConnector1">
            <a:avLst/>
          </a:prstGeom>
          <a:ln w="12700">
            <a:solidFill>
              <a:schemeClr val="tx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2DE720B9-005D-4375-BF1A-899BB58FB3ED}"/>
              </a:ext>
            </a:extLst>
          </p:cNvPr>
          <p:cNvCxnSpPr>
            <a:cxnSpLocks/>
          </p:cNvCxnSpPr>
          <p:nvPr/>
        </p:nvCxnSpPr>
        <p:spPr>
          <a:xfrm>
            <a:off x="8392909" y="2904370"/>
            <a:ext cx="581930" cy="4474"/>
          </a:xfrm>
          <a:prstGeom prst="straightConnector1">
            <a:avLst/>
          </a:prstGeom>
          <a:ln w="12700">
            <a:solidFill>
              <a:schemeClr val="tx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F9C39CE6-3D04-47AA-86DA-49F62D8D8E33}"/>
              </a:ext>
            </a:extLst>
          </p:cNvPr>
          <p:cNvCxnSpPr>
            <a:cxnSpLocks/>
          </p:cNvCxnSpPr>
          <p:nvPr/>
        </p:nvCxnSpPr>
        <p:spPr>
          <a:xfrm>
            <a:off x="8392909" y="3614967"/>
            <a:ext cx="581930" cy="4474"/>
          </a:xfrm>
          <a:prstGeom prst="straightConnector1">
            <a:avLst/>
          </a:prstGeom>
          <a:ln w="12700">
            <a:solidFill>
              <a:schemeClr val="tx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71D359A4-D71A-4779-A404-A3E75205E156}"/>
              </a:ext>
            </a:extLst>
          </p:cNvPr>
          <p:cNvCxnSpPr>
            <a:cxnSpLocks/>
          </p:cNvCxnSpPr>
          <p:nvPr/>
        </p:nvCxnSpPr>
        <p:spPr>
          <a:xfrm>
            <a:off x="8392909" y="4325564"/>
            <a:ext cx="581930" cy="4474"/>
          </a:xfrm>
          <a:prstGeom prst="straightConnector1">
            <a:avLst/>
          </a:prstGeom>
          <a:ln w="12700">
            <a:solidFill>
              <a:schemeClr val="tx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54239AE3-DA91-449F-93BB-27744D748BDB}"/>
              </a:ext>
            </a:extLst>
          </p:cNvPr>
          <p:cNvCxnSpPr>
            <a:cxnSpLocks/>
          </p:cNvCxnSpPr>
          <p:nvPr/>
        </p:nvCxnSpPr>
        <p:spPr>
          <a:xfrm>
            <a:off x="8392909" y="5036161"/>
            <a:ext cx="581930" cy="4474"/>
          </a:xfrm>
          <a:prstGeom prst="straightConnector1">
            <a:avLst/>
          </a:prstGeom>
          <a:ln w="12700">
            <a:solidFill>
              <a:schemeClr val="tx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6F316B2A-2D93-4F08-9608-5E4005B1B211}"/>
              </a:ext>
            </a:extLst>
          </p:cNvPr>
          <p:cNvCxnSpPr>
            <a:cxnSpLocks/>
          </p:cNvCxnSpPr>
          <p:nvPr/>
        </p:nvCxnSpPr>
        <p:spPr>
          <a:xfrm>
            <a:off x="8392909" y="5746757"/>
            <a:ext cx="581930" cy="4474"/>
          </a:xfrm>
          <a:prstGeom prst="straightConnector1">
            <a:avLst/>
          </a:prstGeom>
          <a:ln w="12700">
            <a:solidFill>
              <a:schemeClr val="tx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A0C13835-44C9-4658-A909-DDAA260C5110}"/>
              </a:ext>
            </a:extLst>
          </p:cNvPr>
          <p:cNvCxnSpPr>
            <a:cxnSpLocks/>
          </p:cNvCxnSpPr>
          <p:nvPr/>
        </p:nvCxnSpPr>
        <p:spPr>
          <a:xfrm>
            <a:off x="6366102" y="4330038"/>
            <a:ext cx="2016384" cy="0"/>
          </a:xfrm>
          <a:prstGeom prst="line">
            <a:avLst/>
          </a:prstGeom>
          <a:ln w="12700">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28E9FF05-B223-4D73-85FB-558A45F06945}"/>
              </a:ext>
            </a:extLst>
          </p:cNvPr>
          <p:cNvCxnSpPr>
            <a:cxnSpLocks/>
          </p:cNvCxnSpPr>
          <p:nvPr/>
        </p:nvCxnSpPr>
        <p:spPr>
          <a:xfrm>
            <a:off x="2515128" y="4330038"/>
            <a:ext cx="2016384" cy="0"/>
          </a:xfrm>
          <a:prstGeom prst="line">
            <a:avLst/>
          </a:prstGeom>
          <a:ln w="12700">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954DC156-F26D-4B3F-BBA4-D538DAE30F5A}"/>
              </a:ext>
            </a:extLst>
          </p:cNvPr>
          <p:cNvSpPr/>
          <p:nvPr/>
        </p:nvSpPr>
        <p:spPr>
          <a:xfrm>
            <a:off x="509736" y="4680323"/>
            <a:ext cx="2688511" cy="582960"/>
          </a:xfrm>
          <a:prstGeom prst="rect">
            <a:avLst/>
          </a:prstGeom>
        </p:spPr>
        <p:txBody>
          <a:bodyPr wrap="square">
            <a:spAutoFit/>
          </a:bodyPr>
          <a:lstStyle/>
          <a:p>
            <a:pPr marL="0" marR="0" lvl="0" indent="0" algn="ctr" defTabSz="931399" rtl="0" eaLnBrk="1" fontAlgn="auto" latinLnBrk="0" hangingPunct="1">
              <a:lnSpc>
                <a:spcPct val="100000"/>
              </a:lnSpc>
              <a:spcBef>
                <a:spcPts val="100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Azure Machine Learning Service</a:t>
            </a:r>
          </a:p>
        </p:txBody>
      </p:sp>
      <p:sp>
        <p:nvSpPr>
          <p:cNvPr id="128" name="Rectangle 127">
            <a:extLst>
              <a:ext uri="{FF2B5EF4-FFF2-40B4-BE49-F238E27FC236}">
                <a16:creationId xmlns:a16="http://schemas.microsoft.com/office/drawing/2014/main" id="{B2596F82-C2A8-4347-A846-082D4A1F0FBF}"/>
              </a:ext>
            </a:extLst>
          </p:cNvPr>
          <p:cNvSpPr/>
          <p:nvPr/>
        </p:nvSpPr>
        <p:spPr>
          <a:xfrm>
            <a:off x="9044683" y="4202925"/>
            <a:ext cx="2742811" cy="261830"/>
          </a:xfrm>
          <a:prstGeom prst="rect">
            <a:avLst/>
          </a:prstGeom>
        </p:spPr>
        <p:txBody>
          <a:bodyPr wrap="square">
            <a:spAutoFit/>
          </a:bodyPr>
          <a:lstStyle/>
          <a:p>
            <a:pPr marL="0" marR="0" lvl="0" indent="0" algn="l" defTabSz="913523" rtl="0" eaLnBrk="1" fontAlgn="auto" latinLnBrk="0" hangingPunct="1">
              <a:lnSpc>
                <a:spcPct val="90000"/>
              </a:lnSpc>
              <a:spcBef>
                <a:spcPts val="100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Azure Managed Kubernetes Service</a:t>
            </a:r>
          </a:p>
        </p:txBody>
      </p:sp>
      <p:grpSp>
        <p:nvGrpSpPr>
          <p:cNvPr id="129" name="Group 128">
            <a:extLst>
              <a:ext uri="{FF2B5EF4-FFF2-40B4-BE49-F238E27FC236}">
                <a16:creationId xmlns:a16="http://schemas.microsoft.com/office/drawing/2014/main" id="{B037562A-18F5-4CFE-AF14-287E1B85DF16}"/>
              </a:ext>
            </a:extLst>
          </p:cNvPr>
          <p:cNvGrpSpPr/>
          <p:nvPr/>
        </p:nvGrpSpPr>
        <p:grpSpPr>
          <a:xfrm>
            <a:off x="4895953" y="3667525"/>
            <a:ext cx="1268393" cy="838532"/>
            <a:chOff x="5429066" y="4114799"/>
            <a:chExt cx="689178" cy="455613"/>
          </a:xfrm>
        </p:grpSpPr>
        <p:sp>
          <p:nvSpPr>
            <p:cNvPr id="130" name="Freeform 67">
              <a:extLst>
                <a:ext uri="{FF2B5EF4-FFF2-40B4-BE49-F238E27FC236}">
                  <a16:creationId xmlns:a16="http://schemas.microsoft.com/office/drawing/2014/main" id="{48A2FDE3-FA17-4241-B5FE-1B477065F02C}"/>
                </a:ext>
              </a:extLst>
            </p:cNvPr>
            <p:cNvSpPr>
              <a:spLocks/>
            </p:cNvSpPr>
            <p:nvPr/>
          </p:nvSpPr>
          <p:spPr bwMode="auto">
            <a:xfrm>
              <a:off x="5429066" y="4114799"/>
              <a:ext cx="689178" cy="455613"/>
            </a:xfrm>
            <a:custGeom>
              <a:avLst/>
              <a:gdLst>
                <a:gd name="T0" fmla="*/ 524 w 1006"/>
                <a:gd name="T1" fmla="*/ 203 h 643"/>
                <a:gd name="T2" fmla="*/ 627 w 1006"/>
                <a:gd name="T3" fmla="*/ 203 h 643"/>
                <a:gd name="T4" fmla="*/ 627 w 1006"/>
                <a:gd name="T5" fmla="*/ 307 h 643"/>
                <a:gd name="T6" fmla="*/ 678 w 1006"/>
                <a:gd name="T7" fmla="*/ 307 h 643"/>
                <a:gd name="T8" fmla="*/ 750 w 1006"/>
                <a:gd name="T9" fmla="*/ 295 h 643"/>
                <a:gd name="T10" fmla="*/ 784 w 1006"/>
                <a:gd name="T11" fmla="*/ 280 h 643"/>
                <a:gd name="T12" fmla="*/ 760 w 1006"/>
                <a:gd name="T13" fmla="*/ 214 h 643"/>
                <a:gd name="T14" fmla="*/ 785 w 1006"/>
                <a:gd name="T15" fmla="*/ 116 h 643"/>
                <a:gd name="T16" fmla="*/ 796 w 1006"/>
                <a:gd name="T17" fmla="*/ 104 h 643"/>
                <a:gd name="T18" fmla="*/ 809 w 1006"/>
                <a:gd name="T19" fmla="*/ 114 h 643"/>
                <a:gd name="T20" fmla="*/ 873 w 1006"/>
                <a:gd name="T21" fmla="*/ 217 h 643"/>
                <a:gd name="T22" fmla="*/ 992 w 1006"/>
                <a:gd name="T23" fmla="*/ 228 h 643"/>
                <a:gd name="T24" fmla="*/ 1006 w 1006"/>
                <a:gd name="T25" fmla="*/ 236 h 643"/>
                <a:gd name="T26" fmla="*/ 999 w 1006"/>
                <a:gd name="T27" fmla="*/ 250 h 643"/>
                <a:gd name="T28" fmla="*/ 850 w 1006"/>
                <a:gd name="T29" fmla="*/ 320 h 643"/>
                <a:gd name="T30" fmla="*/ 334 w 1006"/>
                <a:gd name="T31" fmla="*/ 643 h 643"/>
                <a:gd name="T32" fmla="*/ 39 w 1006"/>
                <a:gd name="T33" fmla="*/ 492 h 643"/>
                <a:gd name="T34" fmla="*/ 38 w 1006"/>
                <a:gd name="T35" fmla="*/ 490 h 643"/>
                <a:gd name="T36" fmla="*/ 29 w 1006"/>
                <a:gd name="T37" fmla="*/ 472 h 643"/>
                <a:gd name="T38" fmla="*/ 5 w 1006"/>
                <a:gd name="T39" fmla="*/ 322 h 643"/>
                <a:gd name="T40" fmla="*/ 7 w 1006"/>
                <a:gd name="T41" fmla="*/ 307 h 643"/>
                <a:gd name="T42" fmla="*/ 94 w 1006"/>
                <a:gd name="T43" fmla="*/ 307 h 643"/>
                <a:gd name="T44" fmla="*/ 94 w 1006"/>
                <a:gd name="T45" fmla="*/ 203 h 643"/>
                <a:gd name="T46" fmla="*/ 197 w 1006"/>
                <a:gd name="T47" fmla="*/ 203 h 643"/>
                <a:gd name="T48" fmla="*/ 197 w 1006"/>
                <a:gd name="T49" fmla="*/ 102 h 643"/>
                <a:gd name="T50" fmla="*/ 401 w 1006"/>
                <a:gd name="T51" fmla="*/ 102 h 643"/>
                <a:gd name="T52" fmla="*/ 401 w 1006"/>
                <a:gd name="T53" fmla="*/ 0 h 643"/>
                <a:gd name="T54" fmla="*/ 524 w 1006"/>
                <a:gd name="T55" fmla="*/ 0 h 643"/>
                <a:gd name="T56" fmla="*/ 524 w 1006"/>
                <a:gd name="T57" fmla="*/ 203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06" h="643">
                  <a:moveTo>
                    <a:pt x="524" y="203"/>
                  </a:moveTo>
                  <a:cubicBezTo>
                    <a:pt x="627" y="203"/>
                    <a:pt x="627" y="203"/>
                    <a:pt x="627" y="203"/>
                  </a:cubicBezTo>
                  <a:cubicBezTo>
                    <a:pt x="627" y="307"/>
                    <a:pt x="627" y="307"/>
                    <a:pt x="627" y="307"/>
                  </a:cubicBezTo>
                  <a:cubicBezTo>
                    <a:pt x="678" y="307"/>
                    <a:pt x="678" y="307"/>
                    <a:pt x="678" y="307"/>
                  </a:cubicBezTo>
                  <a:cubicBezTo>
                    <a:pt x="702" y="307"/>
                    <a:pt x="727" y="303"/>
                    <a:pt x="750" y="295"/>
                  </a:cubicBezTo>
                  <a:cubicBezTo>
                    <a:pt x="761" y="291"/>
                    <a:pt x="773" y="286"/>
                    <a:pt x="784" y="280"/>
                  </a:cubicBezTo>
                  <a:cubicBezTo>
                    <a:pt x="770" y="261"/>
                    <a:pt x="762" y="237"/>
                    <a:pt x="760" y="214"/>
                  </a:cubicBezTo>
                  <a:cubicBezTo>
                    <a:pt x="757" y="182"/>
                    <a:pt x="764" y="141"/>
                    <a:pt x="785" y="116"/>
                  </a:cubicBezTo>
                  <a:cubicBezTo>
                    <a:pt x="796" y="104"/>
                    <a:pt x="796" y="104"/>
                    <a:pt x="796" y="104"/>
                  </a:cubicBezTo>
                  <a:cubicBezTo>
                    <a:pt x="809" y="114"/>
                    <a:pt x="809" y="114"/>
                    <a:pt x="809" y="114"/>
                  </a:cubicBezTo>
                  <a:cubicBezTo>
                    <a:pt x="841" y="140"/>
                    <a:pt x="868" y="176"/>
                    <a:pt x="873" y="217"/>
                  </a:cubicBezTo>
                  <a:cubicBezTo>
                    <a:pt x="912" y="205"/>
                    <a:pt x="958" y="208"/>
                    <a:pt x="992" y="228"/>
                  </a:cubicBezTo>
                  <a:cubicBezTo>
                    <a:pt x="1006" y="236"/>
                    <a:pt x="1006" y="236"/>
                    <a:pt x="1006" y="236"/>
                  </a:cubicBezTo>
                  <a:cubicBezTo>
                    <a:pt x="999" y="250"/>
                    <a:pt x="999" y="250"/>
                    <a:pt x="999" y="250"/>
                  </a:cubicBezTo>
                  <a:cubicBezTo>
                    <a:pt x="970" y="306"/>
                    <a:pt x="909" y="324"/>
                    <a:pt x="850" y="320"/>
                  </a:cubicBezTo>
                  <a:cubicBezTo>
                    <a:pt x="761" y="539"/>
                    <a:pt x="568" y="643"/>
                    <a:pt x="334" y="643"/>
                  </a:cubicBezTo>
                  <a:cubicBezTo>
                    <a:pt x="213" y="643"/>
                    <a:pt x="102" y="598"/>
                    <a:pt x="39" y="492"/>
                  </a:cubicBezTo>
                  <a:cubicBezTo>
                    <a:pt x="38" y="490"/>
                    <a:pt x="38" y="490"/>
                    <a:pt x="38" y="490"/>
                  </a:cubicBezTo>
                  <a:cubicBezTo>
                    <a:pt x="29" y="472"/>
                    <a:pt x="29" y="472"/>
                    <a:pt x="29" y="472"/>
                  </a:cubicBezTo>
                  <a:cubicBezTo>
                    <a:pt x="8" y="425"/>
                    <a:pt x="0" y="373"/>
                    <a:pt x="5" y="322"/>
                  </a:cubicBezTo>
                  <a:cubicBezTo>
                    <a:pt x="7" y="307"/>
                    <a:pt x="7" y="307"/>
                    <a:pt x="7" y="307"/>
                  </a:cubicBezTo>
                  <a:cubicBezTo>
                    <a:pt x="94" y="307"/>
                    <a:pt x="94" y="307"/>
                    <a:pt x="94" y="307"/>
                  </a:cubicBezTo>
                  <a:cubicBezTo>
                    <a:pt x="94" y="203"/>
                    <a:pt x="94" y="203"/>
                    <a:pt x="94" y="203"/>
                  </a:cubicBezTo>
                  <a:cubicBezTo>
                    <a:pt x="197" y="203"/>
                    <a:pt x="197" y="203"/>
                    <a:pt x="197" y="203"/>
                  </a:cubicBezTo>
                  <a:cubicBezTo>
                    <a:pt x="197" y="102"/>
                    <a:pt x="197" y="102"/>
                    <a:pt x="197" y="102"/>
                  </a:cubicBezTo>
                  <a:cubicBezTo>
                    <a:pt x="401" y="102"/>
                    <a:pt x="401" y="102"/>
                    <a:pt x="401" y="102"/>
                  </a:cubicBezTo>
                  <a:cubicBezTo>
                    <a:pt x="401" y="0"/>
                    <a:pt x="401" y="0"/>
                    <a:pt x="401" y="0"/>
                  </a:cubicBezTo>
                  <a:cubicBezTo>
                    <a:pt x="524" y="0"/>
                    <a:pt x="524" y="0"/>
                    <a:pt x="524" y="0"/>
                  </a:cubicBezTo>
                  <a:lnTo>
                    <a:pt x="524" y="203"/>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2" name="Freeform 68">
              <a:extLst>
                <a:ext uri="{FF2B5EF4-FFF2-40B4-BE49-F238E27FC236}">
                  <a16:creationId xmlns:a16="http://schemas.microsoft.com/office/drawing/2014/main" id="{D0AB2118-686C-4C3C-BAFD-AA950851E71A}"/>
                </a:ext>
              </a:extLst>
            </p:cNvPr>
            <p:cNvSpPr>
              <a:spLocks/>
            </p:cNvSpPr>
            <p:nvPr/>
          </p:nvSpPr>
          <p:spPr bwMode="auto">
            <a:xfrm>
              <a:off x="5441317" y="4203702"/>
              <a:ext cx="661611" cy="354013"/>
            </a:xfrm>
            <a:custGeom>
              <a:avLst/>
              <a:gdLst>
                <a:gd name="T0" fmla="*/ 839 w 966"/>
                <a:gd name="T1" fmla="*/ 114 h 499"/>
                <a:gd name="T2" fmla="*/ 781 w 966"/>
                <a:gd name="T3" fmla="*/ 0 h 499"/>
                <a:gd name="T4" fmla="*/ 793 w 966"/>
                <a:gd name="T5" fmla="*/ 155 h 499"/>
                <a:gd name="T6" fmla="*/ 661 w 966"/>
                <a:gd name="T7" fmla="*/ 197 h 499"/>
                <a:gd name="T8" fmla="*/ 5 w 966"/>
                <a:gd name="T9" fmla="*/ 197 h 499"/>
                <a:gd name="T10" fmla="*/ 32 w 966"/>
                <a:gd name="T11" fmla="*/ 348 h 499"/>
                <a:gd name="T12" fmla="*/ 40 w 966"/>
                <a:gd name="T13" fmla="*/ 362 h 499"/>
                <a:gd name="T14" fmla="*/ 55 w 966"/>
                <a:gd name="T15" fmla="*/ 385 h 499"/>
                <a:gd name="T16" fmla="*/ 55 w 966"/>
                <a:gd name="T17" fmla="*/ 385 h 499"/>
                <a:gd name="T18" fmla="*/ 130 w 966"/>
                <a:gd name="T19" fmla="*/ 386 h 499"/>
                <a:gd name="T20" fmla="*/ 130 w 966"/>
                <a:gd name="T21" fmla="*/ 386 h 499"/>
                <a:gd name="T22" fmla="*/ 239 w 966"/>
                <a:gd name="T23" fmla="*/ 371 h 499"/>
                <a:gd name="T24" fmla="*/ 249 w 966"/>
                <a:gd name="T25" fmla="*/ 375 h 499"/>
                <a:gd name="T26" fmla="*/ 244 w 966"/>
                <a:gd name="T27" fmla="*/ 385 h 499"/>
                <a:gd name="T28" fmla="*/ 233 w 966"/>
                <a:gd name="T29" fmla="*/ 389 h 499"/>
                <a:gd name="T30" fmla="*/ 233 w 966"/>
                <a:gd name="T31" fmla="*/ 389 h 499"/>
                <a:gd name="T32" fmla="*/ 157 w 966"/>
                <a:gd name="T33" fmla="*/ 401 h 499"/>
                <a:gd name="T34" fmla="*/ 155 w 966"/>
                <a:gd name="T35" fmla="*/ 401 h 499"/>
                <a:gd name="T36" fmla="*/ 152 w 966"/>
                <a:gd name="T37" fmla="*/ 402 h 499"/>
                <a:gd name="T38" fmla="*/ 114 w 966"/>
                <a:gd name="T39" fmla="*/ 402 h 499"/>
                <a:gd name="T40" fmla="*/ 70 w 966"/>
                <a:gd name="T41" fmla="*/ 401 h 499"/>
                <a:gd name="T42" fmla="*/ 70 w 966"/>
                <a:gd name="T43" fmla="*/ 402 h 499"/>
                <a:gd name="T44" fmla="*/ 317 w 966"/>
                <a:gd name="T45" fmla="*/ 499 h 499"/>
                <a:gd name="T46" fmla="*/ 821 w 966"/>
                <a:gd name="T47" fmla="*/ 176 h 499"/>
                <a:gd name="T48" fmla="*/ 966 w 966"/>
                <a:gd name="T49" fmla="*/ 115 h 499"/>
                <a:gd name="T50" fmla="*/ 839 w 966"/>
                <a:gd name="T51" fmla="*/ 114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6" h="499">
                  <a:moveTo>
                    <a:pt x="839" y="114"/>
                  </a:moveTo>
                  <a:cubicBezTo>
                    <a:pt x="846" y="62"/>
                    <a:pt x="806" y="20"/>
                    <a:pt x="781" y="0"/>
                  </a:cubicBezTo>
                  <a:cubicBezTo>
                    <a:pt x="753" y="33"/>
                    <a:pt x="748" y="119"/>
                    <a:pt x="793" y="155"/>
                  </a:cubicBezTo>
                  <a:cubicBezTo>
                    <a:pt x="768" y="177"/>
                    <a:pt x="715" y="197"/>
                    <a:pt x="661" y="197"/>
                  </a:cubicBezTo>
                  <a:cubicBezTo>
                    <a:pt x="5" y="197"/>
                    <a:pt x="5" y="197"/>
                    <a:pt x="5" y="197"/>
                  </a:cubicBezTo>
                  <a:cubicBezTo>
                    <a:pt x="0" y="253"/>
                    <a:pt x="10" y="304"/>
                    <a:pt x="32" y="348"/>
                  </a:cubicBezTo>
                  <a:cubicBezTo>
                    <a:pt x="40" y="362"/>
                    <a:pt x="40" y="362"/>
                    <a:pt x="40" y="362"/>
                  </a:cubicBezTo>
                  <a:cubicBezTo>
                    <a:pt x="45" y="369"/>
                    <a:pt x="50" y="377"/>
                    <a:pt x="55" y="385"/>
                  </a:cubicBezTo>
                  <a:cubicBezTo>
                    <a:pt x="55" y="385"/>
                    <a:pt x="55" y="385"/>
                    <a:pt x="55" y="385"/>
                  </a:cubicBezTo>
                  <a:cubicBezTo>
                    <a:pt x="82" y="386"/>
                    <a:pt x="107" y="387"/>
                    <a:pt x="130" y="386"/>
                  </a:cubicBezTo>
                  <a:cubicBezTo>
                    <a:pt x="130" y="386"/>
                    <a:pt x="130" y="386"/>
                    <a:pt x="130" y="386"/>
                  </a:cubicBezTo>
                  <a:cubicBezTo>
                    <a:pt x="175" y="385"/>
                    <a:pt x="211" y="380"/>
                    <a:pt x="239" y="371"/>
                  </a:cubicBezTo>
                  <a:cubicBezTo>
                    <a:pt x="243" y="369"/>
                    <a:pt x="247" y="371"/>
                    <a:pt x="249" y="375"/>
                  </a:cubicBezTo>
                  <a:cubicBezTo>
                    <a:pt x="250" y="380"/>
                    <a:pt x="248" y="384"/>
                    <a:pt x="244" y="385"/>
                  </a:cubicBezTo>
                  <a:cubicBezTo>
                    <a:pt x="240" y="387"/>
                    <a:pt x="236" y="388"/>
                    <a:pt x="233" y="389"/>
                  </a:cubicBezTo>
                  <a:cubicBezTo>
                    <a:pt x="233" y="389"/>
                    <a:pt x="233" y="389"/>
                    <a:pt x="233" y="389"/>
                  </a:cubicBezTo>
                  <a:cubicBezTo>
                    <a:pt x="211" y="395"/>
                    <a:pt x="187" y="399"/>
                    <a:pt x="157" y="401"/>
                  </a:cubicBezTo>
                  <a:cubicBezTo>
                    <a:pt x="159" y="401"/>
                    <a:pt x="155" y="401"/>
                    <a:pt x="155" y="401"/>
                  </a:cubicBezTo>
                  <a:cubicBezTo>
                    <a:pt x="154" y="401"/>
                    <a:pt x="153" y="402"/>
                    <a:pt x="152" y="402"/>
                  </a:cubicBezTo>
                  <a:cubicBezTo>
                    <a:pt x="140" y="402"/>
                    <a:pt x="127" y="402"/>
                    <a:pt x="114" y="402"/>
                  </a:cubicBezTo>
                  <a:cubicBezTo>
                    <a:pt x="100" y="402"/>
                    <a:pt x="86" y="402"/>
                    <a:pt x="70" y="401"/>
                  </a:cubicBezTo>
                  <a:cubicBezTo>
                    <a:pt x="70" y="402"/>
                    <a:pt x="70" y="402"/>
                    <a:pt x="70" y="402"/>
                  </a:cubicBezTo>
                  <a:cubicBezTo>
                    <a:pt x="124" y="463"/>
                    <a:pt x="210" y="499"/>
                    <a:pt x="317" y="499"/>
                  </a:cubicBezTo>
                  <a:cubicBezTo>
                    <a:pt x="544" y="499"/>
                    <a:pt x="736" y="399"/>
                    <a:pt x="821" y="176"/>
                  </a:cubicBezTo>
                  <a:cubicBezTo>
                    <a:pt x="882" y="182"/>
                    <a:pt x="940" y="167"/>
                    <a:pt x="966" y="115"/>
                  </a:cubicBezTo>
                  <a:cubicBezTo>
                    <a:pt x="924" y="91"/>
                    <a:pt x="870" y="99"/>
                    <a:pt x="839" y="114"/>
                  </a:cubicBez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3" name="Freeform 72">
              <a:extLst>
                <a:ext uri="{FF2B5EF4-FFF2-40B4-BE49-F238E27FC236}">
                  <a16:creationId xmlns:a16="http://schemas.microsoft.com/office/drawing/2014/main" id="{055562BA-1576-46CD-A5D0-2EA1A8D90F49}"/>
                </a:ext>
              </a:extLst>
            </p:cNvPr>
            <p:cNvSpPr>
              <a:spLocks noEditPoints="1"/>
            </p:cNvSpPr>
            <p:nvPr/>
          </p:nvSpPr>
          <p:spPr bwMode="auto">
            <a:xfrm>
              <a:off x="5505641" y="4270375"/>
              <a:ext cx="61260" cy="6191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4" name="Freeform 73">
              <a:extLst>
                <a:ext uri="{FF2B5EF4-FFF2-40B4-BE49-F238E27FC236}">
                  <a16:creationId xmlns:a16="http://schemas.microsoft.com/office/drawing/2014/main" id="{18BC7806-2A07-48A1-B37A-BC11B1705F9C}"/>
                </a:ext>
              </a:extLst>
            </p:cNvPr>
            <p:cNvSpPr>
              <a:spLocks noEditPoints="1"/>
            </p:cNvSpPr>
            <p:nvPr/>
          </p:nvSpPr>
          <p:spPr bwMode="auto">
            <a:xfrm>
              <a:off x="5576090" y="4197350"/>
              <a:ext cx="61260" cy="63500"/>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5" name="Freeform 74">
              <a:extLst>
                <a:ext uri="{FF2B5EF4-FFF2-40B4-BE49-F238E27FC236}">
                  <a16:creationId xmlns:a16="http://schemas.microsoft.com/office/drawing/2014/main" id="{28EA09CD-0CEA-4065-A265-F78174F93003}"/>
                </a:ext>
              </a:extLst>
            </p:cNvPr>
            <p:cNvSpPr>
              <a:spLocks noEditPoints="1"/>
            </p:cNvSpPr>
            <p:nvPr/>
          </p:nvSpPr>
          <p:spPr bwMode="auto">
            <a:xfrm>
              <a:off x="5576090" y="4270375"/>
              <a:ext cx="61260" cy="6191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6" name="Freeform 75">
              <a:extLst>
                <a:ext uri="{FF2B5EF4-FFF2-40B4-BE49-F238E27FC236}">
                  <a16:creationId xmlns:a16="http://schemas.microsoft.com/office/drawing/2014/main" id="{E8A86FB9-29F2-4C93-9DD6-E64CD710440A}"/>
                </a:ext>
              </a:extLst>
            </p:cNvPr>
            <p:cNvSpPr>
              <a:spLocks noEditPoints="1"/>
            </p:cNvSpPr>
            <p:nvPr/>
          </p:nvSpPr>
          <p:spPr bwMode="auto">
            <a:xfrm>
              <a:off x="5646539" y="4270375"/>
              <a:ext cx="61260" cy="6191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0" name="Freeform 76">
              <a:extLst>
                <a:ext uri="{FF2B5EF4-FFF2-40B4-BE49-F238E27FC236}">
                  <a16:creationId xmlns:a16="http://schemas.microsoft.com/office/drawing/2014/main" id="{6742F7A3-9DE6-4AB2-8436-4EB9B09BA494}"/>
                </a:ext>
              </a:extLst>
            </p:cNvPr>
            <p:cNvSpPr>
              <a:spLocks noEditPoints="1"/>
            </p:cNvSpPr>
            <p:nvPr/>
          </p:nvSpPr>
          <p:spPr bwMode="auto">
            <a:xfrm>
              <a:off x="5646539" y="4197350"/>
              <a:ext cx="61260" cy="63500"/>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1" name="Freeform 77">
              <a:extLst>
                <a:ext uri="{FF2B5EF4-FFF2-40B4-BE49-F238E27FC236}">
                  <a16:creationId xmlns:a16="http://schemas.microsoft.com/office/drawing/2014/main" id="{7D6CCE65-F232-49D6-86B6-FD71644537DB}"/>
                </a:ext>
              </a:extLst>
            </p:cNvPr>
            <p:cNvSpPr>
              <a:spLocks noEditPoints="1"/>
            </p:cNvSpPr>
            <p:nvPr/>
          </p:nvSpPr>
          <p:spPr bwMode="auto">
            <a:xfrm>
              <a:off x="5716989" y="4270375"/>
              <a:ext cx="61260" cy="6191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2" name="Freeform 78">
              <a:extLst>
                <a:ext uri="{FF2B5EF4-FFF2-40B4-BE49-F238E27FC236}">
                  <a16:creationId xmlns:a16="http://schemas.microsoft.com/office/drawing/2014/main" id="{832E96A7-332C-4D42-B290-357E718711AF}"/>
                </a:ext>
              </a:extLst>
            </p:cNvPr>
            <p:cNvSpPr>
              <a:spLocks noEditPoints="1"/>
            </p:cNvSpPr>
            <p:nvPr/>
          </p:nvSpPr>
          <p:spPr bwMode="auto">
            <a:xfrm>
              <a:off x="5716989" y="4197350"/>
              <a:ext cx="61260" cy="63500"/>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3" name="Freeform 79">
              <a:extLst>
                <a:ext uri="{FF2B5EF4-FFF2-40B4-BE49-F238E27FC236}">
                  <a16:creationId xmlns:a16="http://schemas.microsoft.com/office/drawing/2014/main" id="{A88C11BD-5401-4BEB-922D-B6C50456BEF9}"/>
                </a:ext>
              </a:extLst>
            </p:cNvPr>
            <p:cNvSpPr>
              <a:spLocks noEditPoints="1"/>
            </p:cNvSpPr>
            <p:nvPr/>
          </p:nvSpPr>
          <p:spPr bwMode="auto">
            <a:xfrm>
              <a:off x="5716989" y="4125913"/>
              <a:ext cx="61260" cy="63500"/>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4" name="Freeform 80">
              <a:extLst>
                <a:ext uri="{FF2B5EF4-FFF2-40B4-BE49-F238E27FC236}">
                  <a16:creationId xmlns:a16="http://schemas.microsoft.com/office/drawing/2014/main" id="{44359ED2-0DA3-4DD5-A144-D137DDAA930A}"/>
                </a:ext>
              </a:extLst>
            </p:cNvPr>
            <p:cNvSpPr>
              <a:spLocks noEditPoints="1"/>
            </p:cNvSpPr>
            <p:nvPr/>
          </p:nvSpPr>
          <p:spPr bwMode="auto">
            <a:xfrm>
              <a:off x="5787438" y="4270375"/>
              <a:ext cx="61260" cy="6191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5" name="Oval 81">
              <a:extLst>
                <a:ext uri="{FF2B5EF4-FFF2-40B4-BE49-F238E27FC236}">
                  <a16:creationId xmlns:a16="http://schemas.microsoft.com/office/drawing/2014/main" id="{6B070C48-6805-492C-9173-0F3CC21AFA1E}"/>
                </a:ext>
              </a:extLst>
            </p:cNvPr>
            <p:cNvSpPr>
              <a:spLocks noChangeArrowheads="1"/>
            </p:cNvSpPr>
            <p:nvPr/>
          </p:nvSpPr>
          <p:spPr bwMode="auto">
            <a:xfrm>
              <a:off x="5615909" y="4433888"/>
              <a:ext cx="33693" cy="3333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6" name="Freeform 82">
              <a:extLst>
                <a:ext uri="{FF2B5EF4-FFF2-40B4-BE49-F238E27FC236}">
                  <a16:creationId xmlns:a16="http://schemas.microsoft.com/office/drawing/2014/main" id="{9CF09907-485A-4AD4-B23A-14D84FF8B2A0}"/>
                </a:ext>
              </a:extLst>
            </p:cNvPr>
            <p:cNvSpPr>
              <a:spLocks/>
            </p:cNvSpPr>
            <p:nvPr/>
          </p:nvSpPr>
          <p:spPr bwMode="auto">
            <a:xfrm>
              <a:off x="5622035" y="4438650"/>
              <a:ext cx="24504" cy="23813"/>
            </a:xfrm>
            <a:custGeom>
              <a:avLst/>
              <a:gdLst>
                <a:gd name="T0" fmla="*/ 18 w 35"/>
                <a:gd name="T1" fmla="*/ 0 h 34"/>
                <a:gd name="T2" fmla="*/ 24 w 35"/>
                <a:gd name="T3" fmla="*/ 1 h 34"/>
                <a:gd name="T4" fmla="*/ 21 w 35"/>
                <a:gd name="T5" fmla="*/ 7 h 34"/>
                <a:gd name="T6" fmla="*/ 28 w 35"/>
                <a:gd name="T7" fmla="*/ 14 h 34"/>
                <a:gd name="T8" fmla="*/ 34 w 35"/>
                <a:gd name="T9" fmla="*/ 10 h 34"/>
                <a:gd name="T10" fmla="*/ 35 w 35"/>
                <a:gd name="T11" fmla="*/ 17 h 34"/>
                <a:gd name="T12" fmla="*/ 18 w 35"/>
                <a:gd name="T13" fmla="*/ 34 h 34"/>
                <a:gd name="T14" fmla="*/ 0 w 35"/>
                <a:gd name="T15" fmla="*/ 17 h 34"/>
                <a:gd name="T16" fmla="*/ 18 w 3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4">
                  <a:moveTo>
                    <a:pt x="18" y="0"/>
                  </a:moveTo>
                  <a:cubicBezTo>
                    <a:pt x="20" y="0"/>
                    <a:pt x="22" y="0"/>
                    <a:pt x="24" y="1"/>
                  </a:cubicBezTo>
                  <a:cubicBezTo>
                    <a:pt x="22" y="2"/>
                    <a:pt x="21" y="4"/>
                    <a:pt x="21" y="7"/>
                  </a:cubicBezTo>
                  <a:cubicBezTo>
                    <a:pt x="21" y="11"/>
                    <a:pt x="24" y="14"/>
                    <a:pt x="28" y="14"/>
                  </a:cubicBezTo>
                  <a:cubicBezTo>
                    <a:pt x="30" y="14"/>
                    <a:pt x="33" y="13"/>
                    <a:pt x="34" y="10"/>
                  </a:cubicBezTo>
                  <a:cubicBezTo>
                    <a:pt x="35" y="12"/>
                    <a:pt x="35" y="15"/>
                    <a:pt x="35" y="17"/>
                  </a:cubicBezTo>
                  <a:cubicBezTo>
                    <a:pt x="35" y="27"/>
                    <a:pt x="28" y="34"/>
                    <a:pt x="18" y="34"/>
                  </a:cubicBezTo>
                  <a:cubicBezTo>
                    <a:pt x="8" y="34"/>
                    <a:pt x="0" y="27"/>
                    <a:pt x="0" y="17"/>
                  </a:cubicBezTo>
                  <a:cubicBezTo>
                    <a:pt x="0" y="7"/>
                    <a:pt x="8" y="0"/>
                    <a:pt x="18" y="0"/>
                  </a:cubicBezTo>
                </a:path>
              </a:pathLst>
            </a:custGeom>
            <a:solidFill>
              <a:schemeClr val="tx2"/>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8" name="Freeform 84">
              <a:extLst>
                <a:ext uri="{FF2B5EF4-FFF2-40B4-BE49-F238E27FC236}">
                  <a16:creationId xmlns:a16="http://schemas.microsoft.com/office/drawing/2014/main" id="{923B10E4-C8AC-45E5-956A-3638BEAF71B8}"/>
                </a:ext>
              </a:extLst>
            </p:cNvPr>
            <p:cNvSpPr>
              <a:spLocks/>
            </p:cNvSpPr>
            <p:nvPr/>
          </p:nvSpPr>
          <p:spPr bwMode="auto">
            <a:xfrm>
              <a:off x="5487263" y="4479925"/>
              <a:ext cx="189907" cy="77788"/>
            </a:xfrm>
            <a:custGeom>
              <a:avLst/>
              <a:gdLst>
                <a:gd name="T0" fmla="*/ 279 w 279"/>
                <a:gd name="T1" fmla="*/ 110 h 110"/>
                <a:gd name="T2" fmla="*/ 167 w 279"/>
                <a:gd name="T3" fmla="*/ 0 h 110"/>
                <a:gd name="T4" fmla="*/ 85 w 279"/>
                <a:gd name="T5" fmla="*/ 12 h 110"/>
                <a:gd name="T6" fmla="*/ 48 w 279"/>
                <a:gd name="T7" fmla="*/ 13 h 110"/>
                <a:gd name="T8" fmla="*/ 0 w 279"/>
                <a:gd name="T9" fmla="*/ 12 h 110"/>
                <a:gd name="T10" fmla="*/ 251 w 279"/>
                <a:gd name="T11" fmla="*/ 110 h 110"/>
                <a:gd name="T12" fmla="*/ 279 w 279"/>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279" h="110">
                  <a:moveTo>
                    <a:pt x="279" y="110"/>
                  </a:moveTo>
                  <a:cubicBezTo>
                    <a:pt x="218" y="81"/>
                    <a:pt x="185" y="42"/>
                    <a:pt x="167" y="0"/>
                  </a:cubicBezTo>
                  <a:cubicBezTo>
                    <a:pt x="144" y="6"/>
                    <a:pt x="117" y="10"/>
                    <a:pt x="85" y="12"/>
                  </a:cubicBezTo>
                  <a:cubicBezTo>
                    <a:pt x="74" y="13"/>
                    <a:pt x="61" y="13"/>
                    <a:pt x="48" y="13"/>
                  </a:cubicBezTo>
                  <a:cubicBezTo>
                    <a:pt x="33" y="13"/>
                    <a:pt x="17" y="13"/>
                    <a:pt x="0" y="12"/>
                  </a:cubicBezTo>
                  <a:cubicBezTo>
                    <a:pt x="56" y="67"/>
                    <a:pt x="124" y="109"/>
                    <a:pt x="251" y="110"/>
                  </a:cubicBezTo>
                  <a:cubicBezTo>
                    <a:pt x="260" y="110"/>
                    <a:pt x="270" y="110"/>
                    <a:pt x="279" y="11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5138F45C-CA7E-1A48-B84E-B70459EC669B}"/>
              </a:ext>
            </a:extLst>
          </p:cNvPr>
          <p:cNvSpPr>
            <a:spLocks noGrp="1"/>
          </p:cNvSpPr>
          <p:nvPr>
            <p:ph type="title"/>
          </p:nvPr>
        </p:nvSpPr>
        <p:spPr/>
        <p:txBody>
          <a:bodyPr/>
          <a:lstStyle/>
          <a:p>
            <a:r>
              <a:rPr lang="en-US" dirty="0"/>
              <a:t>Building your own AI models</a:t>
            </a:r>
            <a:br>
              <a:rPr lang="en-US" dirty="0"/>
            </a:br>
            <a:endParaRPr lang="en-US" dirty="0"/>
          </a:p>
        </p:txBody>
      </p:sp>
      <p:sp>
        <p:nvSpPr>
          <p:cNvPr id="3" name="Text Placeholder 2">
            <a:extLst>
              <a:ext uri="{FF2B5EF4-FFF2-40B4-BE49-F238E27FC236}">
                <a16:creationId xmlns:a16="http://schemas.microsoft.com/office/drawing/2014/main" id="{70FCB086-6C5C-D849-A307-5C208D57FCCD}"/>
              </a:ext>
            </a:extLst>
          </p:cNvPr>
          <p:cNvSpPr>
            <a:spLocks noGrp="1"/>
          </p:cNvSpPr>
          <p:nvPr>
            <p:ph type="body" sz="quarter" idx="12"/>
          </p:nvPr>
        </p:nvSpPr>
        <p:spPr/>
        <p:txBody>
          <a:bodyPr/>
          <a:lstStyle/>
          <a:p>
            <a:r>
              <a:rPr lang="en-US" b="1" dirty="0">
                <a:latin typeface="Segoe UI Semibold" panose="020B0502040204020203" pitchFamily="34" charset="0"/>
                <a:cs typeface="Segoe UI Semibold" panose="020B0502040204020203" pitchFamily="34" charset="0"/>
              </a:rPr>
              <a:t>Step 3: </a:t>
            </a:r>
            <a:r>
              <a:rPr lang="en-US" dirty="0"/>
              <a:t>Deploy</a:t>
            </a:r>
          </a:p>
        </p:txBody>
      </p:sp>
      <p:grpSp>
        <p:nvGrpSpPr>
          <p:cNvPr id="42" name="Group 41">
            <a:extLst>
              <a:ext uri="{FF2B5EF4-FFF2-40B4-BE49-F238E27FC236}">
                <a16:creationId xmlns:a16="http://schemas.microsoft.com/office/drawing/2014/main" id="{7EC33928-B64B-354B-89DA-1397236E594D}"/>
              </a:ext>
            </a:extLst>
          </p:cNvPr>
          <p:cNvGrpSpPr/>
          <p:nvPr/>
        </p:nvGrpSpPr>
        <p:grpSpPr>
          <a:xfrm>
            <a:off x="1297097" y="3557506"/>
            <a:ext cx="876794" cy="937542"/>
            <a:chOff x="8882196" y="3721867"/>
            <a:chExt cx="285941" cy="305752"/>
          </a:xfrm>
          <a:solidFill>
            <a:schemeClr val="bg1"/>
          </a:solidFill>
        </p:grpSpPr>
        <p:sp>
          <p:nvSpPr>
            <p:cNvPr id="43" name="Rectangle 42">
              <a:extLst>
                <a:ext uri="{FF2B5EF4-FFF2-40B4-BE49-F238E27FC236}">
                  <a16:creationId xmlns:a16="http://schemas.microsoft.com/office/drawing/2014/main" id="{F625485A-ED42-5444-9589-7521F20379A7}"/>
                </a:ext>
              </a:extLst>
            </p:cNvPr>
            <p:cNvSpPr/>
            <p:nvPr/>
          </p:nvSpPr>
          <p:spPr bwMode="auto">
            <a:xfrm>
              <a:off x="8901347" y="3950022"/>
              <a:ext cx="247639" cy="77597"/>
            </a:xfrm>
            <a:prstGeom prst="rect">
              <a:avLst/>
            </a:prstGeom>
            <a:grp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Freeform 123">
              <a:extLst>
                <a:ext uri="{FF2B5EF4-FFF2-40B4-BE49-F238E27FC236}">
                  <a16:creationId xmlns:a16="http://schemas.microsoft.com/office/drawing/2014/main" id="{2824889F-E5DD-5941-A5F0-26FE58663091}"/>
                </a:ext>
              </a:extLst>
            </p:cNvPr>
            <p:cNvSpPr/>
            <p:nvPr/>
          </p:nvSpPr>
          <p:spPr bwMode="auto">
            <a:xfrm>
              <a:off x="8882196" y="3721867"/>
              <a:ext cx="180942" cy="305752"/>
            </a:xfrm>
            <a:custGeom>
              <a:avLst/>
              <a:gdLst>
                <a:gd name="connsiteX0" fmla="*/ 1641764 w 2847109"/>
                <a:gd name="connsiteY0" fmla="*/ 0 h 4810991"/>
                <a:gd name="connsiteX1" fmla="*/ 2847109 w 2847109"/>
                <a:gd name="connsiteY1" fmla="*/ 0 h 4810991"/>
                <a:gd name="connsiteX2" fmla="*/ 2847109 w 2847109"/>
                <a:gd name="connsiteY2" fmla="*/ 1797627 h 4810991"/>
                <a:gd name="connsiteX3" fmla="*/ 290946 w 2847109"/>
                <a:gd name="connsiteY3" fmla="*/ 4810991 h 4810991"/>
                <a:gd name="connsiteX4" fmla="*/ 0 w 2847109"/>
                <a:gd name="connsiteY4" fmla="*/ 3647209 h 4810991"/>
                <a:gd name="connsiteX5" fmla="*/ 1662546 w 2847109"/>
                <a:gd name="connsiteY5" fmla="*/ 1787236 h 4810991"/>
                <a:gd name="connsiteX6" fmla="*/ 1641764 w 2847109"/>
                <a:gd name="connsiteY6" fmla="*/ 0 h 481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7109" h="4810991">
                  <a:moveTo>
                    <a:pt x="1641764" y="0"/>
                  </a:moveTo>
                  <a:lnTo>
                    <a:pt x="2847109" y="0"/>
                  </a:lnTo>
                  <a:lnTo>
                    <a:pt x="2847109" y="1797627"/>
                  </a:lnTo>
                  <a:lnTo>
                    <a:pt x="290946" y="4810991"/>
                  </a:lnTo>
                  <a:lnTo>
                    <a:pt x="0" y="3647209"/>
                  </a:lnTo>
                  <a:lnTo>
                    <a:pt x="1662546" y="1787236"/>
                  </a:lnTo>
                  <a:lnTo>
                    <a:pt x="1641764" y="0"/>
                  </a:lnTo>
                  <a:close/>
                </a:path>
              </a:pathLst>
            </a:custGeom>
            <a:grp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Freeform 124">
              <a:extLst>
                <a:ext uri="{FF2B5EF4-FFF2-40B4-BE49-F238E27FC236}">
                  <a16:creationId xmlns:a16="http://schemas.microsoft.com/office/drawing/2014/main" id="{96DB359C-B80A-F647-B29D-BD493BC6A177}"/>
                </a:ext>
              </a:extLst>
            </p:cNvPr>
            <p:cNvSpPr/>
            <p:nvPr/>
          </p:nvSpPr>
          <p:spPr bwMode="auto">
            <a:xfrm>
              <a:off x="9035402" y="3857904"/>
              <a:ext cx="132735" cy="169715"/>
            </a:xfrm>
            <a:custGeom>
              <a:avLst/>
              <a:gdLst>
                <a:gd name="connsiteX0" fmla="*/ 0 w 2088573"/>
                <a:gd name="connsiteY0" fmla="*/ 883227 h 2670464"/>
                <a:gd name="connsiteX1" fmla="*/ 737755 w 2088573"/>
                <a:gd name="connsiteY1" fmla="*/ 0 h 2670464"/>
                <a:gd name="connsiteX2" fmla="*/ 2088573 w 2088573"/>
                <a:gd name="connsiteY2" fmla="*/ 1517073 h 2670464"/>
                <a:gd name="connsiteX3" fmla="*/ 1797627 w 2088573"/>
                <a:gd name="connsiteY3" fmla="*/ 2670464 h 2670464"/>
                <a:gd name="connsiteX4" fmla="*/ 0 w 2088573"/>
                <a:gd name="connsiteY4" fmla="*/ 883227 h 2670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573" h="2670464">
                  <a:moveTo>
                    <a:pt x="0" y="883227"/>
                  </a:moveTo>
                  <a:lnTo>
                    <a:pt x="737755" y="0"/>
                  </a:lnTo>
                  <a:lnTo>
                    <a:pt x="2088573" y="1517073"/>
                  </a:lnTo>
                  <a:lnTo>
                    <a:pt x="1797627" y="2670464"/>
                  </a:lnTo>
                  <a:lnTo>
                    <a:pt x="0" y="883227"/>
                  </a:lnTo>
                  <a:close/>
                </a:path>
              </a:pathLst>
            </a:custGeom>
            <a:grp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403089380"/>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AB008-C98E-6646-BA67-98FCF1CC1F48}"/>
              </a:ext>
            </a:extLst>
          </p:cNvPr>
          <p:cNvSpPr>
            <a:spLocks noGrp="1"/>
          </p:cNvSpPr>
          <p:nvPr>
            <p:ph type="title"/>
          </p:nvPr>
        </p:nvSpPr>
        <p:spPr/>
        <p:txBody>
          <a:bodyPr/>
          <a:lstStyle/>
          <a:p>
            <a:r>
              <a:rPr lang="en-US" dirty="0"/>
              <a:t>Building your own AI models</a:t>
            </a:r>
          </a:p>
        </p:txBody>
      </p:sp>
      <p:sp>
        <p:nvSpPr>
          <p:cNvPr id="3" name="Text Placeholder 2">
            <a:extLst>
              <a:ext uri="{FF2B5EF4-FFF2-40B4-BE49-F238E27FC236}">
                <a16:creationId xmlns:a16="http://schemas.microsoft.com/office/drawing/2014/main" id="{0F6F9D08-FD90-2140-ACFD-1BDC53440D24}"/>
              </a:ext>
            </a:extLst>
          </p:cNvPr>
          <p:cNvSpPr>
            <a:spLocks noGrp="1"/>
          </p:cNvSpPr>
          <p:nvPr>
            <p:ph type="body" sz="quarter" idx="12"/>
          </p:nvPr>
        </p:nvSpPr>
        <p:spPr/>
        <p:txBody>
          <a:bodyPr/>
          <a:lstStyle/>
          <a:p>
            <a:r>
              <a:rPr lang="en-US" dirty="0"/>
              <a:t>Transforming data into intelligence</a:t>
            </a:r>
          </a:p>
        </p:txBody>
      </p:sp>
      <p:sp>
        <p:nvSpPr>
          <p:cNvPr id="75" name="Rectangle 74">
            <a:extLst>
              <a:ext uri="{FF2B5EF4-FFF2-40B4-BE49-F238E27FC236}">
                <a16:creationId xmlns:a16="http://schemas.microsoft.com/office/drawing/2014/main" id="{1C3B3968-26A4-8F47-88AC-2673202B3C4F}"/>
              </a:ext>
            </a:extLst>
          </p:cNvPr>
          <p:cNvSpPr/>
          <p:nvPr/>
        </p:nvSpPr>
        <p:spPr>
          <a:xfrm>
            <a:off x="1135110" y="4705161"/>
            <a:ext cx="1777357"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Prepare data</a:t>
            </a:r>
          </a:p>
        </p:txBody>
      </p:sp>
      <p:sp>
        <p:nvSpPr>
          <p:cNvPr id="76" name="Rectangle 75">
            <a:extLst>
              <a:ext uri="{FF2B5EF4-FFF2-40B4-BE49-F238E27FC236}">
                <a16:creationId xmlns:a16="http://schemas.microsoft.com/office/drawing/2014/main" id="{9B389D86-52C4-2D4D-A8ED-50EED5B6FA31}"/>
              </a:ext>
            </a:extLst>
          </p:cNvPr>
          <p:cNvSpPr/>
          <p:nvPr/>
        </p:nvSpPr>
        <p:spPr>
          <a:xfrm>
            <a:off x="4989206" y="4705161"/>
            <a:ext cx="2025966"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Build and train</a:t>
            </a:r>
          </a:p>
        </p:txBody>
      </p:sp>
      <p:sp>
        <p:nvSpPr>
          <p:cNvPr id="77" name="Rectangle 76">
            <a:extLst>
              <a:ext uri="{FF2B5EF4-FFF2-40B4-BE49-F238E27FC236}">
                <a16:creationId xmlns:a16="http://schemas.microsoft.com/office/drawing/2014/main" id="{9D501BCA-152A-1E4F-B632-A870FB0AFF75}"/>
              </a:ext>
            </a:extLst>
          </p:cNvPr>
          <p:cNvSpPr/>
          <p:nvPr/>
        </p:nvSpPr>
        <p:spPr>
          <a:xfrm>
            <a:off x="9468437" y="4705161"/>
            <a:ext cx="1070500" cy="422417"/>
          </a:xfrm>
          <a:prstGeom prst="rect">
            <a:avLst/>
          </a:prstGeom>
        </p:spPr>
        <p:txBody>
          <a:bodyPr wrap="none">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157" b="0" i="0" u="none" strike="noStrike" kern="1200" cap="none" spc="0" normalizeH="0" baseline="0" noProof="0" dirty="0">
                <a:ln>
                  <a:noFill/>
                </a:ln>
                <a:solidFill>
                  <a:srgbClr val="0078D4"/>
                </a:solidFill>
                <a:effectLst/>
                <a:uLnTx/>
                <a:uFillTx/>
                <a:latin typeface="Segoe UI Semibold" panose="020B0702040204020203" pitchFamily="34" charset="0"/>
                <a:ea typeface="Segoe UI Semilight" charset="0"/>
                <a:cs typeface="Segoe UI Semibold" panose="020B0702040204020203" pitchFamily="34" charset="0"/>
              </a:rPr>
              <a:t>Deploy</a:t>
            </a:r>
          </a:p>
        </p:txBody>
      </p:sp>
      <p:grpSp>
        <p:nvGrpSpPr>
          <p:cNvPr id="78" name="Group 77">
            <a:extLst>
              <a:ext uri="{FF2B5EF4-FFF2-40B4-BE49-F238E27FC236}">
                <a16:creationId xmlns:a16="http://schemas.microsoft.com/office/drawing/2014/main" id="{0DE24FE9-005E-3B43-B2E9-EAD5D11E9CB3}"/>
              </a:ext>
            </a:extLst>
          </p:cNvPr>
          <p:cNvGrpSpPr/>
          <p:nvPr/>
        </p:nvGrpSpPr>
        <p:grpSpPr>
          <a:xfrm>
            <a:off x="9012965" y="2581371"/>
            <a:ext cx="1981445" cy="1637978"/>
            <a:chOff x="9524460" y="2632636"/>
            <a:chExt cx="2021177" cy="1670823"/>
          </a:xfrm>
        </p:grpSpPr>
        <p:sp>
          <p:nvSpPr>
            <p:cNvPr id="79" name="gear_3">
              <a:extLst>
                <a:ext uri="{FF2B5EF4-FFF2-40B4-BE49-F238E27FC236}">
                  <a16:creationId xmlns:a16="http://schemas.microsoft.com/office/drawing/2014/main" id="{704F2D56-647B-4047-B96C-1E3C20BFA8FB}"/>
                </a:ext>
              </a:extLst>
            </p:cNvPr>
            <p:cNvSpPr>
              <a:spLocks noChangeAspect="1" noEditPoints="1"/>
            </p:cNvSpPr>
            <p:nvPr/>
          </p:nvSpPr>
          <p:spPr bwMode="auto">
            <a:xfrm>
              <a:off x="9524460" y="3183698"/>
              <a:ext cx="1110355" cy="111976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gear_3">
              <a:extLst>
                <a:ext uri="{FF2B5EF4-FFF2-40B4-BE49-F238E27FC236}">
                  <a16:creationId xmlns:a16="http://schemas.microsoft.com/office/drawing/2014/main" id="{70740903-624E-8F4B-8D84-3119D0193BD1}"/>
                </a:ext>
              </a:extLst>
            </p:cNvPr>
            <p:cNvSpPr>
              <a:spLocks noChangeAspect="1" noEditPoints="1"/>
            </p:cNvSpPr>
            <p:nvPr/>
          </p:nvSpPr>
          <p:spPr bwMode="auto">
            <a:xfrm>
              <a:off x="10421433" y="2632636"/>
              <a:ext cx="735342" cy="74157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gear_3">
              <a:extLst>
                <a:ext uri="{FF2B5EF4-FFF2-40B4-BE49-F238E27FC236}">
                  <a16:creationId xmlns:a16="http://schemas.microsoft.com/office/drawing/2014/main" id="{F998CEF3-EEFF-D342-A50C-1DC77FCD9F4C}"/>
                </a:ext>
              </a:extLst>
            </p:cNvPr>
            <p:cNvSpPr>
              <a:spLocks noChangeAspect="1" noEditPoints="1"/>
            </p:cNvSpPr>
            <p:nvPr/>
          </p:nvSpPr>
          <p:spPr bwMode="auto">
            <a:xfrm>
              <a:off x="11022746" y="3309209"/>
              <a:ext cx="522891" cy="527320"/>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82" name="Group 81">
            <a:extLst>
              <a:ext uri="{FF2B5EF4-FFF2-40B4-BE49-F238E27FC236}">
                <a16:creationId xmlns:a16="http://schemas.microsoft.com/office/drawing/2014/main" id="{D837E3BE-BC6A-6949-B639-E3DD2D94D0E4}"/>
              </a:ext>
            </a:extLst>
          </p:cNvPr>
          <p:cNvGrpSpPr/>
          <p:nvPr/>
        </p:nvGrpSpPr>
        <p:grpSpPr>
          <a:xfrm>
            <a:off x="1144934" y="2677641"/>
            <a:ext cx="1757706" cy="1650960"/>
            <a:chOff x="1239394" y="2531811"/>
            <a:chExt cx="1792952" cy="1684065"/>
          </a:xfrm>
        </p:grpSpPr>
        <p:grpSp>
          <p:nvGrpSpPr>
            <p:cNvPr id="83" name="Group 82">
              <a:extLst>
                <a:ext uri="{FF2B5EF4-FFF2-40B4-BE49-F238E27FC236}">
                  <a16:creationId xmlns:a16="http://schemas.microsoft.com/office/drawing/2014/main" id="{3511E66E-22CF-7A4F-AB74-E89116E22B57}"/>
                </a:ext>
              </a:extLst>
            </p:cNvPr>
            <p:cNvGrpSpPr/>
            <p:nvPr/>
          </p:nvGrpSpPr>
          <p:grpSpPr>
            <a:xfrm>
              <a:off x="1239394" y="2531811"/>
              <a:ext cx="523013" cy="1684065"/>
              <a:chOff x="1395310" y="3332039"/>
              <a:chExt cx="430961" cy="1387665"/>
            </a:xfrm>
            <a:solidFill>
              <a:schemeClr val="bg1"/>
            </a:solidFill>
          </p:grpSpPr>
          <p:sp>
            <p:nvSpPr>
              <p:cNvPr id="92" name="Isosceles Triangle 86">
                <a:extLst>
                  <a:ext uri="{FF2B5EF4-FFF2-40B4-BE49-F238E27FC236}">
                    <a16:creationId xmlns:a16="http://schemas.microsoft.com/office/drawing/2014/main" id="{E9666272-04E8-BE47-A08D-3AAABFFBE8CA}"/>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 name="Rectangle 92">
                <a:extLst>
                  <a:ext uri="{FF2B5EF4-FFF2-40B4-BE49-F238E27FC236}">
                    <a16:creationId xmlns:a16="http://schemas.microsoft.com/office/drawing/2014/main" id="{CD0BBD34-986C-EB4D-B1FF-5156118693B3}"/>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 name="Oval 93">
                <a:extLst>
                  <a:ext uri="{FF2B5EF4-FFF2-40B4-BE49-F238E27FC236}">
                    <a16:creationId xmlns:a16="http://schemas.microsoft.com/office/drawing/2014/main" id="{A66D751E-7F70-924E-815A-88F84E827FFF}"/>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84" name="Group 83">
              <a:extLst>
                <a:ext uri="{FF2B5EF4-FFF2-40B4-BE49-F238E27FC236}">
                  <a16:creationId xmlns:a16="http://schemas.microsoft.com/office/drawing/2014/main" id="{6DADAA1D-7468-FB44-9115-39D24A0D3886}"/>
                </a:ext>
              </a:extLst>
            </p:cNvPr>
            <p:cNvGrpSpPr/>
            <p:nvPr/>
          </p:nvGrpSpPr>
          <p:grpSpPr>
            <a:xfrm>
              <a:off x="1874363" y="2531811"/>
              <a:ext cx="523013" cy="1684065"/>
              <a:chOff x="1395310" y="3332039"/>
              <a:chExt cx="430961" cy="1387665"/>
            </a:xfrm>
            <a:solidFill>
              <a:schemeClr val="bg1"/>
            </a:solidFill>
          </p:grpSpPr>
          <p:sp>
            <p:nvSpPr>
              <p:cNvPr id="89" name="Isosceles Triangle 83">
                <a:extLst>
                  <a:ext uri="{FF2B5EF4-FFF2-40B4-BE49-F238E27FC236}">
                    <a16:creationId xmlns:a16="http://schemas.microsoft.com/office/drawing/2014/main" id="{9C5BE7A0-6561-1441-AA5C-D808A113A932}"/>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 name="Rectangle 89">
                <a:extLst>
                  <a:ext uri="{FF2B5EF4-FFF2-40B4-BE49-F238E27FC236}">
                    <a16:creationId xmlns:a16="http://schemas.microsoft.com/office/drawing/2014/main" id="{B55571EC-E8E1-1443-A6AC-D6AABACB41A8}"/>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 name="Oval 90">
                <a:extLst>
                  <a:ext uri="{FF2B5EF4-FFF2-40B4-BE49-F238E27FC236}">
                    <a16:creationId xmlns:a16="http://schemas.microsoft.com/office/drawing/2014/main" id="{C6313B18-0DD5-6F44-A2BA-1D8C6994EF0E}"/>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nvGrpSpPr>
            <p:cNvPr id="85" name="Group 84">
              <a:extLst>
                <a:ext uri="{FF2B5EF4-FFF2-40B4-BE49-F238E27FC236}">
                  <a16:creationId xmlns:a16="http://schemas.microsoft.com/office/drawing/2014/main" id="{1A787792-5FE2-6C49-B359-DB54C21F797F}"/>
                </a:ext>
              </a:extLst>
            </p:cNvPr>
            <p:cNvGrpSpPr/>
            <p:nvPr/>
          </p:nvGrpSpPr>
          <p:grpSpPr>
            <a:xfrm>
              <a:off x="2509333" y="2531811"/>
              <a:ext cx="523013" cy="1684065"/>
              <a:chOff x="1395310" y="3332039"/>
              <a:chExt cx="430961" cy="1387665"/>
            </a:xfrm>
            <a:solidFill>
              <a:schemeClr val="bg1"/>
            </a:solidFill>
          </p:grpSpPr>
          <p:sp>
            <p:nvSpPr>
              <p:cNvPr id="86" name="Isosceles Triangle 80">
                <a:extLst>
                  <a:ext uri="{FF2B5EF4-FFF2-40B4-BE49-F238E27FC236}">
                    <a16:creationId xmlns:a16="http://schemas.microsoft.com/office/drawing/2014/main" id="{E0468EE2-9C89-7C46-A84B-5690418A0241}"/>
                  </a:ext>
                </a:extLst>
              </p:cNvPr>
              <p:cNvSpPr/>
              <p:nvPr/>
            </p:nvSpPr>
            <p:spPr bwMode="auto">
              <a:xfrm>
                <a:off x="1395310" y="3332039"/>
                <a:ext cx="430961" cy="371518"/>
              </a:xfrm>
              <a:prstGeom prst="triangl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 name="Rectangle 86">
                <a:extLst>
                  <a:ext uri="{FF2B5EF4-FFF2-40B4-BE49-F238E27FC236}">
                    <a16:creationId xmlns:a16="http://schemas.microsoft.com/office/drawing/2014/main" id="{4F71CAE2-302A-8B42-A8AF-AE5E246346E4}"/>
                  </a:ext>
                </a:extLst>
              </p:cNvPr>
              <p:cNvSpPr/>
              <p:nvPr/>
            </p:nvSpPr>
            <p:spPr bwMode="auto">
              <a:xfrm>
                <a:off x="1438477" y="3855311"/>
                <a:ext cx="344626" cy="344626"/>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 name="Oval 87">
                <a:extLst>
                  <a:ext uri="{FF2B5EF4-FFF2-40B4-BE49-F238E27FC236}">
                    <a16:creationId xmlns:a16="http://schemas.microsoft.com/office/drawing/2014/main" id="{B143D7F4-AEBA-2A41-8E92-0B56D5710A7E}"/>
                  </a:ext>
                </a:extLst>
              </p:cNvPr>
              <p:cNvSpPr/>
              <p:nvPr/>
            </p:nvSpPr>
            <p:spPr bwMode="auto">
              <a:xfrm>
                <a:off x="1413641" y="4325406"/>
                <a:ext cx="394299" cy="39429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p>
            </p:txBody>
          </p:sp>
        </p:grpSp>
      </p:grpSp>
      <p:grpSp>
        <p:nvGrpSpPr>
          <p:cNvPr id="95" name="Group 94">
            <a:extLst>
              <a:ext uri="{FF2B5EF4-FFF2-40B4-BE49-F238E27FC236}">
                <a16:creationId xmlns:a16="http://schemas.microsoft.com/office/drawing/2014/main" id="{008326FA-D852-314A-9F8D-227D5A2881BE}"/>
              </a:ext>
            </a:extLst>
          </p:cNvPr>
          <p:cNvGrpSpPr/>
          <p:nvPr/>
        </p:nvGrpSpPr>
        <p:grpSpPr>
          <a:xfrm>
            <a:off x="4848627" y="2491813"/>
            <a:ext cx="2301051" cy="1998974"/>
            <a:chOff x="4986639" y="2541282"/>
            <a:chExt cx="2347192" cy="2039058"/>
          </a:xfrm>
        </p:grpSpPr>
        <p:sp>
          <p:nvSpPr>
            <p:cNvPr id="96" name="Line 19">
              <a:extLst>
                <a:ext uri="{FF2B5EF4-FFF2-40B4-BE49-F238E27FC236}">
                  <a16:creationId xmlns:a16="http://schemas.microsoft.com/office/drawing/2014/main" id="{554D43DF-7F26-0A4B-8800-65436EA41756}"/>
                </a:ext>
              </a:extLst>
            </p:cNvPr>
            <p:cNvSpPr>
              <a:spLocks noChangeShapeType="1"/>
            </p:cNvSpPr>
            <p:nvPr/>
          </p:nvSpPr>
          <p:spPr bwMode="auto">
            <a:xfrm rot="16200000">
              <a:off x="6005770" y="3401735"/>
              <a:ext cx="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grpSp>
          <p:nvGrpSpPr>
            <p:cNvPr id="97" name="Group 11">
              <a:extLst>
                <a:ext uri="{FF2B5EF4-FFF2-40B4-BE49-F238E27FC236}">
                  <a16:creationId xmlns:a16="http://schemas.microsoft.com/office/drawing/2014/main" id="{5E94C35C-3346-8F44-83DE-6795B6930B7B}"/>
                </a:ext>
              </a:extLst>
            </p:cNvPr>
            <p:cNvGrpSpPr>
              <a:grpSpLocks noChangeAspect="1"/>
            </p:cNvGrpSpPr>
            <p:nvPr/>
          </p:nvGrpSpPr>
          <p:grpSpPr bwMode="auto">
            <a:xfrm>
              <a:off x="5712422" y="3055262"/>
              <a:ext cx="1007365" cy="1097312"/>
              <a:chOff x="3861" y="4291602"/>
              <a:chExt cx="112" cy="244433"/>
            </a:xfrm>
          </p:grpSpPr>
          <p:sp>
            <p:nvSpPr>
              <p:cNvPr id="104" name="Freeform 12">
                <a:extLst>
                  <a:ext uri="{FF2B5EF4-FFF2-40B4-BE49-F238E27FC236}">
                    <a16:creationId xmlns:a16="http://schemas.microsoft.com/office/drawing/2014/main" id="{2F0900AA-2D4D-5044-B251-2216B5F0B2B2}"/>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5" name="Line 13">
                <a:extLst>
                  <a:ext uri="{FF2B5EF4-FFF2-40B4-BE49-F238E27FC236}">
                    <a16:creationId xmlns:a16="http://schemas.microsoft.com/office/drawing/2014/main" id="{37FCEECE-7E75-4E47-BD1C-9B7D4DE2C996}"/>
                  </a:ext>
                </a:extLst>
              </p:cNvPr>
              <p:cNvSpPr>
                <a:spLocks noChangeShapeType="1"/>
              </p:cNvSpPr>
              <p:nvPr/>
            </p:nvSpPr>
            <p:spPr bwMode="auto">
              <a:xfrm>
                <a:off x="3874" y="4469918"/>
                <a:ext cx="8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6" name="Line 14">
                <a:extLst>
                  <a:ext uri="{FF2B5EF4-FFF2-40B4-BE49-F238E27FC236}">
                    <a16:creationId xmlns:a16="http://schemas.microsoft.com/office/drawing/2014/main" id="{C981225F-E4DB-1A4C-B5B3-BDB59A65AD43}"/>
                  </a:ext>
                </a:extLst>
              </p:cNvPr>
              <p:cNvSpPr>
                <a:spLocks noChangeShapeType="1"/>
              </p:cNvSpPr>
              <p:nvPr/>
            </p:nvSpPr>
            <p:spPr bwMode="auto">
              <a:xfrm>
                <a:off x="3923" y="4335680"/>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7" name="Line 15">
                <a:extLst>
                  <a:ext uri="{FF2B5EF4-FFF2-40B4-BE49-F238E27FC236}">
                    <a16:creationId xmlns:a16="http://schemas.microsoft.com/office/drawing/2014/main" id="{64037CB9-A8CB-BF44-9605-FFDC71EEAA9D}"/>
                  </a:ext>
                </a:extLst>
              </p:cNvPr>
              <p:cNvSpPr>
                <a:spLocks noChangeShapeType="1"/>
              </p:cNvSpPr>
              <p:nvPr/>
            </p:nvSpPr>
            <p:spPr bwMode="auto">
              <a:xfrm>
                <a:off x="3923" y="4379758"/>
                <a:ext cx="16"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8" name="Line 16">
                <a:extLst>
                  <a:ext uri="{FF2B5EF4-FFF2-40B4-BE49-F238E27FC236}">
                    <a16:creationId xmlns:a16="http://schemas.microsoft.com/office/drawing/2014/main" id="{27C804A6-F112-0748-8D5C-4CC0F018E66F}"/>
                  </a:ext>
                </a:extLst>
              </p:cNvPr>
              <p:cNvSpPr>
                <a:spLocks noChangeShapeType="1"/>
              </p:cNvSpPr>
              <p:nvPr/>
            </p:nvSpPr>
            <p:spPr bwMode="auto">
              <a:xfrm>
                <a:off x="3923" y="4425840"/>
                <a:ext cx="2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9" name="Line 17">
                <a:extLst>
                  <a:ext uri="{FF2B5EF4-FFF2-40B4-BE49-F238E27FC236}">
                    <a16:creationId xmlns:a16="http://schemas.microsoft.com/office/drawing/2014/main" id="{F8036C0D-6DAA-664A-894B-109B39C0C2EF}"/>
                  </a:ext>
                </a:extLst>
              </p:cNvPr>
              <p:cNvSpPr>
                <a:spLocks noChangeShapeType="1"/>
              </p:cNvSpPr>
              <p:nvPr/>
            </p:nvSpPr>
            <p:spPr bwMode="auto">
              <a:xfrm>
                <a:off x="3883" y="4291602"/>
                <a:ext cx="68"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98" name="Group 97">
              <a:extLst>
                <a:ext uri="{FF2B5EF4-FFF2-40B4-BE49-F238E27FC236}">
                  <a16:creationId xmlns:a16="http://schemas.microsoft.com/office/drawing/2014/main" id="{9FE668BD-F09C-C944-9FEB-D8372B26CF85}"/>
                </a:ext>
              </a:extLst>
            </p:cNvPr>
            <p:cNvGrpSpPr/>
            <p:nvPr/>
          </p:nvGrpSpPr>
          <p:grpSpPr>
            <a:xfrm>
              <a:off x="5359189" y="2541282"/>
              <a:ext cx="1974642" cy="1799700"/>
              <a:chOff x="4723382" y="2415376"/>
              <a:chExt cx="2374103" cy="2163771"/>
            </a:xfrm>
          </p:grpSpPr>
          <p:sp>
            <p:nvSpPr>
              <p:cNvPr id="102" name="Freeform 22">
                <a:extLst>
                  <a:ext uri="{FF2B5EF4-FFF2-40B4-BE49-F238E27FC236}">
                    <a16:creationId xmlns:a16="http://schemas.microsoft.com/office/drawing/2014/main" id="{6C641964-27D8-5346-8B18-DDD94A0DDFF4}"/>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03" name="Arc 102">
                <a:extLst>
                  <a:ext uri="{FF2B5EF4-FFF2-40B4-BE49-F238E27FC236}">
                    <a16:creationId xmlns:a16="http://schemas.microsoft.com/office/drawing/2014/main" id="{D625BE68-BF56-0D4E-B7D7-E95D452CAE37}"/>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grpSp>
          <p:nvGrpSpPr>
            <p:cNvPr id="99" name="Group 98">
              <a:extLst>
                <a:ext uri="{FF2B5EF4-FFF2-40B4-BE49-F238E27FC236}">
                  <a16:creationId xmlns:a16="http://schemas.microsoft.com/office/drawing/2014/main" id="{130F85D9-7292-8344-93EA-F5BE0DAE5C4C}"/>
                </a:ext>
              </a:extLst>
            </p:cNvPr>
            <p:cNvGrpSpPr/>
            <p:nvPr/>
          </p:nvGrpSpPr>
          <p:grpSpPr>
            <a:xfrm rot="10800000">
              <a:off x="4986639" y="2780640"/>
              <a:ext cx="1974642" cy="1799700"/>
              <a:chOff x="4723382" y="2415376"/>
              <a:chExt cx="2374103" cy="2163771"/>
            </a:xfrm>
          </p:grpSpPr>
          <p:sp>
            <p:nvSpPr>
              <p:cNvPr id="100" name="Freeform 22">
                <a:extLst>
                  <a:ext uri="{FF2B5EF4-FFF2-40B4-BE49-F238E27FC236}">
                    <a16:creationId xmlns:a16="http://schemas.microsoft.com/office/drawing/2014/main" id="{8863C34A-A3FC-9143-84BA-D1264C2BE2BE}"/>
                  </a:ext>
                </a:extLst>
              </p:cNvPr>
              <p:cNvSpPr>
                <a:spLocks/>
              </p:cNvSpPr>
              <p:nvPr/>
            </p:nvSpPr>
            <p:spPr bwMode="auto">
              <a:xfrm rot="16200000">
                <a:off x="6785060" y="3189956"/>
                <a:ext cx="201294" cy="423556"/>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panose="020B0502040204020203" pitchFamily="34" charset="0"/>
                  <a:ea typeface="MS PGothic" panose="020B0600070205080204" pitchFamily="34" charset="-128"/>
                  <a:cs typeface="+mn-cs"/>
                </a:endParaRPr>
              </a:p>
            </p:txBody>
          </p:sp>
          <p:sp>
            <p:nvSpPr>
              <p:cNvPr id="101" name="Arc 100">
                <a:extLst>
                  <a:ext uri="{FF2B5EF4-FFF2-40B4-BE49-F238E27FC236}">
                    <a16:creationId xmlns:a16="http://schemas.microsoft.com/office/drawing/2014/main" id="{C85B8CE6-D821-5841-B404-D7683E8CD5D5}"/>
                  </a:ext>
                </a:extLst>
              </p:cNvPr>
              <p:cNvSpPr/>
              <p:nvPr/>
            </p:nvSpPr>
            <p:spPr>
              <a:xfrm>
                <a:off x="4723382" y="2415376"/>
                <a:ext cx="2163771" cy="2163771"/>
              </a:xfrm>
              <a:prstGeom prst="arc">
                <a:avLst>
                  <a:gd name="adj1" fmla="val 15775537"/>
                  <a:gd name="adj2" fmla="val 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grpSp>
      <p:sp>
        <p:nvSpPr>
          <p:cNvPr id="110" name="Freeform 109">
            <a:extLst>
              <a:ext uri="{FF2B5EF4-FFF2-40B4-BE49-F238E27FC236}">
                <a16:creationId xmlns:a16="http://schemas.microsoft.com/office/drawing/2014/main" id="{D9B594C6-6906-0649-BE83-A11D33411D6F}"/>
              </a:ext>
            </a:extLst>
          </p:cNvPr>
          <p:cNvSpPr/>
          <p:nvPr/>
        </p:nvSpPr>
        <p:spPr bwMode="auto">
          <a:xfrm flipH="1">
            <a:off x="7970370" y="3136710"/>
            <a:ext cx="401865" cy="89951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11" name="Freeform 110">
            <a:extLst>
              <a:ext uri="{FF2B5EF4-FFF2-40B4-BE49-F238E27FC236}">
                <a16:creationId xmlns:a16="http://schemas.microsoft.com/office/drawing/2014/main" id="{053F215C-7A43-2A46-89C9-9964BF0E8814}"/>
              </a:ext>
            </a:extLst>
          </p:cNvPr>
          <p:cNvSpPr/>
          <p:nvPr/>
        </p:nvSpPr>
        <p:spPr bwMode="auto">
          <a:xfrm flipH="1">
            <a:off x="3591924" y="3136710"/>
            <a:ext cx="401865" cy="89951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4102538042"/>
      </p:ext>
    </p:extLst>
  </p:cSld>
  <p:clrMapOvr>
    <a:masterClrMapping/>
  </p:clrMapOvr>
  <mc:AlternateContent xmlns:mc="http://schemas.openxmlformats.org/markup-compatibility/2006" xmlns:p14="http://schemas.microsoft.com/office/powerpoint/2010/main">
    <mc:Choice Requires="p14">
      <p:transition spd="med" p14:dur="700" advTm="500">
        <p:fade/>
      </p:transition>
    </mc:Choice>
    <mc:Fallback xmlns="">
      <p:transition spd="med" advTm="500">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aphic 4">
            <a:extLst>
              <a:ext uri="{FF2B5EF4-FFF2-40B4-BE49-F238E27FC236}">
                <a16:creationId xmlns:a16="http://schemas.microsoft.com/office/drawing/2014/main" id="{A5F3BD6B-18ED-4BA4-9942-943FBDA18367}"/>
              </a:ext>
            </a:extLst>
          </p:cNvPr>
          <p:cNvGrpSpPr/>
          <p:nvPr/>
        </p:nvGrpSpPr>
        <p:grpSpPr>
          <a:xfrm>
            <a:off x="11408775" y="186780"/>
            <a:ext cx="515479" cy="545802"/>
            <a:chOff x="11448302" y="6116320"/>
            <a:chExt cx="515552" cy="545879"/>
          </a:xfrm>
        </p:grpSpPr>
        <p:sp>
          <p:nvSpPr>
            <p:cNvPr id="15" name="Freeform: Shape 14">
              <a:extLst>
                <a:ext uri="{FF2B5EF4-FFF2-40B4-BE49-F238E27FC236}">
                  <a16:creationId xmlns:a16="http://schemas.microsoft.com/office/drawing/2014/main" id="{298EB83F-099E-488F-9FC3-3E3C12ADFC4F}"/>
                </a:ext>
              </a:extLst>
            </p:cNvPr>
            <p:cNvSpPr/>
            <p:nvPr/>
          </p:nvSpPr>
          <p:spPr>
            <a:xfrm>
              <a:off x="11471805" y="6521938"/>
              <a:ext cx="470062" cy="151633"/>
            </a:xfrm>
            <a:custGeom>
              <a:avLst/>
              <a:gdLst>
                <a:gd name="connsiteX0" fmla="*/ 11372 w 470062"/>
                <a:gd name="connsiteY0" fmla="*/ 146326 h 151633"/>
                <a:gd name="connsiteX1" fmla="*/ 466271 w 470062"/>
                <a:gd name="connsiteY1" fmla="*/ 146326 h 151633"/>
                <a:gd name="connsiteX2" fmla="*/ 338900 w 470062"/>
                <a:gd name="connsiteY2" fmla="*/ 11372 h 151633"/>
                <a:gd name="connsiteX3" fmla="*/ 117516 w 470062"/>
                <a:gd name="connsiteY3" fmla="*/ 11372 h 151633"/>
              </a:gdLst>
              <a:ahLst/>
              <a:cxnLst>
                <a:cxn ang="0">
                  <a:pos x="connsiteX0" y="connsiteY0"/>
                </a:cxn>
                <a:cxn ang="0">
                  <a:pos x="connsiteX1" y="connsiteY1"/>
                </a:cxn>
                <a:cxn ang="0">
                  <a:pos x="connsiteX2" y="connsiteY2"/>
                </a:cxn>
                <a:cxn ang="0">
                  <a:pos x="connsiteX3" y="connsiteY3"/>
                </a:cxn>
              </a:cxnLst>
              <a:rect l="l" t="t" r="r" b="b"/>
              <a:pathLst>
                <a:path w="470062" h="151633">
                  <a:moveTo>
                    <a:pt x="11372" y="146326"/>
                  </a:moveTo>
                  <a:lnTo>
                    <a:pt x="466271" y="146326"/>
                  </a:lnTo>
                  <a:lnTo>
                    <a:pt x="338900" y="11372"/>
                  </a:lnTo>
                  <a:lnTo>
                    <a:pt x="117516" y="11372"/>
                  </a:lnTo>
                  <a:close/>
                </a:path>
              </a:pathLst>
            </a:custGeom>
            <a:solidFill>
              <a:srgbClr val="153C63"/>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 name="Freeform: Shape 15">
              <a:extLst>
                <a:ext uri="{FF2B5EF4-FFF2-40B4-BE49-F238E27FC236}">
                  <a16:creationId xmlns:a16="http://schemas.microsoft.com/office/drawing/2014/main" id="{C96E63E2-8FF3-497D-8FAB-53306EF43A2D}"/>
                </a:ext>
              </a:extLst>
            </p:cNvPr>
            <p:cNvSpPr/>
            <p:nvPr/>
          </p:nvSpPr>
          <p:spPr>
            <a:xfrm>
              <a:off x="11436930" y="6315717"/>
              <a:ext cx="348756" cy="363919"/>
            </a:xfrm>
            <a:custGeom>
              <a:avLst/>
              <a:gdLst>
                <a:gd name="connsiteX0" fmla="*/ 46248 w 348755"/>
                <a:gd name="connsiteY0" fmla="*/ 352547 h 363919"/>
                <a:gd name="connsiteX1" fmla="*/ 11372 w 348755"/>
                <a:gd name="connsiteY1" fmla="*/ 217593 h 363919"/>
                <a:gd name="connsiteX2" fmla="*/ 203946 w 348755"/>
                <a:gd name="connsiteY2" fmla="*/ 11372 h 363919"/>
                <a:gd name="connsiteX3" fmla="*/ 338900 w 348755"/>
                <a:gd name="connsiteY3" fmla="*/ 11372 h 363919"/>
              </a:gdLst>
              <a:ahLst/>
              <a:cxnLst>
                <a:cxn ang="0">
                  <a:pos x="connsiteX0" y="connsiteY0"/>
                </a:cxn>
                <a:cxn ang="0">
                  <a:pos x="connsiteX1" y="connsiteY1"/>
                </a:cxn>
                <a:cxn ang="0">
                  <a:pos x="connsiteX2" y="connsiteY2"/>
                </a:cxn>
                <a:cxn ang="0">
                  <a:pos x="connsiteX3" y="connsiteY3"/>
                </a:cxn>
              </a:cxnLst>
              <a:rect l="l" t="t" r="r" b="b"/>
              <a:pathLst>
                <a:path w="348755" h="363919">
                  <a:moveTo>
                    <a:pt x="46248" y="352547"/>
                  </a:moveTo>
                  <a:lnTo>
                    <a:pt x="11372" y="217593"/>
                  </a:lnTo>
                  <a:lnTo>
                    <a:pt x="203946" y="11372"/>
                  </a:lnTo>
                  <a:lnTo>
                    <a:pt x="338900" y="11372"/>
                  </a:lnTo>
                  <a:close/>
                </a:path>
              </a:pathLst>
            </a:custGeom>
            <a:solidFill>
              <a:srgbClr val="1C93D6"/>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 name="Freeform: Shape 16">
              <a:extLst>
                <a:ext uri="{FF2B5EF4-FFF2-40B4-BE49-F238E27FC236}">
                  <a16:creationId xmlns:a16="http://schemas.microsoft.com/office/drawing/2014/main" id="{AA44F0CA-C6D4-4842-A1B2-4755F56F6A2F}"/>
                </a:ext>
              </a:extLst>
            </p:cNvPr>
            <p:cNvSpPr/>
            <p:nvPr/>
          </p:nvSpPr>
          <p:spPr>
            <a:xfrm>
              <a:off x="11627987" y="6104948"/>
              <a:ext cx="151633" cy="227450"/>
            </a:xfrm>
            <a:custGeom>
              <a:avLst/>
              <a:gdLst>
                <a:gd name="connsiteX0" fmla="*/ 11372 w 151632"/>
                <a:gd name="connsiteY0" fmla="*/ 11372 h 227449"/>
                <a:gd name="connsiteX1" fmla="*/ 147842 w 151632"/>
                <a:gd name="connsiteY1" fmla="*/ 11372 h 227449"/>
                <a:gd name="connsiteX2" fmla="*/ 147842 w 151632"/>
                <a:gd name="connsiteY2" fmla="*/ 222142 h 227449"/>
                <a:gd name="connsiteX3" fmla="*/ 12889 w 151632"/>
                <a:gd name="connsiteY3" fmla="*/ 222142 h 227449"/>
              </a:gdLst>
              <a:ahLst/>
              <a:cxnLst>
                <a:cxn ang="0">
                  <a:pos x="connsiteX0" y="connsiteY0"/>
                </a:cxn>
                <a:cxn ang="0">
                  <a:pos x="connsiteX1" y="connsiteY1"/>
                </a:cxn>
                <a:cxn ang="0">
                  <a:pos x="connsiteX2" y="connsiteY2"/>
                </a:cxn>
                <a:cxn ang="0">
                  <a:pos x="connsiteX3" y="connsiteY3"/>
                </a:cxn>
              </a:cxnLst>
              <a:rect l="l" t="t" r="r" b="b"/>
              <a:pathLst>
                <a:path w="151632" h="227449">
                  <a:moveTo>
                    <a:pt x="11372" y="11372"/>
                  </a:moveTo>
                  <a:lnTo>
                    <a:pt x="147842" y="11372"/>
                  </a:lnTo>
                  <a:lnTo>
                    <a:pt x="147842" y="222142"/>
                  </a:lnTo>
                  <a:lnTo>
                    <a:pt x="12889" y="222142"/>
                  </a:lnTo>
                  <a:close/>
                </a:path>
              </a:pathLst>
            </a:custGeom>
            <a:solidFill>
              <a:srgbClr val="0478B6"/>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8" name="Freeform: Shape 17">
              <a:extLst>
                <a:ext uri="{FF2B5EF4-FFF2-40B4-BE49-F238E27FC236}">
                  <a16:creationId xmlns:a16="http://schemas.microsoft.com/office/drawing/2014/main" id="{8D9C93CB-684A-4F9F-8AB5-4D6862CFE053}"/>
                </a:ext>
              </a:extLst>
            </p:cNvPr>
            <p:cNvSpPr/>
            <p:nvPr/>
          </p:nvSpPr>
          <p:spPr>
            <a:xfrm>
              <a:off x="11714418" y="6350593"/>
              <a:ext cx="257776" cy="318429"/>
            </a:xfrm>
            <a:custGeom>
              <a:avLst/>
              <a:gdLst>
                <a:gd name="connsiteX0" fmla="*/ 11372 w 257776"/>
                <a:gd name="connsiteY0" fmla="*/ 111450 h 318429"/>
                <a:gd name="connsiteX1" fmla="*/ 97803 w 257776"/>
                <a:gd name="connsiteY1" fmla="*/ 11372 h 318429"/>
                <a:gd name="connsiteX2" fmla="*/ 253985 w 257776"/>
                <a:gd name="connsiteY2" fmla="*/ 185751 h 318429"/>
                <a:gd name="connsiteX3" fmla="*/ 223659 w 257776"/>
                <a:gd name="connsiteY3" fmla="*/ 317671 h 318429"/>
              </a:gdLst>
              <a:ahLst/>
              <a:cxnLst>
                <a:cxn ang="0">
                  <a:pos x="connsiteX0" y="connsiteY0"/>
                </a:cxn>
                <a:cxn ang="0">
                  <a:pos x="connsiteX1" y="connsiteY1"/>
                </a:cxn>
                <a:cxn ang="0">
                  <a:pos x="connsiteX2" y="connsiteY2"/>
                </a:cxn>
                <a:cxn ang="0">
                  <a:pos x="connsiteX3" y="connsiteY3"/>
                </a:cxn>
              </a:cxnLst>
              <a:rect l="l" t="t" r="r" b="b"/>
              <a:pathLst>
                <a:path w="257776" h="318429">
                  <a:moveTo>
                    <a:pt x="11372" y="111450"/>
                  </a:moveTo>
                  <a:lnTo>
                    <a:pt x="97803" y="11372"/>
                  </a:lnTo>
                  <a:lnTo>
                    <a:pt x="253985" y="185751"/>
                  </a:lnTo>
                  <a:lnTo>
                    <a:pt x="223659" y="317671"/>
                  </a:lnTo>
                  <a:close/>
                </a:path>
              </a:pathLst>
            </a:custGeom>
            <a:solidFill>
              <a:srgbClr val="0273B1"/>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2" name="Title 1">
            <a:extLst>
              <a:ext uri="{FF2B5EF4-FFF2-40B4-BE49-F238E27FC236}">
                <a16:creationId xmlns:a16="http://schemas.microsoft.com/office/drawing/2014/main" id="{3B2C09AD-6BE5-45FA-9E70-0BCAD44AABA2}"/>
              </a:ext>
            </a:extLst>
          </p:cNvPr>
          <p:cNvSpPr>
            <a:spLocks noGrp="1"/>
          </p:cNvSpPr>
          <p:nvPr>
            <p:ph type="title"/>
          </p:nvPr>
        </p:nvSpPr>
        <p:spPr/>
        <p:txBody>
          <a:bodyPr/>
          <a:lstStyle/>
          <a:p>
            <a:r>
              <a:rPr lang="en-US" dirty="0"/>
              <a:t>Azure Machine Learning service</a:t>
            </a:r>
          </a:p>
        </p:txBody>
      </p:sp>
      <p:sp>
        <p:nvSpPr>
          <p:cNvPr id="4" name="Text Placeholder 3">
            <a:extLst>
              <a:ext uri="{FF2B5EF4-FFF2-40B4-BE49-F238E27FC236}">
                <a16:creationId xmlns:a16="http://schemas.microsoft.com/office/drawing/2014/main" id="{CEDF0BAC-00F6-A04E-B392-760A025E1BEC}"/>
              </a:ext>
            </a:extLst>
          </p:cNvPr>
          <p:cNvSpPr>
            <a:spLocks noGrp="1"/>
          </p:cNvSpPr>
          <p:nvPr>
            <p:ph type="body" sz="quarter" idx="12"/>
          </p:nvPr>
        </p:nvSpPr>
        <p:spPr/>
        <p:txBody>
          <a:bodyPr/>
          <a:lstStyle/>
          <a:p>
            <a:r>
              <a:rPr lang="en-US" dirty="0"/>
              <a:t>Bring AI to everyone with an end-to-end, scalable, trusted platform</a:t>
            </a:r>
          </a:p>
        </p:txBody>
      </p:sp>
      <p:grpSp>
        <p:nvGrpSpPr>
          <p:cNvPr id="3" name="Group 2">
            <a:extLst>
              <a:ext uri="{FF2B5EF4-FFF2-40B4-BE49-F238E27FC236}">
                <a16:creationId xmlns:a16="http://schemas.microsoft.com/office/drawing/2014/main" id="{8F2B65B5-A5F6-4D55-84CC-C23AFB8CA240}"/>
              </a:ext>
            </a:extLst>
          </p:cNvPr>
          <p:cNvGrpSpPr/>
          <p:nvPr/>
        </p:nvGrpSpPr>
        <p:grpSpPr>
          <a:xfrm>
            <a:off x="6760306" y="1859904"/>
            <a:ext cx="4023437" cy="4015918"/>
            <a:chOff x="6760399" y="1859681"/>
            <a:chExt cx="4024007" cy="4016488"/>
          </a:xfrm>
        </p:grpSpPr>
        <p:sp>
          <p:nvSpPr>
            <p:cNvPr id="104" name="Oval 103">
              <a:extLst>
                <a:ext uri="{FF2B5EF4-FFF2-40B4-BE49-F238E27FC236}">
                  <a16:creationId xmlns:a16="http://schemas.microsoft.com/office/drawing/2014/main" id="{132BDB20-C202-4F02-A9D4-2118A1F4E3AD}"/>
                </a:ext>
              </a:extLst>
            </p:cNvPr>
            <p:cNvSpPr/>
            <p:nvPr/>
          </p:nvSpPr>
          <p:spPr bwMode="auto">
            <a:xfrm>
              <a:off x="6826028" y="1925310"/>
              <a:ext cx="748300" cy="74830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 name="Arc 104">
              <a:extLst>
                <a:ext uri="{FF2B5EF4-FFF2-40B4-BE49-F238E27FC236}">
                  <a16:creationId xmlns:a16="http://schemas.microsoft.com/office/drawing/2014/main" id="{2174FB03-703A-41F3-B932-BFF12A1D8D2B}"/>
                </a:ext>
              </a:extLst>
            </p:cNvPr>
            <p:cNvSpPr/>
            <p:nvPr/>
          </p:nvSpPr>
          <p:spPr bwMode="auto">
            <a:xfrm flipV="1">
              <a:off x="6760399" y="1859681"/>
              <a:ext cx="879558" cy="879558"/>
            </a:xfrm>
            <a:prstGeom prst="arc">
              <a:avLst/>
            </a:prstGeom>
            <a:noFill/>
            <a:ln w="63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06" name="Straight Connector 105">
              <a:extLst>
                <a:ext uri="{FF2B5EF4-FFF2-40B4-BE49-F238E27FC236}">
                  <a16:creationId xmlns:a16="http://schemas.microsoft.com/office/drawing/2014/main" id="{8E9B11E9-F5B7-46F7-AD97-3A3CF87AA4A5}"/>
                </a:ext>
              </a:extLst>
            </p:cNvPr>
            <p:cNvCxnSpPr>
              <a:cxnSpLocks/>
              <a:stCxn id="105" idx="2"/>
            </p:cNvCxnSpPr>
            <p:nvPr/>
          </p:nvCxnSpPr>
          <p:spPr>
            <a:xfrm>
              <a:off x="7639957" y="2299460"/>
              <a:ext cx="3144449" cy="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1087AD9B-81CD-4777-88BC-F44649275C19}"/>
                </a:ext>
              </a:extLst>
            </p:cNvPr>
            <p:cNvCxnSpPr>
              <a:cxnSpLocks/>
              <a:stCxn id="105" idx="0"/>
            </p:cNvCxnSpPr>
            <p:nvPr/>
          </p:nvCxnSpPr>
          <p:spPr>
            <a:xfrm>
              <a:off x="7200178" y="2739239"/>
              <a:ext cx="0" cy="313693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3885E410-DC7E-403B-A656-94613B7616E2}"/>
                </a:ext>
              </a:extLst>
            </p:cNvPr>
            <p:cNvSpPr/>
            <p:nvPr/>
          </p:nvSpPr>
          <p:spPr bwMode="auto">
            <a:xfrm>
              <a:off x="7662492" y="2069550"/>
              <a:ext cx="2814119" cy="2154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Built with your needs in mind</a:t>
              </a:r>
            </a:p>
          </p:txBody>
        </p:sp>
        <p:sp>
          <p:nvSpPr>
            <p:cNvPr id="100" name="Rectangle 99">
              <a:extLst>
                <a:ext uri="{FF2B5EF4-FFF2-40B4-BE49-F238E27FC236}">
                  <a16:creationId xmlns:a16="http://schemas.microsoft.com/office/drawing/2014/main" id="{3B9AD2B3-C520-4E08-AB4C-2FFEE05B8706}"/>
                </a:ext>
              </a:extLst>
            </p:cNvPr>
            <p:cNvSpPr/>
            <p:nvPr/>
          </p:nvSpPr>
          <p:spPr bwMode="auto">
            <a:xfrm>
              <a:off x="7469989" y="4914844"/>
              <a:ext cx="3017520" cy="1846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rPr>
                <a:t>Support for open source frameworks</a:t>
              </a:r>
            </a:p>
          </p:txBody>
        </p:sp>
        <p:sp>
          <p:nvSpPr>
            <p:cNvPr id="109" name="Oval 108">
              <a:extLst>
                <a:ext uri="{FF2B5EF4-FFF2-40B4-BE49-F238E27FC236}">
                  <a16:creationId xmlns:a16="http://schemas.microsoft.com/office/drawing/2014/main" id="{C1866CB6-6ED3-4206-BF5F-4EF0843A8E56}"/>
                </a:ext>
              </a:extLst>
            </p:cNvPr>
            <p:cNvSpPr/>
            <p:nvPr/>
          </p:nvSpPr>
          <p:spPr bwMode="auto">
            <a:xfrm>
              <a:off x="7151769" y="292467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01" name="Rectangle 100">
              <a:extLst>
                <a:ext uri="{FF2B5EF4-FFF2-40B4-BE49-F238E27FC236}">
                  <a16:creationId xmlns:a16="http://schemas.microsoft.com/office/drawing/2014/main" id="{E6BC52FB-0566-411B-9E0A-C6986F3139B4}"/>
                </a:ext>
              </a:extLst>
            </p:cNvPr>
            <p:cNvSpPr/>
            <p:nvPr/>
          </p:nvSpPr>
          <p:spPr bwMode="auto">
            <a:xfrm>
              <a:off x="7485109" y="3389366"/>
              <a:ext cx="3017520" cy="1846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rPr>
                <a:t>Managed compute</a:t>
              </a:r>
            </a:p>
          </p:txBody>
        </p:sp>
        <p:sp>
          <p:nvSpPr>
            <p:cNvPr id="110" name="Oval 109">
              <a:extLst>
                <a:ext uri="{FF2B5EF4-FFF2-40B4-BE49-F238E27FC236}">
                  <a16:creationId xmlns:a16="http://schemas.microsoft.com/office/drawing/2014/main" id="{45FB452C-EDC0-4F26-80C2-9EF2D4E49BA6}"/>
                </a:ext>
              </a:extLst>
            </p:cNvPr>
            <p:cNvSpPr/>
            <p:nvPr/>
          </p:nvSpPr>
          <p:spPr bwMode="auto">
            <a:xfrm>
              <a:off x="7151769" y="3432813"/>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11" name="Oval 110">
              <a:extLst>
                <a:ext uri="{FF2B5EF4-FFF2-40B4-BE49-F238E27FC236}">
                  <a16:creationId xmlns:a16="http://schemas.microsoft.com/office/drawing/2014/main" id="{73721510-1896-46A1-96B0-7C85D78FC80C}"/>
                </a:ext>
              </a:extLst>
            </p:cNvPr>
            <p:cNvSpPr/>
            <p:nvPr/>
          </p:nvSpPr>
          <p:spPr bwMode="auto">
            <a:xfrm>
              <a:off x="7151769" y="394094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32" name="Rectangle 131">
              <a:extLst>
                <a:ext uri="{FF2B5EF4-FFF2-40B4-BE49-F238E27FC236}">
                  <a16:creationId xmlns:a16="http://schemas.microsoft.com/office/drawing/2014/main" id="{098989D0-4151-46B2-87D3-A14595CF90C5}"/>
                </a:ext>
              </a:extLst>
            </p:cNvPr>
            <p:cNvSpPr/>
            <p:nvPr/>
          </p:nvSpPr>
          <p:spPr bwMode="auto">
            <a:xfrm>
              <a:off x="7486352" y="4393247"/>
              <a:ext cx="3017520" cy="1846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rPr>
                <a:t>DevOps for machine learning</a:t>
              </a:r>
            </a:p>
          </p:txBody>
        </p:sp>
        <p:sp>
          <p:nvSpPr>
            <p:cNvPr id="129" name="Oval 128">
              <a:extLst>
                <a:ext uri="{FF2B5EF4-FFF2-40B4-BE49-F238E27FC236}">
                  <a16:creationId xmlns:a16="http://schemas.microsoft.com/office/drawing/2014/main" id="{9EDF74D9-F261-4D40-873C-12214DDD7205}"/>
                </a:ext>
              </a:extLst>
            </p:cNvPr>
            <p:cNvSpPr/>
            <p:nvPr/>
          </p:nvSpPr>
          <p:spPr bwMode="auto">
            <a:xfrm>
              <a:off x="7151769" y="4449083"/>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35" name="Rectangle 134">
              <a:extLst>
                <a:ext uri="{FF2B5EF4-FFF2-40B4-BE49-F238E27FC236}">
                  <a16:creationId xmlns:a16="http://schemas.microsoft.com/office/drawing/2014/main" id="{AE1991C8-2A3B-4965-8B55-A7410749ED72}"/>
                </a:ext>
              </a:extLst>
            </p:cNvPr>
            <p:cNvSpPr/>
            <p:nvPr/>
          </p:nvSpPr>
          <p:spPr bwMode="auto">
            <a:xfrm>
              <a:off x="7486352" y="3900212"/>
              <a:ext cx="3017520" cy="1846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rPr>
                <a:t>Simple deployment</a:t>
              </a:r>
            </a:p>
          </p:txBody>
        </p:sp>
        <p:sp>
          <p:nvSpPr>
            <p:cNvPr id="130" name="Oval 129">
              <a:extLst>
                <a:ext uri="{FF2B5EF4-FFF2-40B4-BE49-F238E27FC236}">
                  <a16:creationId xmlns:a16="http://schemas.microsoft.com/office/drawing/2014/main" id="{1C368C97-24FA-4B27-B3A0-273E79F2575E}"/>
                </a:ext>
              </a:extLst>
            </p:cNvPr>
            <p:cNvSpPr/>
            <p:nvPr/>
          </p:nvSpPr>
          <p:spPr bwMode="auto">
            <a:xfrm>
              <a:off x="7151769" y="495721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31" name="Oval 130">
              <a:extLst>
                <a:ext uri="{FF2B5EF4-FFF2-40B4-BE49-F238E27FC236}">
                  <a16:creationId xmlns:a16="http://schemas.microsoft.com/office/drawing/2014/main" id="{CE077823-6247-4857-A2BD-8DBAE03AB89E}"/>
                </a:ext>
              </a:extLst>
            </p:cNvPr>
            <p:cNvSpPr/>
            <p:nvPr/>
          </p:nvSpPr>
          <p:spPr bwMode="auto">
            <a:xfrm>
              <a:off x="7151769" y="5465355"/>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37" name="Rectangle 136">
              <a:extLst>
                <a:ext uri="{FF2B5EF4-FFF2-40B4-BE49-F238E27FC236}">
                  <a16:creationId xmlns:a16="http://schemas.microsoft.com/office/drawing/2014/main" id="{DCE43057-CD55-4FBF-8E5E-EFD7EF03BD4D}"/>
                </a:ext>
              </a:extLst>
            </p:cNvPr>
            <p:cNvSpPr/>
            <p:nvPr/>
          </p:nvSpPr>
          <p:spPr bwMode="auto">
            <a:xfrm>
              <a:off x="7468746" y="2889269"/>
              <a:ext cx="3017520" cy="1846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rPr>
                <a:t>Automated machine learning</a:t>
              </a:r>
            </a:p>
          </p:txBody>
        </p:sp>
        <p:sp>
          <p:nvSpPr>
            <p:cNvPr id="138" name="Freeform 96" title="Icon of a gear with a wrench">
              <a:extLst>
                <a:ext uri="{FF2B5EF4-FFF2-40B4-BE49-F238E27FC236}">
                  <a16:creationId xmlns:a16="http://schemas.microsoft.com/office/drawing/2014/main" id="{8B98717F-F834-4139-A1B6-20837FEB5C5B}"/>
                </a:ext>
              </a:extLst>
            </p:cNvPr>
            <p:cNvSpPr>
              <a:spLocks noChangeAspect="1" noEditPoints="1"/>
            </p:cNvSpPr>
            <p:nvPr/>
          </p:nvSpPr>
          <p:spPr bwMode="auto">
            <a:xfrm>
              <a:off x="6987276" y="2103429"/>
              <a:ext cx="425804" cy="3920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95" name="TextBox 94">
            <a:extLst>
              <a:ext uri="{FF2B5EF4-FFF2-40B4-BE49-F238E27FC236}">
                <a16:creationId xmlns:a16="http://schemas.microsoft.com/office/drawing/2014/main" id="{F19CAC52-6D06-4653-8D27-33860E16AD49}"/>
              </a:ext>
            </a:extLst>
          </p:cNvPr>
          <p:cNvSpPr txBox="1"/>
          <p:nvPr/>
        </p:nvSpPr>
        <p:spPr>
          <a:xfrm>
            <a:off x="4169346" y="6392899"/>
            <a:ext cx="3853310" cy="614348"/>
          </a:xfrm>
          <a:prstGeom prst="rect">
            <a:avLst/>
          </a:prstGeom>
          <a:noFill/>
        </p:spPr>
        <p:txBody>
          <a:bodyPr wrap="square" lIns="358519" tIns="179259" rIns="89580" bIns="146180" rtlCol="0">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a:ea typeface="+mn-ea"/>
                <a:cs typeface="Segoe UI Semibold" panose="020B0702040204020203" pitchFamily="34" charset="0"/>
              </a:rPr>
              <a:t>Seamlessly integrated with the Azure Portfolio</a:t>
            </a:r>
          </a:p>
        </p:txBody>
      </p:sp>
      <p:cxnSp>
        <p:nvCxnSpPr>
          <p:cNvPr id="96" name="Straight Connector 95">
            <a:extLst>
              <a:ext uri="{FF2B5EF4-FFF2-40B4-BE49-F238E27FC236}">
                <a16:creationId xmlns:a16="http://schemas.microsoft.com/office/drawing/2014/main" id="{33AFBAC2-B708-472A-B297-B92C17C47E12}"/>
              </a:ext>
            </a:extLst>
          </p:cNvPr>
          <p:cNvCxnSpPr>
            <a:cxnSpLocks/>
          </p:cNvCxnSpPr>
          <p:nvPr/>
        </p:nvCxnSpPr>
        <p:spPr>
          <a:xfrm flipH="1">
            <a:off x="1232718" y="6438569"/>
            <a:ext cx="9726565" cy="0"/>
          </a:xfrm>
          <a:prstGeom prst="line">
            <a:avLst/>
          </a:prstGeom>
          <a:ln w="6350">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DDC8608C-880D-42B8-B153-9D44AB940C4A}"/>
              </a:ext>
            </a:extLst>
          </p:cNvPr>
          <p:cNvGrpSpPr/>
          <p:nvPr/>
        </p:nvGrpSpPr>
        <p:grpSpPr>
          <a:xfrm>
            <a:off x="1673216" y="1993673"/>
            <a:ext cx="4859282" cy="672750"/>
            <a:chOff x="1672587" y="1993469"/>
            <a:chExt cx="4859972" cy="672845"/>
          </a:xfrm>
        </p:grpSpPr>
        <p:sp>
          <p:nvSpPr>
            <p:cNvPr id="11" name="Rectangle 10">
              <a:extLst>
                <a:ext uri="{FF2B5EF4-FFF2-40B4-BE49-F238E27FC236}">
                  <a16:creationId xmlns:a16="http://schemas.microsoft.com/office/drawing/2014/main" id="{D88CF9A1-0ACF-4E45-B06C-2AB62194FDC8}"/>
                </a:ext>
              </a:extLst>
            </p:cNvPr>
            <p:cNvSpPr/>
            <p:nvPr/>
          </p:nvSpPr>
          <p:spPr>
            <a:xfrm>
              <a:off x="3124235" y="2211781"/>
              <a:ext cx="3408324" cy="215474"/>
            </a:xfrm>
            <a:prstGeom prst="rect">
              <a:avLst/>
            </a:prstGeom>
          </p:spPr>
          <p:txBody>
            <a:bodyPr wrap="square" lIns="0" tIns="0" rIns="0" bIns="0">
              <a:spAutoFit/>
            </a:bodyPr>
            <a:lstStyle/>
            <a:p>
              <a:pPr marL="0" marR="0" lvl="0" indent="0" algn="l" defTabSz="913874" rtl="0" eaLnBrk="1" fontAlgn="auto" latinLnBrk="0" hangingPunct="1">
                <a:lnSpc>
                  <a:spcPct val="100000"/>
                </a:lnSpc>
                <a:spcBef>
                  <a:spcPts val="0"/>
                </a:spcBef>
                <a:spcAft>
                  <a:spcPts val="2400"/>
                </a:spcAft>
                <a:buClrTx/>
                <a:buSzTx/>
                <a:buFontTx/>
                <a:buNone/>
                <a:tabLst/>
                <a:defRPr/>
              </a:pPr>
              <a:r>
                <a:rPr kumimoji="0" lang="en-US" sz="1400" b="1" i="0" u="none" strike="noStrike" kern="0" cap="none" spc="0" normalizeH="0" baseline="0" noProof="0" dirty="0">
                  <a:ln>
                    <a:noFill/>
                  </a:ln>
                  <a:solidFill>
                    <a:srgbClr val="0078D7"/>
                  </a:solidFill>
                  <a:effectLst/>
                  <a:uLnTx/>
                  <a:uFillTx/>
                  <a:latin typeface="Segoe UI Semibold" charset="0"/>
                  <a:ea typeface="+mn-ea"/>
                  <a:cs typeface="Segoe UI Semibold" charset="0"/>
                </a:rPr>
                <a:t>Boost your data science productivity</a:t>
              </a:r>
            </a:p>
          </p:txBody>
        </p:sp>
        <p:cxnSp>
          <p:nvCxnSpPr>
            <p:cNvPr id="31" name="Straight Connector 30">
              <a:extLst>
                <a:ext uri="{FF2B5EF4-FFF2-40B4-BE49-F238E27FC236}">
                  <a16:creationId xmlns:a16="http://schemas.microsoft.com/office/drawing/2014/main" id="{E6AA3606-949B-4AC4-922A-B52E6C26EC2D}"/>
                </a:ext>
              </a:extLst>
            </p:cNvPr>
            <p:cNvCxnSpPr/>
            <p:nvPr/>
          </p:nvCxnSpPr>
          <p:spPr>
            <a:xfrm>
              <a:off x="2844745" y="2033380"/>
              <a:ext cx="0" cy="603023"/>
            </a:xfrm>
            <a:prstGeom prst="line">
              <a:avLst/>
            </a:prstGeom>
            <a:ln w="12700" cap="rnd">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aphic 6">
              <a:extLst>
                <a:ext uri="{FF2B5EF4-FFF2-40B4-BE49-F238E27FC236}">
                  <a16:creationId xmlns:a16="http://schemas.microsoft.com/office/drawing/2014/main" id="{130E1048-F7EE-4FC1-90AD-B6BE56991CC2}"/>
                </a:ext>
              </a:extLst>
            </p:cNvPr>
            <p:cNvGrpSpPr/>
            <p:nvPr/>
          </p:nvGrpSpPr>
          <p:grpSpPr>
            <a:xfrm>
              <a:off x="1672587" y="1993469"/>
              <a:ext cx="672845" cy="672845"/>
              <a:chOff x="165227" y="2054828"/>
              <a:chExt cx="2133600" cy="2133600"/>
            </a:xfrm>
          </p:grpSpPr>
          <p:sp>
            <p:nvSpPr>
              <p:cNvPr id="42" name="Freeform: Shape 41">
                <a:extLst>
                  <a:ext uri="{FF2B5EF4-FFF2-40B4-BE49-F238E27FC236}">
                    <a16:creationId xmlns:a16="http://schemas.microsoft.com/office/drawing/2014/main" id="{7111A606-CE67-44F3-A22F-524EAD80F3DD}"/>
                  </a:ext>
                </a:extLst>
              </p:cNvPr>
              <p:cNvSpPr/>
              <p:nvPr/>
            </p:nvSpPr>
            <p:spPr>
              <a:xfrm>
                <a:off x="158078" y="2047683"/>
                <a:ext cx="2143125" cy="2143125"/>
              </a:xfrm>
              <a:custGeom>
                <a:avLst/>
                <a:gdLst>
                  <a:gd name="connsiteX0" fmla="*/ 1080292 w 2143125"/>
                  <a:gd name="connsiteY0" fmla="*/ 7144 h 2143125"/>
                  <a:gd name="connsiteX1" fmla="*/ 2137577 w 2143125"/>
                  <a:gd name="connsiteY1" fmla="*/ 404012 h 2143125"/>
                  <a:gd name="connsiteX2" fmla="*/ 2137577 w 2143125"/>
                  <a:gd name="connsiteY2" fmla="*/ 1734342 h 2143125"/>
                  <a:gd name="connsiteX3" fmla="*/ 1089817 w 2143125"/>
                  <a:gd name="connsiteY3" fmla="*/ 2140745 h 2143125"/>
                  <a:gd name="connsiteX4" fmla="*/ 7144 w 2143125"/>
                  <a:gd name="connsiteY4" fmla="*/ 1734342 h 2143125"/>
                  <a:gd name="connsiteX5" fmla="*/ 7144 w 2143125"/>
                  <a:gd name="connsiteY5" fmla="*/ 404012 h 2143125"/>
                  <a:gd name="connsiteX6" fmla="*/ 1080292 w 2143125"/>
                  <a:gd name="connsiteY6" fmla="*/ 7144 h 2143125"/>
                  <a:gd name="connsiteX7" fmla="*/ 188119 w 2143125"/>
                  <a:gd name="connsiteY7" fmla="*/ 1622147 h 2143125"/>
                  <a:gd name="connsiteX8" fmla="*/ 1077130 w 2143125"/>
                  <a:gd name="connsiteY8" fmla="*/ 1953417 h 2143125"/>
                  <a:gd name="connsiteX9" fmla="*/ 1969308 w 2143125"/>
                  <a:gd name="connsiteY9" fmla="*/ 1610517 h 2143125"/>
                  <a:gd name="connsiteX10" fmla="*/ 1969308 w 2143125"/>
                  <a:gd name="connsiteY10" fmla="*/ 521018 h 2143125"/>
                  <a:gd name="connsiteX11" fmla="*/ 1078940 w 2143125"/>
                  <a:gd name="connsiteY11" fmla="*/ 188395 h 2143125"/>
                  <a:gd name="connsiteX12" fmla="*/ 188119 w 2143125"/>
                  <a:gd name="connsiteY12" fmla="*/ 531019 h 2143125"/>
                  <a:gd name="connsiteX13" fmla="*/ 188119 w 2143125"/>
                  <a:gd name="connsiteY13" fmla="*/ 1622147 h 214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43125" h="2143125">
                    <a:moveTo>
                      <a:pt x="1080292" y="7144"/>
                    </a:moveTo>
                    <a:lnTo>
                      <a:pt x="2137577" y="404012"/>
                    </a:lnTo>
                    <a:lnTo>
                      <a:pt x="2137577" y="1734342"/>
                    </a:lnTo>
                    <a:lnTo>
                      <a:pt x="1089817" y="2140745"/>
                    </a:lnTo>
                    <a:lnTo>
                      <a:pt x="7144" y="1734342"/>
                    </a:lnTo>
                    <a:lnTo>
                      <a:pt x="7144" y="404012"/>
                    </a:lnTo>
                    <a:lnTo>
                      <a:pt x="1080292" y="7144"/>
                    </a:lnTo>
                    <a:close/>
                    <a:moveTo>
                      <a:pt x="188119" y="1622147"/>
                    </a:moveTo>
                    <a:lnTo>
                      <a:pt x="1077130" y="1953417"/>
                    </a:lnTo>
                    <a:lnTo>
                      <a:pt x="1969308" y="1610517"/>
                    </a:lnTo>
                    <a:lnTo>
                      <a:pt x="1969308" y="521018"/>
                    </a:lnTo>
                    <a:lnTo>
                      <a:pt x="1078940" y="188395"/>
                    </a:lnTo>
                    <a:lnTo>
                      <a:pt x="188119" y="531019"/>
                    </a:lnTo>
                    <a:lnTo>
                      <a:pt x="188119" y="1622147"/>
                    </a:lnTo>
                    <a:close/>
                  </a:path>
                </a:pathLst>
              </a:custGeom>
              <a:solidFill>
                <a:srgbClr val="0075DA"/>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 name="Freeform: Shape 42">
                <a:extLst>
                  <a:ext uri="{FF2B5EF4-FFF2-40B4-BE49-F238E27FC236}">
                    <a16:creationId xmlns:a16="http://schemas.microsoft.com/office/drawing/2014/main" id="{0FE6A089-ECEE-4E5B-A372-72F68D5F6C14}"/>
                  </a:ext>
                </a:extLst>
              </p:cNvPr>
              <p:cNvSpPr/>
              <p:nvPr/>
            </p:nvSpPr>
            <p:spPr>
              <a:xfrm>
                <a:off x="761333" y="2535050"/>
                <a:ext cx="952500" cy="314325"/>
              </a:xfrm>
              <a:custGeom>
                <a:avLst/>
                <a:gdLst>
                  <a:gd name="connsiteX0" fmla="*/ 816766 w 952500"/>
                  <a:gd name="connsiteY0" fmla="*/ 308762 h 314325"/>
                  <a:gd name="connsiteX1" fmla="*/ 472275 w 952500"/>
                  <a:gd name="connsiteY1" fmla="*/ 156362 h 314325"/>
                  <a:gd name="connsiteX2" fmla="*/ 135731 w 952500"/>
                  <a:gd name="connsiteY2" fmla="*/ 307181 h 314325"/>
                  <a:gd name="connsiteX3" fmla="*/ 7144 w 952500"/>
                  <a:gd name="connsiteY3" fmla="*/ 227800 h 314325"/>
                  <a:gd name="connsiteX4" fmla="*/ 467513 w 952500"/>
                  <a:gd name="connsiteY4" fmla="*/ 7144 h 314325"/>
                  <a:gd name="connsiteX5" fmla="*/ 953288 w 952500"/>
                  <a:gd name="connsiteY5" fmla="*/ 22780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314325">
                    <a:moveTo>
                      <a:pt x="816766" y="308762"/>
                    </a:moveTo>
                    <a:lnTo>
                      <a:pt x="472275" y="156362"/>
                    </a:lnTo>
                    <a:lnTo>
                      <a:pt x="135731" y="307181"/>
                    </a:lnTo>
                    <a:lnTo>
                      <a:pt x="7144" y="227800"/>
                    </a:lnTo>
                    <a:lnTo>
                      <a:pt x="467513" y="7144"/>
                    </a:lnTo>
                    <a:lnTo>
                      <a:pt x="953288" y="227800"/>
                    </a:lnTo>
                    <a:close/>
                  </a:path>
                </a:pathLst>
              </a:custGeom>
              <a:solidFill>
                <a:srgbClr val="0075DA"/>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 name="Freeform: Shape 43">
                <a:extLst>
                  <a:ext uri="{FF2B5EF4-FFF2-40B4-BE49-F238E27FC236}">
                    <a16:creationId xmlns:a16="http://schemas.microsoft.com/office/drawing/2014/main" id="{E5808C01-9EFA-41DF-9097-E4CA34746091}"/>
                  </a:ext>
                </a:extLst>
              </p:cNvPr>
              <p:cNvSpPr/>
              <p:nvPr/>
            </p:nvSpPr>
            <p:spPr>
              <a:xfrm>
                <a:off x="696248" y="2890647"/>
                <a:ext cx="466725" cy="771525"/>
              </a:xfrm>
              <a:custGeom>
                <a:avLst/>
                <a:gdLst>
                  <a:gd name="connsiteX0" fmla="*/ 464342 w 466725"/>
                  <a:gd name="connsiteY0" fmla="*/ 629441 h 771525"/>
                  <a:gd name="connsiteX1" fmla="*/ 461161 w 466725"/>
                  <a:gd name="connsiteY1" fmla="*/ 772316 h 771525"/>
                  <a:gd name="connsiteX2" fmla="*/ 7144 w 466725"/>
                  <a:gd name="connsiteY2" fmla="*/ 561975 h 771525"/>
                  <a:gd name="connsiteX3" fmla="*/ 7144 w 466725"/>
                  <a:gd name="connsiteY3" fmla="*/ 7144 h 771525"/>
                  <a:gd name="connsiteX4" fmla="*/ 137312 w 466725"/>
                  <a:gd name="connsiteY4" fmla="*/ 83344 h 771525"/>
                  <a:gd name="connsiteX5" fmla="*/ 137312 w 466725"/>
                  <a:gd name="connsiteY5" fmla="*/ 475460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6725" h="771525">
                    <a:moveTo>
                      <a:pt x="464342" y="629441"/>
                    </a:moveTo>
                    <a:lnTo>
                      <a:pt x="461161" y="772316"/>
                    </a:lnTo>
                    <a:lnTo>
                      <a:pt x="7144" y="561975"/>
                    </a:lnTo>
                    <a:lnTo>
                      <a:pt x="7144" y="7144"/>
                    </a:lnTo>
                    <a:lnTo>
                      <a:pt x="137312" y="83344"/>
                    </a:lnTo>
                    <a:lnTo>
                      <a:pt x="137312" y="475460"/>
                    </a:lnTo>
                    <a:close/>
                  </a:path>
                </a:pathLst>
              </a:custGeom>
              <a:solidFill>
                <a:srgbClr val="0075DA"/>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5" name="Freeform: Shape 44">
                <a:extLst>
                  <a:ext uri="{FF2B5EF4-FFF2-40B4-BE49-F238E27FC236}">
                    <a16:creationId xmlns:a16="http://schemas.microsoft.com/office/drawing/2014/main" id="{38FD17EC-EC63-4939-BFE7-9FAE03C403A1}"/>
                  </a:ext>
                </a:extLst>
              </p:cNvPr>
              <p:cNvSpPr/>
              <p:nvPr/>
            </p:nvSpPr>
            <p:spPr>
              <a:xfrm>
                <a:off x="1301083" y="2890647"/>
                <a:ext cx="466725" cy="771525"/>
              </a:xfrm>
              <a:custGeom>
                <a:avLst/>
                <a:gdLst>
                  <a:gd name="connsiteX0" fmla="*/ 7144 w 466725"/>
                  <a:gd name="connsiteY0" fmla="*/ 629441 h 771525"/>
                  <a:gd name="connsiteX1" fmla="*/ 10316 w 466725"/>
                  <a:gd name="connsiteY1" fmla="*/ 772316 h 771525"/>
                  <a:gd name="connsiteX2" fmla="*/ 464344 w 466725"/>
                  <a:gd name="connsiteY2" fmla="*/ 561975 h 771525"/>
                  <a:gd name="connsiteX3" fmla="*/ 464344 w 466725"/>
                  <a:gd name="connsiteY3" fmla="*/ 7144 h 771525"/>
                  <a:gd name="connsiteX4" fmla="*/ 334166 w 466725"/>
                  <a:gd name="connsiteY4" fmla="*/ 83344 h 771525"/>
                  <a:gd name="connsiteX5" fmla="*/ 334166 w 466725"/>
                  <a:gd name="connsiteY5" fmla="*/ 475460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6725" h="771525">
                    <a:moveTo>
                      <a:pt x="7144" y="629441"/>
                    </a:moveTo>
                    <a:lnTo>
                      <a:pt x="10316" y="772316"/>
                    </a:lnTo>
                    <a:lnTo>
                      <a:pt x="464344" y="561975"/>
                    </a:lnTo>
                    <a:lnTo>
                      <a:pt x="464344" y="7144"/>
                    </a:lnTo>
                    <a:lnTo>
                      <a:pt x="334166" y="83344"/>
                    </a:lnTo>
                    <a:lnTo>
                      <a:pt x="334166" y="475460"/>
                    </a:lnTo>
                    <a:close/>
                  </a:path>
                </a:pathLst>
              </a:custGeom>
              <a:solidFill>
                <a:srgbClr val="0075DA"/>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21" name="Group 20">
            <a:extLst>
              <a:ext uri="{FF2B5EF4-FFF2-40B4-BE49-F238E27FC236}">
                <a16:creationId xmlns:a16="http://schemas.microsoft.com/office/drawing/2014/main" id="{84EBBFA0-641F-4847-87DF-208A8F05CD5A}"/>
              </a:ext>
            </a:extLst>
          </p:cNvPr>
          <p:cNvGrpSpPr/>
          <p:nvPr/>
        </p:nvGrpSpPr>
        <p:grpSpPr>
          <a:xfrm>
            <a:off x="1461720" y="3502870"/>
            <a:ext cx="5251382" cy="737000"/>
            <a:chOff x="1461062" y="3524273"/>
            <a:chExt cx="5252127" cy="737104"/>
          </a:xfrm>
        </p:grpSpPr>
        <p:sp>
          <p:nvSpPr>
            <p:cNvPr id="12" name="Rectangle 11">
              <a:extLst>
                <a:ext uri="{FF2B5EF4-FFF2-40B4-BE49-F238E27FC236}">
                  <a16:creationId xmlns:a16="http://schemas.microsoft.com/office/drawing/2014/main" id="{54C3F0E5-8EFB-4AD7-8D7F-2A838942A046}"/>
                </a:ext>
              </a:extLst>
            </p:cNvPr>
            <p:cNvSpPr/>
            <p:nvPr/>
          </p:nvSpPr>
          <p:spPr>
            <a:xfrm>
              <a:off x="3124235" y="3752885"/>
              <a:ext cx="3588954" cy="215474"/>
            </a:xfrm>
            <a:prstGeom prst="rect">
              <a:avLst/>
            </a:prstGeom>
          </p:spPr>
          <p:txBody>
            <a:bodyPr wrap="square" lIns="0" tIns="0" rIns="0" bIns="0">
              <a:spAutoFit/>
            </a:bodyPr>
            <a:lstStyle/>
            <a:p>
              <a:pPr marL="0" marR="0" lvl="0" indent="0" algn="l" defTabSz="913874" rtl="0" eaLnBrk="1" fontAlgn="base" latinLnBrk="0" hangingPunct="1">
                <a:lnSpc>
                  <a:spcPct val="100000"/>
                </a:lnSpc>
                <a:spcBef>
                  <a:spcPct val="0"/>
                </a:spcBef>
                <a:spcAft>
                  <a:spcPts val="2400"/>
                </a:spcAft>
                <a:buClrTx/>
                <a:buSzTx/>
                <a:buFontTx/>
                <a:buNone/>
                <a:tabLst/>
                <a:defRPr/>
              </a:pPr>
              <a:r>
                <a:rPr kumimoji="0" lang="en-US" sz="1400" b="1" i="0" u="none" strike="noStrike" kern="0" cap="none" spc="0" normalizeH="0" baseline="0" noProof="0" dirty="0">
                  <a:ln>
                    <a:noFill/>
                  </a:ln>
                  <a:solidFill>
                    <a:srgbClr val="0078D7"/>
                  </a:solidFill>
                  <a:effectLst/>
                  <a:uLnTx/>
                  <a:uFillTx/>
                  <a:latin typeface="Segoe UI Semibold" charset="0"/>
                  <a:ea typeface="+mn-ea"/>
                  <a:cs typeface="Segoe UI Semibold" charset="0"/>
                </a:rPr>
                <a:t>Increase your rate of experimentation</a:t>
              </a:r>
            </a:p>
          </p:txBody>
        </p:sp>
        <p:grpSp>
          <p:nvGrpSpPr>
            <p:cNvPr id="20" name="Group 19">
              <a:extLst>
                <a:ext uri="{FF2B5EF4-FFF2-40B4-BE49-F238E27FC236}">
                  <a16:creationId xmlns:a16="http://schemas.microsoft.com/office/drawing/2014/main" id="{69183BAC-79E4-4CB8-AC82-08A4E94B8F78}"/>
                </a:ext>
              </a:extLst>
            </p:cNvPr>
            <p:cNvGrpSpPr/>
            <p:nvPr/>
          </p:nvGrpSpPr>
          <p:grpSpPr>
            <a:xfrm>
              <a:off x="1461062" y="3524273"/>
              <a:ext cx="1383683" cy="737104"/>
              <a:chOff x="1461062" y="3524273"/>
              <a:chExt cx="1383683" cy="737104"/>
            </a:xfrm>
          </p:grpSpPr>
          <p:cxnSp>
            <p:nvCxnSpPr>
              <p:cNvPr id="140" name="Straight Connector 139">
                <a:extLst>
                  <a:ext uri="{FF2B5EF4-FFF2-40B4-BE49-F238E27FC236}">
                    <a16:creationId xmlns:a16="http://schemas.microsoft.com/office/drawing/2014/main" id="{3C0AEF2B-C342-44AC-9A7F-9A125AF2DB3E}"/>
                  </a:ext>
                </a:extLst>
              </p:cNvPr>
              <p:cNvCxnSpPr/>
              <p:nvPr/>
            </p:nvCxnSpPr>
            <p:spPr>
              <a:xfrm>
                <a:off x="2844745" y="3574484"/>
                <a:ext cx="0" cy="603023"/>
              </a:xfrm>
              <a:prstGeom prst="line">
                <a:avLst/>
              </a:prstGeom>
              <a:ln w="12700" cap="rnd">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83" name="Graphic 97">
                <a:extLst>
                  <a:ext uri="{FF2B5EF4-FFF2-40B4-BE49-F238E27FC236}">
                    <a16:creationId xmlns:a16="http://schemas.microsoft.com/office/drawing/2014/main" id="{46C8DCEC-48E4-41F6-8795-2DEF7ED677C4}"/>
                  </a:ext>
                </a:extLst>
              </p:cNvPr>
              <p:cNvGrpSpPr/>
              <p:nvPr/>
            </p:nvGrpSpPr>
            <p:grpSpPr>
              <a:xfrm>
                <a:off x="1461062" y="3524273"/>
                <a:ext cx="981471" cy="737104"/>
                <a:chOff x="619072" y="3029620"/>
                <a:chExt cx="2333625" cy="1752600"/>
              </a:xfrm>
            </p:grpSpPr>
            <p:sp>
              <p:nvSpPr>
                <p:cNvPr id="84" name="Freeform: Shape 83">
                  <a:extLst>
                    <a:ext uri="{FF2B5EF4-FFF2-40B4-BE49-F238E27FC236}">
                      <a16:creationId xmlns:a16="http://schemas.microsoft.com/office/drawing/2014/main" id="{971EC907-BDCD-40E7-914D-BE4DF7A64679}"/>
                    </a:ext>
                  </a:extLst>
                </p:cNvPr>
                <p:cNvSpPr/>
                <p:nvPr/>
              </p:nvSpPr>
              <p:spPr>
                <a:xfrm>
                  <a:off x="1739012" y="3849656"/>
                  <a:ext cx="752475" cy="228600"/>
                </a:xfrm>
                <a:custGeom>
                  <a:avLst/>
                  <a:gdLst>
                    <a:gd name="connsiteX0" fmla="*/ 545354 w 752475"/>
                    <a:gd name="connsiteY0" fmla="*/ 7144 h 228600"/>
                    <a:gd name="connsiteX1" fmla="*/ 237515 w 752475"/>
                    <a:gd name="connsiteY1" fmla="*/ 7144 h 228600"/>
                    <a:gd name="connsiteX2" fmla="*/ 7144 w 752475"/>
                    <a:gd name="connsiteY2" fmla="*/ 156467 h 228600"/>
                    <a:gd name="connsiteX3" fmla="*/ 7144 w 752475"/>
                    <a:gd name="connsiteY3" fmla="*/ 224857 h 228600"/>
                    <a:gd name="connsiteX4" fmla="*/ 747332 w 752475"/>
                    <a:gd name="connsiteY4" fmla="*/ 224857 h 228600"/>
                    <a:gd name="connsiteX5" fmla="*/ 747332 w 752475"/>
                    <a:gd name="connsiteY5" fmla="*/ 156477 h 228600"/>
                    <a:gd name="connsiteX6" fmla="*/ 545344 w 752475"/>
                    <a:gd name="connsiteY6" fmla="*/ 7153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2475" h="228600">
                      <a:moveTo>
                        <a:pt x="545354" y="7144"/>
                      </a:moveTo>
                      <a:lnTo>
                        <a:pt x="237515" y="7144"/>
                      </a:lnTo>
                      <a:cubicBezTo>
                        <a:pt x="274511" y="137741"/>
                        <a:pt x="224809" y="156467"/>
                        <a:pt x="7144" y="156467"/>
                      </a:cubicBezTo>
                      <a:lnTo>
                        <a:pt x="7144" y="224857"/>
                      </a:lnTo>
                      <a:lnTo>
                        <a:pt x="747332" y="224857"/>
                      </a:lnTo>
                      <a:lnTo>
                        <a:pt x="747332" y="156477"/>
                      </a:lnTo>
                      <a:cubicBezTo>
                        <a:pt x="529657" y="156477"/>
                        <a:pt x="508311" y="137817"/>
                        <a:pt x="545344" y="7153"/>
                      </a:cubicBezTo>
                    </a:path>
                  </a:pathLst>
                </a:custGeom>
                <a:solidFill>
                  <a:srgbClr val="7A7A7A"/>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5" name="Freeform: Shape 84">
                  <a:extLst>
                    <a:ext uri="{FF2B5EF4-FFF2-40B4-BE49-F238E27FC236}">
                      <a16:creationId xmlns:a16="http://schemas.microsoft.com/office/drawing/2014/main" id="{959FDA9B-7FA4-4707-AD20-E7D50158C0E2}"/>
                    </a:ext>
                  </a:extLst>
                </p:cNvPr>
                <p:cNvSpPr/>
                <p:nvPr/>
              </p:nvSpPr>
              <p:spPr>
                <a:xfrm>
                  <a:off x="1543081" y="3022476"/>
                  <a:ext cx="1143000" cy="838200"/>
                </a:xfrm>
                <a:custGeom>
                  <a:avLst/>
                  <a:gdLst>
                    <a:gd name="connsiteX0" fmla="*/ 1070802 w 1143000"/>
                    <a:gd name="connsiteY0" fmla="*/ 7144 h 838200"/>
                    <a:gd name="connsiteX1" fmla="*/ 68658 w 1143000"/>
                    <a:gd name="connsiteY1" fmla="*/ 7144 h 838200"/>
                    <a:gd name="connsiteX2" fmla="*/ 7146 w 1143000"/>
                    <a:gd name="connsiteY2" fmla="*/ 71599 h 838200"/>
                    <a:gd name="connsiteX3" fmla="*/ 7146 w 1143000"/>
                    <a:gd name="connsiteY3" fmla="*/ 770449 h 838200"/>
                    <a:gd name="connsiteX4" fmla="*/ 68658 w 1143000"/>
                    <a:gd name="connsiteY4" fmla="*/ 834361 h 838200"/>
                    <a:gd name="connsiteX5" fmla="*/ 1070802 w 1143000"/>
                    <a:gd name="connsiteY5" fmla="*/ 834361 h 838200"/>
                    <a:gd name="connsiteX6" fmla="*/ 1139201 w 1143000"/>
                    <a:gd name="connsiteY6" fmla="*/ 770449 h 838200"/>
                    <a:gd name="connsiteX7" fmla="*/ 1139201 w 1143000"/>
                    <a:gd name="connsiteY7" fmla="*/ 71599 h 838200"/>
                    <a:gd name="connsiteX8" fmla="*/ 1070802 w 1143000"/>
                    <a:gd name="connsiteY8" fmla="*/ 7144 h 83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0" h="838200">
                      <a:moveTo>
                        <a:pt x="1070802" y="7144"/>
                      </a:moveTo>
                      <a:lnTo>
                        <a:pt x="68658" y="7144"/>
                      </a:lnTo>
                      <a:cubicBezTo>
                        <a:pt x="34120" y="8500"/>
                        <a:pt x="6887" y="37032"/>
                        <a:pt x="7146" y="71599"/>
                      </a:cubicBezTo>
                      <a:lnTo>
                        <a:pt x="7146" y="770449"/>
                      </a:lnTo>
                      <a:cubicBezTo>
                        <a:pt x="6997" y="804881"/>
                        <a:pt x="34244" y="833193"/>
                        <a:pt x="68658" y="834361"/>
                      </a:cubicBezTo>
                      <a:lnTo>
                        <a:pt x="1070802" y="834361"/>
                      </a:lnTo>
                      <a:cubicBezTo>
                        <a:pt x="1104787" y="834361"/>
                        <a:pt x="1139201" y="804253"/>
                        <a:pt x="1139201" y="770449"/>
                      </a:cubicBezTo>
                      <a:lnTo>
                        <a:pt x="1139201" y="71599"/>
                      </a:lnTo>
                      <a:cubicBezTo>
                        <a:pt x="1139201" y="37509"/>
                        <a:pt x="1104816" y="7144"/>
                        <a:pt x="1070802" y="7144"/>
                      </a:cubicBezTo>
                    </a:path>
                  </a:pathLst>
                </a:custGeom>
                <a:solidFill>
                  <a:srgbClr val="A0A1A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6" name="Freeform: Shape 85">
                  <a:extLst>
                    <a:ext uri="{FF2B5EF4-FFF2-40B4-BE49-F238E27FC236}">
                      <a16:creationId xmlns:a16="http://schemas.microsoft.com/office/drawing/2014/main" id="{58AB6947-0C3F-40B1-80B8-DF3CB5E75CA7}"/>
                    </a:ext>
                  </a:extLst>
                </p:cNvPr>
                <p:cNvSpPr/>
                <p:nvPr/>
              </p:nvSpPr>
              <p:spPr>
                <a:xfrm>
                  <a:off x="1543052" y="3022543"/>
                  <a:ext cx="1076325" cy="838200"/>
                </a:xfrm>
                <a:custGeom>
                  <a:avLst/>
                  <a:gdLst>
                    <a:gd name="connsiteX0" fmla="*/ 1071507 w 1076325"/>
                    <a:gd name="connsiteY0" fmla="*/ 7144 h 838200"/>
                    <a:gd name="connsiteX1" fmla="*/ 1070802 w 1076325"/>
                    <a:gd name="connsiteY1" fmla="*/ 7144 h 838200"/>
                    <a:gd name="connsiteX2" fmla="*/ 68658 w 1076325"/>
                    <a:gd name="connsiteY2" fmla="*/ 7144 h 838200"/>
                    <a:gd name="connsiteX3" fmla="*/ 7145 w 1076325"/>
                    <a:gd name="connsiteY3" fmla="*/ 71561 h 838200"/>
                    <a:gd name="connsiteX4" fmla="*/ 7145 w 1076325"/>
                    <a:gd name="connsiteY4" fmla="*/ 770382 h 838200"/>
                    <a:gd name="connsiteX5" fmla="*/ 68658 w 1076325"/>
                    <a:gd name="connsiteY5" fmla="*/ 834323 h 838200"/>
                    <a:gd name="connsiteX6" fmla="*/ 92470 w 1076325"/>
                    <a:gd name="connsiteY6" fmla="*/ 834323 h 83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325" h="838200">
                      <a:moveTo>
                        <a:pt x="1071507" y="7144"/>
                      </a:moveTo>
                      <a:cubicBezTo>
                        <a:pt x="1071259" y="7144"/>
                        <a:pt x="1071031" y="7144"/>
                        <a:pt x="1070802" y="7144"/>
                      </a:cubicBezTo>
                      <a:lnTo>
                        <a:pt x="68658" y="7144"/>
                      </a:lnTo>
                      <a:cubicBezTo>
                        <a:pt x="34130" y="8490"/>
                        <a:pt x="6898" y="37004"/>
                        <a:pt x="7145" y="71561"/>
                      </a:cubicBezTo>
                      <a:lnTo>
                        <a:pt x="7145" y="770382"/>
                      </a:lnTo>
                      <a:cubicBezTo>
                        <a:pt x="6982" y="804824"/>
                        <a:pt x="34235" y="833155"/>
                        <a:pt x="68658" y="834323"/>
                      </a:cubicBezTo>
                      <a:lnTo>
                        <a:pt x="92470" y="834323"/>
                      </a:lnTo>
                      <a:close/>
                    </a:path>
                  </a:pathLst>
                </a:custGeom>
                <a:solidFill>
                  <a:srgbClr val="FFFFFF">
                    <a:alpha val="20000"/>
                  </a:srgb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7" name="Freeform: Shape 86">
                  <a:extLst>
                    <a:ext uri="{FF2B5EF4-FFF2-40B4-BE49-F238E27FC236}">
                      <a16:creationId xmlns:a16="http://schemas.microsoft.com/office/drawing/2014/main" id="{819280F9-775F-46ED-964D-01E623505377}"/>
                    </a:ext>
                  </a:extLst>
                </p:cNvPr>
                <p:cNvSpPr/>
                <p:nvPr/>
              </p:nvSpPr>
              <p:spPr>
                <a:xfrm>
                  <a:off x="1628865" y="3109601"/>
                  <a:ext cx="971550" cy="666750"/>
                </a:xfrm>
                <a:custGeom>
                  <a:avLst/>
                  <a:gdLst>
                    <a:gd name="connsiteX0" fmla="*/ 965044 w 971550"/>
                    <a:gd name="connsiteY0" fmla="*/ 7144 h 666750"/>
                    <a:gd name="connsiteX1" fmla="*/ 965044 w 971550"/>
                    <a:gd name="connsiteY1" fmla="*/ 660140 h 666750"/>
                    <a:gd name="connsiteX2" fmla="*/ 7144 w 971550"/>
                    <a:gd name="connsiteY2" fmla="*/ 660140 h 666750"/>
                    <a:gd name="connsiteX3" fmla="*/ 7144 w 971550"/>
                    <a:gd name="connsiteY3" fmla="*/ 7144 h 666750"/>
                    <a:gd name="connsiteX4" fmla="*/ 965044 w 971550"/>
                    <a:gd name="connsiteY4" fmla="*/ 7144 h 666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0" h="666750">
                      <a:moveTo>
                        <a:pt x="965044" y="7144"/>
                      </a:moveTo>
                      <a:lnTo>
                        <a:pt x="965044" y="660140"/>
                      </a:lnTo>
                      <a:lnTo>
                        <a:pt x="7144" y="660140"/>
                      </a:lnTo>
                      <a:lnTo>
                        <a:pt x="7144" y="7144"/>
                      </a:lnTo>
                      <a:lnTo>
                        <a:pt x="965044" y="7144"/>
                      </a:lnTo>
                      <a:close/>
                    </a:path>
                  </a:pathLst>
                </a:custGeom>
                <a:solidFill>
                  <a:srgbClr val="59B4D9"/>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8" name="Freeform: Shape 87">
                  <a:extLst>
                    <a:ext uri="{FF2B5EF4-FFF2-40B4-BE49-F238E27FC236}">
                      <a16:creationId xmlns:a16="http://schemas.microsoft.com/office/drawing/2014/main" id="{FC0C33F5-9322-4779-8D11-539B381D2B8E}"/>
                    </a:ext>
                  </a:extLst>
                </p:cNvPr>
                <p:cNvSpPr/>
                <p:nvPr/>
              </p:nvSpPr>
              <p:spPr>
                <a:xfrm>
                  <a:off x="1628865" y="3108306"/>
                  <a:ext cx="885825" cy="666750"/>
                </a:xfrm>
                <a:custGeom>
                  <a:avLst/>
                  <a:gdLst>
                    <a:gd name="connsiteX0" fmla="*/ 7144 w 885825"/>
                    <a:gd name="connsiteY0" fmla="*/ 661435 h 666750"/>
                    <a:gd name="connsiteX1" fmla="*/ 8458 w 885825"/>
                    <a:gd name="connsiteY1" fmla="*/ 661435 h 666750"/>
                    <a:gd name="connsiteX2" fmla="*/ 8458 w 885825"/>
                    <a:gd name="connsiteY2" fmla="*/ 8458 h 666750"/>
                    <a:gd name="connsiteX3" fmla="*/ 884215 w 885825"/>
                    <a:gd name="connsiteY3" fmla="*/ 7144 h 666750"/>
                    <a:gd name="connsiteX4" fmla="*/ 884263 w 885825"/>
                    <a:gd name="connsiteY4" fmla="*/ 7144 h 666750"/>
                    <a:gd name="connsiteX5" fmla="*/ 7144 w 885825"/>
                    <a:gd name="connsiteY5" fmla="*/ 8458 h 666750"/>
                    <a:gd name="connsiteX6" fmla="*/ 7144 w 885825"/>
                    <a:gd name="connsiteY6" fmla="*/ 661435 h 66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825" h="666750">
                      <a:moveTo>
                        <a:pt x="7144" y="661435"/>
                      </a:moveTo>
                      <a:lnTo>
                        <a:pt x="8458" y="661435"/>
                      </a:lnTo>
                      <a:lnTo>
                        <a:pt x="8458" y="8458"/>
                      </a:lnTo>
                      <a:lnTo>
                        <a:pt x="884215" y="7144"/>
                      </a:lnTo>
                      <a:lnTo>
                        <a:pt x="884263" y="7144"/>
                      </a:lnTo>
                      <a:lnTo>
                        <a:pt x="7144" y="8458"/>
                      </a:lnTo>
                      <a:lnTo>
                        <a:pt x="7144" y="661435"/>
                      </a:lnTo>
                      <a:close/>
                    </a:path>
                  </a:pathLst>
                </a:custGeom>
                <a:solidFill>
                  <a:srgbClr val="59B4D9"/>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9" name="Freeform: Shape 88">
                  <a:extLst>
                    <a:ext uri="{FF2B5EF4-FFF2-40B4-BE49-F238E27FC236}">
                      <a16:creationId xmlns:a16="http://schemas.microsoft.com/office/drawing/2014/main" id="{461CD7B4-E72C-48D4-AE84-D83736D56A1E}"/>
                    </a:ext>
                  </a:extLst>
                </p:cNvPr>
                <p:cNvSpPr/>
                <p:nvPr/>
              </p:nvSpPr>
              <p:spPr>
                <a:xfrm>
                  <a:off x="1739012" y="3998951"/>
                  <a:ext cx="752475" cy="76200"/>
                </a:xfrm>
                <a:custGeom>
                  <a:avLst/>
                  <a:gdLst>
                    <a:gd name="connsiteX0" fmla="*/ 7144 w 752475"/>
                    <a:gd name="connsiteY0" fmla="*/ 7144 h 76200"/>
                    <a:gd name="connsiteX1" fmla="*/ 747332 w 752475"/>
                    <a:gd name="connsiteY1" fmla="*/ 7144 h 76200"/>
                    <a:gd name="connsiteX2" fmla="*/ 747332 w 752475"/>
                    <a:gd name="connsiteY2" fmla="*/ 75543 h 76200"/>
                    <a:gd name="connsiteX3" fmla="*/ 7144 w 752475"/>
                    <a:gd name="connsiteY3" fmla="*/ 75543 h 76200"/>
                  </a:gdLst>
                  <a:ahLst/>
                  <a:cxnLst>
                    <a:cxn ang="0">
                      <a:pos x="connsiteX0" y="connsiteY0"/>
                    </a:cxn>
                    <a:cxn ang="0">
                      <a:pos x="connsiteX1" y="connsiteY1"/>
                    </a:cxn>
                    <a:cxn ang="0">
                      <a:pos x="connsiteX2" y="connsiteY2"/>
                    </a:cxn>
                    <a:cxn ang="0">
                      <a:pos x="connsiteX3" y="connsiteY3"/>
                    </a:cxn>
                  </a:cxnLst>
                  <a:rect l="l" t="t" r="r" b="b"/>
                  <a:pathLst>
                    <a:path w="752475" h="76200">
                      <a:moveTo>
                        <a:pt x="7144" y="7144"/>
                      </a:moveTo>
                      <a:lnTo>
                        <a:pt x="747332" y="7144"/>
                      </a:lnTo>
                      <a:lnTo>
                        <a:pt x="747332" y="75543"/>
                      </a:lnTo>
                      <a:lnTo>
                        <a:pt x="7144" y="75543"/>
                      </a:lnTo>
                      <a:close/>
                    </a:path>
                  </a:pathLst>
                </a:custGeom>
                <a:solidFill>
                  <a:srgbClr val="A0A1A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0" name="Freeform: Shape 89">
                  <a:extLst>
                    <a:ext uri="{FF2B5EF4-FFF2-40B4-BE49-F238E27FC236}">
                      <a16:creationId xmlns:a16="http://schemas.microsoft.com/office/drawing/2014/main" id="{D523D95F-DB43-40BE-A026-65185B048180}"/>
                    </a:ext>
                  </a:extLst>
                </p:cNvPr>
                <p:cNvSpPr/>
                <p:nvPr/>
              </p:nvSpPr>
              <p:spPr>
                <a:xfrm>
                  <a:off x="2088675" y="3053833"/>
                  <a:ext cx="38100" cy="38100"/>
                </a:xfrm>
                <a:custGeom>
                  <a:avLst/>
                  <a:gdLst>
                    <a:gd name="connsiteX0" fmla="*/ 39281 w 38100"/>
                    <a:gd name="connsiteY0" fmla="*/ 23222 h 38100"/>
                    <a:gd name="connsiteX1" fmla="*/ 23203 w 38100"/>
                    <a:gd name="connsiteY1" fmla="*/ 39281 h 38100"/>
                    <a:gd name="connsiteX2" fmla="*/ 7144 w 38100"/>
                    <a:gd name="connsiteY2" fmla="*/ 23203 h 38100"/>
                    <a:gd name="connsiteX3" fmla="*/ 23203 w 38100"/>
                    <a:gd name="connsiteY3" fmla="*/ 7144 h 38100"/>
                    <a:gd name="connsiteX4" fmla="*/ 39281 w 38100"/>
                    <a:gd name="connsiteY4" fmla="*/ 2322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281" y="23222"/>
                      </a:moveTo>
                      <a:cubicBezTo>
                        <a:pt x="39272" y="32096"/>
                        <a:pt x="32080" y="39286"/>
                        <a:pt x="23203" y="39281"/>
                      </a:cubicBezTo>
                      <a:cubicBezTo>
                        <a:pt x="14326" y="39276"/>
                        <a:pt x="7134" y="32077"/>
                        <a:pt x="7144" y="23203"/>
                      </a:cubicBezTo>
                      <a:cubicBezTo>
                        <a:pt x="7153" y="14336"/>
                        <a:pt x="14335" y="7149"/>
                        <a:pt x="23203" y="7144"/>
                      </a:cubicBezTo>
                      <a:cubicBezTo>
                        <a:pt x="32080" y="7144"/>
                        <a:pt x="39281" y="14342"/>
                        <a:pt x="39281" y="23222"/>
                      </a:cubicBezTo>
                    </a:path>
                  </a:pathLst>
                </a:custGeom>
                <a:solidFill>
                  <a:srgbClr val="B8D43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1" name="Freeform: Shape 90">
                  <a:extLst>
                    <a:ext uri="{FF2B5EF4-FFF2-40B4-BE49-F238E27FC236}">
                      <a16:creationId xmlns:a16="http://schemas.microsoft.com/office/drawing/2014/main" id="{53F800DF-20CE-434C-A77F-70237DC37D7C}"/>
                    </a:ext>
                  </a:extLst>
                </p:cNvPr>
                <p:cNvSpPr/>
                <p:nvPr/>
              </p:nvSpPr>
              <p:spPr>
                <a:xfrm>
                  <a:off x="1628865" y="3109601"/>
                  <a:ext cx="962025" cy="666750"/>
                </a:xfrm>
                <a:custGeom>
                  <a:avLst/>
                  <a:gdLst>
                    <a:gd name="connsiteX0" fmla="*/ 7144 w 962025"/>
                    <a:gd name="connsiteY0" fmla="*/ 7144 h 666750"/>
                    <a:gd name="connsiteX1" fmla="*/ 963159 w 962025"/>
                    <a:gd name="connsiteY1" fmla="*/ 7144 h 666750"/>
                    <a:gd name="connsiteX2" fmla="*/ 963159 w 962025"/>
                    <a:gd name="connsiteY2" fmla="*/ 660140 h 666750"/>
                    <a:gd name="connsiteX3" fmla="*/ 7144 w 962025"/>
                    <a:gd name="connsiteY3" fmla="*/ 660140 h 666750"/>
                  </a:gdLst>
                  <a:ahLst/>
                  <a:cxnLst>
                    <a:cxn ang="0">
                      <a:pos x="connsiteX0" y="connsiteY0"/>
                    </a:cxn>
                    <a:cxn ang="0">
                      <a:pos x="connsiteX1" y="connsiteY1"/>
                    </a:cxn>
                    <a:cxn ang="0">
                      <a:pos x="connsiteX2" y="connsiteY2"/>
                    </a:cxn>
                    <a:cxn ang="0">
                      <a:pos x="connsiteX3" y="connsiteY3"/>
                    </a:cxn>
                  </a:cxnLst>
                  <a:rect l="l" t="t" r="r" b="b"/>
                  <a:pathLst>
                    <a:path w="962025" h="666750">
                      <a:moveTo>
                        <a:pt x="7144" y="7144"/>
                      </a:moveTo>
                      <a:lnTo>
                        <a:pt x="963159" y="7144"/>
                      </a:lnTo>
                      <a:lnTo>
                        <a:pt x="963159" y="660140"/>
                      </a:lnTo>
                      <a:lnTo>
                        <a:pt x="7144" y="660140"/>
                      </a:lnTo>
                      <a:close/>
                    </a:path>
                  </a:pathLst>
                </a:custGeom>
                <a:solidFill>
                  <a:srgbClr val="1B348E"/>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2" name="Freeform: Shape 91">
                  <a:extLst>
                    <a:ext uri="{FF2B5EF4-FFF2-40B4-BE49-F238E27FC236}">
                      <a16:creationId xmlns:a16="http://schemas.microsoft.com/office/drawing/2014/main" id="{78095D1B-DF8D-430D-B790-269CBD97046C}"/>
                    </a:ext>
                  </a:extLst>
                </p:cNvPr>
                <p:cNvSpPr/>
                <p:nvPr/>
              </p:nvSpPr>
              <p:spPr>
                <a:xfrm>
                  <a:off x="1708532" y="3207547"/>
                  <a:ext cx="247650" cy="400050"/>
                </a:xfrm>
                <a:custGeom>
                  <a:avLst/>
                  <a:gdLst>
                    <a:gd name="connsiteX0" fmla="*/ 7144 w 247650"/>
                    <a:gd name="connsiteY0" fmla="*/ 7144 h 400050"/>
                    <a:gd name="connsiteX1" fmla="*/ 246145 w 247650"/>
                    <a:gd name="connsiteY1" fmla="*/ 7144 h 400050"/>
                    <a:gd name="connsiteX2" fmla="*/ 246145 w 247650"/>
                    <a:gd name="connsiteY2" fmla="*/ 398945 h 400050"/>
                    <a:gd name="connsiteX3" fmla="*/ 7144 w 247650"/>
                    <a:gd name="connsiteY3" fmla="*/ 398945 h 400050"/>
                  </a:gdLst>
                  <a:ahLst/>
                  <a:cxnLst>
                    <a:cxn ang="0">
                      <a:pos x="connsiteX0" y="connsiteY0"/>
                    </a:cxn>
                    <a:cxn ang="0">
                      <a:pos x="connsiteX1" y="connsiteY1"/>
                    </a:cxn>
                    <a:cxn ang="0">
                      <a:pos x="connsiteX2" y="connsiteY2"/>
                    </a:cxn>
                    <a:cxn ang="0">
                      <a:pos x="connsiteX3" y="connsiteY3"/>
                    </a:cxn>
                  </a:cxnLst>
                  <a:rect l="l" t="t" r="r" b="b"/>
                  <a:pathLst>
                    <a:path w="247650" h="400050">
                      <a:moveTo>
                        <a:pt x="7144" y="7144"/>
                      </a:moveTo>
                      <a:lnTo>
                        <a:pt x="246145" y="7144"/>
                      </a:lnTo>
                      <a:lnTo>
                        <a:pt x="246145" y="398945"/>
                      </a:lnTo>
                      <a:lnTo>
                        <a:pt x="7144" y="398945"/>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3" name="Freeform: Shape 92">
                  <a:extLst>
                    <a:ext uri="{FF2B5EF4-FFF2-40B4-BE49-F238E27FC236}">
                      <a16:creationId xmlns:a16="http://schemas.microsoft.com/office/drawing/2014/main" id="{6E4F0518-9A3D-430A-9158-EC685E5EB05D}"/>
                    </a:ext>
                  </a:extLst>
                </p:cNvPr>
                <p:cNvSpPr/>
                <p:nvPr/>
              </p:nvSpPr>
              <p:spPr>
                <a:xfrm>
                  <a:off x="1987367" y="3207547"/>
                  <a:ext cx="447675" cy="209550"/>
                </a:xfrm>
                <a:custGeom>
                  <a:avLst/>
                  <a:gdLst>
                    <a:gd name="connsiteX0" fmla="*/ 7144 w 447675"/>
                    <a:gd name="connsiteY0" fmla="*/ 7144 h 209550"/>
                    <a:gd name="connsiteX1" fmla="*/ 445313 w 447675"/>
                    <a:gd name="connsiteY1" fmla="*/ 7144 h 209550"/>
                    <a:gd name="connsiteX2" fmla="*/ 445313 w 447675"/>
                    <a:gd name="connsiteY2" fmla="*/ 203044 h 209550"/>
                    <a:gd name="connsiteX3" fmla="*/ 7144 w 447675"/>
                    <a:gd name="connsiteY3" fmla="*/ 203044 h 209550"/>
                  </a:gdLst>
                  <a:ahLst/>
                  <a:cxnLst>
                    <a:cxn ang="0">
                      <a:pos x="connsiteX0" y="connsiteY0"/>
                    </a:cxn>
                    <a:cxn ang="0">
                      <a:pos x="connsiteX1" y="connsiteY1"/>
                    </a:cxn>
                    <a:cxn ang="0">
                      <a:pos x="connsiteX2" y="connsiteY2"/>
                    </a:cxn>
                    <a:cxn ang="0">
                      <a:pos x="connsiteX3" y="connsiteY3"/>
                    </a:cxn>
                  </a:cxnLst>
                  <a:rect l="l" t="t" r="r" b="b"/>
                  <a:pathLst>
                    <a:path w="447675" h="209550">
                      <a:moveTo>
                        <a:pt x="7144" y="7144"/>
                      </a:moveTo>
                      <a:lnTo>
                        <a:pt x="445313" y="7144"/>
                      </a:lnTo>
                      <a:lnTo>
                        <a:pt x="445313" y="203044"/>
                      </a:lnTo>
                      <a:lnTo>
                        <a:pt x="7144" y="203044"/>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4" name="Freeform: Shape 93">
                  <a:extLst>
                    <a:ext uri="{FF2B5EF4-FFF2-40B4-BE49-F238E27FC236}">
                      <a16:creationId xmlns:a16="http://schemas.microsoft.com/office/drawing/2014/main" id="{DB0F39B7-1CC7-4AE4-8558-69B54FE1BB78}"/>
                    </a:ext>
                  </a:extLst>
                </p:cNvPr>
                <p:cNvSpPr/>
                <p:nvPr/>
              </p:nvSpPr>
              <p:spPr>
                <a:xfrm>
                  <a:off x="1987367" y="3436099"/>
                  <a:ext cx="209550" cy="171450"/>
                </a:xfrm>
                <a:custGeom>
                  <a:avLst/>
                  <a:gdLst>
                    <a:gd name="connsiteX0" fmla="*/ 7144 w 209550"/>
                    <a:gd name="connsiteY0" fmla="*/ 7144 h 171450"/>
                    <a:gd name="connsiteX1" fmla="*/ 206312 w 209550"/>
                    <a:gd name="connsiteY1" fmla="*/ 7144 h 171450"/>
                    <a:gd name="connsiteX2" fmla="*/ 206312 w 209550"/>
                    <a:gd name="connsiteY2" fmla="*/ 170393 h 171450"/>
                    <a:gd name="connsiteX3" fmla="*/ 7144 w 209550"/>
                    <a:gd name="connsiteY3" fmla="*/ 170393 h 171450"/>
                  </a:gdLst>
                  <a:ahLst/>
                  <a:cxnLst>
                    <a:cxn ang="0">
                      <a:pos x="connsiteX0" y="connsiteY0"/>
                    </a:cxn>
                    <a:cxn ang="0">
                      <a:pos x="connsiteX1" y="connsiteY1"/>
                    </a:cxn>
                    <a:cxn ang="0">
                      <a:pos x="connsiteX2" y="connsiteY2"/>
                    </a:cxn>
                    <a:cxn ang="0">
                      <a:pos x="connsiteX3" y="connsiteY3"/>
                    </a:cxn>
                  </a:cxnLst>
                  <a:rect l="l" t="t" r="r" b="b"/>
                  <a:pathLst>
                    <a:path w="209550" h="171450">
                      <a:moveTo>
                        <a:pt x="7144" y="7144"/>
                      </a:moveTo>
                      <a:lnTo>
                        <a:pt x="206312" y="7144"/>
                      </a:lnTo>
                      <a:lnTo>
                        <a:pt x="206312" y="170393"/>
                      </a:lnTo>
                      <a:lnTo>
                        <a:pt x="7144" y="170393"/>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7" name="Freeform: Shape 96">
                  <a:extLst>
                    <a:ext uri="{FF2B5EF4-FFF2-40B4-BE49-F238E27FC236}">
                      <a16:creationId xmlns:a16="http://schemas.microsoft.com/office/drawing/2014/main" id="{CFCAFCA1-76B1-4C9B-9711-343AE79A80CA}"/>
                    </a:ext>
                  </a:extLst>
                </p:cNvPr>
                <p:cNvSpPr/>
                <p:nvPr/>
              </p:nvSpPr>
              <p:spPr>
                <a:xfrm>
                  <a:off x="2226368" y="3436099"/>
                  <a:ext cx="209550" cy="171450"/>
                </a:xfrm>
                <a:custGeom>
                  <a:avLst/>
                  <a:gdLst>
                    <a:gd name="connsiteX0" fmla="*/ 7144 w 209550"/>
                    <a:gd name="connsiteY0" fmla="*/ 7144 h 171450"/>
                    <a:gd name="connsiteX1" fmla="*/ 206311 w 209550"/>
                    <a:gd name="connsiteY1" fmla="*/ 7144 h 171450"/>
                    <a:gd name="connsiteX2" fmla="*/ 206311 w 209550"/>
                    <a:gd name="connsiteY2" fmla="*/ 170393 h 171450"/>
                    <a:gd name="connsiteX3" fmla="*/ 7144 w 209550"/>
                    <a:gd name="connsiteY3" fmla="*/ 170393 h 171450"/>
                  </a:gdLst>
                  <a:ahLst/>
                  <a:cxnLst>
                    <a:cxn ang="0">
                      <a:pos x="connsiteX0" y="connsiteY0"/>
                    </a:cxn>
                    <a:cxn ang="0">
                      <a:pos x="connsiteX1" y="connsiteY1"/>
                    </a:cxn>
                    <a:cxn ang="0">
                      <a:pos x="connsiteX2" y="connsiteY2"/>
                    </a:cxn>
                    <a:cxn ang="0">
                      <a:pos x="connsiteX3" y="connsiteY3"/>
                    </a:cxn>
                  </a:cxnLst>
                  <a:rect l="l" t="t" r="r" b="b"/>
                  <a:pathLst>
                    <a:path w="209550" h="171450">
                      <a:moveTo>
                        <a:pt x="7144" y="7144"/>
                      </a:moveTo>
                      <a:lnTo>
                        <a:pt x="206311" y="7144"/>
                      </a:lnTo>
                      <a:lnTo>
                        <a:pt x="206311" y="170393"/>
                      </a:lnTo>
                      <a:lnTo>
                        <a:pt x="7144" y="170393"/>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8" name="Freeform: Shape 97">
                  <a:extLst>
                    <a:ext uri="{FF2B5EF4-FFF2-40B4-BE49-F238E27FC236}">
                      <a16:creationId xmlns:a16="http://schemas.microsoft.com/office/drawing/2014/main" id="{BCA46B70-B633-4BF2-84E7-55AB1A61FA0E}"/>
                    </a:ext>
                  </a:extLst>
                </p:cNvPr>
                <p:cNvSpPr/>
                <p:nvPr/>
              </p:nvSpPr>
              <p:spPr>
                <a:xfrm>
                  <a:off x="914452" y="4562793"/>
                  <a:ext cx="533400" cy="161925"/>
                </a:xfrm>
                <a:custGeom>
                  <a:avLst/>
                  <a:gdLst>
                    <a:gd name="connsiteX0" fmla="*/ 387477 w 533400"/>
                    <a:gd name="connsiteY0" fmla="*/ 7144 h 161925"/>
                    <a:gd name="connsiteX1" fmla="*/ 169945 w 533400"/>
                    <a:gd name="connsiteY1" fmla="*/ 7144 h 161925"/>
                    <a:gd name="connsiteX2" fmla="*/ 7144 w 533400"/>
                    <a:gd name="connsiteY2" fmla="*/ 112662 h 161925"/>
                    <a:gd name="connsiteX3" fmla="*/ 7144 w 533400"/>
                    <a:gd name="connsiteY3" fmla="*/ 160982 h 161925"/>
                    <a:gd name="connsiteX4" fmla="*/ 530219 w 533400"/>
                    <a:gd name="connsiteY4" fmla="*/ 160982 h 161925"/>
                    <a:gd name="connsiteX5" fmla="*/ 530219 w 533400"/>
                    <a:gd name="connsiteY5" fmla="*/ 112662 h 161925"/>
                    <a:gd name="connsiteX6" fmla="*/ 387487 w 533400"/>
                    <a:gd name="connsiteY6" fmla="*/ 7144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3400" h="161925">
                      <a:moveTo>
                        <a:pt x="387477" y="7144"/>
                      </a:moveTo>
                      <a:lnTo>
                        <a:pt x="169945" y="7144"/>
                      </a:lnTo>
                      <a:cubicBezTo>
                        <a:pt x="196091" y="99431"/>
                        <a:pt x="160973" y="112662"/>
                        <a:pt x="7144" y="112662"/>
                      </a:cubicBezTo>
                      <a:lnTo>
                        <a:pt x="7144" y="160982"/>
                      </a:lnTo>
                      <a:lnTo>
                        <a:pt x="530219" y="160982"/>
                      </a:lnTo>
                      <a:lnTo>
                        <a:pt x="530219" y="112662"/>
                      </a:lnTo>
                      <a:cubicBezTo>
                        <a:pt x="376399" y="112662"/>
                        <a:pt x="361312" y="99479"/>
                        <a:pt x="387487" y="7144"/>
                      </a:cubicBezTo>
                    </a:path>
                  </a:pathLst>
                </a:custGeom>
                <a:solidFill>
                  <a:srgbClr val="7A7A7A"/>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9" name="Freeform: Shape 98">
                  <a:extLst>
                    <a:ext uri="{FF2B5EF4-FFF2-40B4-BE49-F238E27FC236}">
                      <a16:creationId xmlns:a16="http://schemas.microsoft.com/office/drawing/2014/main" id="{73F048E0-0DE4-48F6-A73D-B8F24A4F618A}"/>
                    </a:ext>
                  </a:extLst>
                </p:cNvPr>
                <p:cNvSpPr/>
                <p:nvPr/>
              </p:nvSpPr>
              <p:spPr>
                <a:xfrm>
                  <a:off x="775986" y="3978253"/>
                  <a:ext cx="809625" cy="590550"/>
                </a:xfrm>
                <a:custGeom>
                  <a:avLst/>
                  <a:gdLst>
                    <a:gd name="connsiteX0" fmla="*/ 758810 w 809625"/>
                    <a:gd name="connsiteY0" fmla="*/ 7144 h 590550"/>
                    <a:gd name="connsiteX1" fmla="*/ 50617 w 809625"/>
                    <a:gd name="connsiteY1" fmla="*/ 7144 h 590550"/>
                    <a:gd name="connsiteX2" fmla="*/ 7145 w 809625"/>
                    <a:gd name="connsiteY2" fmla="*/ 52692 h 590550"/>
                    <a:gd name="connsiteX3" fmla="*/ 7145 w 809625"/>
                    <a:gd name="connsiteY3" fmla="*/ 546545 h 590550"/>
                    <a:gd name="connsiteX4" fmla="*/ 50617 w 809625"/>
                    <a:gd name="connsiteY4" fmla="*/ 591712 h 590550"/>
                    <a:gd name="connsiteX5" fmla="*/ 758801 w 809625"/>
                    <a:gd name="connsiteY5" fmla="*/ 591712 h 590550"/>
                    <a:gd name="connsiteX6" fmla="*/ 807140 w 809625"/>
                    <a:gd name="connsiteY6" fmla="*/ 546545 h 590550"/>
                    <a:gd name="connsiteX7" fmla="*/ 807140 w 809625"/>
                    <a:gd name="connsiteY7" fmla="*/ 52692 h 590550"/>
                    <a:gd name="connsiteX8" fmla="*/ 758801 w 809625"/>
                    <a:gd name="connsiteY8" fmla="*/ 7144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9625" h="590550">
                      <a:moveTo>
                        <a:pt x="758810" y="7144"/>
                      </a:moveTo>
                      <a:lnTo>
                        <a:pt x="50617" y="7144"/>
                      </a:lnTo>
                      <a:cubicBezTo>
                        <a:pt x="26206" y="8096"/>
                        <a:pt x="6962" y="28261"/>
                        <a:pt x="7145" y="52692"/>
                      </a:cubicBezTo>
                      <a:lnTo>
                        <a:pt x="7145" y="546545"/>
                      </a:lnTo>
                      <a:cubicBezTo>
                        <a:pt x="7038" y="570881"/>
                        <a:pt x="26297" y="590893"/>
                        <a:pt x="50617" y="591712"/>
                      </a:cubicBezTo>
                      <a:lnTo>
                        <a:pt x="758801" y="591712"/>
                      </a:lnTo>
                      <a:cubicBezTo>
                        <a:pt x="782813" y="591712"/>
                        <a:pt x="807140" y="570433"/>
                        <a:pt x="807140" y="546545"/>
                      </a:cubicBezTo>
                      <a:lnTo>
                        <a:pt x="807140" y="52692"/>
                      </a:lnTo>
                      <a:cubicBezTo>
                        <a:pt x="805064" y="27375"/>
                        <a:pt x="784198" y="7715"/>
                        <a:pt x="758801" y="7144"/>
                      </a:cubicBezTo>
                    </a:path>
                  </a:pathLst>
                </a:custGeom>
                <a:solidFill>
                  <a:srgbClr val="A0A1A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02" name="Freeform: Shape 101">
                  <a:extLst>
                    <a:ext uri="{FF2B5EF4-FFF2-40B4-BE49-F238E27FC236}">
                      <a16:creationId xmlns:a16="http://schemas.microsoft.com/office/drawing/2014/main" id="{51311F6B-DD90-44EA-A203-0AFCCBF2A6C5}"/>
                    </a:ext>
                  </a:extLst>
                </p:cNvPr>
                <p:cNvSpPr/>
                <p:nvPr/>
              </p:nvSpPr>
              <p:spPr>
                <a:xfrm>
                  <a:off x="775976" y="3978300"/>
                  <a:ext cx="762000" cy="590550"/>
                </a:xfrm>
                <a:custGeom>
                  <a:avLst/>
                  <a:gdLst>
                    <a:gd name="connsiteX0" fmla="*/ 759315 w 762000"/>
                    <a:gd name="connsiteY0" fmla="*/ 7144 h 590550"/>
                    <a:gd name="connsiteX1" fmla="*/ 758820 w 762000"/>
                    <a:gd name="connsiteY1" fmla="*/ 7144 h 590550"/>
                    <a:gd name="connsiteX2" fmla="*/ 50617 w 762000"/>
                    <a:gd name="connsiteY2" fmla="*/ 7144 h 590550"/>
                    <a:gd name="connsiteX3" fmla="*/ 7145 w 762000"/>
                    <a:gd name="connsiteY3" fmla="*/ 52692 h 590550"/>
                    <a:gd name="connsiteX4" fmla="*/ 7145 w 762000"/>
                    <a:gd name="connsiteY4" fmla="*/ 546526 h 590550"/>
                    <a:gd name="connsiteX5" fmla="*/ 50617 w 762000"/>
                    <a:gd name="connsiteY5" fmla="*/ 591712 h 590550"/>
                    <a:gd name="connsiteX6" fmla="*/ 67467 w 762000"/>
                    <a:gd name="connsiteY6" fmla="*/ 59171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0" h="590550">
                      <a:moveTo>
                        <a:pt x="759315" y="7144"/>
                      </a:moveTo>
                      <a:cubicBezTo>
                        <a:pt x="759144" y="7144"/>
                        <a:pt x="758982" y="7144"/>
                        <a:pt x="758820" y="7144"/>
                      </a:cubicBezTo>
                      <a:lnTo>
                        <a:pt x="50617" y="7144"/>
                      </a:lnTo>
                      <a:cubicBezTo>
                        <a:pt x="26204" y="8096"/>
                        <a:pt x="6957" y="28261"/>
                        <a:pt x="7145" y="52692"/>
                      </a:cubicBezTo>
                      <a:lnTo>
                        <a:pt x="7145" y="546526"/>
                      </a:lnTo>
                      <a:cubicBezTo>
                        <a:pt x="7028" y="570871"/>
                        <a:pt x="26289" y="590883"/>
                        <a:pt x="50617" y="591712"/>
                      </a:cubicBezTo>
                      <a:lnTo>
                        <a:pt x="67467" y="591712"/>
                      </a:lnTo>
                      <a:close/>
                    </a:path>
                  </a:pathLst>
                </a:custGeom>
                <a:solidFill>
                  <a:srgbClr val="FFFFFF">
                    <a:alpha val="20000"/>
                  </a:srgb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03" name="Freeform: Shape 102">
                  <a:extLst>
                    <a:ext uri="{FF2B5EF4-FFF2-40B4-BE49-F238E27FC236}">
                      <a16:creationId xmlns:a16="http://schemas.microsoft.com/office/drawing/2014/main" id="{A85C2B73-D2A1-456B-8E51-9211D204A417}"/>
                    </a:ext>
                  </a:extLst>
                </p:cNvPr>
                <p:cNvSpPr/>
                <p:nvPr/>
              </p:nvSpPr>
              <p:spPr>
                <a:xfrm>
                  <a:off x="836613" y="4039822"/>
                  <a:ext cx="685800" cy="466725"/>
                </a:xfrm>
                <a:custGeom>
                  <a:avLst/>
                  <a:gdLst>
                    <a:gd name="connsiteX0" fmla="*/ 684066 w 685800"/>
                    <a:gd name="connsiteY0" fmla="*/ 7144 h 466725"/>
                    <a:gd name="connsiteX1" fmla="*/ 684066 w 685800"/>
                    <a:gd name="connsiteY1" fmla="*/ 468592 h 466725"/>
                    <a:gd name="connsiteX2" fmla="*/ 7144 w 685800"/>
                    <a:gd name="connsiteY2" fmla="*/ 468592 h 466725"/>
                    <a:gd name="connsiteX3" fmla="*/ 7144 w 685800"/>
                    <a:gd name="connsiteY3" fmla="*/ 7144 h 466725"/>
                    <a:gd name="connsiteX4" fmla="*/ 684066 w 685800"/>
                    <a:gd name="connsiteY4" fmla="*/ 7144 h 466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 h="466725">
                      <a:moveTo>
                        <a:pt x="684066" y="7144"/>
                      </a:moveTo>
                      <a:lnTo>
                        <a:pt x="684066" y="468592"/>
                      </a:lnTo>
                      <a:lnTo>
                        <a:pt x="7144" y="468592"/>
                      </a:lnTo>
                      <a:lnTo>
                        <a:pt x="7144" y="7144"/>
                      </a:lnTo>
                      <a:lnTo>
                        <a:pt x="684066" y="7144"/>
                      </a:lnTo>
                      <a:close/>
                    </a:path>
                  </a:pathLst>
                </a:custGeom>
                <a:solidFill>
                  <a:srgbClr val="59B4D9"/>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2" name="Freeform: Shape 111">
                  <a:extLst>
                    <a:ext uri="{FF2B5EF4-FFF2-40B4-BE49-F238E27FC236}">
                      <a16:creationId xmlns:a16="http://schemas.microsoft.com/office/drawing/2014/main" id="{F1DF301C-E3C7-4F92-BAE2-10D9758EB88A}"/>
                    </a:ext>
                  </a:extLst>
                </p:cNvPr>
                <p:cNvSpPr/>
                <p:nvPr/>
              </p:nvSpPr>
              <p:spPr>
                <a:xfrm>
                  <a:off x="836613" y="4038908"/>
                  <a:ext cx="628650" cy="476250"/>
                </a:xfrm>
                <a:custGeom>
                  <a:avLst/>
                  <a:gdLst>
                    <a:gd name="connsiteX0" fmla="*/ 7144 w 628650"/>
                    <a:gd name="connsiteY0" fmla="*/ 469506 h 476250"/>
                    <a:gd name="connsiteX1" fmla="*/ 8077 w 628650"/>
                    <a:gd name="connsiteY1" fmla="*/ 469506 h 476250"/>
                    <a:gd name="connsiteX2" fmla="*/ 8077 w 628650"/>
                    <a:gd name="connsiteY2" fmla="*/ 8068 h 476250"/>
                    <a:gd name="connsiteX3" fmla="*/ 626945 w 628650"/>
                    <a:gd name="connsiteY3" fmla="*/ 7144 h 476250"/>
                    <a:gd name="connsiteX4" fmla="*/ 626983 w 628650"/>
                    <a:gd name="connsiteY4" fmla="*/ 7144 h 476250"/>
                    <a:gd name="connsiteX5" fmla="*/ 7144 w 628650"/>
                    <a:gd name="connsiteY5" fmla="*/ 8068 h 476250"/>
                    <a:gd name="connsiteX6" fmla="*/ 7144 w 628650"/>
                    <a:gd name="connsiteY6" fmla="*/ 469506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50" h="476250">
                      <a:moveTo>
                        <a:pt x="7144" y="469506"/>
                      </a:moveTo>
                      <a:lnTo>
                        <a:pt x="8077" y="469506"/>
                      </a:lnTo>
                      <a:lnTo>
                        <a:pt x="8077" y="8068"/>
                      </a:lnTo>
                      <a:lnTo>
                        <a:pt x="626945" y="7144"/>
                      </a:lnTo>
                      <a:lnTo>
                        <a:pt x="626983" y="7144"/>
                      </a:lnTo>
                      <a:lnTo>
                        <a:pt x="7144" y="8068"/>
                      </a:lnTo>
                      <a:lnTo>
                        <a:pt x="7144" y="469506"/>
                      </a:lnTo>
                      <a:close/>
                    </a:path>
                  </a:pathLst>
                </a:custGeom>
                <a:solidFill>
                  <a:srgbClr val="59B4D9"/>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3" name="Freeform: Shape 112">
                  <a:extLst>
                    <a:ext uri="{FF2B5EF4-FFF2-40B4-BE49-F238E27FC236}">
                      <a16:creationId xmlns:a16="http://schemas.microsoft.com/office/drawing/2014/main" id="{947CBE55-F6BA-4B0A-A9C6-FAD09DE96A45}"/>
                    </a:ext>
                  </a:extLst>
                </p:cNvPr>
                <p:cNvSpPr/>
                <p:nvPr/>
              </p:nvSpPr>
              <p:spPr>
                <a:xfrm>
                  <a:off x="914452" y="4668291"/>
                  <a:ext cx="533400" cy="57150"/>
                </a:xfrm>
                <a:custGeom>
                  <a:avLst/>
                  <a:gdLst>
                    <a:gd name="connsiteX0" fmla="*/ 7144 w 533400"/>
                    <a:gd name="connsiteY0" fmla="*/ 7144 h 57150"/>
                    <a:gd name="connsiteX1" fmla="*/ 530209 w 533400"/>
                    <a:gd name="connsiteY1" fmla="*/ 7144 h 57150"/>
                    <a:gd name="connsiteX2" fmla="*/ 530209 w 533400"/>
                    <a:gd name="connsiteY2" fmla="*/ 55483 h 57150"/>
                    <a:gd name="connsiteX3" fmla="*/ 7144 w 533400"/>
                    <a:gd name="connsiteY3" fmla="*/ 55483 h 57150"/>
                  </a:gdLst>
                  <a:ahLst/>
                  <a:cxnLst>
                    <a:cxn ang="0">
                      <a:pos x="connsiteX0" y="connsiteY0"/>
                    </a:cxn>
                    <a:cxn ang="0">
                      <a:pos x="connsiteX1" y="connsiteY1"/>
                    </a:cxn>
                    <a:cxn ang="0">
                      <a:pos x="connsiteX2" y="connsiteY2"/>
                    </a:cxn>
                    <a:cxn ang="0">
                      <a:pos x="connsiteX3" y="connsiteY3"/>
                    </a:cxn>
                  </a:cxnLst>
                  <a:rect l="l" t="t" r="r" b="b"/>
                  <a:pathLst>
                    <a:path w="533400" h="57150">
                      <a:moveTo>
                        <a:pt x="7144" y="7144"/>
                      </a:moveTo>
                      <a:lnTo>
                        <a:pt x="530209" y="7144"/>
                      </a:lnTo>
                      <a:lnTo>
                        <a:pt x="530209" y="55483"/>
                      </a:lnTo>
                      <a:lnTo>
                        <a:pt x="7144" y="55483"/>
                      </a:lnTo>
                      <a:close/>
                    </a:path>
                  </a:pathLst>
                </a:custGeom>
                <a:solidFill>
                  <a:srgbClr val="A0A1A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4" name="Freeform: Shape 113">
                  <a:extLst>
                    <a:ext uri="{FF2B5EF4-FFF2-40B4-BE49-F238E27FC236}">
                      <a16:creationId xmlns:a16="http://schemas.microsoft.com/office/drawing/2014/main" id="{770B407D-A2EB-4BD3-B009-9627B2C61977}"/>
                    </a:ext>
                  </a:extLst>
                </p:cNvPr>
                <p:cNvSpPr/>
                <p:nvPr/>
              </p:nvSpPr>
              <p:spPr>
                <a:xfrm>
                  <a:off x="1161549" y="4000408"/>
                  <a:ext cx="28575" cy="28575"/>
                </a:xfrm>
                <a:custGeom>
                  <a:avLst/>
                  <a:gdLst>
                    <a:gd name="connsiteX0" fmla="*/ 29851 w 28575"/>
                    <a:gd name="connsiteY0" fmla="*/ 18507 h 28575"/>
                    <a:gd name="connsiteX1" fmla="*/ 18488 w 28575"/>
                    <a:gd name="connsiteY1" fmla="*/ 29851 h 28575"/>
                    <a:gd name="connsiteX2" fmla="*/ 7144 w 28575"/>
                    <a:gd name="connsiteY2" fmla="*/ 18488 h 28575"/>
                    <a:gd name="connsiteX3" fmla="*/ 18488 w 28575"/>
                    <a:gd name="connsiteY3" fmla="*/ 7144 h 28575"/>
                    <a:gd name="connsiteX4" fmla="*/ 29851 w 28575"/>
                    <a:gd name="connsiteY4" fmla="*/ 1850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9851" y="18507"/>
                      </a:moveTo>
                      <a:cubicBezTo>
                        <a:pt x="29846" y="24775"/>
                        <a:pt x="24758" y="29861"/>
                        <a:pt x="18488" y="29851"/>
                      </a:cubicBezTo>
                      <a:cubicBezTo>
                        <a:pt x="12218" y="29842"/>
                        <a:pt x="7138" y="24755"/>
                        <a:pt x="7144" y="18488"/>
                      </a:cubicBezTo>
                      <a:cubicBezTo>
                        <a:pt x="7149" y="12221"/>
                        <a:pt x="12225" y="7153"/>
                        <a:pt x="18488" y="7144"/>
                      </a:cubicBezTo>
                      <a:cubicBezTo>
                        <a:pt x="24764" y="7144"/>
                        <a:pt x="29851" y="12230"/>
                        <a:pt x="29851" y="18507"/>
                      </a:cubicBezTo>
                    </a:path>
                  </a:pathLst>
                </a:custGeom>
                <a:solidFill>
                  <a:srgbClr val="B8D43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5" name="Freeform: Shape 114">
                  <a:extLst>
                    <a:ext uri="{FF2B5EF4-FFF2-40B4-BE49-F238E27FC236}">
                      <a16:creationId xmlns:a16="http://schemas.microsoft.com/office/drawing/2014/main" id="{53F3A886-709B-40BF-89F2-C69393EF3CA9}"/>
                    </a:ext>
                  </a:extLst>
                </p:cNvPr>
                <p:cNvSpPr/>
                <p:nvPr/>
              </p:nvSpPr>
              <p:spPr>
                <a:xfrm>
                  <a:off x="1896499" y="3791225"/>
                  <a:ext cx="1057275" cy="438150"/>
                </a:xfrm>
                <a:custGeom>
                  <a:avLst/>
                  <a:gdLst>
                    <a:gd name="connsiteX0" fmla="*/ 987751 w 1057275"/>
                    <a:gd name="connsiteY0" fmla="*/ 291860 h 438150"/>
                    <a:gd name="connsiteX1" fmla="*/ 985236 w 1057275"/>
                    <a:gd name="connsiteY1" fmla="*/ 292089 h 438150"/>
                    <a:gd name="connsiteX2" fmla="*/ 885233 w 1057275"/>
                    <a:gd name="connsiteY2" fmla="*/ 114147 h 438150"/>
                    <a:gd name="connsiteX3" fmla="*/ 748483 w 1057275"/>
                    <a:gd name="connsiteY3" fmla="*/ 146956 h 438150"/>
                    <a:gd name="connsiteX4" fmla="*/ 515959 w 1057275"/>
                    <a:gd name="connsiteY4" fmla="*/ 13825 h 438150"/>
                    <a:gd name="connsiteX5" fmla="*/ 377008 w 1057275"/>
                    <a:gd name="connsiteY5" fmla="*/ 179103 h 438150"/>
                    <a:gd name="connsiteX6" fmla="*/ 372245 w 1057275"/>
                    <a:gd name="connsiteY6" fmla="*/ 178341 h 438150"/>
                    <a:gd name="connsiteX7" fmla="*/ 168611 w 1057275"/>
                    <a:gd name="connsiteY7" fmla="*/ 186409 h 438150"/>
                    <a:gd name="connsiteX8" fmla="*/ 137826 w 1057275"/>
                    <a:gd name="connsiteY8" fmla="*/ 238406 h 438150"/>
                    <a:gd name="connsiteX9" fmla="*/ 105650 w 1057275"/>
                    <a:gd name="connsiteY9" fmla="*/ 232919 h 438150"/>
                    <a:gd name="connsiteX10" fmla="*/ 7171 w 1057275"/>
                    <a:gd name="connsiteY10" fmla="*/ 327398 h 438150"/>
                    <a:gd name="connsiteX11" fmla="*/ 7152 w 1057275"/>
                    <a:gd name="connsiteY11" fmla="*/ 329074 h 438150"/>
                    <a:gd name="connsiteX12" fmla="*/ 104536 w 1057275"/>
                    <a:gd name="connsiteY12" fmla="*/ 429830 h 438150"/>
                    <a:gd name="connsiteX13" fmla="*/ 336289 w 1057275"/>
                    <a:gd name="connsiteY13" fmla="*/ 429830 h 438150"/>
                    <a:gd name="connsiteX14" fmla="*/ 355148 w 1057275"/>
                    <a:gd name="connsiteY14" fmla="*/ 429830 h 438150"/>
                    <a:gd name="connsiteX15" fmla="*/ 987751 w 1057275"/>
                    <a:gd name="connsiteY15" fmla="*/ 429830 h 438150"/>
                    <a:gd name="connsiteX16" fmla="*/ 1056741 w 1057275"/>
                    <a:gd name="connsiteY16" fmla="*/ 360840 h 438150"/>
                    <a:gd name="connsiteX17" fmla="*/ 987751 w 1057275"/>
                    <a:gd name="connsiteY17" fmla="*/ 29185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57275" h="438150">
                      <a:moveTo>
                        <a:pt x="987751" y="291860"/>
                      </a:moveTo>
                      <a:cubicBezTo>
                        <a:pt x="986875" y="291860"/>
                        <a:pt x="986113" y="292060"/>
                        <a:pt x="985236" y="292089"/>
                      </a:cubicBezTo>
                      <a:cubicBezTo>
                        <a:pt x="1006763" y="215336"/>
                        <a:pt x="961986" y="135669"/>
                        <a:pt x="885233" y="114147"/>
                      </a:cubicBezTo>
                      <a:cubicBezTo>
                        <a:pt x="837046" y="100634"/>
                        <a:pt x="785297" y="113050"/>
                        <a:pt x="748483" y="146956"/>
                      </a:cubicBezTo>
                      <a:cubicBezTo>
                        <a:pt x="721032" y="45984"/>
                        <a:pt x="616933" y="-13622"/>
                        <a:pt x="515959" y="13825"/>
                      </a:cubicBezTo>
                      <a:cubicBezTo>
                        <a:pt x="439711" y="34552"/>
                        <a:pt x="384323" y="100426"/>
                        <a:pt x="377008" y="179103"/>
                      </a:cubicBezTo>
                      <a:cubicBezTo>
                        <a:pt x="375427" y="178808"/>
                        <a:pt x="373865" y="178579"/>
                        <a:pt x="372245" y="178341"/>
                      </a:cubicBezTo>
                      <a:cubicBezTo>
                        <a:pt x="313791" y="124337"/>
                        <a:pt x="222617" y="127949"/>
                        <a:pt x="168611" y="186409"/>
                      </a:cubicBezTo>
                      <a:cubicBezTo>
                        <a:pt x="154790" y="201373"/>
                        <a:pt x="144293" y="219089"/>
                        <a:pt x="137826" y="238406"/>
                      </a:cubicBezTo>
                      <a:cubicBezTo>
                        <a:pt x="127481" y="234786"/>
                        <a:pt x="116604" y="232938"/>
                        <a:pt x="105650" y="232919"/>
                      </a:cubicBezTo>
                      <a:cubicBezTo>
                        <a:pt x="52367" y="231814"/>
                        <a:pt x="8276" y="274115"/>
                        <a:pt x="7171" y="327398"/>
                      </a:cubicBezTo>
                      <a:cubicBezTo>
                        <a:pt x="7162" y="327960"/>
                        <a:pt x="7152" y="328512"/>
                        <a:pt x="7152" y="329074"/>
                      </a:cubicBezTo>
                      <a:cubicBezTo>
                        <a:pt x="6447" y="383700"/>
                        <a:pt x="49920" y="428677"/>
                        <a:pt x="104536" y="429830"/>
                      </a:cubicBezTo>
                      <a:lnTo>
                        <a:pt x="336289" y="429830"/>
                      </a:lnTo>
                      <a:cubicBezTo>
                        <a:pt x="342404" y="437097"/>
                        <a:pt x="348776" y="429830"/>
                        <a:pt x="355148" y="429830"/>
                      </a:cubicBezTo>
                      <a:lnTo>
                        <a:pt x="987751" y="429830"/>
                      </a:lnTo>
                      <a:cubicBezTo>
                        <a:pt x="1025851" y="429830"/>
                        <a:pt x="1056741" y="398940"/>
                        <a:pt x="1056741" y="360840"/>
                      </a:cubicBezTo>
                      <a:cubicBezTo>
                        <a:pt x="1056741" y="322740"/>
                        <a:pt x="1025851" y="291851"/>
                        <a:pt x="987751" y="291851"/>
                      </a:cubicBezTo>
                      <a:close/>
                    </a:path>
                  </a:pathLst>
                </a:custGeom>
                <a:solidFill>
                  <a:srgbClr val="CBEBF5">
                    <a:alpha val="80000"/>
                  </a:srgb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6" name="Freeform: Shape 115">
                  <a:extLst>
                    <a:ext uri="{FF2B5EF4-FFF2-40B4-BE49-F238E27FC236}">
                      <a16:creationId xmlns:a16="http://schemas.microsoft.com/office/drawing/2014/main" id="{D81D3DCF-C8BA-41FF-A86B-91019D2473A2}"/>
                    </a:ext>
                  </a:extLst>
                </p:cNvPr>
                <p:cNvSpPr/>
                <p:nvPr/>
              </p:nvSpPr>
              <p:spPr>
                <a:xfrm>
                  <a:off x="611928" y="4716021"/>
                  <a:ext cx="1743075" cy="66675"/>
                </a:xfrm>
                <a:custGeom>
                  <a:avLst/>
                  <a:gdLst>
                    <a:gd name="connsiteX0" fmla="*/ 7144 w 1743075"/>
                    <a:gd name="connsiteY0" fmla="*/ 7144 h 66675"/>
                    <a:gd name="connsiteX1" fmla="*/ 1739894 w 1743075"/>
                    <a:gd name="connsiteY1" fmla="*/ 7144 h 66675"/>
                    <a:gd name="connsiteX2" fmla="*/ 1739894 w 1743075"/>
                    <a:gd name="connsiteY2" fmla="*/ 67885 h 66675"/>
                    <a:gd name="connsiteX3" fmla="*/ 7144 w 1743075"/>
                    <a:gd name="connsiteY3" fmla="*/ 67885 h 66675"/>
                  </a:gdLst>
                  <a:ahLst/>
                  <a:cxnLst>
                    <a:cxn ang="0">
                      <a:pos x="connsiteX0" y="connsiteY0"/>
                    </a:cxn>
                    <a:cxn ang="0">
                      <a:pos x="connsiteX1" y="connsiteY1"/>
                    </a:cxn>
                    <a:cxn ang="0">
                      <a:pos x="connsiteX2" y="connsiteY2"/>
                    </a:cxn>
                    <a:cxn ang="0">
                      <a:pos x="connsiteX3" y="connsiteY3"/>
                    </a:cxn>
                  </a:cxnLst>
                  <a:rect l="l" t="t" r="r" b="b"/>
                  <a:pathLst>
                    <a:path w="1743075" h="66675">
                      <a:moveTo>
                        <a:pt x="7144" y="7144"/>
                      </a:moveTo>
                      <a:lnTo>
                        <a:pt x="1739894" y="7144"/>
                      </a:lnTo>
                      <a:lnTo>
                        <a:pt x="1739894" y="67885"/>
                      </a:lnTo>
                      <a:lnTo>
                        <a:pt x="7144" y="67885"/>
                      </a:lnTo>
                      <a:close/>
                    </a:path>
                  </a:pathLst>
                </a:custGeom>
                <a:solidFill>
                  <a:srgbClr val="6A6A6A"/>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7" name="Freeform: Shape 116">
                  <a:extLst>
                    <a:ext uri="{FF2B5EF4-FFF2-40B4-BE49-F238E27FC236}">
                      <a16:creationId xmlns:a16="http://schemas.microsoft.com/office/drawing/2014/main" id="{0DDC47A7-52F6-4D24-8432-AC659A67AB03}"/>
                    </a:ext>
                  </a:extLst>
                </p:cNvPr>
                <p:cNvSpPr/>
                <p:nvPr/>
              </p:nvSpPr>
              <p:spPr>
                <a:xfrm>
                  <a:off x="1751899" y="4567850"/>
                  <a:ext cx="200025" cy="161925"/>
                </a:xfrm>
                <a:custGeom>
                  <a:avLst/>
                  <a:gdLst>
                    <a:gd name="connsiteX0" fmla="*/ 194520 w 200025"/>
                    <a:gd name="connsiteY0" fmla="*/ 23689 h 161925"/>
                    <a:gd name="connsiteX1" fmla="*/ 158191 w 200025"/>
                    <a:gd name="connsiteY1" fmla="*/ 23689 h 161925"/>
                    <a:gd name="connsiteX2" fmla="*/ 161049 w 200025"/>
                    <a:gd name="connsiteY2" fmla="*/ 7144 h 161925"/>
                    <a:gd name="connsiteX3" fmla="*/ 7144 w 200025"/>
                    <a:gd name="connsiteY3" fmla="*/ 7144 h 161925"/>
                    <a:gd name="connsiteX4" fmla="*/ 37871 w 200025"/>
                    <a:gd name="connsiteY4" fmla="*/ 155315 h 161925"/>
                    <a:gd name="connsiteX5" fmla="*/ 135617 w 200025"/>
                    <a:gd name="connsiteY5" fmla="*/ 155315 h 161925"/>
                    <a:gd name="connsiteX6" fmla="*/ 138474 w 200025"/>
                    <a:gd name="connsiteY6" fmla="*/ 138398 h 161925"/>
                    <a:gd name="connsiteX7" fmla="*/ 194482 w 200025"/>
                    <a:gd name="connsiteY7" fmla="*/ 138398 h 161925"/>
                    <a:gd name="connsiteX8" fmla="*/ 171717 w 200025"/>
                    <a:gd name="connsiteY8" fmla="*/ 115595 h 161925"/>
                    <a:gd name="connsiteX9" fmla="*/ 142427 w 200025"/>
                    <a:gd name="connsiteY9" fmla="*/ 115595 h 161925"/>
                    <a:gd name="connsiteX10" fmla="*/ 154286 w 200025"/>
                    <a:gd name="connsiteY10" fmla="*/ 46482 h 161925"/>
                    <a:gd name="connsiteX11" fmla="*/ 171726 w 200025"/>
                    <a:gd name="connsiteY11" fmla="*/ 46482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0025" h="161925">
                      <a:moveTo>
                        <a:pt x="194520" y="23689"/>
                      </a:moveTo>
                      <a:lnTo>
                        <a:pt x="158191" y="23689"/>
                      </a:lnTo>
                      <a:lnTo>
                        <a:pt x="161049" y="7144"/>
                      </a:lnTo>
                      <a:lnTo>
                        <a:pt x="7144" y="7144"/>
                      </a:lnTo>
                      <a:lnTo>
                        <a:pt x="37871" y="155315"/>
                      </a:lnTo>
                      <a:lnTo>
                        <a:pt x="135617" y="155315"/>
                      </a:lnTo>
                      <a:lnTo>
                        <a:pt x="138474" y="138398"/>
                      </a:lnTo>
                      <a:lnTo>
                        <a:pt x="194482" y="138398"/>
                      </a:lnTo>
                      <a:close/>
                      <a:moveTo>
                        <a:pt x="171717" y="115595"/>
                      </a:moveTo>
                      <a:lnTo>
                        <a:pt x="142427" y="115595"/>
                      </a:lnTo>
                      <a:lnTo>
                        <a:pt x="154286" y="46482"/>
                      </a:lnTo>
                      <a:lnTo>
                        <a:pt x="171726" y="46482"/>
                      </a:lnTo>
                      <a:close/>
                    </a:path>
                  </a:pathLst>
                </a:custGeom>
                <a:solidFill>
                  <a:srgbClr val="1A1A1A"/>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8" name="Freeform: Shape 117">
                  <a:extLst>
                    <a:ext uri="{FF2B5EF4-FFF2-40B4-BE49-F238E27FC236}">
                      <a16:creationId xmlns:a16="http://schemas.microsoft.com/office/drawing/2014/main" id="{3581A756-2A1D-4B7A-BA9A-BD9ACCA320FE}"/>
                    </a:ext>
                  </a:extLst>
                </p:cNvPr>
                <p:cNvSpPr/>
                <p:nvPr/>
              </p:nvSpPr>
              <p:spPr>
                <a:xfrm>
                  <a:off x="1283479" y="4269051"/>
                  <a:ext cx="171450" cy="180975"/>
                </a:xfrm>
                <a:custGeom>
                  <a:avLst/>
                  <a:gdLst>
                    <a:gd name="connsiteX0" fmla="*/ 164706 w 171450"/>
                    <a:gd name="connsiteY0" fmla="*/ 7144 h 180975"/>
                    <a:gd name="connsiteX1" fmla="*/ 7144 w 171450"/>
                    <a:gd name="connsiteY1" fmla="*/ 176670 h 180975"/>
                  </a:gdLst>
                  <a:ahLst/>
                  <a:cxnLst>
                    <a:cxn ang="0">
                      <a:pos x="connsiteX0" y="connsiteY0"/>
                    </a:cxn>
                    <a:cxn ang="0">
                      <a:pos x="connsiteX1" y="connsiteY1"/>
                    </a:cxn>
                  </a:cxnLst>
                  <a:rect l="l" t="t" r="r" b="b"/>
                  <a:pathLst>
                    <a:path w="171450" h="180975">
                      <a:moveTo>
                        <a:pt x="164706" y="7144"/>
                      </a:moveTo>
                      <a:lnTo>
                        <a:pt x="7144" y="176670"/>
                      </a:lnTo>
                    </a:path>
                  </a:pathLst>
                </a:custGeom>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19" name="Freeform: Shape 118">
                  <a:extLst>
                    <a:ext uri="{FF2B5EF4-FFF2-40B4-BE49-F238E27FC236}">
                      <a16:creationId xmlns:a16="http://schemas.microsoft.com/office/drawing/2014/main" id="{481B1AD4-BB51-4F47-B1CB-69BCC06F01F7}"/>
                    </a:ext>
                  </a:extLst>
                </p:cNvPr>
                <p:cNvSpPr/>
                <p:nvPr/>
              </p:nvSpPr>
              <p:spPr>
                <a:xfrm>
                  <a:off x="1067233" y="3108887"/>
                  <a:ext cx="571500" cy="1304925"/>
                </a:xfrm>
                <a:custGeom>
                  <a:avLst/>
                  <a:gdLst>
                    <a:gd name="connsiteX0" fmla="*/ 568776 w 571500"/>
                    <a:gd name="connsiteY0" fmla="*/ 660854 h 1304925"/>
                    <a:gd name="connsiteX1" fmla="*/ 7144 w 571500"/>
                    <a:gd name="connsiteY1" fmla="*/ 1305058 h 1304925"/>
                    <a:gd name="connsiteX2" fmla="*/ 7144 w 571500"/>
                    <a:gd name="connsiteY2" fmla="*/ 937165 h 1304925"/>
                    <a:gd name="connsiteX3" fmla="*/ 568785 w 571500"/>
                    <a:gd name="connsiteY3" fmla="*/ 7144 h 1304925"/>
                    <a:gd name="connsiteX4" fmla="*/ 568776 w 571500"/>
                    <a:gd name="connsiteY4" fmla="*/ 660854 h 1304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0" h="1304925">
                      <a:moveTo>
                        <a:pt x="568776" y="660854"/>
                      </a:moveTo>
                      <a:lnTo>
                        <a:pt x="7144" y="1305058"/>
                      </a:lnTo>
                      <a:lnTo>
                        <a:pt x="7144" y="937165"/>
                      </a:lnTo>
                      <a:lnTo>
                        <a:pt x="568785" y="7144"/>
                      </a:lnTo>
                      <a:lnTo>
                        <a:pt x="568776" y="660854"/>
                      </a:lnTo>
                      <a:close/>
                    </a:path>
                  </a:pathLst>
                </a:custGeom>
                <a:solidFill>
                  <a:srgbClr val="0072C6">
                    <a:alpha val="40000"/>
                  </a:srgb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0" name="Freeform: Shape 119">
                  <a:extLst>
                    <a:ext uri="{FF2B5EF4-FFF2-40B4-BE49-F238E27FC236}">
                      <a16:creationId xmlns:a16="http://schemas.microsoft.com/office/drawing/2014/main" id="{C8F81A3B-1357-4A9A-BE10-D476C71C0762}"/>
                    </a:ext>
                  </a:extLst>
                </p:cNvPr>
                <p:cNvSpPr/>
                <p:nvPr/>
              </p:nvSpPr>
              <p:spPr>
                <a:xfrm>
                  <a:off x="1513536" y="3109601"/>
                  <a:ext cx="1085850" cy="1247775"/>
                </a:xfrm>
                <a:custGeom>
                  <a:avLst/>
                  <a:gdLst>
                    <a:gd name="connsiteX0" fmla="*/ 7144 w 1085850"/>
                    <a:gd name="connsiteY0" fmla="*/ 1241012 h 1247775"/>
                    <a:gd name="connsiteX1" fmla="*/ 1080373 w 1085850"/>
                    <a:gd name="connsiteY1" fmla="*/ 660140 h 1247775"/>
                    <a:gd name="connsiteX2" fmla="*/ 1080373 w 1085850"/>
                    <a:gd name="connsiteY2" fmla="*/ 7144 h 1247775"/>
                    <a:gd name="connsiteX3" fmla="*/ 7144 w 1085850"/>
                    <a:gd name="connsiteY3" fmla="*/ 937365 h 1247775"/>
                    <a:gd name="connsiteX4" fmla="*/ 7144 w 1085850"/>
                    <a:gd name="connsiteY4" fmla="*/ 1241012 h 1247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850" h="1247775">
                      <a:moveTo>
                        <a:pt x="7144" y="1241012"/>
                      </a:moveTo>
                      <a:lnTo>
                        <a:pt x="1080373" y="660140"/>
                      </a:lnTo>
                      <a:lnTo>
                        <a:pt x="1080373" y="7144"/>
                      </a:lnTo>
                      <a:lnTo>
                        <a:pt x="7144" y="937365"/>
                      </a:lnTo>
                      <a:lnTo>
                        <a:pt x="7144" y="1241012"/>
                      </a:lnTo>
                      <a:close/>
                    </a:path>
                  </a:pathLst>
                </a:custGeom>
                <a:solidFill>
                  <a:srgbClr val="0072C6">
                    <a:alpha val="40000"/>
                  </a:srgb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1" name="Freeform: Shape 120">
                  <a:extLst>
                    <a:ext uri="{FF2B5EF4-FFF2-40B4-BE49-F238E27FC236}">
                      <a16:creationId xmlns:a16="http://schemas.microsoft.com/office/drawing/2014/main" id="{91EF670B-04CB-471A-8739-CF4ED6F3EF84}"/>
                    </a:ext>
                  </a:extLst>
                </p:cNvPr>
                <p:cNvSpPr/>
                <p:nvPr/>
              </p:nvSpPr>
              <p:spPr>
                <a:xfrm>
                  <a:off x="759956" y="3220831"/>
                  <a:ext cx="828675" cy="514350"/>
                </a:xfrm>
                <a:custGeom>
                  <a:avLst/>
                  <a:gdLst>
                    <a:gd name="connsiteX0" fmla="*/ 728872 w 828675"/>
                    <a:gd name="connsiteY0" fmla="*/ 499971 h 514350"/>
                    <a:gd name="connsiteX1" fmla="*/ 820979 w 828675"/>
                    <a:gd name="connsiteY1" fmla="*/ 368680 h 514350"/>
                    <a:gd name="connsiteX2" fmla="*/ 709279 w 828675"/>
                    <a:gd name="connsiteY2" fmla="*/ 274867 h 514350"/>
                    <a:gd name="connsiteX3" fmla="*/ 708146 w 828675"/>
                    <a:gd name="connsiteY3" fmla="*/ 274867 h 514350"/>
                    <a:gd name="connsiteX4" fmla="*/ 709098 w 828675"/>
                    <a:gd name="connsiteY4" fmla="*/ 253007 h 514350"/>
                    <a:gd name="connsiteX5" fmla="*/ 463243 w 828675"/>
                    <a:gd name="connsiteY5" fmla="*/ 7144 h 514350"/>
                    <a:gd name="connsiteX6" fmla="*/ 230134 w 828675"/>
                    <a:gd name="connsiteY6" fmla="*/ 174845 h 514350"/>
                    <a:gd name="connsiteX7" fmla="*/ 175203 w 828675"/>
                    <a:gd name="connsiteY7" fmla="*/ 165501 h 514350"/>
                    <a:gd name="connsiteX8" fmla="*/ 7144 w 828675"/>
                    <a:gd name="connsiteY8" fmla="*/ 337017 h 514350"/>
                    <a:gd name="connsiteX9" fmla="*/ 175203 w 828675"/>
                    <a:gd name="connsiteY9" fmla="*/ 508572 h 514350"/>
                    <a:gd name="connsiteX10" fmla="*/ 175431 w 828675"/>
                    <a:gd name="connsiteY10" fmla="*/ 508572 h 514350"/>
                    <a:gd name="connsiteX11" fmla="*/ 728872 w 828675"/>
                    <a:gd name="connsiteY11" fmla="*/ 499971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8675" h="514350">
                      <a:moveTo>
                        <a:pt x="728872" y="499971"/>
                      </a:moveTo>
                      <a:cubicBezTo>
                        <a:pt x="790562" y="489152"/>
                        <a:pt x="831799" y="430371"/>
                        <a:pt x="820979" y="368680"/>
                      </a:cubicBezTo>
                      <a:cubicBezTo>
                        <a:pt x="811467" y="314435"/>
                        <a:pt x="764354" y="274866"/>
                        <a:pt x="709279" y="274867"/>
                      </a:cubicBezTo>
                      <a:lnTo>
                        <a:pt x="708146" y="274867"/>
                      </a:lnTo>
                      <a:cubicBezTo>
                        <a:pt x="708784" y="267656"/>
                        <a:pt x="709098" y="260370"/>
                        <a:pt x="709098" y="253007"/>
                      </a:cubicBezTo>
                      <a:cubicBezTo>
                        <a:pt x="709100" y="117222"/>
                        <a:pt x="599027" y="7146"/>
                        <a:pt x="463243" y="7144"/>
                      </a:cubicBezTo>
                      <a:cubicBezTo>
                        <a:pt x="357575" y="7142"/>
                        <a:pt x="263725" y="74659"/>
                        <a:pt x="230134" y="174845"/>
                      </a:cubicBezTo>
                      <a:cubicBezTo>
                        <a:pt x="212471" y="168693"/>
                        <a:pt x="193905" y="165536"/>
                        <a:pt x="175203" y="165501"/>
                      </a:cubicBezTo>
                      <a:cubicBezTo>
                        <a:pt x="82372" y="165501"/>
                        <a:pt x="7144" y="244215"/>
                        <a:pt x="7144" y="337017"/>
                      </a:cubicBezTo>
                      <a:cubicBezTo>
                        <a:pt x="7144" y="429819"/>
                        <a:pt x="82391" y="508572"/>
                        <a:pt x="175203" y="508572"/>
                      </a:cubicBezTo>
                      <a:lnTo>
                        <a:pt x="175431" y="508572"/>
                      </a:lnTo>
                      <a:cubicBezTo>
                        <a:pt x="175431" y="508572"/>
                        <a:pt x="728234" y="500085"/>
                        <a:pt x="728872" y="499971"/>
                      </a:cubicBezTo>
                      <a:close/>
                    </a:path>
                  </a:pathLst>
                </a:custGeom>
                <a:solidFill>
                  <a:srgbClr val="CBEBF5">
                    <a:alpha val="80000"/>
                  </a:srgb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3" name="Freeform: Shape 122">
                  <a:extLst>
                    <a:ext uri="{FF2B5EF4-FFF2-40B4-BE49-F238E27FC236}">
                      <a16:creationId xmlns:a16="http://schemas.microsoft.com/office/drawing/2014/main" id="{B28A8D31-E98C-4B0C-80AD-8B93FFEBEFF7}"/>
                    </a:ext>
                  </a:extLst>
                </p:cNvPr>
                <p:cNvSpPr/>
                <p:nvPr/>
              </p:nvSpPr>
              <p:spPr>
                <a:xfrm>
                  <a:off x="1067233" y="4038908"/>
                  <a:ext cx="457200" cy="314325"/>
                </a:xfrm>
                <a:custGeom>
                  <a:avLst/>
                  <a:gdLst>
                    <a:gd name="connsiteX0" fmla="*/ 7144 w 457200"/>
                    <a:gd name="connsiteY0" fmla="*/ 7144 h 314325"/>
                    <a:gd name="connsiteX1" fmla="*/ 453447 w 457200"/>
                    <a:gd name="connsiteY1" fmla="*/ 7144 h 314325"/>
                    <a:gd name="connsiteX2" fmla="*/ 453447 w 457200"/>
                    <a:gd name="connsiteY2" fmla="*/ 311706 h 314325"/>
                    <a:gd name="connsiteX3" fmla="*/ 7144 w 457200"/>
                    <a:gd name="connsiteY3" fmla="*/ 311706 h 314325"/>
                  </a:gdLst>
                  <a:ahLst/>
                  <a:cxnLst>
                    <a:cxn ang="0">
                      <a:pos x="connsiteX0" y="connsiteY0"/>
                    </a:cxn>
                    <a:cxn ang="0">
                      <a:pos x="connsiteX1" y="connsiteY1"/>
                    </a:cxn>
                    <a:cxn ang="0">
                      <a:pos x="connsiteX2" y="connsiteY2"/>
                    </a:cxn>
                    <a:cxn ang="0">
                      <a:pos x="connsiteX3" y="connsiteY3"/>
                    </a:cxn>
                  </a:cxnLst>
                  <a:rect l="l" t="t" r="r" b="b"/>
                  <a:pathLst>
                    <a:path w="457200" h="314325">
                      <a:moveTo>
                        <a:pt x="7144" y="7144"/>
                      </a:moveTo>
                      <a:lnTo>
                        <a:pt x="453447" y="7144"/>
                      </a:lnTo>
                      <a:lnTo>
                        <a:pt x="453447" y="311706"/>
                      </a:lnTo>
                      <a:lnTo>
                        <a:pt x="7144" y="311706"/>
                      </a:lnTo>
                      <a:close/>
                    </a:path>
                  </a:pathLst>
                </a:custGeom>
                <a:solidFill>
                  <a:srgbClr val="1B348E"/>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4" name="Freeform: Shape 123">
                  <a:extLst>
                    <a:ext uri="{FF2B5EF4-FFF2-40B4-BE49-F238E27FC236}">
                      <a16:creationId xmlns:a16="http://schemas.microsoft.com/office/drawing/2014/main" id="{CC0F0B99-C56D-4C08-BFD5-D217D2ED584B}"/>
                    </a:ext>
                  </a:extLst>
                </p:cNvPr>
                <p:cNvSpPr/>
                <p:nvPr/>
              </p:nvSpPr>
              <p:spPr>
                <a:xfrm>
                  <a:off x="1104428" y="4084590"/>
                  <a:ext cx="123825" cy="190500"/>
                </a:xfrm>
                <a:custGeom>
                  <a:avLst/>
                  <a:gdLst>
                    <a:gd name="connsiteX0" fmla="*/ 7144 w 123825"/>
                    <a:gd name="connsiteY0" fmla="*/ 7144 h 190500"/>
                    <a:gd name="connsiteX1" fmla="*/ 118720 w 123825"/>
                    <a:gd name="connsiteY1" fmla="*/ 7144 h 190500"/>
                    <a:gd name="connsiteX2" fmla="*/ 118720 w 123825"/>
                    <a:gd name="connsiteY2" fmla="*/ 189881 h 190500"/>
                    <a:gd name="connsiteX3" fmla="*/ 7144 w 123825"/>
                    <a:gd name="connsiteY3" fmla="*/ 189881 h 190500"/>
                  </a:gdLst>
                  <a:ahLst/>
                  <a:cxnLst>
                    <a:cxn ang="0">
                      <a:pos x="connsiteX0" y="connsiteY0"/>
                    </a:cxn>
                    <a:cxn ang="0">
                      <a:pos x="connsiteX1" y="connsiteY1"/>
                    </a:cxn>
                    <a:cxn ang="0">
                      <a:pos x="connsiteX2" y="connsiteY2"/>
                    </a:cxn>
                    <a:cxn ang="0">
                      <a:pos x="connsiteX3" y="connsiteY3"/>
                    </a:cxn>
                  </a:cxnLst>
                  <a:rect l="l" t="t" r="r" b="b"/>
                  <a:pathLst>
                    <a:path w="123825" h="190500">
                      <a:moveTo>
                        <a:pt x="7144" y="7144"/>
                      </a:moveTo>
                      <a:lnTo>
                        <a:pt x="118720" y="7144"/>
                      </a:lnTo>
                      <a:lnTo>
                        <a:pt x="118720" y="189881"/>
                      </a:lnTo>
                      <a:lnTo>
                        <a:pt x="7144" y="189881"/>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5" name="Freeform: Shape 124">
                  <a:extLst>
                    <a:ext uri="{FF2B5EF4-FFF2-40B4-BE49-F238E27FC236}">
                      <a16:creationId xmlns:a16="http://schemas.microsoft.com/office/drawing/2014/main" id="{4F15EB48-DB87-4862-929D-636A97455584}"/>
                    </a:ext>
                  </a:extLst>
                </p:cNvPr>
                <p:cNvSpPr/>
                <p:nvPr/>
              </p:nvSpPr>
              <p:spPr>
                <a:xfrm>
                  <a:off x="1234597" y="4084590"/>
                  <a:ext cx="209550" cy="104775"/>
                </a:xfrm>
                <a:custGeom>
                  <a:avLst/>
                  <a:gdLst>
                    <a:gd name="connsiteX0" fmla="*/ 7144 w 209550"/>
                    <a:gd name="connsiteY0" fmla="*/ 7144 h 104775"/>
                    <a:gd name="connsiteX1" fmla="*/ 211703 w 209550"/>
                    <a:gd name="connsiteY1" fmla="*/ 7144 h 104775"/>
                    <a:gd name="connsiteX2" fmla="*/ 211703 w 209550"/>
                    <a:gd name="connsiteY2" fmla="*/ 98517 h 104775"/>
                    <a:gd name="connsiteX3" fmla="*/ 7144 w 209550"/>
                    <a:gd name="connsiteY3" fmla="*/ 98517 h 104775"/>
                  </a:gdLst>
                  <a:ahLst/>
                  <a:cxnLst>
                    <a:cxn ang="0">
                      <a:pos x="connsiteX0" y="connsiteY0"/>
                    </a:cxn>
                    <a:cxn ang="0">
                      <a:pos x="connsiteX1" y="connsiteY1"/>
                    </a:cxn>
                    <a:cxn ang="0">
                      <a:pos x="connsiteX2" y="connsiteY2"/>
                    </a:cxn>
                    <a:cxn ang="0">
                      <a:pos x="connsiteX3" y="connsiteY3"/>
                    </a:cxn>
                  </a:cxnLst>
                  <a:rect l="l" t="t" r="r" b="b"/>
                  <a:pathLst>
                    <a:path w="209550" h="104775">
                      <a:moveTo>
                        <a:pt x="7144" y="7144"/>
                      </a:moveTo>
                      <a:lnTo>
                        <a:pt x="211703" y="7144"/>
                      </a:lnTo>
                      <a:lnTo>
                        <a:pt x="211703" y="98517"/>
                      </a:lnTo>
                      <a:lnTo>
                        <a:pt x="7144" y="98517"/>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6" name="Freeform: Shape 125">
                  <a:extLst>
                    <a:ext uri="{FF2B5EF4-FFF2-40B4-BE49-F238E27FC236}">
                      <a16:creationId xmlns:a16="http://schemas.microsoft.com/office/drawing/2014/main" id="{19C9D373-AAEF-4BC4-8256-A28094FD5B88}"/>
                    </a:ext>
                  </a:extLst>
                </p:cNvPr>
                <p:cNvSpPr/>
                <p:nvPr/>
              </p:nvSpPr>
              <p:spPr>
                <a:xfrm>
                  <a:off x="1234597" y="4191184"/>
                  <a:ext cx="104775" cy="85725"/>
                </a:xfrm>
                <a:custGeom>
                  <a:avLst/>
                  <a:gdLst>
                    <a:gd name="connsiteX0" fmla="*/ 7144 w 104775"/>
                    <a:gd name="connsiteY0" fmla="*/ 7144 h 85725"/>
                    <a:gd name="connsiteX1" fmla="*/ 100127 w 104775"/>
                    <a:gd name="connsiteY1" fmla="*/ 7144 h 85725"/>
                    <a:gd name="connsiteX2" fmla="*/ 100127 w 104775"/>
                    <a:gd name="connsiteY2" fmla="*/ 83287 h 85725"/>
                    <a:gd name="connsiteX3" fmla="*/ 7144 w 104775"/>
                    <a:gd name="connsiteY3" fmla="*/ 83287 h 85725"/>
                  </a:gdLst>
                  <a:ahLst/>
                  <a:cxnLst>
                    <a:cxn ang="0">
                      <a:pos x="connsiteX0" y="connsiteY0"/>
                    </a:cxn>
                    <a:cxn ang="0">
                      <a:pos x="connsiteX1" y="connsiteY1"/>
                    </a:cxn>
                    <a:cxn ang="0">
                      <a:pos x="connsiteX2" y="connsiteY2"/>
                    </a:cxn>
                    <a:cxn ang="0">
                      <a:pos x="connsiteX3" y="connsiteY3"/>
                    </a:cxn>
                  </a:cxnLst>
                  <a:rect l="l" t="t" r="r" b="b"/>
                  <a:pathLst>
                    <a:path w="104775" h="85725">
                      <a:moveTo>
                        <a:pt x="7144" y="7144"/>
                      </a:moveTo>
                      <a:lnTo>
                        <a:pt x="100127" y="7144"/>
                      </a:lnTo>
                      <a:lnTo>
                        <a:pt x="100127" y="83287"/>
                      </a:lnTo>
                      <a:lnTo>
                        <a:pt x="7144" y="83287"/>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7" name="Freeform: Shape 126">
                  <a:extLst>
                    <a:ext uri="{FF2B5EF4-FFF2-40B4-BE49-F238E27FC236}">
                      <a16:creationId xmlns:a16="http://schemas.microsoft.com/office/drawing/2014/main" id="{4605E245-F8E4-4D34-A259-3653753AB4BF}"/>
                    </a:ext>
                  </a:extLst>
                </p:cNvPr>
                <p:cNvSpPr/>
                <p:nvPr/>
              </p:nvSpPr>
              <p:spPr>
                <a:xfrm>
                  <a:off x="1346172" y="4191184"/>
                  <a:ext cx="104775" cy="85725"/>
                </a:xfrm>
                <a:custGeom>
                  <a:avLst/>
                  <a:gdLst>
                    <a:gd name="connsiteX0" fmla="*/ 7144 w 104775"/>
                    <a:gd name="connsiteY0" fmla="*/ 7144 h 85725"/>
                    <a:gd name="connsiteX1" fmla="*/ 100127 w 104775"/>
                    <a:gd name="connsiteY1" fmla="*/ 7144 h 85725"/>
                    <a:gd name="connsiteX2" fmla="*/ 100127 w 104775"/>
                    <a:gd name="connsiteY2" fmla="*/ 83287 h 85725"/>
                    <a:gd name="connsiteX3" fmla="*/ 7144 w 104775"/>
                    <a:gd name="connsiteY3" fmla="*/ 83287 h 85725"/>
                  </a:gdLst>
                  <a:ahLst/>
                  <a:cxnLst>
                    <a:cxn ang="0">
                      <a:pos x="connsiteX0" y="connsiteY0"/>
                    </a:cxn>
                    <a:cxn ang="0">
                      <a:pos x="connsiteX1" y="connsiteY1"/>
                    </a:cxn>
                    <a:cxn ang="0">
                      <a:pos x="connsiteX2" y="connsiteY2"/>
                    </a:cxn>
                    <a:cxn ang="0">
                      <a:pos x="connsiteX3" y="connsiteY3"/>
                    </a:cxn>
                  </a:cxnLst>
                  <a:rect l="l" t="t" r="r" b="b"/>
                  <a:pathLst>
                    <a:path w="104775" h="85725">
                      <a:moveTo>
                        <a:pt x="7144" y="7144"/>
                      </a:moveTo>
                      <a:lnTo>
                        <a:pt x="100127" y="7144"/>
                      </a:lnTo>
                      <a:lnTo>
                        <a:pt x="100127" y="83287"/>
                      </a:lnTo>
                      <a:lnTo>
                        <a:pt x="7144" y="83287"/>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8" name="Freeform: Shape 127">
                  <a:extLst>
                    <a:ext uri="{FF2B5EF4-FFF2-40B4-BE49-F238E27FC236}">
                      <a16:creationId xmlns:a16="http://schemas.microsoft.com/office/drawing/2014/main" id="{01C49E70-DCAA-4FA3-BFFD-FAA6EC148917}"/>
                    </a:ext>
                  </a:extLst>
                </p:cNvPr>
                <p:cNvSpPr/>
                <p:nvPr/>
              </p:nvSpPr>
              <p:spPr>
                <a:xfrm>
                  <a:off x="960658" y="4117804"/>
                  <a:ext cx="457200" cy="314325"/>
                </a:xfrm>
                <a:custGeom>
                  <a:avLst/>
                  <a:gdLst>
                    <a:gd name="connsiteX0" fmla="*/ 7144 w 457200"/>
                    <a:gd name="connsiteY0" fmla="*/ 7144 h 314325"/>
                    <a:gd name="connsiteX1" fmla="*/ 453447 w 457200"/>
                    <a:gd name="connsiteY1" fmla="*/ 7144 h 314325"/>
                    <a:gd name="connsiteX2" fmla="*/ 453447 w 457200"/>
                    <a:gd name="connsiteY2" fmla="*/ 311706 h 314325"/>
                    <a:gd name="connsiteX3" fmla="*/ 7144 w 457200"/>
                    <a:gd name="connsiteY3" fmla="*/ 311706 h 314325"/>
                  </a:gdLst>
                  <a:ahLst/>
                  <a:cxnLst>
                    <a:cxn ang="0">
                      <a:pos x="connsiteX0" y="connsiteY0"/>
                    </a:cxn>
                    <a:cxn ang="0">
                      <a:pos x="connsiteX1" y="connsiteY1"/>
                    </a:cxn>
                    <a:cxn ang="0">
                      <a:pos x="connsiteX2" y="connsiteY2"/>
                    </a:cxn>
                    <a:cxn ang="0">
                      <a:pos x="connsiteX3" y="connsiteY3"/>
                    </a:cxn>
                  </a:cxnLst>
                  <a:rect l="l" t="t" r="r" b="b"/>
                  <a:pathLst>
                    <a:path w="457200" h="314325">
                      <a:moveTo>
                        <a:pt x="7144" y="7144"/>
                      </a:moveTo>
                      <a:lnTo>
                        <a:pt x="453447" y="7144"/>
                      </a:lnTo>
                      <a:lnTo>
                        <a:pt x="453447" y="311706"/>
                      </a:lnTo>
                      <a:lnTo>
                        <a:pt x="7144" y="311706"/>
                      </a:lnTo>
                      <a:close/>
                    </a:path>
                  </a:pathLst>
                </a:custGeom>
                <a:solidFill>
                  <a:srgbClr val="495DA5"/>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33" name="Freeform: Shape 132">
                  <a:extLst>
                    <a:ext uri="{FF2B5EF4-FFF2-40B4-BE49-F238E27FC236}">
                      <a16:creationId xmlns:a16="http://schemas.microsoft.com/office/drawing/2014/main" id="{F7EA5AD0-C561-4582-8B04-CD4DACE30521}"/>
                    </a:ext>
                  </a:extLst>
                </p:cNvPr>
                <p:cNvSpPr/>
                <p:nvPr/>
              </p:nvSpPr>
              <p:spPr>
                <a:xfrm>
                  <a:off x="997853" y="4163495"/>
                  <a:ext cx="342900" cy="190500"/>
                </a:xfrm>
                <a:custGeom>
                  <a:avLst/>
                  <a:gdLst>
                    <a:gd name="connsiteX0" fmla="*/ 341871 w 342900"/>
                    <a:gd name="connsiteY0" fmla="*/ 7144 h 190500"/>
                    <a:gd name="connsiteX1" fmla="*/ 7144 w 342900"/>
                    <a:gd name="connsiteY1" fmla="*/ 7144 h 190500"/>
                    <a:gd name="connsiteX2" fmla="*/ 7144 w 342900"/>
                    <a:gd name="connsiteY2" fmla="*/ 189881 h 190500"/>
                    <a:gd name="connsiteX3" fmla="*/ 144580 w 342900"/>
                    <a:gd name="connsiteY3" fmla="*/ 189881 h 190500"/>
                    <a:gd name="connsiteX4" fmla="*/ 144580 w 342900"/>
                    <a:gd name="connsiteY4" fmla="*/ 98508 h 190500"/>
                    <a:gd name="connsiteX5" fmla="*/ 341871 w 342900"/>
                    <a:gd name="connsiteY5" fmla="*/ 98508 h 190500"/>
                    <a:gd name="connsiteX6" fmla="*/ 341871 w 342900"/>
                    <a:gd name="connsiteY6"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900" h="190500">
                      <a:moveTo>
                        <a:pt x="341871" y="7144"/>
                      </a:moveTo>
                      <a:lnTo>
                        <a:pt x="7144" y="7144"/>
                      </a:lnTo>
                      <a:lnTo>
                        <a:pt x="7144" y="189881"/>
                      </a:lnTo>
                      <a:lnTo>
                        <a:pt x="144580" y="189881"/>
                      </a:lnTo>
                      <a:lnTo>
                        <a:pt x="144580" y="98508"/>
                      </a:lnTo>
                      <a:lnTo>
                        <a:pt x="341871" y="98508"/>
                      </a:lnTo>
                      <a:lnTo>
                        <a:pt x="341871" y="7144"/>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1" name="Freeform: Shape 140">
                  <a:extLst>
                    <a:ext uri="{FF2B5EF4-FFF2-40B4-BE49-F238E27FC236}">
                      <a16:creationId xmlns:a16="http://schemas.microsoft.com/office/drawing/2014/main" id="{F93CC698-4773-4EF8-9623-5E5575CDB554}"/>
                    </a:ext>
                  </a:extLst>
                </p:cNvPr>
                <p:cNvSpPr/>
                <p:nvPr/>
              </p:nvSpPr>
              <p:spPr>
                <a:xfrm>
                  <a:off x="1128021" y="4270089"/>
                  <a:ext cx="104775" cy="85725"/>
                </a:xfrm>
                <a:custGeom>
                  <a:avLst/>
                  <a:gdLst>
                    <a:gd name="connsiteX0" fmla="*/ 7144 w 104775"/>
                    <a:gd name="connsiteY0" fmla="*/ 7144 h 85725"/>
                    <a:gd name="connsiteX1" fmla="*/ 100127 w 104775"/>
                    <a:gd name="connsiteY1" fmla="*/ 7144 h 85725"/>
                    <a:gd name="connsiteX2" fmla="*/ 100127 w 104775"/>
                    <a:gd name="connsiteY2" fmla="*/ 83287 h 85725"/>
                    <a:gd name="connsiteX3" fmla="*/ 7144 w 104775"/>
                    <a:gd name="connsiteY3" fmla="*/ 83287 h 85725"/>
                  </a:gdLst>
                  <a:ahLst/>
                  <a:cxnLst>
                    <a:cxn ang="0">
                      <a:pos x="connsiteX0" y="connsiteY0"/>
                    </a:cxn>
                    <a:cxn ang="0">
                      <a:pos x="connsiteX1" y="connsiteY1"/>
                    </a:cxn>
                    <a:cxn ang="0">
                      <a:pos x="connsiteX2" y="connsiteY2"/>
                    </a:cxn>
                    <a:cxn ang="0">
                      <a:pos x="connsiteX3" y="connsiteY3"/>
                    </a:cxn>
                  </a:cxnLst>
                  <a:rect l="l" t="t" r="r" b="b"/>
                  <a:pathLst>
                    <a:path w="104775" h="85725">
                      <a:moveTo>
                        <a:pt x="7144" y="7144"/>
                      </a:moveTo>
                      <a:lnTo>
                        <a:pt x="100127" y="7144"/>
                      </a:lnTo>
                      <a:lnTo>
                        <a:pt x="100127" y="83287"/>
                      </a:lnTo>
                      <a:lnTo>
                        <a:pt x="7144" y="83287"/>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2" name="Freeform: Shape 141">
                  <a:extLst>
                    <a:ext uri="{FF2B5EF4-FFF2-40B4-BE49-F238E27FC236}">
                      <a16:creationId xmlns:a16="http://schemas.microsoft.com/office/drawing/2014/main" id="{833D282D-1BE4-4E1F-945A-878EEECBE35E}"/>
                    </a:ext>
                  </a:extLst>
                </p:cNvPr>
                <p:cNvSpPr/>
                <p:nvPr/>
              </p:nvSpPr>
              <p:spPr>
                <a:xfrm>
                  <a:off x="1239597" y="4270089"/>
                  <a:ext cx="104775" cy="85725"/>
                </a:xfrm>
                <a:custGeom>
                  <a:avLst/>
                  <a:gdLst>
                    <a:gd name="connsiteX0" fmla="*/ 7144 w 104775"/>
                    <a:gd name="connsiteY0" fmla="*/ 7144 h 85725"/>
                    <a:gd name="connsiteX1" fmla="*/ 100127 w 104775"/>
                    <a:gd name="connsiteY1" fmla="*/ 7144 h 85725"/>
                    <a:gd name="connsiteX2" fmla="*/ 100127 w 104775"/>
                    <a:gd name="connsiteY2" fmla="*/ 83287 h 85725"/>
                    <a:gd name="connsiteX3" fmla="*/ 7144 w 104775"/>
                    <a:gd name="connsiteY3" fmla="*/ 83287 h 85725"/>
                  </a:gdLst>
                  <a:ahLst/>
                  <a:cxnLst>
                    <a:cxn ang="0">
                      <a:pos x="connsiteX0" y="connsiteY0"/>
                    </a:cxn>
                    <a:cxn ang="0">
                      <a:pos x="connsiteX1" y="connsiteY1"/>
                    </a:cxn>
                    <a:cxn ang="0">
                      <a:pos x="connsiteX2" y="connsiteY2"/>
                    </a:cxn>
                    <a:cxn ang="0">
                      <a:pos x="connsiteX3" y="connsiteY3"/>
                    </a:cxn>
                  </a:cxnLst>
                  <a:rect l="l" t="t" r="r" b="b"/>
                  <a:pathLst>
                    <a:path w="104775" h="85725">
                      <a:moveTo>
                        <a:pt x="7144" y="7144"/>
                      </a:moveTo>
                      <a:lnTo>
                        <a:pt x="100127" y="7144"/>
                      </a:lnTo>
                      <a:lnTo>
                        <a:pt x="100127" y="83287"/>
                      </a:lnTo>
                      <a:lnTo>
                        <a:pt x="7144" y="83287"/>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3" name="Freeform: Shape 142">
                  <a:extLst>
                    <a:ext uri="{FF2B5EF4-FFF2-40B4-BE49-F238E27FC236}">
                      <a16:creationId xmlns:a16="http://schemas.microsoft.com/office/drawing/2014/main" id="{B80BF7C4-8A09-4888-AE85-7364BBAFD81F}"/>
                    </a:ext>
                  </a:extLst>
                </p:cNvPr>
                <p:cNvSpPr/>
                <p:nvPr/>
              </p:nvSpPr>
              <p:spPr>
                <a:xfrm>
                  <a:off x="836613" y="4196709"/>
                  <a:ext cx="457200" cy="314325"/>
                </a:xfrm>
                <a:custGeom>
                  <a:avLst/>
                  <a:gdLst>
                    <a:gd name="connsiteX0" fmla="*/ 7144 w 457200"/>
                    <a:gd name="connsiteY0" fmla="*/ 7144 h 314325"/>
                    <a:gd name="connsiteX1" fmla="*/ 453447 w 457200"/>
                    <a:gd name="connsiteY1" fmla="*/ 7144 h 314325"/>
                    <a:gd name="connsiteX2" fmla="*/ 453447 w 457200"/>
                    <a:gd name="connsiteY2" fmla="*/ 311706 h 314325"/>
                    <a:gd name="connsiteX3" fmla="*/ 7144 w 457200"/>
                    <a:gd name="connsiteY3" fmla="*/ 311706 h 314325"/>
                  </a:gdLst>
                  <a:ahLst/>
                  <a:cxnLst>
                    <a:cxn ang="0">
                      <a:pos x="connsiteX0" y="connsiteY0"/>
                    </a:cxn>
                    <a:cxn ang="0">
                      <a:pos x="connsiteX1" y="connsiteY1"/>
                    </a:cxn>
                    <a:cxn ang="0">
                      <a:pos x="connsiteX2" y="connsiteY2"/>
                    </a:cxn>
                    <a:cxn ang="0">
                      <a:pos x="connsiteX3" y="connsiteY3"/>
                    </a:cxn>
                  </a:cxnLst>
                  <a:rect l="l" t="t" r="r" b="b"/>
                  <a:pathLst>
                    <a:path w="457200" h="314325">
                      <a:moveTo>
                        <a:pt x="7144" y="7144"/>
                      </a:moveTo>
                      <a:lnTo>
                        <a:pt x="453447" y="7144"/>
                      </a:lnTo>
                      <a:lnTo>
                        <a:pt x="453447" y="311706"/>
                      </a:lnTo>
                      <a:lnTo>
                        <a:pt x="7144" y="311706"/>
                      </a:lnTo>
                      <a:close/>
                    </a:path>
                  </a:pathLst>
                </a:custGeom>
                <a:solidFill>
                  <a:srgbClr val="7685BB"/>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4" name="Freeform: Shape 143">
                  <a:extLst>
                    <a:ext uri="{FF2B5EF4-FFF2-40B4-BE49-F238E27FC236}">
                      <a16:creationId xmlns:a16="http://schemas.microsoft.com/office/drawing/2014/main" id="{FA462D71-2A3E-44EF-BCC8-21AB15C064ED}"/>
                    </a:ext>
                  </a:extLst>
                </p:cNvPr>
                <p:cNvSpPr/>
                <p:nvPr/>
              </p:nvSpPr>
              <p:spPr>
                <a:xfrm>
                  <a:off x="873809" y="4242391"/>
                  <a:ext cx="123825" cy="190500"/>
                </a:xfrm>
                <a:custGeom>
                  <a:avLst/>
                  <a:gdLst>
                    <a:gd name="connsiteX0" fmla="*/ 7144 w 123825"/>
                    <a:gd name="connsiteY0" fmla="*/ 7144 h 190500"/>
                    <a:gd name="connsiteX1" fmla="*/ 118720 w 123825"/>
                    <a:gd name="connsiteY1" fmla="*/ 7144 h 190500"/>
                    <a:gd name="connsiteX2" fmla="*/ 118720 w 123825"/>
                    <a:gd name="connsiteY2" fmla="*/ 189881 h 190500"/>
                    <a:gd name="connsiteX3" fmla="*/ 7144 w 123825"/>
                    <a:gd name="connsiteY3" fmla="*/ 189881 h 190500"/>
                  </a:gdLst>
                  <a:ahLst/>
                  <a:cxnLst>
                    <a:cxn ang="0">
                      <a:pos x="connsiteX0" y="connsiteY0"/>
                    </a:cxn>
                    <a:cxn ang="0">
                      <a:pos x="connsiteX1" y="connsiteY1"/>
                    </a:cxn>
                    <a:cxn ang="0">
                      <a:pos x="connsiteX2" y="connsiteY2"/>
                    </a:cxn>
                    <a:cxn ang="0">
                      <a:pos x="connsiteX3" y="connsiteY3"/>
                    </a:cxn>
                  </a:cxnLst>
                  <a:rect l="l" t="t" r="r" b="b"/>
                  <a:pathLst>
                    <a:path w="123825" h="190500">
                      <a:moveTo>
                        <a:pt x="7144" y="7144"/>
                      </a:moveTo>
                      <a:lnTo>
                        <a:pt x="118720" y="7144"/>
                      </a:lnTo>
                      <a:lnTo>
                        <a:pt x="118720" y="189881"/>
                      </a:lnTo>
                      <a:lnTo>
                        <a:pt x="7144" y="189881"/>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5" name="Freeform: Shape 144">
                  <a:extLst>
                    <a:ext uri="{FF2B5EF4-FFF2-40B4-BE49-F238E27FC236}">
                      <a16:creationId xmlns:a16="http://schemas.microsoft.com/office/drawing/2014/main" id="{79728B54-768E-4026-97F0-F0562D04843C}"/>
                    </a:ext>
                  </a:extLst>
                </p:cNvPr>
                <p:cNvSpPr/>
                <p:nvPr/>
              </p:nvSpPr>
              <p:spPr>
                <a:xfrm>
                  <a:off x="1003977" y="4348994"/>
                  <a:ext cx="104775" cy="85725"/>
                </a:xfrm>
                <a:custGeom>
                  <a:avLst/>
                  <a:gdLst>
                    <a:gd name="connsiteX0" fmla="*/ 7144 w 104775"/>
                    <a:gd name="connsiteY0" fmla="*/ 7144 h 85725"/>
                    <a:gd name="connsiteX1" fmla="*/ 100127 w 104775"/>
                    <a:gd name="connsiteY1" fmla="*/ 7144 h 85725"/>
                    <a:gd name="connsiteX2" fmla="*/ 100127 w 104775"/>
                    <a:gd name="connsiteY2" fmla="*/ 83287 h 85725"/>
                    <a:gd name="connsiteX3" fmla="*/ 7144 w 104775"/>
                    <a:gd name="connsiteY3" fmla="*/ 83287 h 85725"/>
                  </a:gdLst>
                  <a:ahLst/>
                  <a:cxnLst>
                    <a:cxn ang="0">
                      <a:pos x="connsiteX0" y="connsiteY0"/>
                    </a:cxn>
                    <a:cxn ang="0">
                      <a:pos x="connsiteX1" y="connsiteY1"/>
                    </a:cxn>
                    <a:cxn ang="0">
                      <a:pos x="connsiteX2" y="connsiteY2"/>
                    </a:cxn>
                    <a:cxn ang="0">
                      <a:pos x="connsiteX3" y="connsiteY3"/>
                    </a:cxn>
                  </a:cxnLst>
                  <a:rect l="l" t="t" r="r" b="b"/>
                  <a:pathLst>
                    <a:path w="104775" h="85725">
                      <a:moveTo>
                        <a:pt x="7144" y="7144"/>
                      </a:moveTo>
                      <a:lnTo>
                        <a:pt x="100127" y="7144"/>
                      </a:lnTo>
                      <a:lnTo>
                        <a:pt x="100127" y="83287"/>
                      </a:lnTo>
                      <a:lnTo>
                        <a:pt x="7144" y="83287"/>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6" name="Freeform: Shape 145">
                  <a:extLst>
                    <a:ext uri="{FF2B5EF4-FFF2-40B4-BE49-F238E27FC236}">
                      <a16:creationId xmlns:a16="http://schemas.microsoft.com/office/drawing/2014/main" id="{47D5962D-DEF9-4D93-BCB9-0B9FD6DC003F}"/>
                    </a:ext>
                  </a:extLst>
                </p:cNvPr>
                <p:cNvSpPr/>
                <p:nvPr/>
              </p:nvSpPr>
              <p:spPr>
                <a:xfrm>
                  <a:off x="1003977" y="4242391"/>
                  <a:ext cx="209550" cy="190500"/>
                </a:xfrm>
                <a:custGeom>
                  <a:avLst/>
                  <a:gdLst>
                    <a:gd name="connsiteX0" fmla="*/ 7144 w 209550"/>
                    <a:gd name="connsiteY0" fmla="*/ 7144 h 190500"/>
                    <a:gd name="connsiteX1" fmla="*/ 7144 w 209550"/>
                    <a:gd name="connsiteY1" fmla="*/ 98517 h 190500"/>
                    <a:gd name="connsiteX2" fmla="*/ 118720 w 209550"/>
                    <a:gd name="connsiteY2" fmla="*/ 98517 h 190500"/>
                    <a:gd name="connsiteX3" fmla="*/ 118720 w 209550"/>
                    <a:gd name="connsiteY3" fmla="*/ 189881 h 190500"/>
                    <a:gd name="connsiteX4" fmla="*/ 211703 w 209550"/>
                    <a:gd name="connsiteY4" fmla="*/ 189881 h 190500"/>
                    <a:gd name="connsiteX5" fmla="*/ 211703 w 209550"/>
                    <a:gd name="connsiteY5" fmla="*/ 7144 h 190500"/>
                    <a:gd name="connsiteX6" fmla="*/ 7144 w 209550"/>
                    <a:gd name="connsiteY6"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550" h="190500">
                      <a:moveTo>
                        <a:pt x="7144" y="7144"/>
                      </a:moveTo>
                      <a:lnTo>
                        <a:pt x="7144" y="98517"/>
                      </a:lnTo>
                      <a:lnTo>
                        <a:pt x="118720" y="98517"/>
                      </a:lnTo>
                      <a:lnTo>
                        <a:pt x="118720" y="189881"/>
                      </a:lnTo>
                      <a:lnTo>
                        <a:pt x="211703" y="189881"/>
                      </a:lnTo>
                      <a:lnTo>
                        <a:pt x="211703" y="7144"/>
                      </a:lnTo>
                      <a:lnTo>
                        <a:pt x="7144" y="7144"/>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7" name="Freeform: Shape 146">
                  <a:extLst>
                    <a:ext uri="{FF2B5EF4-FFF2-40B4-BE49-F238E27FC236}">
                      <a16:creationId xmlns:a16="http://schemas.microsoft.com/office/drawing/2014/main" id="{6CFC2A13-8B3C-4E1F-B068-70CDF12F0BAE}"/>
                    </a:ext>
                  </a:extLst>
                </p:cNvPr>
                <p:cNvSpPr/>
                <p:nvPr/>
              </p:nvSpPr>
              <p:spPr>
                <a:xfrm>
                  <a:off x="1231072" y="4220778"/>
                  <a:ext cx="238125" cy="238125"/>
                </a:xfrm>
                <a:custGeom>
                  <a:avLst/>
                  <a:gdLst>
                    <a:gd name="connsiteX0" fmla="*/ 233724 w 238125"/>
                    <a:gd name="connsiteY0" fmla="*/ 120129 h 238125"/>
                    <a:gd name="connsiteX1" fmla="*/ 120434 w 238125"/>
                    <a:gd name="connsiteY1" fmla="*/ 233115 h 238125"/>
                    <a:gd name="connsiteX2" fmla="*/ 7144 w 238125"/>
                    <a:gd name="connsiteY2" fmla="*/ 120129 h 238125"/>
                    <a:gd name="connsiteX3" fmla="*/ 120434 w 238125"/>
                    <a:gd name="connsiteY3" fmla="*/ 7144 h 238125"/>
                    <a:gd name="connsiteX4" fmla="*/ 233724 w 238125"/>
                    <a:gd name="connsiteY4" fmla="*/ 120129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5" h="238125">
                      <a:moveTo>
                        <a:pt x="233724" y="120129"/>
                      </a:moveTo>
                      <a:cubicBezTo>
                        <a:pt x="233724" y="182530"/>
                        <a:pt x="183003" y="233115"/>
                        <a:pt x="120434" y="233115"/>
                      </a:cubicBezTo>
                      <a:cubicBezTo>
                        <a:pt x="57866" y="233115"/>
                        <a:pt x="7144" y="182530"/>
                        <a:pt x="7144" y="120129"/>
                      </a:cubicBezTo>
                      <a:cubicBezTo>
                        <a:pt x="7144" y="57729"/>
                        <a:pt x="57866" y="7144"/>
                        <a:pt x="120434" y="7144"/>
                      </a:cubicBezTo>
                      <a:cubicBezTo>
                        <a:pt x="183003" y="7144"/>
                        <a:pt x="233724" y="57729"/>
                        <a:pt x="233724" y="120129"/>
                      </a:cubicBezTo>
                      <a:close/>
                    </a:path>
                  </a:pathLst>
                </a:custGeom>
                <a:solidFill>
                  <a:srgbClr val="D5D841"/>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8" name="Freeform: Shape 147">
                  <a:extLst>
                    <a:ext uri="{FF2B5EF4-FFF2-40B4-BE49-F238E27FC236}">
                      <a16:creationId xmlns:a16="http://schemas.microsoft.com/office/drawing/2014/main" id="{EEA8514B-AB6D-4607-ABEE-EDC3E6C4C08C}"/>
                    </a:ext>
                  </a:extLst>
                </p:cNvPr>
                <p:cNvSpPr/>
                <p:nvPr/>
              </p:nvSpPr>
              <p:spPr>
                <a:xfrm>
                  <a:off x="1272327" y="4271832"/>
                  <a:ext cx="57150" cy="123825"/>
                </a:xfrm>
                <a:custGeom>
                  <a:avLst/>
                  <a:gdLst>
                    <a:gd name="connsiteX0" fmla="*/ 30526 w 57150"/>
                    <a:gd name="connsiteY0" fmla="*/ 123977 h 123825"/>
                    <a:gd name="connsiteX1" fmla="*/ 26599 w 57150"/>
                    <a:gd name="connsiteY1" fmla="*/ 20812 h 123825"/>
                    <a:gd name="connsiteX2" fmla="*/ 43765 w 57150"/>
                    <a:gd name="connsiteY2" fmla="*/ 7144 h 123825"/>
                    <a:gd name="connsiteX3" fmla="*/ 52947 w 57150"/>
                    <a:gd name="connsiteY3" fmla="*/ 22955 h 123825"/>
                    <a:gd name="connsiteX4" fmla="*/ 25468 w 57150"/>
                    <a:gd name="connsiteY4" fmla="*/ 70447 h 123825"/>
                    <a:gd name="connsiteX5" fmla="*/ 43013 w 57150"/>
                    <a:gd name="connsiteY5" fmla="*/ 11059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123825">
                      <a:moveTo>
                        <a:pt x="30526" y="123977"/>
                      </a:moveTo>
                      <a:cubicBezTo>
                        <a:pt x="954" y="96574"/>
                        <a:pt x="-804" y="50387"/>
                        <a:pt x="26599" y="20812"/>
                      </a:cubicBezTo>
                      <a:cubicBezTo>
                        <a:pt x="31600" y="15421"/>
                        <a:pt x="37387" y="10811"/>
                        <a:pt x="43765" y="7144"/>
                      </a:cubicBezTo>
                      <a:lnTo>
                        <a:pt x="52947" y="22955"/>
                      </a:lnTo>
                      <a:cubicBezTo>
                        <a:pt x="35983" y="32766"/>
                        <a:pt x="25516" y="50854"/>
                        <a:pt x="25468" y="70447"/>
                      </a:cubicBezTo>
                      <a:cubicBezTo>
                        <a:pt x="25406" y="85706"/>
                        <a:pt x="31775" y="100279"/>
                        <a:pt x="43013" y="110595"/>
                      </a:cubicBez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9" name="Freeform: Shape 148">
                  <a:extLst>
                    <a:ext uri="{FF2B5EF4-FFF2-40B4-BE49-F238E27FC236}">
                      <a16:creationId xmlns:a16="http://schemas.microsoft.com/office/drawing/2014/main" id="{8B4E97EF-006D-492F-A42F-7948D0A00CD6}"/>
                    </a:ext>
                  </a:extLst>
                </p:cNvPr>
                <p:cNvSpPr/>
                <p:nvPr/>
              </p:nvSpPr>
              <p:spPr>
                <a:xfrm>
                  <a:off x="1277688" y="4263184"/>
                  <a:ext cx="76200" cy="66675"/>
                </a:xfrm>
                <a:custGeom>
                  <a:avLst/>
                  <a:gdLst>
                    <a:gd name="connsiteX0" fmla="*/ 77219 w 76200"/>
                    <a:gd name="connsiteY0" fmla="*/ 7144 h 66675"/>
                    <a:gd name="connsiteX1" fmla="*/ 60731 w 76200"/>
                    <a:gd name="connsiteY1" fmla="*/ 38005 h 66675"/>
                    <a:gd name="connsiteX2" fmla="*/ 44234 w 76200"/>
                    <a:gd name="connsiteY2" fmla="*/ 68866 h 66675"/>
                    <a:gd name="connsiteX3" fmla="*/ 25689 w 76200"/>
                    <a:gd name="connsiteY3" fmla="*/ 39195 h 66675"/>
                    <a:gd name="connsiteX4" fmla="*/ 7144 w 76200"/>
                    <a:gd name="connsiteY4" fmla="*/ 9516 h 66675"/>
                    <a:gd name="connsiteX5" fmla="*/ 42177 w 76200"/>
                    <a:gd name="connsiteY5" fmla="*/ 8334 h 66675"/>
                    <a:gd name="connsiteX6" fmla="*/ 77219 w 76200"/>
                    <a:gd name="connsiteY6"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66675">
                      <a:moveTo>
                        <a:pt x="77219" y="7144"/>
                      </a:moveTo>
                      <a:lnTo>
                        <a:pt x="60731" y="38005"/>
                      </a:lnTo>
                      <a:lnTo>
                        <a:pt x="44234" y="68866"/>
                      </a:lnTo>
                      <a:lnTo>
                        <a:pt x="25689" y="39195"/>
                      </a:lnTo>
                      <a:lnTo>
                        <a:pt x="7144" y="9516"/>
                      </a:lnTo>
                      <a:lnTo>
                        <a:pt x="42177" y="8334"/>
                      </a:lnTo>
                      <a:lnTo>
                        <a:pt x="77219" y="7144"/>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0" name="Freeform: Shape 149">
                  <a:extLst>
                    <a:ext uri="{FF2B5EF4-FFF2-40B4-BE49-F238E27FC236}">
                      <a16:creationId xmlns:a16="http://schemas.microsoft.com/office/drawing/2014/main" id="{A1F1A636-D376-43F2-B936-49E0291A31F1}"/>
                    </a:ext>
                  </a:extLst>
                </p:cNvPr>
                <p:cNvSpPr/>
                <p:nvPr/>
              </p:nvSpPr>
              <p:spPr>
                <a:xfrm>
                  <a:off x="1370595" y="4278824"/>
                  <a:ext cx="57150" cy="123825"/>
                </a:xfrm>
                <a:custGeom>
                  <a:avLst/>
                  <a:gdLst>
                    <a:gd name="connsiteX0" fmla="*/ 16326 w 57150"/>
                    <a:gd name="connsiteY0" fmla="*/ 124016 h 123825"/>
                    <a:gd name="connsiteX1" fmla="*/ 7144 w 57150"/>
                    <a:gd name="connsiteY1" fmla="*/ 108204 h 123825"/>
                    <a:gd name="connsiteX2" fmla="*/ 27337 w 57150"/>
                    <a:gd name="connsiteY2" fmla="*/ 33452 h 123825"/>
                    <a:gd name="connsiteX3" fmla="*/ 17078 w 57150"/>
                    <a:gd name="connsiteY3" fmla="*/ 20574 h 123825"/>
                    <a:gd name="connsiteX4" fmla="*/ 29527 w 57150"/>
                    <a:gd name="connsiteY4" fmla="*/ 7144 h 123825"/>
                    <a:gd name="connsiteX5" fmla="*/ 33483 w 57150"/>
                    <a:gd name="connsiteY5" fmla="*/ 110290 h 123825"/>
                    <a:gd name="connsiteX6" fmla="*/ 16288 w 57150"/>
                    <a:gd name="connsiteY6" fmla="*/ 123987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123825">
                      <a:moveTo>
                        <a:pt x="16326" y="124016"/>
                      </a:moveTo>
                      <a:lnTo>
                        <a:pt x="7144" y="108204"/>
                      </a:lnTo>
                      <a:cubicBezTo>
                        <a:pt x="33361" y="93135"/>
                        <a:pt x="42401" y="59674"/>
                        <a:pt x="27337" y="33452"/>
                      </a:cubicBezTo>
                      <a:cubicBezTo>
                        <a:pt x="24586" y="28670"/>
                        <a:pt x="21127" y="24327"/>
                        <a:pt x="17078" y="20574"/>
                      </a:cubicBezTo>
                      <a:lnTo>
                        <a:pt x="29527" y="7144"/>
                      </a:lnTo>
                      <a:cubicBezTo>
                        <a:pt x="59104" y="34538"/>
                        <a:pt x="60874" y="80715"/>
                        <a:pt x="33483" y="110290"/>
                      </a:cubicBezTo>
                      <a:cubicBezTo>
                        <a:pt x="28476" y="115700"/>
                        <a:pt x="22678" y="120320"/>
                        <a:pt x="16288" y="123987"/>
                      </a:cubicBez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1" name="Freeform: Shape 150">
                  <a:extLst>
                    <a:ext uri="{FF2B5EF4-FFF2-40B4-BE49-F238E27FC236}">
                      <a16:creationId xmlns:a16="http://schemas.microsoft.com/office/drawing/2014/main" id="{D1166570-B827-46CC-BA08-D6A9824A4356}"/>
                    </a:ext>
                  </a:extLst>
                </p:cNvPr>
                <p:cNvSpPr/>
                <p:nvPr/>
              </p:nvSpPr>
              <p:spPr>
                <a:xfrm>
                  <a:off x="1340972" y="4342622"/>
                  <a:ext cx="76200" cy="66675"/>
                </a:xfrm>
                <a:custGeom>
                  <a:avLst/>
                  <a:gdLst>
                    <a:gd name="connsiteX0" fmla="*/ 7144 w 76200"/>
                    <a:gd name="connsiteY0" fmla="*/ 68856 h 66675"/>
                    <a:gd name="connsiteX1" fmla="*/ 23632 w 76200"/>
                    <a:gd name="connsiteY1" fmla="*/ 38005 h 66675"/>
                    <a:gd name="connsiteX2" fmla="*/ 40119 w 76200"/>
                    <a:gd name="connsiteY2" fmla="*/ 7144 h 66675"/>
                    <a:gd name="connsiteX3" fmla="*/ 58674 w 76200"/>
                    <a:gd name="connsiteY3" fmla="*/ 36814 h 66675"/>
                    <a:gd name="connsiteX4" fmla="*/ 77219 w 76200"/>
                    <a:gd name="connsiteY4" fmla="*/ 66484 h 66675"/>
                    <a:gd name="connsiteX5" fmla="*/ 42177 w 76200"/>
                    <a:gd name="connsiteY5" fmla="*/ 67675 h 66675"/>
                    <a:gd name="connsiteX6" fmla="*/ 7144 w 76200"/>
                    <a:gd name="connsiteY6" fmla="*/ 68856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66675">
                      <a:moveTo>
                        <a:pt x="7144" y="68856"/>
                      </a:moveTo>
                      <a:lnTo>
                        <a:pt x="23632" y="38005"/>
                      </a:lnTo>
                      <a:lnTo>
                        <a:pt x="40119" y="7144"/>
                      </a:lnTo>
                      <a:lnTo>
                        <a:pt x="58674" y="36814"/>
                      </a:lnTo>
                      <a:lnTo>
                        <a:pt x="77219" y="66484"/>
                      </a:lnTo>
                      <a:lnTo>
                        <a:pt x="42177" y="67675"/>
                      </a:lnTo>
                      <a:lnTo>
                        <a:pt x="7144" y="68856"/>
                      </a:lnTo>
                      <a:close/>
                    </a:path>
                  </a:pathLst>
                </a:custGeom>
                <a:solidFill>
                  <a:srgbClr val="FFFFFF"/>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grpSp>
        <p:nvGrpSpPr>
          <p:cNvPr id="217" name="Group 216">
            <a:extLst>
              <a:ext uri="{FF2B5EF4-FFF2-40B4-BE49-F238E27FC236}">
                <a16:creationId xmlns:a16="http://schemas.microsoft.com/office/drawing/2014/main" id="{1AFBAF36-7E6B-46ED-B8F7-D94FD1938135}"/>
              </a:ext>
            </a:extLst>
          </p:cNvPr>
          <p:cNvGrpSpPr/>
          <p:nvPr/>
        </p:nvGrpSpPr>
        <p:grpSpPr>
          <a:xfrm>
            <a:off x="10061301" y="2210295"/>
            <a:ext cx="2132877" cy="3341383"/>
            <a:chOff x="10061863" y="2210121"/>
            <a:chExt cx="2133180" cy="3341857"/>
          </a:xfrm>
        </p:grpSpPr>
        <p:sp>
          <p:nvSpPr>
            <p:cNvPr id="22" name="Freeform: Shape 21">
              <a:extLst>
                <a:ext uri="{FF2B5EF4-FFF2-40B4-BE49-F238E27FC236}">
                  <a16:creationId xmlns:a16="http://schemas.microsoft.com/office/drawing/2014/main" id="{4DD08719-89F4-4D24-9D8E-21947D517BE3}"/>
                </a:ext>
              </a:extLst>
            </p:cNvPr>
            <p:cNvSpPr/>
            <p:nvPr/>
          </p:nvSpPr>
          <p:spPr>
            <a:xfrm>
              <a:off x="11385337" y="3549079"/>
              <a:ext cx="295275" cy="95250"/>
            </a:xfrm>
            <a:custGeom>
              <a:avLst/>
              <a:gdLst>
                <a:gd name="connsiteX0" fmla="*/ 7144 w 295275"/>
                <a:gd name="connsiteY0" fmla="*/ 91916 h 95250"/>
                <a:gd name="connsiteX1" fmla="*/ 292894 w 295275"/>
                <a:gd name="connsiteY1" fmla="*/ 91916 h 95250"/>
                <a:gd name="connsiteX2" fmla="*/ 205264 w 295275"/>
                <a:gd name="connsiteY2" fmla="*/ 7144 h 95250"/>
                <a:gd name="connsiteX3" fmla="*/ 80486 w 295275"/>
                <a:gd name="connsiteY3" fmla="*/ 7144 h 95250"/>
              </a:gdLst>
              <a:ahLst/>
              <a:cxnLst>
                <a:cxn ang="0">
                  <a:pos x="connsiteX0" y="connsiteY0"/>
                </a:cxn>
                <a:cxn ang="0">
                  <a:pos x="connsiteX1" y="connsiteY1"/>
                </a:cxn>
                <a:cxn ang="0">
                  <a:pos x="connsiteX2" y="connsiteY2"/>
                </a:cxn>
                <a:cxn ang="0">
                  <a:pos x="connsiteX3" y="connsiteY3"/>
                </a:cxn>
              </a:cxnLst>
              <a:rect l="l" t="t" r="r" b="b"/>
              <a:pathLst>
                <a:path w="295275" h="95250">
                  <a:moveTo>
                    <a:pt x="7144" y="91916"/>
                  </a:moveTo>
                  <a:lnTo>
                    <a:pt x="292894" y="91916"/>
                  </a:lnTo>
                  <a:lnTo>
                    <a:pt x="205264" y="7144"/>
                  </a:lnTo>
                  <a:lnTo>
                    <a:pt x="80486" y="7144"/>
                  </a:lnTo>
                  <a:close/>
                </a:path>
              </a:pathLst>
            </a:custGeom>
            <a:solidFill>
              <a:schemeClr val="bg1">
                <a:lumMod val="75000"/>
                <a:alpha val="28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 name="Freeform: Shape 22">
              <a:extLst>
                <a:ext uri="{FF2B5EF4-FFF2-40B4-BE49-F238E27FC236}">
                  <a16:creationId xmlns:a16="http://schemas.microsoft.com/office/drawing/2014/main" id="{778A2542-E575-4AB1-B3AC-80344667E46E}"/>
                </a:ext>
              </a:extLst>
            </p:cNvPr>
            <p:cNvSpPr/>
            <p:nvPr/>
          </p:nvSpPr>
          <p:spPr>
            <a:xfrm>
              <a:off x="11363429" y="3419539"/>
              <a:ext cx="219075" cy="228600"/>
            </a:xfrm>
            <a:custGeom>
              <a:avLst/>
              <a:gdLst>
                <a:gd name="connsiteX0" fmla="*/ 29051 w 219075"/>
                <a:gd name="connsiteY0" fmla="*/ 221456 h 228600"/>
                <a:gd name="connsiteX1" fmla="*/ 7144 w 219075"/>
                <a:gd name="connsiteY1" fmla="*/ 136684 h 228600"/>
                <a:gd name="connsiteX2" fmla="*/ 128111 w 219075"/>
                <a:gd name="connsiteY2" fmla="*/ 7144 h 228600"/>
                <a:gd name="connsiteX3" fmla="*/ 212884 w 219075"/>
                <a:gd name="connsiteY3" fmla="*/ 7144 h 228600"/>
              </a:gdLst>
              <a:ahLst/>
              <a:cxnLst>
                <a:cxn ang="0">
                  <a:pos x="connsiteX0" y="connsiteY0"/>
                </a:cxn>
                <a:cxn ang="0">
                  <a:pos x="connsiteX1" y="connsiteY1"/>
                </a:cxn>
                <a:cxn ang="0">
                  <a:pos x="connsiteX2" y="connsiteY2"/>
                </a:cxn>
                <a:cxn ang="0">
                  <a:pos x="connsiteX3" y="connsiteY3"/>
                </a:cxn>
              </a:cxnLst>
              <a:rect l="l" t="t" r="r" b="b"/>
              <a:pathLst>
                <a:path w="219075" h="228600">
                  <a:moveTo>
                    <a:pt x="29051" y="221456"/>
                  </a:moveTo>
                  <a:lnTo>
                    <a:pt x="7144" y="136684"/>
                  </a:lnTo>
                  <a:lnTo>
                    <a:pt x="128111" y="7144"/>
                  </a:lnTo>
                  <a:lnTo>
                    <a:pt x="212884" y="7144"/>
                  </a:lnTo>
                  <a:close/>
                </a:path>
              </a:pathLst>
            </a:custGeom>
            <a:solidFill>
              <a:schemeClr val="bg1">
                <a:lumMod val="85000"/>
                <a:alpha val="21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 name="Freeform: Shape 23">
              <a:extLst>
                <a:ext uri="{FF2B5EF4-FFF2-40B4-BE49-F238E27FC236}">
                  <a16:creationId xmlns:a16="http://schemas.microsoft.com/office/drawing/2014/main" id="{65C929AE-2C19-4846-A141-4D57764E4FA4}"/>
                </a:ext>
              </a:extLst>
            </p:cNvPr>
            <p:cNvSpPr/>
            <p:nvPr/>
          </p:nvSpPr>
          <p:spPr>
            <a:xfrm>
              <a:off x="11483444" y="3287141"/>
              <a:ext cx="95250" cy="142875"/>
            </a:xfrm>
            <a:custGeom>
              <a:avLst/>
              <a:gdLst>
                <a:gd name="connsiteX0" fmla="*/ 7144 w 95250"/>
                <a:gd name="connsiteY0" fmla="*/ 7144 h 142875"/>
                <a:gd name="connsiteX1" fmla="*/ 92869 w 95250"/>
                <a:gd name="connsiteY1" fmla="*/ 7144 h 142875"/>
                <a:gd name="connsiteX2" fmla="*/ 92869 w 95250"/>
                <a:gd name="connsiteY2" fmla="*/ 139541 h 142875"/>
                <a:gd name="connsiteX3" fmla="*/ 8096 w 95250"/>
                <a:gd name="connsiteY3" fmla="*/ 139541 h 142875"/>
              </a:gdLst>
              <a:ahLst/>
              <a:cxnLst>
                <a:cxn ang="0">
                  <a:pos x="connsiteX0" y="connsiteY0"/>
                </a:cxn>
                <a:cxn ang="0">
                  <a:pos x="connsiteX1" y="connsiteY1"/>
                </a:cxn>
                <a:cxn ang="0">
                  <a:pos x="connsiteX2" y="connsiteY2"/>
                </a:cxn>
                <a:cxn ang="0">
                  <a:pos x="connsiteX3" y="connsiteY3"/>
                </a:cxn>
              </a:cxnLst>
              <a:rect l="l" t="t" r="r" b="b"/>
              <a:pathLst>
                <a:path w="95250" h="142875">
                  <a:moveTo>
                    <a:pt x="7144" y="7144"/>
                  </a:moveTo>
                  <a:lnTo>
                    <a:pt x="92869" y="7144"/>
                  </a:lnTo>
                  <a:lnTo>
                    <a:pt x="92869" y="139541"/>
                  </a:lnTo>
                  <a:lnTo>
                    <a:pt x="8096" y="139541"/>
                  </a:lnTo>
                  <a:close/>
                </a:path>
              </a:pathLst>
            </a:custGeom>
            <a:solidFill>
              <a:schemeClr val="bg1">
                <a:lumMod val="95000"/>
                <a:alpha val="74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 name="Freeform: Shape 24">
              <a:extLst>
                <a:ext uri="{FF2B5EF4-FFF2-40B4-BE49-F238E27FC236}">
                  <a16:creationId xmlns:a16="http://schemas.microsoft.com/office/drawing/2014/main" id="{3212D0D7-A74B-490F-B690-1C10AA6A433D}"/>
                </a:ext>
              </a:extLst>
            </p:cNvPr>
            <p:cNvSpPr/>
            <p:nvPr/>
          </p:nvSpPr>
          <p:spPr>
            <a:xfrm>
              <a:off x="11537737" y="3441446"/>
              <a:ext cx="161925" cy="200025"/>
            </a:xfrm>
            <a:custGeom>
              <a:avLst/>
              <a:gdLst>
                <a:gd name="connsiteX0" fmla="*/ 7144 w 161925"/>
                <a:gd name="connsiteY0" fmla="*/ 70009 h 200025"/>
                <a:gd name="connsiteX1" fmla="*/ 61436 w 161925"/>
                <a:gd name="connsiteY1" fmla="*/ 7144 h 200025"/>
                <a:gd name="connsiteX2" fmla="*/ 159544 w 161925"/>
                <a:gd name="connsiteY2" fmla="*/ 116681 h 200025"/>
                <a:gd name="connsiteX3" fmla="*/ 140494 w 161925"/>
                <a:gd name="connsiteY3" fmla="*/ 199549 h 200025"/>
              </a:gdLst>
              <a:ahLst/>
              <a:cxnLst>
                <a:cxn ang="0">
                  <a:pos x="connsiteX0" y="connsiteY0"/>
                </a:cxn>
                <a:cxn ang="0">
                  <a:pos x="connsiteX1" y="connsiteY1"/>
                </a:cxn>
                <a:cxn ang="0">
                  <a:pos x="connsiteX2" y="connsiteY2"/>
                </a:cxn>
                <a:cxn ang="0">
                  <a:pos x="connsiteX3" y="connsiteY3"/>
                </a:cxn>
              </a:cxnLst>
              <a:rect l="l" t="t" r="r" b="b"/>
              <a:pathLst>
                <a:path w="161925" h="200025">
                  <a:moveTo>
                    <a:pt x="7144" y="70009"/>
                  </a:moveTo>
                  <a:lnTo>
                    <a:pt x="61436" y="7144"/>
                  </a:lnTo>
                  <a:lnTo>
                    <a:pt x="159544" y="116681"/>
                  </a:lnTo>
                  <a:lnTo>
                    <a:pt x="140494" y="199549"/>
                  </a:lnTo>
                  <a:close/>
                </a:path>
              </a:pathLst>
            </a:custGeom>
            <a:solidFill>
              <a:schemeClr val="bg1">
                <a:lumMod val="85000"/>
                <a:alpha val="18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 name="Freeform: Shape 26">
              <a:extLst>
                <a:ext uri="{FF2B5EF4-FFF2-40B4-BE49-F238E27FC236}">
                  <a16:creationId xmlns:a16="http://schemas.microsoft.com/office/drawing/2014/main" id="{85217603-27DE-4781-9D6C-FD0A318635E5}"/>
                </a:ext>
              </a:extLst>
            </p:cNvPr>
            <p:cNvSpPr/>
            <p:nvPr/>
          </p:nvSpPr>
          <p:spPr>
            <a:xfrm>
              <a:off x="11055303" y="4542350"/>
              <a:ext cx="415171" cy="133926"/>
            </a:xfrm>
            <a:custGeom>
              <a:avLst/>
              <a:gdLst>
                <a:gd name="connsiteX0" fmla="*/ 10044 w 415171"/>
                <a:gd name="connsiteY0" fmla="*/ 129239 h 133926"/>
                <a:gd name="connsiteX1" fmla="*/ 411823 w 415171"/>
                <a:gd name="connsiteY1" fmla="*/ 129239 h 133926"/>
                <a:gd name="connsiteX2" fmla="*/ 288611 w 415171"/>
                <a:gd name="connsiteY2" fmla="*/ 10044 h 133926"/>
                <a:gd name="connsiteX3" fmla="*/ 113168 w 415171"/>
                <a:gd name="connsiteY3" fmla="*/ 10044 h 133926"/>
              </a:gdLst>
              <a:ahLst/>
              <a:cxnLst>
                <a:cxn ang="0">
                  <a:pos x="connsiteX0" y="connsiteY0"/>
                </a:cxn>
                <a:cxn ang="0">
                  <a:pos x="connsiteX1" y="connsiteY1"/>
                </a:cxn>
                <a:cxn ang="0">
                  <a:pos x="connsiteX2" y="connsiteY2"/>
                </a:cxn>
                <a:cxn ang="0">
                  <a:pos x="connsiteX3" y="connsiteY3"/>
                </a:cxn>
              </a:cxnLst>
              <a:rect l="l" t="t" r="r" b="b"/>
              <a:pathLst>
                <a:path w="415171" h="133926">
                  <a:moveTo>
                    <a:pt x="10044" y="129239"/>
                  </a:moveTo>
                  <a:lnTo>
                    <a:pt x="411823" y="129239"/>
                  </a:lnTo>
                  <a:lnTo>
                    <a:pt x="288611" y="10044"/>
                  </a:lnTo>
                  <a:lnTo>
                    <a:pt x="113168" y="10044"/>
                  </a:lnTo>
                  <a:close/>
                </a:path>
              </a:pathLst>
            </a:custGeom>
            <a:solidFill>
              <a:schemeClr val="bg1">
                <a:lumMod val="75000"/>
                <a:alpha val="28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 name="Freeform: Shape 27">
              <a:extLst>
                <a:ext uri="{FF2B5EF4-FFF2-40B4-BE49-F238E27FC236}">
                  <a16:creationId xmlns:a16="http://schemas.microsoft.com/office/drawing/2014/main" id="{3302EADB-1F34-4295-9541-F24081D3DA26}"/>
                </a:ext>
              </a:extLst>
            </p:cNvPr>
            <p:cNvSpPr/>
            <p:nvPr/>
          </p:nvSpPr>
          <p:spPr>
            <a:xfrm>
              <a:off x="11024500" y="4360211"/>
              <a:ext cx="308030" cy="321423"/>
            </a:xfrm>
            <a:custGeom>
              <a:avLst/>
              <a:gdLst>
                <a:gd name="connsiteX0" fmla="*/ 40847 w 308030"/>
                <a:gd name="connsiteY0" fmla="*/ 311378 h 321422"/>
                <a:gd name="connsiteX1" fmla="*/ 10044 w 308030"/>
                <a:gd name="connsiteY1" fmla="*/ 192184 h 321422"/>
                <a:gd name="connsiteX2" fmla="*/ 180131 w 308030"/>
                <a:gd name="connsiteY2" fmla="*/ 10044 h 321422"/>
                <a:gd name="connsiteX3" fmla="*/ 299325 w 308030"/>
                <a:gd name="connsiteY3" fmla="*/ 10044 h 321422"/>
              </a:gdLst>
              <a:ahLst/>
              <a:cxnLst>
                <a:cxn ang="0">
                  <a:pos x="connsiteX0" y="connsiteY0"/>
                </a:cxn>
                <a:cxn ang="0">
                  <a:pos x="connsiteX1" y="connsiteY1"/>
                </a:cxn>
                <a:cxn ang="0">
                  <a:pos x="connsiteX2" y="connsiteY2"/>
                </a:cxn>
                <a:cxn ang="0">
                  <a:pos x="connsiteX3" y="connsiteY3"/>
                </a:cxn>
              </a:cxnLst>
              <a:rect l="l" t="t" r="r" b="b"/>
              <a:pathLst>
                <a:path w="308030" h="321422">
                  <a:moveTo>
                    <a:pt x="40847" y="311378"/>
                  </a:moveTo>
                  <a:lnTo>
                    <a:pt x="10044" y="192184"/>
                  </a:lnTo>
                  <a:lnTo>
                    <a:pt x="180131" y="10044"/>
                  </a:lnTo>
                  <a:lnTo>
                    <a:pt x="299325" y="10044"/>
                  </a:lnTo>
                  <a:close/>
                </a:path>
              </a:pathLst>
            </a:custGeom>
            <a:solidFill>
              <a:schemeClr val="bg1">
                <a:lumMod val="85000"/>
                <a:alpha val="21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9" name="Freeform: Shape 28">
              <a:extLst>
                <a:ext uri="{FF2B5EF4-FFF2-40B4-BE49-F238E27FC236}">
                  <a16:creationId xmlns:a16="http://schemas.microsoft.com/office/drawing/2014/main" id="{020C05DB-4CB8-4C96-ADA4-00C7AD539FB1}"/>
                </a:ext>
              </a:extLst>
            </p:cNvPr>
            <p:cNvSpPr/>
            <p:nvPr/>
          </p:nvSpPr>
          <p:spPr>
            <a:xfrm>
              <a:off x="11193247" y="4174054"/>
              <a:ext cx="133926" cy="200889"/>
            </a:xfrm>
            <a:custGeom>
              <a:avLst/>
              <a:gdLst>
                <a:gd name="connsiteX0" fmla="*/ 10044 w 133926"/>
                <a:gd name="connsiteY0" fmla="*/ 10044 h 200889"/>
                <a:gd name="connsiteX1" fmla="*/ 130578 w 133926"/>
                <a:gd name="connsiteY1" fmla="*/ 10044 h 200889"/>
                <a:gd name="connsiteX2" fmla="*/ 130578 w 133926"/>
                <a:gd name="connsiteY2" fmla="*/ 196202 h 200889"/>
                <a:gd name="connsiteX3" fmla="*/ 11384 w 133926"/>
                <a:gd name="connsiteY3" fmla="*/ 196202 h 200889"/>
              </a:gdLst>
              <a:ahLst/>
              <a:cxnLst>
                <a:cxn ang="0">
                  <a:pos x="connsiteX0" y="connsiteY0"/>
                </a:cxn>
                <a:cxn ang="0">
                  <a:pos x="connsiteX1" y="connsiteY1"/>
                </a:cxn>
                <a:cxn ang="0">
                  <a:pos x="connsiteX2" y="connsiteY2"/>
                </a:cxn>
                <a:cxn ang="0">
                  <a:pos x="connsiteX3" y="connsiteY3"/>
                </a:cxn>
              </a:cxnLst>
              <a:rect l="l" t="t" r="r" b="b"/>
              <a:pathLst>
                <a:path w="133926" h="200889">
                  <a:moveTo>
                    <a:pt x="10044" y="10044"/>
                  </a:moveTo>
                  <a:lnTo>
                    <a:pt x="130578" y="10044"/>
                  </a:lnTo>
                  <a:lnTo>
                    <a:pt x="130578" y="196202"/>
                  </a:lnTo>
                  <a:lnTo>
                    <a:pt x="11384" y="196202"/>
                  </a:lnTo>
                  <a:close/>
                </a:path>
              </a:pathLst>
            </a:custGeom>
            <a:solidFill>
              <a:schemeClr val="bg1">
                <a:lumMod val="95000"/>
                <a:alpha val="74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 name="Freeform: Shape 29">
              <a:extLst>
                <a:ext uri="{FF2B5EF4-FFF2-40B4-BE49-F238E27FC236}">
                  <a16:creationId xmlns:a16="http://schemas.microsoft.com/office/drawing/2014/main" id="{3F27D918-5CDC-43F5-B438-69BCBD5203BF}"/>
                </a:ext>
              </a:extLst>
            </p:cNvPr>
            <p:cNvSpPr/>
            <p:nvPr/>
          </p:nvSpPr>
          <p:spPr>
            <a:xfrm>
              <a:off x="11269584" y="4391014"/>
              <a:ext cx="227675" cy="281245"/>
            </a:xfrm>
            <a:custGeom>
              <a:avLst/>
              <a:gdLst>
                <a:gd name="connsiteX0" fmla="*/ 10044 w 227674"/>
                <a:gd name="connsiteY0" fmla="*/ 98436 h 281244"/>
                <a:gd name="connsiteX1" fmla="*/ 86382 w 227674"/>
                <a:gd name="connsiteY1" fmla="*/ 10044 h 281244"/>
                <a:gd name="connsiteX2" fmla="*/ 224326 w 227674"/>
                <a:gd name="connsiteY2" fmla="*/ 164059 h 281244"/>
                <a:gd name="connsiteX3" fmla="*/ 197541 w 227674"/>
                <a:gd name="connsiteY3" fmla="*/ 280575 h 281244"/>
              </a:gdLst>
              <a:ahLst/>
              <a:cxnLst>
                <a:cxn ang="0">
                  <a:pos x="connsiteX0" y="connsiteY0"/>
                </a:cxn>
                <a:cxn ang="0">
                  <a:pos x="connsiteX1" y="connsiteY1"/>
                </a:cxn>
                <a:cxn ang="0">
                  <a:pos x="connsiteX2" y="connsiteY2"/>
                </a:cxn>
                <a:cxn ang="0">
                  <a:pos x="connsiteX3" y="connsiteY3"/>
                </a:cxn>
              </a:cxnLst>
              <a:rect l="l" t="t" r="r" b="b"/>
              <a:pathLst>
                <a:path w="227674" h="281244">
                  <a:moveTo>
                    <a:pt x="10044" y="98436"/>
                  </a:moveTo>
                  <a:lnTo>
                    <a:pt x="86382" y="10044"/>
                  </a:lnTo>
                  <a:lnTo>
                    <a:pt x="224326" y="164059"/>
                  </a:lnTo>
                  <a:lnTo>
                    <a:pt x="197541" y="280575"/>
                  </a:lnTo>
                  <a:close/>
                </a:path>
              </a:pathLst>
            </a:custGeom>
            <a:solidFill>
              <a:schemeClr val="bg1">
                <a:lumMod val="85000"/>
                <a:alpha val="18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 name="Freeform: Shape 32">
              <a:extLst>
                <a:ext uri="{FF2B5EF4-FFF2-40B4-BE49-F238E27FC236}">
                  <a16:creationId xmlns:a16="http://schemas.microsoft.com/office/drawing/2014/main" id="{AD4B44CC-03AB-4FDE-B726-CD976D1322CD}"/>
                </a:ext>
              </a:extLst>
            </p:cNvPr>
            <p:cNvSpPr/>
            <p:nvPr/>
          </p:nvSpPr>
          <p:spPr>
            <a:xfrm>
              <a:off x="10128571" y="3721189"/>
              <a:ext cx="899104" cy="290033"/>
            </a:xfrm>
            <a:custGeom>
              <a:avLst/>
              <a:gdLst>
                <a:gd name="connsiteX0" fmla="*/ 21753 w 899103"/>
                <a:gd name="connsiteY0" fmla="*/ 279882 h 290033"/>
                <a:gd name="connsiteX1" fmla="*/ 891853 w 899103"/>
                <a:gd name="connsiteY1" fmla="*/ 279882 h 290033"/>
                <a:gd name="connsiteX2" fmla="*/ 625022 w 899103"/>
                <a:gd name="connsiteY2" fmla="*/ 21753 h 290033"/>
                <a:gd name="connsiteX3" fmla="*/ 245078 w 899103"/>
                <a:gd name="connsiteY3" fmla="*/ 21753 h 290033"/>
              </a:gdLst>
              <a:ahLst/>
              <a:cxnLst>
                <a:cxn ang="0">
                  <a:pos x="connsiteX0" y="connsiteY0"/>
                </a:cxn>
                <a:cxn ang="0">
                  <a:pos x="connsiteX1" y="connsiteY1"/>
                </a:cxn>
                <a:cxn ang="0">
                  <a:pos x="connsiteX2" y="connsiteY2"/>
                </a:cxn>
                <a:cxn ang="0">
                  <a:pos x="connsiteX3" y="connsiteY3"/>
                </a:cxn>
              </a:cxnLst>
              <a:rect l="l" t="t" r="r" b="b"/>
              <a:pathLst>
                <a:path w="899103" h="290033">
                  <a:moveTo>
                    <a:pt x="21753" y="279882"/>
                  </a:moveTo>
                  <a:lnTo>
                    <a:pt x="891853" y="279882"/>
                  </a:lnTo>
                  <a:lnTo>
                    <a:pt x="625022" y="21753"/>
                  </a:lnTo>
                  <a:lnTo>
                    <a:pt x="245078" y="21753"/>
                  </a:lnTo>
                  <a:close/>
                </a:path>
              </a:pathLst>
            </a:custGeom>
            <a:solidFill>
              <a:schemeClr val="bg1">
                <a:lumMod val="75000"/>
                <a:alpha val="28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4" name="Freeform: Shape 33">
              <a:extLst>
                <a:ext uri="{FF2B5EF4-FFF2-40B4-BE49-F238E27FC236}">
                  <a16:creationId xmlns:a16="http://schemas.microsoft.com/office/drawing/2014/main" id="{975B0DD9-CB1F-4460-8FDB-BF182D868BF0}"/>
                </a:ext>
              </a:extLst>
            </p:cNvPr>
            <p:cNvSpPr/>
            <p:nvPr/>
          </p:nvSpPr>
          <p:spPr>
            <a:xfrm>
              <a:off x="10061863" y="3326744"/>
              <a:ext cx="667077" cy="696080"/>
            </a:xfrm>
            <a:custGeom>
              <a:avLst/>
              <a:gdLst>
                <a:gd name="connsiteX0" fmla="*/ 88460 w 667077"/>
                <a:gd name="connsiteY0" fmla="*/ 674328 h 696080"/>
                <a:gd name="connsiteX1" fmla="*/ 21753 w 667077"/>
                <a:gd name="connsiteY1" fmla="*/ 416198 h 696080"/>
                <a:gd name="connsiteX2" fmla="*/ 390095 w 667077"/>
                <a:gd name="connsiteY2" fmla="*/ 21753 h 696080"/>
                <a:gd name="connsiteX3" fmla="*/ 648225 w 667077"/>
                <a:gd name="connsiteY3" fmla="*/ 21753 h 696080"/>
              </a:gdLst>
              <a:ahLst/>
              <a:cxnLst>
                <a:cxn ang="0">
                  <a:pos x="connsiteX0" y="connsiteY0"/>
                </a:cxn>
                <a:cxn ang="0">
                  <a:pos x="connsiteX1" y="connsiteY1"/>
                </a:cxn>
                <a:cxn ang="0">
                  <a:pos x="connsiteX2" y="connsiteY2"/>
                </a:cxn>
                <a:cxn ang="0">
                  <a:pos x="connsiteX3" y="connsiteY3"/>
                </a:cxn>
              </a:cxnLst>
              <a:rect l="l" t="t" r="r" b="b"/>
              <a:pathLst>
                <a:path w="667077" h="696080">
                  <a:moveTo>
                    <a:pt x="88460" y="674328"/>
                  </a:moveTo>
                  <a:lnTo>
                    <a:pt x="21753" y="416198"/>
                  </a:lnTo>
                  <a:lnTo>
                    <a:pt x="390095" y="21753"/>
                  </a:lnTo>
                  <a:lnTo>
                    <a:pt x="648225" y="21753"/>
                  </a:lnTo>
                  <a:close/>
                </a:path>
              </a:pathLst>
            </a:custGeom>
            <a:solidFill>
              <a:schemeClr val="bg1">
                <a:lumMod val="85000"/>
                <a:alpha val="21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 name="Freeform: Shape 34">
              <a:extLst>
                <a:ext uri="{FF2B5EF4-FFF2-40B4-BE49-F238E27FC236}">
                  <a16:creationId xmlns:a16="http://schemas.microsoft.com/office/drawing/2014/main" id="{D5AA2359-6089-46EB-9110-B6D5B028FB34}"/>
                </a:ext>
              </a:extLst>
            </p:cNvPr>
            <p:cNvSpPr/>
            <p:nvPr/>
          </p:nvSpPr>
          <p:spPr>
            <a:xfrm>
              <a:off x="10427306" y="2923598"/>
              <a:ext cx="290034" cy="435050"/>
            </a:xfrm>
            <a:custGeom>
              <a:avLst/>
              <a:gdLst>
                <a:gd name="connsiteX0" fmla="*/ 21753 w 290033"/>
                <a:gd name="connsiteY0" fmla="*/ 21753 h 435050"/>
                <a:gd name="connsiteX1" fmla="*/ 282783 w 290033"/>
                <a:gd name="connsiteY1" fmla="*/ 21753 h 435050"/>
                <a:gd name="connsiteX2" fmla="*/ 282783 w 290033"/>
                <a:gd name="connsiteY2" fmla="*/ 424899 h 435050"/>
                <a:gd name="connsiteX3" fmla="*/ 24653 w 290033"/>
                <a:gd name="connsiteY3" fmla="*/ 424899 h 435050"/>
              </a:gdLst>
              <a:ahLst/>
              <a:cxnLst>
                <a:cxn ang="0">
                  <a:pos x="connsiteX0" y="connsiteY0"/>
                </a:cxn>
                <a:cxn ang="0">
                  <a:pos x="connsiteX1" y="connsiteY1"/>
                </a:cxn>
                <a:cxn ang="0">
                  <a:pos x="connsiteX2" y="connsiteY2"/>
                </a:cxn>
                <a:cxn ang="0">
                  <a:pos x="connsiteX3" y="connsiteY3"/>
                </a:cxn>
              </a:cxnLst>
              <a:rect l="l" t="t" r="r" b="b"/>
              <a:pathLst>
                <a:path w="290033" h="435050">
                  <a:moveTo>
                    <a:pt x="21753" y="21753"/>
                  </a:moveTo>
                  <a:lnTo>
                    <a:pt x="282783" y="21753"/>
                  </a:lnTo>
                  <a:lnTo>
                    <a:pt x="282783" y="424899"/>
                  </a:lnTo>
                  <a:lnTo>
                    <a:pt x="24653" y="424899"/>
                  </a:lnTo>
                  <a:close/>
                </a:path>
              </a:pathLst>
            </a:custGeom>
            <a:solidFill>
              <a:schemeClr val="bg1">
                <a:lumMod val="95000"/>
                <a:alpha val="74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6" name="Freeform: Shape 35">
              <a:extLst>
                <a:ext uri="{FF2B5EF4-FFF2-40B4-BE49-F238E27FC236}">
                  <a16:creationId xmlns:a16="http://schemas.microsoft.com/office/drawing/2014/main" id="{9D3EE85A-10F7-49F1-BEC9-C84193102745}"/>
                </a:ext>
              </a:extLst>
            </p:cNvPr>
            <p:cNvSpPr/>
            <p:nvPr/>
          </p:nvSpPr>
          <p:spPr>
            <a:xfrm>
              <a:off x="10592625" y="3393452"/>
              <a:ext cx="493057" cy="609070"/>
            </a:xfrm>
            <a:custGeom>
              <a:avLst/>
              <a:gdLst>
                <a:gd name="connsiteX0" fmla="*/ 21753 w 493057"/>
                <a:gd name="connsiteY0" fmla="*/ 213174 h 609070"/>
                <a:gd name="connsiteX1" fmla="*/ 187072 w 493057"/>
                <a:gd name="connsiteY1" fmla="*/ 21753 h 609070"/>
                <a:gd name="connsiteX2" fmla="*/ 485806 w 493057"/>
                <a:gd name="connsiteY2" fmla="*/ 355291 h 609070"/>
                <a:gd name="connsiteX3" fmla="*/ 427799 w 493057"/>
                <a:gd name="connsiteY3" fmla="*/ 607620 h 609070"/>
              </a:gdLst>
              <a:ahLst/>
              <a:cxnLst>
                <a:cxn ang="0">
                  <a:pos x="connsiteX0" y="connsiteY0"/>
                </a:cxn>
                <a:cxn ang="0">
                  <a:pos x="connsiteX1" y="connsiteY1"/>
                </a:cxn>
                <a:cxn ang="0">
                  <a:pos x="connsiteX2" y="connsiteY2"/>
                </a:cxn>
                <a:cxn ang="0">
                  <a:pos x="connsiteX3" y="connsiteY3"/>
                </a:cxn>
              </a:cxnLst>
              <a:rect l="l" t="t" r="r" b="b"/>
              <a:pathLst>
                <a:path w="493057" h="609070">
                  <a:moveTo>
                    <a:pt x="21753" y="213174"/>
                  </a:moveTo>
                  <a:lnTo>
                    <a:pt x="187072" y="21753"/>
                  </a:lnTo>
                  <a:lnTo>
                    <a:pt x="485806" y="355291"/>
                  </a:lnTo>
                  <a:lnTo>
                    <a:pt x="427799" y="607620"/>
                  </a:lnTo>
                  <a:close/>
                </a:path>
              </a:pathLst>
            </a:custGeom>
            <a:solidFill>
              <a:schemeClr val="bg1">
                <a:lumMod val="85000"/>
                <a:alpha val="18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0" name="Freeform: Shape 209">
              <a:extLst>
                <a:ext uri="{FF2B5EF4-FFF2-40B4-BE49-F238E27FC236}">
                  <a16:creationId xmlns:a16="http://schemas.microsoft.com/office/drawing/2014/main" id="{E64F0650-94FE-4414-B0CA-58258F35DD2F}"/>
                </a:ext>
              </a:extLst>
            </p:cNvPr>
            <p:cNvSpPr/>
            <p:nvPr/>
          </p:nvSpPr>
          <p:spPr>
            <a:xfrm>
              <a:off x="11515354" y="5260941"/>
              <a:ext cx="676646" cy="268418"/>
            </a:xfrm>
            <a:custGeom>
              <a:avLst/>
              <a:gdLst>
                <a:gd name="connsiteX0" fmla="*/ 232227 w 676646"/>
                <a:gd name="connsiteY0" fmla="*/ 0 h 268418"/>
                <a:gd name="connsiteX1" fmla="*/ 627313 w 676646"/>
                <a:gd name="connsiteY1" fmla="*/ 0 h 268418"/>
                <a:gd name="connsiteX2" fmla="*/ 676646 w 676646"/>
                <a:gd name="connsiteY2" fmla="*/ 47725 h 268418"/>
                <a:gd name="connsiteX3" fmla="*/ 676646 w 676646"/>
                <a:gd name="connsiteY3" fmla="*/ 268418 h 268418"/>
                <a:gd name="connsiteX4" fmla="*/ 0 w 676646"/>
                <a:gd name="connsiteY4" fmla="*/ 268418 h 268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646" h="268418">
                  <a:moveTo>
                    <a:pt x="232227" y="0"/>
                  </a:moveTo>
                  <a:lnTo>
                    <a:pt x="627313" y="0"/>
                  </a:lnTo>
                  <a:lnTo>
                    <a:pt x="676646" y="47725"/>
                  </a:lnTo>
                  <a:lnTo>
                    <a:pt x="676646" y="268418"/>
                  </a:lnTo>
                  <a:lnTo>
                    <a:pt x="0" y="268418"/>
                  </a:lnTo>
                  <a:close/>
                </a:path>
              </a:pathLst>
            </a:custGeom>
            <a:solidFill>
              <a:schemeClr val="bg1">
                <a:lumMod val="75000"/>
                <a:alpha val="28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 name="Freeform: Shape 38">
              <a:extLst>
                <a:ext uri="{FF2B5EF4-FFF2-40B4-BE49-F238E27FC236}">
                  <a16:creationId xmlns:a16="http://schemas.microsoft.com/office/drawing/2014/main" id="{C7DA3B30-7A1C-4B62-B62E-F1F6CAD78B0D}"/>
                </a:ext>
              </a:extLst>
            </p:cNvPr>
            <p:cNvSpPr/>
            <p:nvPr/>
          </p:nvSpPr>
          <p:spPr>
            <a:xfrm>
              <a:off x="11423369" y="4828157"/>
              <a:ext cx="693662" cy="723821"/>
            </a:xfrm>
            <a:custGeom>
              <a:avLst/>
              <a:gdLst>
                <a:gd name="connsiteX0" fmla="*/ 91986 w 693662"/>
                <a:gd name="connsiteY0" fmla="*/ 701202 h 723821"/>
                <a:gd name="connsiteX1" fmla="*/ 22619 w 693662"/>
                <a:gd name="connsiteY1" fmla="*/ 432785 h 723821"/>
                <a:gd name="connsiteX2" fmla="*/ 405642 w 693662"/>
                <a:gd name="connsiteY2" fmla="*/ 22619 h 723821"/>
                <a:gd name="connsiteX3" fmla="*/ 674059 w 693662"/>
                <a:gd name="connsiteY3" fmla="*/ 22619 h 723821"/>
              </a:gdLst>
              <a:ahLst/>
              <a:cxnLst>
                <a:cxn ang="0">
                  <a:pos x="connsiteX0" y="connsiteY0"/>
                </a:cxn>
                <a:cxn ang="0">
                  <a:pos x="connsiteX1" y="connsiteY1"/>
                </a:cxn>
                <a:cxn ang="0">
                  <a:pos x="connsiteX2" y="connsiteY2"/>
                </a:cxn>
                <a:cxn ang="0">
                  <a:pos x="connsiteX3" y="connsiteY3"/>
                </a:cxn>
              </a:cxnLst>
              <a:rect l="l" t="t" r="r" b="b"/>
              <a:pathLst>
                <a:path w="693662" h="723821">
                  <a:moveTo>
                    <a:pt x="91986" y="701202"/>
                  </a:moveTo>
                  <a:lnTo>
                    <a:pt x="22619" y="432785"/>
                  </a:lnTo>
                  <a:lnTo>
                    <a:pt x="405642" y="22619"/>
                  </a:lnTo>
                  <a:lnTo>
                    <a:pt x="674059" y="22619"/>
                  </a:lnTo>
                  <a:close/>
                </a:path>
              </a:pathLst>
            </a:custGeom>
            <a:solidFill>
              <a:schemeClr val="bg1">
                <a:lumMod val="85000"/>
                <a:alpha val="21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 name="Freeform: Shape 39">
              <a:extLst>
                <a:ext uri="{FF2B5EF4-FFF2-40B4-BE49-F238E27FC236}">
                  <a16:creationId xmlns:a16="http://schemas.microsoft.com/office/drawing/2014/main" id="{DFDD76FB-91E8-4A6E-9561-9D669C127E23}"/>
                </a:ext>
              </a:extLst>
            </p:cNvPr>
            <p:cNvSpPr/>
            <p:nvPr/>
          </p:nvSpPr>
          <p:spPr>
            <a:xfrm>
              <a:off x="11803375" y="4408944"/>
              <a:ext cx="301592" cy="452388"/>
            </a:xfrm>
            <a:custGeom>
              <a:avLst/>
              <a:gdLst>
                <a:gd name="connsiteX0" fmla="*/ 22619 w 301592"/>
                <a:gd name="connsiteY0" fmla="*/ 22619 h 452388"/>
                <a:gd name="connsiteX1" fmla="*/ 294053 w 301592"/>
                <a:gd name="connsiteY1" fmla="*/ 22619 h 452388"/>
                <a:gd name="connsiteX2" fmla="*/ 294053 w 301592"/>
                <a:gd name="connsiteY2" fmla="*/ 441833 h 452388"/>
                <a:gd name="connsiteX3" fmla="*/ 25635 w 301592"/>
                <a:gd name="connsiteY3" fmla="*/ 441833 h 452388"/>
              </a:gdLst>
              <a:ahLst/>
              <a:cxnLst>
                <a:cxn ang="0">
                  <a:pos x="connsiteX0" y="connsiteY0"/>
                </a:cxn>
                <a:cxn ang="0">
                  <a:pos x="connsiteX1" y="connsiteY1"/>
                </a:cxn>
                <a:cxn ang="0">
                  <a:pos x="connsiteX2" y="connsiteY2"/>
                </a:cxn>
                <a:cxn ang="0">
                  <a:pos x="connsiteX3" y="connsiteY3"/>
                </a:cxn>
              </a:cxnLst>
              <a:rect l="l" t="t" r="r" b="b"/>
              <a:pathLst>
                <a:path w="301592" h="452388">
                  <a:moveTo>
                    <a:pt x="22619" y="22619"/>
                  </a:moveTo>
                  <a:lnTo>
                    <a:pt x="294053" y="22619"/>
                  </a:lnTo>
                  <a:lnTo>
                    <a:pt x="294053" y="441833"/>
                  </a:lnTo>
                  <a:lnTo>
                    <a:pt x="25635" y="441833"/>
                  </a:lnTo>
                  <a:close/>
                </a:path>
              </a:pathLst>
            </a:custGeom>
            <a:solidFill>
              <a:schemeClr val="bg1">
                <a:lumMod val="95000"/>
                <a:alpha val="74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3" name="Freeform: Shape 202">
              <a:extLst>
                <a:ext uri="{FF2B5EF4-FFF2-40B4-BE49-F238E27FC236}">
                  <a16:creationId xmlns:a16="http://schemas.microsoft.com/office/drawing/2014/main" id="{C5A55F67-B0BB-4DF9-A636-96EF9F266F62}"/>
                </a:ext>
              </a:extLst>
            </p:cNvPr>
            <p:cNvSpPr/>
            <p:nvPr/>
          </p:nvSpPr>
          <p:spPr>
            <a:xfrm>
              <a:off x="11997902" y="4920143"/>
              <a:ext cx="187704" cy="381393"/>
            </a:xfrm>
            <a:custGeom>
              <a:avLst/>
              <a:gdLst>
                <a:gd name="connsiteX0" fmla="*/ 171908 w 187704"/>
                <a:gd name="connsiteY0" fmla="*/ 0 h 381393"/>
                <a:gd name="connsiteX1" fmla="*/ 187704 w 187704"/>
                <a:gd name="connsiteY1" fmla="*/ 17637 h 381393"/>
                <a:gd name="connsiteX2" fmla="*/ 187704 w 187704"/>
                <a:gd name="connsiteY2" fmla="*/ 381393 h 381393"/>
                <a:gd name="connsiteX3" fmla="*/ 0 w 187704"/>
                <a:gd name="connsiteY3" fmla="*/ 199052 h 381393"/>
              </a:gdLst>
              <a:ahLst/>
              <a:cxnLst>
                <a:cxn ang="0">
                  <a:pos x="connsiteX0" y="connsiteY0"/>
                </a:cxn>
                <a:cxn ang="0">
                  <a:pos x="connsiteX1" y="connsiteY1"/>
                </a:cxn>
                <a:cxn ang="0">
                  <a:pos x="connsiteX2" y="connsiteY2"/>
                </a:cxn>
                <a:cxn ang="0">
                  <a:pos x="connsiteX3" y="connsiteY3"/>
                </a:cxn>
              </a:cxnLst>
              <a:rect l="l" t="t" r="r" b="b"/>
              <a:pathLst>
                <a:path w="187704" h="381393">
                  <a:moveTo>
                    <a:pt x="171908" y="0"/>
                  </a:moveTo>
                  <a:lnTo>
                    <a:pt x="187704" y="17637"/>
                  </a:lnTo>
                  <a:lnTo>
                    <a:pt x="187704" y="381393"/>
                  </a:lnTo>
                  <a:lnTo>
                    <a:pt x="0" y="199052"/>
                  </a:lnTo>
                  <a:close/>
                </a:path>
              </a:pathLst>
            </a:custGeom>
            <a:solidFill>
              <a:schemeClr val="bg1">
                <a:lumMod val="85000"/>
                <a:alpha val="18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2" name="Freeform: Shape 211">
              <a:extLst>
                <a:ext uri="{FF2B5EF4-FFF2-40B4-BE49-F238E27FC236}">
                  <a16:creationId xmlns:a16="http://schemas.microsoft.com/office/drawing/2014/main" id="{34162349-E3B4-4E5D-BE6D-6BCEDF2FB031}"/>
                </a:ext>
              </a:extLst>
            </p:cNvPr>
            <p:cNvSpPr/>
            <p:nvPr/>
          </p:nvSpPr>
          <p:spPr>
            <a:xfrm>
              <a:off x="11808642" y="2971190"/>
              <a:ext cx="386401" cy="246311"/>
            </a:xfrm>
            <a:custGeom>
              <a:avLst/>
              <a:gdLst>
                <a:gd name="connsiteX0" fmla="*/ 213100 w 386401"/>
                <a:gd name="connsiteY0" fmla="*/ 0 h 246311"/>
                <a:gd name="connsiteX1" fmla="*/ 386401 w 386401"/>
                <a:gd name="connsiteY1" fmla="*/ 0 h 246311"/>
                <a:gd name="connsiteX2" fmla="*/ 386401 w 386401"/>
                <a:gd name="connsiteY2" fmla="*/ 246311 h 246311"/>
                <a:gd name="connsiteX3" fmla="*/ 0 w 386401"/>
                <a:gd name="connsiteY3" fmla="*/ 246311 h 246311"/>
              </a:gdLst>
              <a:ahLst/>
              <a:cxnLst>
                <a:cxn ang="0">
                  <a:pos x="connsiteX0" y="connsiteY0"/>
                </a:cxn>
                <a:cxn ang="0">
                  <a:pos x="connsiteX1" y="connsiteY1"/>
                </a:cxn>
                <a:cxn ang="0">
                  <a:pos x="connsiteX2" y="connsiteY2"/>
                </a:cxn>
                <a:cxn ang="0">
                  <a:pos x="connsiteX3" y="connsiteY3"/>
                </a:cxn>
              </a:cxnLst>
              <a:rect l="l" t="t" r="r" b="b"/>
              <a:pathLst>
                <a:path w="386401" h="246311">
                  <a:moveTo>
                    <a:pt x="213100" y="0"/>
                  </a:moveTo>
                  <a:lnTo>
                    <a:pt x="386401" y="0"/>
                  </a:lnTo>
                  <a:lnTo>
                    <a:pt x="386401" y="246311"/>
                  </a:lnTo>
                  <a:lnTo>
                    <a:pt x="0" y="246311"/>
                  </a:lnTo>
                  <a:close/>
                </a:path>
              </a:pathLst>
            </a:custGeom>
            <a:solidFill>
              <a:schemeClr val="bg1">
                <a:lumMod val="75000"/>
                <a:alpha val="28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6" name="Freeform: Shape 215">
              <a:extLst>
                <a:ext uri="{FF2B5EF4-FFF2-40B4-BE49-F238E27FC236}">
                  <a16:creationId xmlns:a16="http://schemas.microsoft.com/office/drawing/2014/main" id="{F08DA448-F2F9-47E6-8182-BE259B6E7736}"/>
                </a:ext>
              </a:extLst>
            </p:cNvPr>
            <p:cNvSpPr/>
            <p:nvPr/>
          </p:nvSpPr>
          <p:spPr>
            <a:xfrm>
              <a:off x="11744989" y="2594807"/>
              <a:ext cx="450054" cy="622694"/>
            </a:xfrm>
            <a:custGeom>
              <a:avLst/>
              <a:gdLst>
                <a:gd name="connsiteX0" fmla="*/ 351476 w 450054"/>
                <a:gd name="connsiteY0" fmla="*/ 0 h 622694"/>
                <a:gd name="connsiteX1" fmla="*/ 450054 w 450054"/>
                <a:gd name="connsiteY1" fmla="*/ 0 h 622694"/>
                <a:gd name="connsiteX2" fmla="*/ 450054 w 450054"/>
                <a:gd name="connsiteY2" fmla="*/ 172227 h 622694"/>
                <a:gd name="connsiteX3" fmla="*/ 63654 w 450054"/>
                <a:gd name="connsiteY3" fmla="*/ 622694 h 622694"/>
                <a:gd name="connsiteX4" fmla="*/ 0 w 450054"/>
                <a:gd name="connsiteY4" fmla="*/ 376384 h 622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054" h="622694">
                  <a:moveTo>
                    <a:pt x="351476" y="0"/>
                  </a:moveTo>
                  <a:lnTo>
                    <a:pt x="450054" y="0"/>
                  </a:lnTo>
                  <a:lnTo>
                    <a:pt x="450054" y="172227"/>
                  </a:lnTo>
                  <a:lnTo>
                    <a:pt x="63654" y="622694"/>
                  </a:lnTo>
                  <a:lnTo>
                    <a:pt x="0" y="376384"/>
                  </a:lnTo>
                  <a:close/>
                </a:path>
              </a:pathLst>
            </a:custGeom>
            <a:solidFill>
              <a:schemeClr val="bg1">
                <a:lumMod val="85000"/>
                <a:alpha val="21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4" name="Freeform: Shape 213">
              <a:extLst>
                <a:ext uri="{FF2B5EF4-FFF2-40B4-BE49-F238E27FC236}">
                  <a16:creationId xmlns:a16="http://schemas.microsoft.com/office/drawing/2014/main" id="{8C3C8EB4-D84A-4117-862A-A212216D5EFC}"/>
                </a:ext>
              </a:extLst>
            </p:cNvPr>
            <p:cNvSpPr/>
            <p:nvPr/>
          </p:nvSpPr>
          <p:spPr>
            <a:xfrm>
              <a:off x="12093697" y="2210121"/>
              <a:ext cx="101346" cy="384687"/>
            </a:xfrm>
            <a:custGeom>
              <a:avLst/>
              <a:gdLst>
                <a:gd name="connsiteX0" fmla="*/ 0 w 101346"/>
                <a:gd name="connsiteY0" fmla="*/ 0 h 384687"/>
                <a:gd name="connsiteX1" fmla="*/ 101346 w 101346"/>
                <a:gd name="connsiteY1" fmla="*/ 0 h 384687"/>
                <a:gd name="connsiteX2" fmla="*/ 101346 w 101346"/>
                <a:gd name="connsiteY2" fmla="*/ 384687 h 384687"/>
                <a:gd name="connsiteX3" fmla="*/ 2768 w 101346"/>
                <a:gd name="connsiteY3" fmla="*/ 384687 h 384687"/>
              </a:gdLst>
              <a:ahLst/>
              <a:cxnLst>
                <a:cxn ang="0">
                  <a:pos x="connsiteX0" y="connsiteY0"/>
                </a:cxn>
                <a:cxn ang="0">
                  <a:pos x="connsiteX1" y="connsiteY1"/>
                </a:cxn>
                <a:cxn ang="0">
                  <a:pos x="connsiteX2" y="connsiteY2"/>
                </a:cxn>
                <a:cxn ang="0">
                  <a:pos x="connsiteX3" y="connsiteY3"/>
                </a:cxn>
              </a:cxnLst>
              <a:rect l="l" t="t" r="r" b="b"/>
              <a:pathLst>
                <a:path w="101346" h="384687">
                  <a:moveTo>
                    <a:pt x="0" y="0"/>
                  </a:moveTo>
                  <a:lnTo>
                    <a:pt x="101346" y="0"/>
                  </a:lnTo>
                  <a:lnTo>
                    <a:pt x="101346" y="384687"/>
                  </a:lnTo>
                  <a:lnTo>
                    <a:pt x="2768" y="384687"/>
                  </a:lnTo>
                  <a:close/>
                </a:path>
              </a:pathLst>
            </a:custGeom>
            <a:solidFill>
              <a:schemeClr val="bg1">
                <a:lumMod val="95000"/>
                <a:alpha val="74000"/>
              </a:scheme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2" name="Group 31">
            <a:extLst>
              <a:ext uri="{FF2B5EF4-FFF2-40B4-BE49-F238E27FC236}">
                <a16:creationId xmlns:a16="http://schemas.microsoft.com/office/drawing/2014/main" id="{54BC9290-B149-4DAA-BF8A-A0445641BEFA}"/>
              </a:ext>
            </a:extLst>
          </p:cNvPr>
          <p:cNvGrpSpPr/>
          <p:nvPr/>
        </p:nvGrpSpPr>
        <p:grpSpPr>
          <a:xfrm>
            <a:off x="1369132" y="5083002"/>
            <a:ext cx="5585819" cy="635284"/>
            <a:chOff x="1368462" y="5083237"/>
            <a:chExt cx="5586611" cy="635374"/>
          </a:xfrm>
        </p:grpSpPr>
        <p:sp>
          <p:nvSpPr>
            <p:cNvPr id="13" name="Rectangle 12">
              <a:extLst>
                <a:ext uri="{FF2B5EF4-FFF2-40B4-BE49-F238E27FC236}">
                  <a16:creationId xmlns:a16="http://schemas.microsoft.com/office/drawing/2014/main" id="{98D83CD9-B7FC-4CE5-9248-FD1F384CF6E8}"/>
                </a:ext>
              </a:extLst>
            </p:cNvPr>
            <p:cNvSpPr/>
            <p:nvPr/>
          </p:nvSpPr>
          <p:spPr>
            <a:xfrm>
              <a:off x="3124234" y="5276129"/>
              <a:ext cx="3830839" cy="215475"/>
            </a:xfrm>
            <a:prstGeom prst="rect">
              <a:avLst/>
            </a:prstGeom>
          </p:spPr>
          <p:txBody>
            <a:bodyPr wrap="square" lIns="0" tIns="0" rIns="0" bIns="0">
              <a:spAutoFit/>
            </a:bodyPr>
            <a:lstStyle/>
            <a:p>
              <a:pPr marL="0" marR="0" lvl="0" indent="0" algn="l" defTabSz="913874" rtl="0" eaLnBrk="1" fontAlgn="auto" latinLnBrk="0" hangingPunct="1">
                <a:lnSpc>
                  <a:spcPct val="100000"/>
                </a:lnSpc>
                <a:spcBef>
                  <a:spcPts val="0"/>
                </a:spcBef>
                <a:spcAft>
                  <a:spcPts val="2400"/>
                </a:spcAft>
                <a:buClrTx/>
                <a:buSzTx/>
                <a:buFontTx/>
                <a:buNone/>
                <a:tabLst/>
                <a:defRPr/>
              </a:pPr>
              <a:r>
                <a:rPr kumimoji="0" lang="en-US" sz="1400" b="1" i="0" u="none" strike="noStrike" kern="0" cap="none" spc="0" normalizeH="0" baseline="0" noProof="0" dirty="0">
                  <a:ln>
                    <a:noFill/>
                  </a:ln>
                  <a:solidFill>
                    <a:srgbClr val="0078D7"/>
                  </a:solidFill>
                  <a:effectLst/>
                  <a:uLnTx/>
                  <a:uFillTx/>
                  <a:latin typeface="Segoe UI Semibold" charset="0"/>
                  <a:ea typeface="+mn-ea"/>
                  <a:cs typeface="Segoe UI Semibold" charset="0"/>
                </a:rPr>
                <a:t>Deploy and manage your models everywhere</a:t>
              </a:r>
            </a:p>
          </p:txBody>
        </p:sp>
        <p:cxnSp>
          <p:nvCxnSpPr>
            <p:cNvPr id="139" name="Straight Connector 138">
              <a:extLst>
                <a:ext uri="{FF2B5EF4-FFF2-40B4-BE49-F238E27FC236}">
                  <a16:creationId xmlns:a16="http://schemas.microsoft.com/office/drawing/2014/main" id="{C8DEAE4F-9D4B-4EEE-8144-4C026D9BF91C}"/>
                </a:ext>
              </a:extLst>
            </p:cNvPr>
            <p:cNvCxnSpPr/>
            <p:nvPr/>
          </p:nvCxnSpPr>
          <p:spPr>
            <a:xfrm>
              <a:off x="2844745" y="5115588"/>
              <a:ext cx="0" cy="603023"/>
            </a:xfrm>
            <a:prstGeom prst="line">
              <a:avLst/>
            </a:prstGeom>
            <a:ln w="12700" cap="rnd">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04" name="Group 203">
              <a:extLst>
                <a:ext uri="{FF2B5EF4-FFF2-40B4-BE49-F238E27FC236}">
                  <a16:creationId xmlns:a16="http://schemas.microsoft.com/office/drawing/2014/main" id="{872BC4A0-8319-401E-984B-0A99AFA22F02}"/>
                </a:ext>
              </a:extLst>
            </p:cNvPr>
            <p:cNvGrpSpPr/>
            <p:nvPr/>
          </p:nvGrpSpPr>
          <p:grpSpPr>
            <a:xfrm>
              <a:off x="1368462" y="5083237"/>
              <a:ext cx="1279589" cy="549204"/>
              <a:chOff x="1349791" y="3168457"/>
              <a:chExt cx="5679659" cy="2437728"/>
            </a:xfrm>
          </p:grpSpPr>
          <p:sp>
            <p:nvSpPr>
              <p:cNvPr id="205" name="Freeform: Shape 204">
                <a:extLst>
                  <a:ext uri="{FF2B5EF4-FFF2-40B4-BE49-F238E27FC236}">
                    <a16:creationId xmlns:a16="http://schemas.microsoft.com/office/drawing/2014/main" id="{384AE23C-D2BA-475C-8743-9A1558EF4334}"/>
                  </a:ext>
                </a:extLst>
              </p:cNvPr>
              <p:cNvSpPr/>
              <p:nvPr/>
            </p:nvSpPr>
            <p:spPr>
              <a:xfrm>
                <a:off x="4411612" y="4538106"/>
                <a:ext cx="2617838" cy="1068079"/>
              </a:xfrm>
              <a:custGeom>
                <a:avLst/>
                <a:gdLst>
                  <a:gd name="connsiteX0" fmla="*/ 1108234 w 1190625"/>
                  <a:gd name="connsiteY0" fmla="*/ 325991 h 485775"/>
                  <a:gd name="connsiteX1" fmla="*/ 1105376 w 1190625"/>
                  <a:gd name="connsiteY1" fmla="*/ 325991 h 485775"/>
                  <a:gd name="connsiteX2" fmla="*/ 992981 w 1190625"/>
                  <a:gd name="connsiteY2" fmla="*/ 126918 h 485775"/>
                  <a:gd name="connsiteX3" fmla="*/ 839629 w 1190625"/>
                  <a:gd name="connsiteY3" fmla="*/ 164066 h 485775"/>
                  <a:gd name="connsiteX4" fmla="*/ 578644 w 1190625"/>
                  <a:gd name="connsiteY4" fmla="*/ 14523 h 485775"/>
                  <a:gd name="connsiteX5" fmla="*/ 422434 w 1190625"/>
                  <a:gd name="connsiteY5" fmla="*/ 200261 h 485775"/>
                  <a:gd name="connsiteX6" fmla="*/ 416719 w 1190625"/>
                  <a:gd name="connsiteY6" fmla="*/ 199308 h 485775"/>
                  <a:gd name="connsiteX7" fmla="*/ 188119 w 1190625"/>
                  <a:gd name="connsiteY7" fmla="*/ 207881 h 485775"/>
                  <a:gd name="connsiteX8" fmla="*/ 153829 w 1190625"/>
                  <a:gd name="connsiteY8" fmla="*/ 265983 h 485775"/>
                  <a:gd name="connsiteX9" fmla="*/ 117634 w 1190625"/>
                  <a:gd name="connsiteY9" fmla="*/ 260268 h 485775"/>
                  <a:gd name="connsiteX10" fmla="*/ 7144 w 1190625"/>
                  <a:gd name="connsiteY10" fmla="*/ 365996 h 485775"/>
                  <a:gd name="connsiteX11" fmla="*/ 7144 w 1190625"/>
                  <a:gd name="connsiteY11" fmla="*/ 367901 h 485775"/>
                  <a:gd name="connsiteX12" fmla="*/ 116681 w 1190625"/>
                  <a:gd name="connsiteY12" fmla="*/ 481248 h 485775"/>
                  <a:gd name="connsiteX13" fmla="*/ 376714 w 1190625"/>
                  <a:gd name="connsiteY13" fmla="*/ 481248 h 485775"/>
                  <a:gd name="connsiteX14" fmla="*/ 397669 w 1190625"/>
                  <a:gd name="connsiteY14" fmla="*/ 481248 h 485775"/>
                  <a:gd name="connsiteX15" fmla="*/ 1107281 w 1190625"/>
                  <a:gd name="connsiteY15" fmla="*/ 481248 h 485775"/>
                  <a:gd name="connsiteX16" fmla="*/ 1185386 w 1190625"/>
                  <a:gd name="connsiteY16" fmla="*/ 405048 h 485775"/>
                  <a:gd name="connsiteX17" fmla="*/ 1109186 w 1190625"/>
                  <a:gd name="connsiteY17" fmla="*/ 326943 h 485775"/>
                  <a:gd name="connsiteX18" fmla="*/ 1108234 w 1190625"/>
                  <a:gd name="connsiteY18" fmla="*/ 325991 h 485775"/>
                  <a:gd name="connsiteX19" fmla="*/ 1108234 w 1190625"/>
                  <a:gd name="connsiteY19" fmla="*/ 32599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0625" h="485775">
                    <a:moveTo>
                      <a:pt x="1108234" y="325991"/>
                    </a:moveTo>
                    <a:cubicBezTo>
                      <a:pt x="1107281" y="325991"/>
                      <a:pt x="1106329" y="325991"/>
                      <a:pt x="1105376" y="325991"/>
                    </a:cubicBezTo>
                    <a:cubicBezTo>
                      <a:pt x="1129189" y="240266"/>
                      <a:pt x="1079659" y="150731"/>
                      <a:pt x="992981" y="126918"/>
                    </a:cubicBezTo>
                    <a:cubicBezTo>
                      <a:pt x="938689" y="111678"/>
                      <a:pt x="880586" y="125966"/>
                      <a:pt x="839629" y="164066"/>
                    </a:cubicBezTo>
                    <a:cubicBezTo>
                      <a:pt x="809149" y="50718"/>
                      <a:pt x="691991" y="-15957"/>
                      <a:pt x="578644" y="14523"/>
                    </a:cubicBezTo>
                    <a:cubicBezTo>
                      <a:pt x="492919" y="37383"/>
                      <a:pt x="431006" y="111678"/>
                      <a:pt x="422434" y="200261"/>
                    </a:cubicBezTo>
                    <a:cubicBezTo>
                      <a:pt x="420529" y="200261"/>
                      <a:pt x="418624" y="199308"/>
                      <a:pt x="416719" y="199308"/>
                    </a:cubicBezTo>
                    <a:cubicBezTo>
                      <a:pt x="350996" y="138348"/>
                      <a:pt x="249079" y="143111"/>
                      <a:pt x="188119" y="207881"/>
                    </a:cubicBezTo>
                    <a:cubicBezTo>
                      <a:pt x="172879" y="225026"/>
                      <a:pt x="160496" y="244076"/>
                      <a:pt x="153829" y="265983"/>
                    </a:cubicBezTo>
                    <a:cubicBezTo>
                      <a:pt x="142399" y="262173"/>
                      <a:pt x="130016" y="260268"/>
                      <a:pt x="117634" y="260268"/>
                    </a:cubicBezTo>
                    <a:cubicBezTo>
                      <a:pt x="57626" y="259316"/>
                      <a:pt x="8096" y="305988"/>
                      <a:pt x="7144" y="365996"/>
                    </a:cubicBezTo>
                    <a:cubicBezTo>
                      <a:pt x="7144" y="366948"/>
                      <a:pt x="7144" y="366948"/>
                      <a:pt x="7144" y="367901"/>
                    </a:cubicBezTo>
                    <a:cubicBezTo>
                      <a:pt x="7144" y="428861"/>
                      <a:pt x="55721" y="481248"/>
                      <a:pt x="116681" y="481248"/>
                    </a:cubicBezTo>
                    <a:lnTo>
                      <a:pt x="376714" y="481248"/>
                    </a:lnTo>
                    <a:cubicBezTo>
                      <a:pt x="383381" y="489821"/>
                      <a:pt x="391001" y="481248"/>
                      <a:pt x="397669" y="481248"/>
                    </a:cubicBezTo>
                    <a:lnTo>
                      <a:pt x="1107281" y="481248"/>
                    </a:lnTo>
                    <a:cubicBezTo>
                      <a:pt x="1150144" y="482201"/>
                      <a:pt x="1185386" y="447911"/>
                      <a:pt x="1185386" y="405048"/>
                    </a:cubicBezTo>
                    <a:cubicBezTo>
                      <a:pt x="1186339" y="362186"/>
                      <a:pt x="1152049" y="326943"/>
                      <a:pt x="1109186" y="326943"/>
                    </a:cubicBezTo>
                    <a:cubicBezTo>
                      <a:pt x="1109186" y="325991"/>
                      <a:pt x="1108234" y="325991"/>
                      <a:pt x="1108234" y="325991"/>
                    </a:cubicBezTo>
                    <a:lnTo>
                      <a:pt x="1108234" y="325991"/>
                    </a:lnTo>
                    <a:close/>
                  </a:path>
                </a:pathLst>
              </a:custGeom>
              <a:solidFill>
                <a:srgbClr val="CBEBF5">
                  <a:alpha val="80000"/>
                </a:srgb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6" name="Freeform: Shape 205">
                <a:extLst>
                  <a:ext uri="{FF2B5EF4-FFF2-40B4-BE49-F238E27FC236}">
                    <a16:creationId xmlns:a16="http://schemas.microsoft.com/office/drawing/2014/main" id="{AB456F5E-3E0F-4FC7-8C85-61053740555C}"/>
                  </a:ext>
                </a:extLst>
              </p:cNvPr>
              <p:cNvSpPr/>
              <p:nvPr/>
            </p:nvSpPr>
            <p:spPr>
              <a:xfrm>
                <a:off x="2008442" y="3914466"/>
                <a:ext cx="4251364" cy="1256563"/>
              </a:xfrm>
              <a:custGeom>
                <a:avLst/>
                <a:gdLst>
                  <a:gd name="connsiteX0" fmla="*/ 42863 w 1933575"/>
                  <a:gd name="connsiteY0" fmla="*/ 165766 h 571500"/>
                  <a:gd name="connsiteX1" fmla="*/ 1016317 w 1933575"/>
                  <a:gd name="connsiteY1" fmla="*/ 102901 h 571500"/>
                  <a:gd name="connsiteX2" fmla="*/ 1894523 w 1933575"/>
                  <a:gd name="connsiteY2" fmla="*/ 528668 h 571500"/>
                </a:gdLst>
                <a:ahLst/>
                <a:cxnLst>
                  <a:cxn ang="0">
                    <a:pos x="connsiteX0" y="connsiteY0"/>
                  </a:cxn>
                  <a:cxn ang="0">
                    <a:pos x="connsiteX1" y="connsiteY1"/>
                  </a:cxn>
                  <a:cxn ang="0">
                    <a:pos x="connsiteX2" y="connsiteY2"/>
                  </a:cxn>
                </a:cxnLst>
                <a:rect l="l" t="t" r="r" b="b"/>
                <a:pathLst>
                  <a:path w="1933575" h="571500">
                    <a:moveTo>
                      <a:pt x="42863" y="165766"/>
                    </a:moveTo>
                    <a:cubicBezTo>
                      <a:pt x="69532" y="30511"/>
                      <a:pt x="505778" y="2888"/>
                      <a:pt x="1016317" y="102901"/>
                    </a:cubicBezTo>
                    <a:cubicBezTo>
                      <a:pt x="1526858" y="202913"/>
                      <a:pt x="1921192" y="393413"/>
                      <a:pt x="1894523" y="528668"/>
                    </a:cubicBezTo>
                  </a:path>
                </a:pathLst>
              </a:custGeom>
              <a:noFill/>
              <a:ln w="57150" cap="flat">
                <a:solidFill>
                  <a:schemeClr val="accent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7" name="Freeform: Shape 206">
                <a:extLst>
                  <a:ext uri="{FF2B5EF4-FFF2-40B4-BE49-F238E27FC236}">
                    <a16:creationId xmlns:a16="http://schemas.microsoft.com/office/drawing/2014/main" id="{17D699B2-40AC-4E64-9681-0954147679B6}"/>
                  </a:ext>
                </a:extLst>
              </p:cNvPr>
              <p:cNvSpPr/>
              <p:nvPr/>
            </p:nvSpPr>
            <p:spPr>
              <a:xfrm>
                <a:off x="1349791" y="3168457"/>
                <a:ext cx="2617838" cy="1068079"/>
              </a:xfrm>
              <a:custGeom>
                <a:avLst/>
                <a:gdLst>
                  <a:gd name="connsiteX0" fmla="*/ 1106329 w 1190625"/>
                  <a:gd name="connsiteY0" fmla="*/ 325991 h 485775"/>
                  <a:gd name="connsiteX1" fmla="*/ 1103471 w 1190625"/>
                  <a:gd name="connsiteY1" fmla="*/ 325991 h 485775"/>
                  <a:gd name="connsiteX2" fmla="*/ 991076 w 1190625"/>
                  <a:gd name="connsiteY2" fmla="*/ 126918 h 485775"/>
                  <a:gd name="connsiteX3" fmla="*/ 837724 w 1190625"/>
                  <a:gd name="connsiteY3" fmla="*/ 164066 h 485775"/>
                  <a:gd name="connsiteX4" fmla="*/ 577691 w 1190625"/>
                  <a:gd name="connsiteY4" fmla="*/ 14523 h 485775"/>
                  <a:gd name="connsiteX5" fmla="*/ 421481 w 1190625"/>
                  <a:gd name="connsiteY5" fmla="*/ 200261 h 485775"/>
                  <a:gd name="connsiteX6" fmla="*/ 415766 w 1190625"/>
                  <a:gd name="connsiteY6" fmla="*/ 199308 h 485775"/>
                  <a:gd name="connsiteX7" fmla="*/ 187166 w 1190625"/>
                  <a:gd name="connsiteY7" fmla="*/ 207881 h 485775"/>
                  <a:gd name="connsiteX8" fmla="*/ 152876 w 1190625"/>
                  <a:gd name="connsiteY8" fmla="*/ 265983 h 485775"/>
                  <a:gd name="connsiteX9" fmla="*/ 116681 w 1190625"/>
                  <a:gd name="connsiteY9" fmla="*/ 260268 h 485775"/>
                  <a:gd name="connsiteX10" fmla="*/ 7144 w 1190625"/>
                  <a:gd name="connsiteY10" fmla="*/ 365996 h 485775"/>
                  <a:gd name="connsiteX11" fmla="*/ 7144 w 1190625"/>
                  <a:gd name="connsiteY11" fmla="*/ 367901 h 485775"/>
                  <a:gd name="connsiteX12" fmla="*/ 116681 w 1190625"/>
                  <a:gd name="connsiteY12" fmla="*/ 481248 h 485775"/>
                  <a:gd name="connsiteX13" fmla="*/ 376714 w 1190625"/>
                  <a:gd name="connsiteY13" fmla="*/ 481248 h 485775"/>
                  <a:gd name="connsiteX14" fmla="*/ 397669 w 1190625"/>
                  <a:gd name="connsiteY14" fmla="*/ 481248 h 485775"/>
                  <a:gd name="connsiteX15" fmla="*/ 1107281 w 1190625"/>
                  <a:gd name="connsiteY15" fmla="*/ 481248 h 485775"/>
                  <a:gd name="connsiteX16" fmla="*/ 1185386 w 1190625"/>
                  <a:gd name="connsiteY16" fmla="*/ 405048 h 485775"/>
                  <a:gd name="connsiteX17" fmla="*/ 1109186 w 1190625"/>
                  <a:gd name="connsiteY17" fmla="*/ 326943 h 485775"/>
                  <a:gd name="connsiteX18" fmla="*/ 1106329 w 1190625"/>
                  <a:gd name="connsiteY18" fmla="*/ 325991 h 485775"/>
                  <a:gd name="connsiteX19" fmla="*/ 1106329 w 1190625"/>
                  <a:gd name="connsiteY19" fmla="*/ 32599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0625" h="485775">
                    <a:moveTo>
                      <a:pt x="1106329" y="325991"/>
                    </a:moveTo>
                    <a:cubicBezTo>
                      <a:pt x="1105376" y="325991"/>
                      <a:pt x="1104424" y="325991"/>
                      <a:pt x="1103471" y="325991"/>
                    </a:cubicBezTo>
                    <a:cubicBezTo>
                      <a:pt x="1127284" y="240266"/>
                      <a:pt x="1077754" y="150731"/>
                      <a:pt x="991076" y="126918"/>
                    </a:cubicBezTo>
                    <a:cubicBezTo>
                      <a:pt x="936784" y="111678"/>
                      <a:pt x="878681" y="125966"/>
                      <a:pt x="837724" y="164066"/>
                    </a:cubicBezTo>
                    <a:cubicBezTo>
                      <a:pt x="808196" y="50718"/>
                      <a:pt x="691039" y="-15957"/>
                      <a:pt x="577691" y="14523"/>
                    </a:cubicBezTo>
                    <a:cubicBezTo>
                      <a:pt x="491966" y="37383"/>
                      <a:pt x="430054" y="111678"/>
                      <a:pt x="421481" y="200261"/>
                    </a:cubicBezTo>
                    <a:cubicBezTo>
                      <a:pt x="419576" y="200261"/>
                      <a:pt x="417671" y="199308"/>
                      <a:pt x="415766" y="199308"/>
                    </a:cubicBezTo>
                    <a:cubicBezTo>
                      <a:pt x="350044" y="138348"/>
                      <a:pt x="248126" y="143111"/>
                      <a:pt x="187166" y="207881"/>
                    </a:cubicBezTo>
                    <a:cubicBezTo>
                      <a:pt x="171926" y="225026"/>
                      <a:pt x="159544" y="244076"/>
                      <a:pt x="152876" y="265983"/>
                    </a:cubicBezTo>
                    <a:cubicBezTo>
                      <a:pt x="141446" y="262173"/>
                      <a:pt x="129064" y="260268"/>
                      <a:pt x="116681" y="260268"/>
                    </a:cubicBezTo>
                    <a:cubicBezTo>
                      <a:pt x="57626" y="259316"/>
                      <a:pt x="8096" y="305988"/>
                      <a:pt x="7144" y="365996"/>
                    </a:cubicBezTo>
                    <a:cubicBezTo>
                      <a:pt x="7144" y="366948"/>
                      <a:pt x="7144" y="366948"/>
                      <a:pt x="7144" y="367901"/>
                    </a:cubicBezTo>
                    <a:cubicBezTo>
                      <a:pt x="7144" y="428861"/>
                      <a:pt x="55721" y="481248"/>
                      <a:pt x="116681" y="481248"/>
                    </a:cubicBezTo>
                    <a:lnTo>
                      <a:pt x="376714" y="481248"/>
                    </a:lnTo>
                    <a:cubicBezTo>
                      <a:pt x="383381" y="489821"/>
                      <a:pt x="391001" y="481248"/>
                      <a:pt x="397669" y="481248"/>
                    </a:cubicBezTo>
                    <a:lnTo>
                      <a:pt x="1107281" y="481248"/>
                    </a:lnTo>
                    <a:cubicBezTo>
                      <a:pt x="1150144" y="482201"/>
                      <a:pt x="1185386" y="447911"/>
                      <a:pt x="1185386" y="405048"/>
                    </a:cubicBezTo>
                    <a:cubicBezTo>
                      <a:pt x="1185386" y="362186"/>
                      <a:pt x="1152049" y="326943"/>
                      <a:pt x="1109186" y="326943"/>
                    </a:cubicBezTo>
                    <a:cubicBezTo>
                      <a:pt x="1108234" y="325991"/>
                      <a:pt x="1107281" y="325991"/>
                      <a:pt x="1106329" y="325991"/>
                    </a:cubicBezTo>
                    <a:lnTo>
                      <a:pt x="1106329" y="325991"/>
                    </a:lnTo>
                    <a:close/>
                  </a:path>
                </a:pathLst>
              </a:custGeom>
              <a:solidFill>
                <a:srgbClr val="CBEBF5">
                  <a:alpha val="80000"/>
                </a:srgb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8" name="Freeform: Shape 207">
                <a:extLst>
                  <a:ext uri="{FF2B5EF4-FFF2-40B4-BE49-F238E27FC236}">
                    <a16:creationId xmlns:a16="http://schemas.microsoft.com/office/drawing/2014/main" id="{142059EC-5DB9-4607-AADF-DCB6BCDC15F0}"/>
                  </a:ext>
                </a:extLst>
              </p:cNvPr>
              <p:cNvSpPr/>
              <p:nvPr/>
            </p:nvSpPr>
            <p:spPr>
              <a:xfrm>
                <a:off x="3697468" y="3745946"/>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rgbClr val="804998"/>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9" name="Freeform: Shape 208">
                <a:extLst>
                  <a:ext uri="{FF2B5EF4-FFF2-40B4-BE49-F238E27FC236}">
                    <a16:creationId xmlns:a16="http://schemas.microsoft.com/office/drawing/2014/main" id="{3144498B-C6D2-4608-8D18-379319CF5E30}"/>
                  </a:ext>
                </a:extLst>
              </p:cNvPr>
              <p:cNvSpPr/>
              <p:nvPr/>
            </p:nvSpPr>
            <p:spPr>
              <a:xfrm>
                <a:off x="3356099" y="3752232"/>
                <a:ext cx="293198" cy="628279"/>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4769 w 133350"/>
                  <a:gd name="connsiteY14" fmla="*/ 229076 h 285750"/>
                  <a:gd name="connsiteX15" fmla="*/ 46196 w 133350"/>
                  <a:gd name="connsiteY15" fmla="*/ 227171 h 285750"/>
                  <a:gd name="connsiteX16" fmla="*/ 46196 w 133350"/>
                  <a:gd name="connsiteY16" fmla="*/ 58579 h 285750"/>
                  <a:gd name="connsiteX17" fmla="*/ 54769 w 133350"/>
                  <a:gd name="connsiteY17" fmla="*/ 56674 h 285750"/>
                  <a:gd name="connsiteX18" fmla="*/ 63341 w 133350"/>
                  <a:gd name="connsiteY18" fmla="*/ 54769 h 285750"/>
                  <a:gd name="connsiteX19" fmla="*/ 71914 w 133350"/>
                  <a:gd name="connsiteY19" fmla="*/ 52864 h 285750"/>
                  <a:gd name="connsiteX20" fmla="*/ 71914 w 133350"/>
                  <a:gd name="connsiteY20" fmla="*/ 236696 h 285750"/>
                  <a:gd name="connsiteX21" fmla="*/ 63341 w 133350"/>
                  <a:gd name="connsiteY21" fmla="*/ 234791 h 285750"/>
                  <a:gd name="connsiteX22" fmla="*/ 54769 w 133350"/>
                  <a:gd name="connsiteY22" fmla="*/ 229076 h 285750"/>
                  <a:gd name="connsiteX23" fmla="*/ 94774 w 133350"/>
                  <a:gd name="connsiteY23" fmla="*/ 242411 h 285750"/>
                  <a:gd name="connsiteX24" fmla="*/ 83344 w 133350"/>
                  <a:gd name="connsiteY24" fmla="*/ 237649 h 285750"/>
                  <a:gd name="connsiteX25" fmla="*/ 83344 w 133350"/>
                  <a:gd name="connsiteY25" fmla="*/ 47149 h 285750"/>
                  <a:gd name="connsiteX26" fmla="*/ 94774 w 133350"/>
                  <a:gd name="connsiteY26" fmla="*/ 45244 h 285750"/>
                  <a:gd name="connsiteX27" fmla="*/ 106204 w 133350"/>
                  <a:gd name="connsiteY27" fmla="*/ 40481 h 285750"/>
                  <a:gd name="connsiteX28" fmla="*/ 119539 w 133350"/>
                  <a:gd name="connsiteY28" fmla="*/ 35719 h 285750"/>
                  <a:gd name="connsiteX29" fmla="*/ 119539 w 133350"/>
                  <a:gd name="connsiteY29" fmla="*/ 249079 h 285750"/>
                  <a:gd name="connsiteX30" fmla="*/ 106204 w 133350"/>
                  <a:gd name="connsiteY30" fmla="*/ 244316 h 285750"/>
                  <a:gd name="connsiteX31" fmla="*/ 94774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4769" y="229076"/>
                    </a:moveTo>
                    <a:lnTo>
                      <a:pt x="46196" y="227171"/>
                    </a:lnTo>
                    <a:lnTo>
                      <a:pt x="46196" y="58579"/>
                    </a:lnTo>
                    <a:lnTo>
                      <a:pt x="54769" y="56674"/>
                    </a:lnTo>
                    <a:lnTo>
                      <a:pt x="63341" y="54769"/>
                    </a:lnTo>
                    <a:lnTo>
                      <a:pt x="71914" y="52864"/>
                    </a:lnTo>
                    <a:lnTo>
                      <a:pt x="71914" y="236696"/>
                    </a:lnTo>
                    <a:lnTo>
                      <a:pt x="63341" y="234791"/>
                    </a:lnTo>
                    <a:lnTo>
                      <a:pt x="54769" y="229076"/>
                    </a:lnTo>
                    <a:close/>
                    <a:moveTo>
                      <a:pt x="94774" y="242411"/>
                    </a:moveTo>
                    <a:lnTo>
                      <a:pt x="83344" y="237649"/>
                    </a:lnTo>
                    <a:lnTo>
                      <a:pt x="83344" y="47149"/>
                    </a:lnTo>
                    <a:lnTo>
                      <a:pt x="94774" y="45244"/>
                    </a:lnTo>
                    <a:lnTo>
                      <a:pt x="106204" y="40481"/>
                    </a:lnTo>
                    <a:lnTo>
                      <a:pt x="119539" y="35719"/>
                    </a:lnTo>
                    <a:lnTo>
                      <a:pt x="119539" y="249079"/>
                    </a:lnTo>
                    <a:lnTo>
                      <a:pt x="106204" y="244316"/>
                    </a:lnTo>
                    <a:lnTo>
                      <a:pt x="94774" y="242411"/>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1" name="Freeform: Shape 210">
                <a:extLst>
                  <a:ext uri="{FF2B5EF4-FFF2-40B4-BE49-F238E27FC236}">
                    <a16:creationId xmlns:a16="http://schemas.microsoft.com/office/drawing/2014/main" id="{B3A984C1-F389-484D-8C0B-A4D40C8F69B6}"/>
                  </a:ext>
                </a:extLst>
              </p:cNvPr>
              <p:cNvSpPr/>
              <p:nvPr/>
            </p:nvSpPr>
            <p:spPr>
              <a:xfrm>
                <a:off x="4579152" y="3745946"/>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rgbClr val="804998"/>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3" name="Freeform: Shape 212">
                <a:extLst>
                  <a:ext uri="{FF2B5EF4-FFF2-40B4-BE49-F238E27FC236}">
                    <a16:creationId xmlns:a16="http://schemas.microsoft.com/office/drawing/2014/main" id="{659302B0-FEA8-4A20-83A5-35EF316E03C8}"/>
                  </a:ext>
                </a:extLst>
              </p:cNvPr>
              <p:cNvSpPr/>
              <p:nvPr/>
            </p:nvSpPr>
            <p:spPr>
              <a:xfrm>
                <a:off x="4239880" y="3752232"/>
                <a:ext cx="293198" cy="628279"/>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29076 h 285750"/>
                  <a:gd name="connsiteX15" fmla="*/ 45244 w 133350"/>
                  <a:gd name="connsiteY15" fmla="*/ 227171 h 285750"/>
                  <a:gd name="connsiteX16" fmla="*/ 45244 w 133350"/>
                  <a:gd name="connsiteY16" fmla="*/ 58579 h 285750"/>
                  <a:gd name="connsiteX17" fmla="*/ 53816 w 133350"/>
                  <a:gd name="connsiteY17" fmla="*/ 56674 h 285750"/>
                  <a:gd name="connsiteX18" fmla="*/ 62389 w 133350"/>
                  <a:gd name="connsiteY18" fmla="*/ 54769 h 285750"/>
                  <a:gd name="connsiteX19" fmla="*/ 70961 w 133350"/>
                  <a:gd name="connsiteY19" fmla="*/ 52864 h 285750"/>
                  <a:gd name="connsiteX20" fmla="*/ 70961 w 133350"/>
                  <a:gd name="connsiteY20" fmla="*/ 236696 h 285750"/>
                  <a:gd name="connsiteX21" fmla="*/ 62389 w 133350"/>
                  <a:gd name="connsiteY21" fmla="*/ 234791 h 285750"/>
                  <a:gd name="connsiteX22" fmla="*/ 53816 w 133350"/>
                  <a:gd name="connsiteY22" fmla="*/ 229076 h 285750"/>
                  <a:gd name="connsiteX23" fmla="*/ 93821 w 133350"/>
                  <a:gd name="connsiteY23" fmla="*/ 242411 h 285750"/>
                  <a:gd name="connsiteX24" fmla="*/ 82391 w 133350"/>
                  <a:gd name="connsiteY24" fmla="*/ 237649 h 285750"/>
                  <a:gd name="connsiteX25" fmla="*/ 82391 w 133350"/>
                  <a:gd name="connsiteY25" fmla="*/ 47149 h 285750"/>
                  <a:gd name="connsiteX26" fmla="*/ 93821 w 133350"/>
                  <a:gd name="connsiteY26" fmla="*/ 45244 h 285750"/>
                  <a:gd name="connsiteX27" fmla="*/ 105251 w 133350"/>
                  <a:gd name="connsiteY27" fmla="*/ 40481 h 285750"/>
                  <a:gd name="connsiteX28" fmla="*/ 118586 w 133350"/>
                  <a:gd name="connsiteY28" fmla="*/ 35719 h 285750"/>
                  <a:gd name="connsiteX29" fmla="*/ 118586 w 133350"/>
                  <a:gd name="connsiteY29" fmla="*/ 249079 h 285750"/>
                  <a:gd name="connsiteX30" fmla="*/ 105251 w 133350"/>
                  <a:gd name="connsiteY30" fmla="*/ 244316 h 285750"/>
                  <a:gd name="connsiteX31" fmla="*/ 93821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29076"/>
                    </a:moveTo>
                    <a:lnTo>
                      <a:pt x="45244" y="227171"/>
                    </a:lnTo>
                    <a:lnTo>
                      <a:pt x="45244" y="58579"/>
                    </a:lnTo>
                    <a:lnTo>
                      <a:pt x="53816" y="56674"/>
                    </a:lnTo>
                    <a:lnTo>
                      <a:pt x="62389" y="54769"/>
                    </a:lnTo>
                    <a:lnTo>
                      <a:pt x="70961" y="52864"/>
                    </a:lnTo>
                    <a:lnTo>
                      <a:pt x="70961" y="236696"/>
                    </a:lnTo>
                    <a:lnTo>
                      <a:pt x="62389" y="234791"/>
                    </a:lnTo>
                    <a:lnTo>
                      <a:pt x="53816" y="229076"/>
                    </a:lnTo>
                    <a:close/>
                    <a:moveTo>
                      <a:pt x="93821" y="242411"/>
                    </a:moveTo>
                    <a:lnTo>
                      <a:pt x="82391" y="237649"/>
                    </a:lnTo>
                    <a:lnTo>
                      <a:pt x="82391" y="47149"/>
                    </a:lnTo>
                    <a:lnTo>
                      <a:pt x="93821" y="45244"/>
                    </a:lnTo>
                    <a:lnTo>
                      <a:pt x="105251" y="40481"/>
                    </a:lnTo>
                    <a:lnTo>
                      <a:pt x="118586" y="35719"/>
                    </a:lnTo>
                    <a:lnTo>
                      <a:pt x="118586" y="249079"/>
                    </a:lnTo>
                    <a:lnTo>
                      <a:pt x="105251" y="244316"/>
                    </a:lnTo>
                    <a:lnTo>
                      <a:pt x="93821" y="242411"/>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5" name="Freeform: Shape 214">
                <a:extLst>
                  <a:ext uri="{FF2B5EF4-FFF2-40B4-BE49-F238E27FC236}">
                    <a16:creationId xmlns:a16="http://schemas.microsoft.com/office/drawing/2014/main" id="{60DD0ED7-48EE-44C8-90DD-946937BBEF17}"/>
                  </a:ext>
                </a:extLst>
              </p:cNvPr>
              <p:cNvSpPr/>
              <p:nvPr/>
            </p:nvSpPr>
            <p:spPr>
              <a:xfrm>
                <a:off x="3697468" y="4958526"/>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rgbClr val="804998"/>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8" name="Freeform: Shape 217">
                <a:extLst>
                  <a:ext uri="{FF2B5EF4-FFF2-40B4-BE49-F238E27FC236}">
                    <a16:creationId xmlns:a16="http://schemas.microsoft.com/office/drawing/2014/main" id="{807B34CE-391D-4CCB-BFE4-71CC54E5E20D}"/>
                  </a:ext>
                </a:extLst>
              </p:cNvPr>
              <p:cNvSpPr/>
              <p:nvPr/>
            </p:nvSpPr>
            <p:spPr>
              <a:xfrm>
                <a:off x="3356099" y="4964810"/>
                <a:ext cx="293198" cy="628279"/>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4769 w 133350"/>
                  <a:gd name="connsiteY14" fmla="*/ 229076 h 285750"/>
                  <a:gd name="connsiteX15" fmla="*/ 46196 w 133350"/>
                  <a:gd name="connsiteY15" fmla="*/ 227171 h 285750"/>
                  <a:gd name="connsiteX16" fmla="*/ 46196 w 133350"/>
                  <a:gd name="connsiteY16" fmla="*/ 58579 h 285750"/>
                  <a:gd name="connsiteX17" fmla="*/ 54769 w 133350"/>
                  <a:gd name="connsiteY17" fmla="*/ 56674 h 285750"/>
                  <a:gd name="connsiteX18" fmla="*/ 63341 w 133350"/>
                  <a:gd name="connsiteY18" fmla="*/ 54769 h 285750"/>
                  <a:gd name="connsiteX19" fmla="*/ 71914 w 133350"/>
                  <a:gd name="connsiteY19" fmla="*/ 52864 h 285750"/>
                  <a:gd name="connsiteX20" fmla="*/ 71914 w 133350"/>
                  <a:gd name="connsiteY20" fmla="*/ 236696 h 285750"/>
                  <a:gd name="connsiteX21" fmla="*/ 63341 w 133350"/>
                  <a:gd name="connsiteY21" fmla="*/ 234791 h 285750"/>
                  <a:gd name="connsiteX22" fmla="*/ 54769 w 133350"/>
                  <a:gd name="connsiteY22" fmla="*/ 229076 h 285750"/>
                  <a:gd name="connsiteX23" fmla="*/ 94774 w 133350"/>
                  <a:gd name="connsiteY23" fmla="*/ 242411 h 285750"/>
                  <a:gd name="connsiteX24" fmla="*/ 83344 w 133350"/>
                  <a:gd name="connsiteY24" fmla="*/ 237649 h 285750"/>
                  <a:gd name="connsiteX25" fmla="*/ 83344 w 133350"/>
                  <a:gd name="connsiteY25" fmla="*/ 47149 h 285750"/>
                  <a:gd name="connsiteX26" fmla="*/ 94774 w 133350"/>
                  <a:gd name="connsiteY26" fmla="*/ 45244 h 285750"/>
                  <a:gd name="connsiteX27" fmla="*/ 106204 w 133350"/>
                  <a:gd name="connsiteY27" fmla="*/ 40481 h 285750"/>
                  <a:gd name="connsiteX28" fmla="*/ 119539 w 133350"/>
                  <a:gd name="connsiteY28" fmla="*/ 35719 h 285750"/>
                  <a:gd name="connsiteX29" fmla="*/ 119539 w 133350"/>
                  <a:gd name="connsiteY29" fmla="*/ 249079 h 285750"/>
                  <a:gd name="connsiteX30" fmla="*/ 106204 w 133350"/>
                  <a:gd name="connsiteY30" fmla="*/ 244316 h 285750"/>
                  <a:gd name="connsiteX31" fmla="*/ 94774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4769" y="229076"/>
                    </a:moveTo>
                    <a:lnTo>
                      <a:pt x="46196" y="227171"/>
                    </a:lnTo>
                    <a:lnTo>
                      <a:pt x="46196" y="58579"/>
                    </a:lnTo>
                    <a:lnTo>
                      <a:pt x="54769" y="56674"/>
                    </a:lnTo>
                    <a:lnTo>
                      <a:pt x="63341" y="54769"/>
                    </a:lnTo>
                    <a:lnTo>
                      <a:pt x="71914" y="52864"/>
                    </a:lnTo>
                    <a:lnTo>
                      <a:pt x="71914" y="236696"/>
                    </a:lnTo>
                    <a:lnTo>
                      <a:pt x="63341" y="234791"/>
                    </a:lnTo>
                    <a:lnTo>
                      <a:pt x="54769" y="229076"/>
                    </a:lnTo>
                    <a:close/>
                    <a:moveTo>
                      <a:pt x="94774" y="242411"/>
                    </a:moveTo>
                    <a:lnTo>
                      <a:pt x="83344" y="237649"/>
                    </a:lnTo>
                    <a:lnTo>
                      <a:pt x="83344" y="47149"/>
                    </a:lnTo>
                    <a:lnTo>
                      <a:pt x="94774" y="45244"/>
                    </a:lnTo>
                    <a:lnTo>
                      <a:pt x="106204" y="40481"/>
                    </a:lnTo>
                    <a:lnTo>
                      <a:pt x="119539" y="35719"/>
                    </a:lnTo>
                    <a:lnTo>
                      <a:pt x="119539" y="249079"/>
                    </a:lnTo>
                    <a:lnTo>
                      <a:pt x="106204" y="244316"/>
                    </a:lnTo>
                    <a:lnTo>
                      <a:pt x="94774" y="242411"/>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19" name="Freeform: Shape 218">
                <a:extLst>
                  <a:ext uri="{FF2B5EF4-FFF2-40B4-BE49-F238E27FC236}">
                    <a16:creationId xmlns:a16="http://schemas.microsoft.com/office/drawing/2014/main" id="{136BB401-F1D0-4873-8C08-B8DA672ABDEE}"/>
                  </a:ext>
                </a:extLst>
              </p:cNvPr>
              <p:cNvSpPr/>
              <p:nvPr/>
            </p:nvSpPr>
            <p:spPr>
              <a:xfrm>
                <a:off x="4579152" y="4958526"/>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rgbClr val="804998"/>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0" name="Freeform: Shape 219">
                <a:extLst>
                  <a:ext uri="{FF2B5EF4-FFF2-40B4-BE49-F238E27FC236}">
                    <a16:creationId xmlns:a16="http://schemas.microsoft.com/office/drawing/2014/main" id="{79EB0524-2660-4408-8E15-AF28D594AB0F}"/>
                  </a:ext>
                </a:extLst>
              </p:cNvPr>
              <p:cNvSpPr/>
              <p:nvPr/>
            </p:nvSpPr>
            <p:spPr>
              <a:xfrm>
                <a:off x="4239880" y="4964801"/>
                <a:ext cx="293198" cy="628279"/>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29076 h 285750"/>
                  <a:gd name="connsiteX15" fmla="*/ 45244 w 133350"/>
                  <a:gd name="connsiteY15" fmla="*/ 227171 h 285750"/>
                  <a:gd name="connsiteX16" fmla="*/ 45244 w 133350"/>
                  <a:gd name="connsiteY16" fmla="*/ 58579 h 285750"/>
                  <a:gd name="connsiteX17" fmla="*/ 53816 w 133350"/>
                  <a:gd name="connsiteY17" fmla="*/ 56674 h 285750"/>
                  <a:gd name="connsiteX18" fmla="*/ 62389 w 133350"/>
                  <a:gd name="connsiteY18" fmla="*/ 54769 h 285750"/>
                  <a:gd name="connsiteX19" fmla="*/ 70961 w 133350"/>
                  <a:gd name="connsiteY19" fmla="*/ 52864 h 285750"/>
                  <a:gd name="connsiteX20" fmla="*/ 70961 w 133350"/>
                  <a:gd name="connsiteY20" fmla="*/ 236696 h 285750"/>
                  <a:gd name="connsiteX21" fmla="*/ 62389 w 133350"/>
                  <a:gd name="connsiteY21" fmla="*/ 234791 h 285750"/>
                  <a:gd name="connsiteX22" fmla="*/ 53816 w 133350"/>
                  <a:gd name="connsiteY22" fmla="*/ 229076 h 285750"/>
                  <a:gd name="connsiteX23" fmla="*/ 93821 w 133350"/>
                  <a:gd name="connsiteY23" fmla="*/ 242411 h 285750"/>
                  <a:gd name="connsiteX24" fmla="*/ 83344 w 133350"/>
                  <a:gd name="connsiteY24" fmla="*/ 237649 h 285750"/>
                  <a:gd name="connsiteX25" fmla="*/ 83344 w 133350"/>
                  <a:gd name="connsiteY25" fmla="*/ 47149 h 285750"/>
                  <a:gd name="connsiteX26" fmla="*/ 94774 w 133350"/>
                  <a:gd name="connsiteY26" fmla="*/ 45244 h 285750"/>
                  <a:gd name="connsiteX27" fmla="*/ 106204 w 133350"/>
                  <a:gd name="connsiteY27" fmla="*/ 40481 h 285750"/>
                  <a:gd name="connsiteX28" fmla="*/ 119539 w 133350"/>
                  <a:gd name="connsiteY28" fmla="*/ 35719 h 285750"/>
                  <a:gd name="connsiteX29" fmla="*/ 119539 w 133350"/>
                  <a:gd name="connsiteY29" fmla="*/ 249079 h 285750"/>
                  <a:gd name="connsiteX30" fmla="*/ 106204 w 133350"/>
                  <a:gd name="connsiteY30" fmla="*/ 244316 h 285750"/>
                  <a:gd name="connsiteX31" fmla="*/ 93821 w 133350"/>
                  <a:gd name="connsiteY31" fmla="*/ 24241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29076"/>
                    </a:moveTo>
                    <a:lnTo>
                      <a:pt x="45244" y="227171"/>
                    </a:lnTo>
                    <a:lnTo>
                      <a:pt x="45244" y="58579"/>
                    </a:lnTo>
                    <a:lnTo>
                      <a:pt x="53816" y="56674"/>
                    </a:lnTo>
                    <a:lnTo>
                      <a:pt x="62389" y="54769"/>
                    </a:lnTo>
                    <a:lnTo>
                      <a:pt x="70961" y="52864"/>
                    </a:lnTo>
                    <a:lnTo>
                      <a:pt x="70961" y="236696"/>
                    </a:lnTo>
                    <a:lnTo>
                      <a:pt x="62389" y="234791"/>
                    </a:lnTo>
                    <a:lnTo>
                      <a:pt x="53816" y="229076"/>
                    </a:lnTo>
                    <a:close/>
                    <a:moveTo>
                      <a:pt x="93821" y="242411"/>
                    </a:moveTo>
                    <a:lnTo>
                      <a:pt x="83344" y="237649"/>
                    </a:lnTo>
                    <a:lnTo>
                      <a:pt x="83344" y="47149"/>
                    </a:lnTo>
                    <a:lnTo>
                      <a:pt x="94774" y="45244"/>
                    </a:lnTo>
                    <a:lnTo>
                      <a:pt x="106204" y="40481"/>
                    </a:lnTo>
                    <a:lnTo>
                      <a:pt x="119539" y="35719"/>
                    </a:lnTo>
                    <a:lnTo>
                      <a:pt x="119539" y="249079"/>
                    </a:lnTo>
                    <a:lnTo>
                      <a:pt x="106204" y="244316"/>
                    </a:lnTo>
                    <a:lnTo>
                      <a:pt x="93821" y="242411"/>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1" name="Freeform: Shape 220">
                <a:extLst>
                  <a:ext uri="{FF2B5EF4-FFF2-40B4-BE49-F238E27FC236}">
                    <a16:creationId xmlns:a16="http://schemas.microsoft.com/office/drawing/2014/main" id="{1B1770C7-52AC-45D8-B19D-E876ED22BEF1}"/>
                  </a:ext>
                </a:extLst>
              </p:cNvPr>
              <p:cNvSpPr/>
              <p:nvPr/>
            </p:nvSpPr>
            <p:spPr>
              <a:xfrm>
                <a:off x="4170772" y="4353272"/>
                <a:ext cx="397910" cy="628279"/>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solidFill>
                <a:srgbClr val="804998"/>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2" name="Freeform: Shape 221">
                <a:extLst>
                  <a:ext uri="{FF2B5EF4-FFF2-40B4-BE49-F238E27FC236}">
                    <a16:creationId xmlns:a16="http://schemas.microsoft.com/office/drawing/2014/main" id="{E7073A9C-8FC9-4582-8054-C2D66C4DBE60}"/>
                  </a:ext>
                </a:extLst>
              </p:cNvPr>
              <p:cNvSpPr/>
              <p:nvPr/>
            </p:nvSpPr>
            <p:spPr>
              <a:xfrm>
                <a:off x="3825216" y="4353272"/>
                <a:ext cx="293198" cy="628279"/>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30981 h 285750"/>
                  <a:gd name="connsiteX15" fmla="*/ 45244 w 133350"/>
                  <a:gd name="connsiteY15" fmla="*/ 229076 h 285750"/>
                  <a:gd name="connsiteX16" fmla="*/ 45244 w 133350"/>
                  <a:gd name="connsiteY16" fmla="*/ 60484 h 285750"/>
                  <a:gd name="connsiteX17" fmla="*/ 53816 w 133350"/>
                  <a:gd name="connsiteY17" fmla="*/ 58579 h 285750"/>
                  <a:gd name="connsiteX18" fmla="*/ 62389 w 133350"/>
                  <a:gd name="connsiteY18" fmla="*/ 56674 h 285750"/>
                  <a:gd name="connsiteX19" fmla="*/ 70961 w 133350"/>
                  <a:gd name="connsiteY19" fmla="*/ 54769 h 285750"/>
                  <a:gd name="connsiteX20" fmla="*/ 70961 w 133350"/>
                  <a:gd name="connsiteY20" fmla="*/ 238601 h 285750"/>
                  <a:gd name="connsiteX21" fmla="*/ 62389 w 133350"/>
                  <a:gd name="connsiteY21" fmla="*/ 236696 h 285750"/>
                  <a:gd name="connsiteX22" fmla="*/ 53816 w 133350"/>
                  <a:gd name="connsiteY22" fmla="*/ 230981 h 285750"/>
                  <a:gd name="connsiteX23" fmla="*/ 94774 w 133350"/>
                  <a:gd name="connsiteY23" fmla="*/ 244316 h 285750"/>
                  <a:gd name="connsiteX24" fmla="*/ 83344 w 133350"/>
                  <a:gd name="connsiteY24" fmla="*/ 239554 h 285750"/>
                  <a:gd name="connsiteX25" fmla="*/ 83344 w 133350"/>
                  <a:gd name="connsiteY25" fmla="*/ 49054 h 285750"/>
                  <a:gd name="connsiteX26" fmla="*/ 94774 w 133350"/>
                  <a:gd name="connsiteY26" fmla="*/ 47149 h 285750"/>
                  <a:gd name="connsiteX27" fmla="*/ 106204 w 133350"/>
                  <a:gd name="connsiteY27" fmla="*/ 42386 h 285750"/>
                  <a:gd name="connsiteX28" fmla="*/ 119539 w 133350"/>
                  <a:gd name="connsiteY28" fmla="*/ 37624 h 285750"/>
                  <a:gd name="connsiteX29" fmla="*/ 119539 w 133350"/>
                  <a:gd name="connsiteY29" fmla="*/ 250984 h 285750"/>
                  <a:gd name="connsiteX30" fmla="*/ 106204 w 133350"/>
                  <a:gd name="connsiteY30" fmla="*/ 246221 h 285750"/>
                  <a:gd name="connsiteX31" fmla="*/ 94774 w 133350"/>
                  <a:gd name="connsiteY31" fmla="*/ 244316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30981"/>
                    </a:moveTo>
                    <a:lnTo>
                      <a:pt x="45244" y="229076"/>
                    </a:lnTo>
                    <a:lnTo>
                      <a:pt x="45244" y="60484"/>
                    </a:lnTo>
                    <a:lnTo>
                      <a:pt x="53816" y="58579"/>
                    </a:lnTo>
                    <a:lnTo>
                      <a:pt x="62389" y="56674"/>
                    </a:lnTo>
                    <a:lnTo>
                      <a:pt x="70961" y="54769"/>
                    </a:lnTo>
                    <a:lnTo>
                      <a:pt x="70961" y="238601"/>
                    </a:lnTo>
                    <a:lnTo>
                      <a:pt x="62389" y="236696"/>
                    </a:lnTo>
                    <a:lnTo>
                      <a:pt x="53816" y="230981"/>
                    </a:lnTo>
                    <a:close/>
                    <a:moveTo>
                      <a:pt x="94774" y="244316"/>
                    </a:moveTo>
                    <a:lnTo>
                      <a:pt x="83344" y="239554"/>
                    </a:lnTo>
                    <a:lnTo>
                      <a:pt x="83344" y="49054"/>
                    </a:lnTo>
                    <a:lnTo>
                      <a:pt x="94774" y="47149"/>
                    </a:lnTo>
                    <a:lnTo>
                      <a:pt x="106204" y="42386"/>
                    </a:lnTo>
                    <a:lnTo>
                      <a:pt x="119539" y="37624"/>
                    </a:lnTo>
                    <a:lnTo>
                      <a:pt x="119539" y="250984"/>
                    </a:lnTo>
                    <a:lnTo>
                      <a:pt x="106204" y="246221"/>
                    </a:lnTo>
                    <a:lnTo>
                      <a:pt x="94774" y="244316"/>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3" name="Freeform: Shape 222">
                <a:extLst>
                  <a:ext uri="{FF2B5EF4-FFF2-40B4-BE49-F238E27FC236}">
                    <a16:creationId xmlns:a16="http://schemas.microsoft.com/office/drawing/2014/main" id="{473A8346-4ED0-4F7D-A8DF-7751A200147C}"/>
                  </a:ext>
                </a:extLst>
              </p:cNvPr>
              <p:cNvSpPr/>
              <p:nvPr/>
            </p:nvSpPr>
            <p:spPr>
              <a:xfrm>
                <a:off x="3293270" y="4353272"/>
                <a:ext cx="397910" cy="628279"/>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solidFill>
                <a:srgbClr val="804998"/>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4" name="Freeform: Shape 223">
                <a:extLst>
                  <a:ext uri="{FF2B5EF4-FFF2-40B4-BE49-F238E27FC236}">
                    <a16:creationId xmlns:a16="http://schemas.microsoft.com/office/drawing/2014/main" id="{9EA22E87-5B72-4177-AF75-2ECF7F224B4A}"/>
                  </a:ext>
                </a:extLst>
              </p:cNvPr>
              <p:cNvSpPr/>
              <p:nvPr/>
            </p:nvSpPr>
            <p:spPr>
              <a:xfrm>
                <a:off x="2947718" y="4353272"/>
                <a:ext cx="293198" cy="628279"/>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3816 w 133350"/>
                  <a:gd name="connsiteY14" fmla="*/ 230981 h 285750"/>
                  <a:gd name="connsiteX15" fmla="*/ 45244 w 133350"/>
                  <a:gd name="connsiteY15" fmla="*/ 229076 h 285750"/>
                  <a:gd name="connsiteX16" fmla="*/ 45244 w 133350"/>
                  <a:gd name="connsiteY16" fmla="*/ 60484 h 285750"/>
                  <a:gd name="connsiteX17" fmla="*/ 53816 w 133350"/>
                  <a:gd name="connsiteY17" fmla="*/ 58579 h 285750"/>
                  <a:gd name="connsiteX18" fmla="*/ 62389 w 133350"/>
                  <a:gd name="connsiteY18" fmla="*/ 56674 h 285750"/>
                  <a:gd name="connsiteX19" fmla="*/ 70961 w 133350"/>
                  <a:gd name="connsiteY19" fmla="*/ 54769 h 285750"/>
                  <a:gd name="connsiteX20" fmla="*/ 70961 w 133350"/>
                  <a:gd name="connsiteY20" fmla="*/ 238601 h 285750"/>
                  <a:gd name="connsiteX21" fmla="*/ 62389 w 133350"/>
                  <a:gd name="connsiteY21" fmla="*/ 236696 h 285750"/>
                  <a:gd name="connsiteX22" fmla="*/ 53816 w 133350"/>
                  <a:gd name="connsiteY22" fmla="*/ 230981 h 285750"/>
                  <a:gd name="connsiteX23" fmla="*/ 94774 w 133350"/>
                  <a:gd name="connsiteY23" fmla="*/ 244316 h 285750"/>
                  <a:gd name="connsiteX24" fmla="*/ 83344 w 133350"/>
                  <a:gd name="connsiteY24" fmla="*/ 239554 h 285750"/>
                  <a:gd name="connsiteX25" fmla="*/ 83344 w 133350"/>
                  <a:gd name="connsiteY25" fmla="*/ 49054 h 285750"/>
                  <a:gd name="connsiteX26" fmla="*/ 94774 w 133350"/>
                  <a:gd name="connsiteY26" fmla="*/ 47149 h 285750"/>
                  <a:gd name="connsiteX27" fmla="*/ 106204 w 133350"/>
                  <a:gd name="connsiteY27" fmla="*/ 42386 h 285750"/>
                  <a:gd name="connsiteX28" fmla="*/ 119539 w 133350"/>
                  <a:gd name="connsiteY28" fmla="*/ 37624 h 285750"/>
                  <a:gd name="connsiteX29" fmla="*/ 119539 w 133350"/>
                  <a:gd name="connsiteY29" fmla="*/ 250984 h 285750"/>
                  <a:gd name="connsiteX30" fmla="*/ 106204 w 133350"/>
                  <a:gd name="connsiteY30" fmla="*/ 246221 h 285750"/>
                  <a:gd name="connsiteX31" fmla="*/ 94774 w 133350"/>
                  <a:gd name="connsiteY31" fmla="*/ 244316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3816" y="230981"/>
                    </a:moveTo>
                    <a:lnTo>
                      <a:pt x="45244" y="229076"/>
                    </a:lnTo>
                    <a:lnTo>
                      <a:pt x="45244" y="60484"/>
                    </a:lnTo>
                    <a:lnTo>
                      <a:pt x="53816" y="58579"/>
                    </a:lnTo>
                    <a:lnTo>
                      <a:pt x="62389" y="56674"/>
                    </a:lnTo>
                    <a:lnTo>
                      <a:pt x="70961" y="54769"/>
                    </a:lnTo>
                    <a:lnTo>
                      <a:pt x="70961" y="238601"/>
                    </a:lnTo>
                    <a:lnTo>
                      <a:pt x="62389" y="236696"/>
                    </a:lnTo>
                    <a:lnTo>
                      <a:pt x="53816" y="230981"/>
                    </a:lnTo>
                    <a:close/>
                    <a:moveTo>
                      <a:pt x="94774" y="244316"/>
                    </a:moveTo>
                    <a:lnTo>
                      <a:pt x="83344" y="239554"/>
                    </a:lnTo>
                    <a:lnTo>
                      <a:pt x="83344" y="49054"/>
                    </a:lnTo>
                    <a:lnTo>
                      <a:pt x="94774" y="47149"/>
                    </a:lnTo>
                    <a:lnTo>
                      <a:pt x="106204" y="42386"/>
                    </a:lnTo>
                    <a:lnTo>
                      <a:pt x="119539" y="37624"/>
                    </a:lnTo>
                    <a:lnTo>
                      <a:pt x="119539" y="250984"/>
                    </a:lnTo>
                    <a:lnTo>
                      <a:pt x="106204" y="246221"/>
                    </a:lnTo>
                    <a:lnTo>
                      <a:pt x="94774" y="244316"/>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5" name="Freeform: Shape 224">
                <a:extLst>
                  <a:ext uri="{FF2B5EF4-FFF2-40B4-BE49-F238E27FC236}">
                    <a16:creationId xmlns:a16="http://schemas.microsoft.com/office/drawing/2014/main" id="{B899B82C-A8EE-4A4F-809A-4A1A50FFA3F3}"/>
                  </a:ext>
                </a:extLst>
              </p:cNvPr>
              <p:cNvSpPr/>
              <p:nvPr/>
            </p:nvSpPr>
            <p:spPr>
              <a:xfrm>
                <a:off x="5037799" y="4353272"/>
                <a:ext cx="397910" cy="628279"/>
              </a:xfrm>
              <a:custGeom>
                <a:avLst/>
                <a:gdLst>
                  <a:gd name="connsiteX0" fmla="*/ 177641 w 180975"/>
                  <a:gd name="connsiteY0" fmla="*/ 217646 h 285750"/>
                  <a:gd name="connsiteX1" fmla="*/ 7144 w 180975"/>
                  <a:gd name="connsiteY1" fmla="*/ 282416 h 285750"/>
                  <a:gd name="connsiteX2" fmla="*/ 7144 w 180975"/>
                  <a:gd name="connsiteY2" fmla="*/ 7144 h 285750"/>
                  <a:gd name="connsiteX3" fmla="*/ 177641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7641" y="217646"/>
                    </a:moveTo>
                    <a:lnTo>
                      <a:pt x="7144" y="282416"/>
                    </a:lnTo>
                    <a:lnTo>
                      <a:pt x="7144" y="7144"/>
                    </a:lnTo>
                    <a:lnTo>
                      <a:pt x="177641" y="67151"/>
                    </a:lnTo>
                    <a:close/>
                  </a:path>
                </a:pathLst>
              </a:custGeom>
              <a:solidFill>
                <a:srgbClr val="804998"/>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6" name="Freeform: Shape 225">
                <a:extLst>
                  <a:ext uri="{FF2B5EF4-FFF2-40B4-BE49-F238E27FC236}">
                    <a16:creationId xmlns:a16="http://schemas.microsoft.com/office/drawing/2014/main" id="{A2C4EA52-940E-47B8-AA46-793428A4ED7D}"/>
                  </a:ext>
                </a:extLst>
              </p:cNvPr>
              <p:cNvSpPr/>
              <p:nvPr/>
            </p:nvSpPr>
            <p:spPr>
              <a:xfrm>
                <a:off x="3697468" y="3745937"/>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7" name="Freeform: Shape 226">
                <a:extLst>
                  <a:ext uri="{FF2B5EF4-FFF2-40B4-BE49-F238E27FC236}">
                    <a16:creationId xmlns:a16="http://schemas.microsoft.com/office/drawing/2014/main" id="{7345A46C-F582-478E-A240-3160F224782C}"/>
                  </a:ext>
                </a:extLst>
              </p:cNvPr>
              <p:cNvSpPr/>
              <p:nvPr/>
            </p:nvSpPr>
            <p:spPr>
              <a:xfrm>
                <a:off x="4579152" y="3745937"/>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8" name="Freeform: Shape 227">
                <a:extLst>
                  <a:ext uri="{FF2B5EF4-FFF2-40B4-BE49-F238E27FC236}">
                    <a16:creationId xmlns:a16="http://schemas.microsoft.com/office/drawing/2014/main" id="{FF986498-5289-4CD5-96E7-24F6D6B719F6}"/>
                  </a:ext>
                </a:extLst>
              </p:cNvPr>
              <p:cNvSpPr/>
              <p:nvPr/>
            </p:nvSpPr>
            <p:spPr>
              <a:xfrm>
                <a:off x="3697468" y="4958515"/>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9" name="Freeform: Shape 228">
                <a:extLst>
                  <a:ext uri="{FF2B5EF4-FFF2-40B4-BE49-F238E27FC236}">
                    <a16:creationId xmlns:a16="http://schemas.microsoft.com/office/drawing/2014/main" id="{9A69DB00-7581-4554-A921-712D36201867}"/>
                  </a:ext>
                </a:extLst>
              </p:cNvPr>
              <p:cNvSpPr/>
              <p:nvPr/>
            </p:nvSpPr>
            <p:spPr>
              <a:xfrm>
                <a:off x="4579152" y="4958515"/>
                <a:ext cx="397910" cy="628279"/>
              </a:xfrm>
              <a:custGeom>
                <a:avLst/>
                <a:gdLst>
                  <a:gd name="connsiteX0" fmla="*/ 179546 w 180975"/>
                  <a:gd name="connsiteY0" fmla="*/ 218599 h 285750"/>
                  <a:gd name="connsiteX1" fmla="*/ 7144 w 180975"/>
                  <a:gd name="connsiteY1" fmla="*/ 285274 h 285750"/>
                  <a:gd name="connsiteX2" fmla="*/ 7144 w 180975"/>
                  <a:gd name="connsiteY2" fmla="*/ 7144 h 285750"/>
                  <a:gd name="connsiteX3" fmla="*/ 179546 w 180975"/>
                  <a:gd name="connsiteY3" fmla="*/ 68104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9546" y="218599"/>
                    </a:moveTo>
                    <a:lnTo>
                      <a:pt x="7144" y="285274"/>
                    </a:lnTo>
                    <a:lnTo>
                      <a:pt x="7144" y="7144"/>
                    </a:lnTo>
                    <a:lnTo>
                      <a:pt x="179546" y="68104"/>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0" name="Freeform: Shape 229">
                <a:extLst>
                  <a:ext uri="{FF2B5EF4-FFF2-40B4-BE49-F238E27FC236}">
                    <a16:creationId xmlns:a16="http://schemas.microsoft.com/office/drawing/2014/main" id="{06E10264-B24B-4809-B5F1-53421A11968F}"/>
                  </a:ext>
                </a:extLst>
              </p:cNvPr>
              <p:cNvSpPr/>
              <p:nvPr/>
            </p:nvSpPr>
            <p:spPr>
              <a:xfrm>
                <a:off x="4170772" y="4353272"/>
                <a:ext cx="397910" cy="628279"/>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1" name="Freeform: Shape 230">
                <a:extLst>
                  <a:ext uri="{FF2B5EF4-FFF2-40B4-BE49-F238E27FC236}">
                    <a16:creationId xmlns:a16="http://schemas.microsoft.com/office/drawing/2014/main" id="{16659F10-7564-4B29-8BAE-B19C1511FECD}"/>
                  </a:ext>
                </a:extLst>
              </p:cNvPr>
              <p:cNvSpPr/>
              <p:nvPr/>
            </p:nvSpPr>
            <p:spPr>
              <a:xfrm>
                <a:off x="3293270" y="4353272"/>
                <a:ext cx="397910" cy="628279"/>
              </a:xfrm>
              <a:custGeom>
                <a:avLst/>
                <a:gdLst>
                  <a:gd name="connsiteX0" fmla="*/ 176689 w 180975"/>
                  <a:gd name="connsiteY0" fmla="*/ 217646 h 285750"/>
                  <a:gd name="connsiteX1" fmla="*/ 7144 w 180975"/>
                  <a:gd name="connsiteY1" fmla="*/ 282416 h 285750"/>
                  <a:gd name="connsiteX2" fmla="*/ 7144 w 180975"/>
                  <a:gd name="connsiteY2" fmla="*/ 7144 h 285750"/>
                  <a:gd name="connsiteX3" fmla="*/ 176689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6689" y="217646"/>
                    </a:moveTo>
                    <a:lnTo>
                      <a:pt x="7144" y="282416"/>
                    </a:lnTo>
                    <a:lnTo>
                      <a:pt x="7144" y="7144"/>
                    </a:lnTo>
                    <a:lnTo>
                      <a:pt x="176689" y="67151"/>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2" name="Freeform: Shape 231">
                <a:extLst>
                  <a:ext uri="{FF2B5EF4-FFF2-40B4-BE49-F238E27FC236}">
                    <a16:creationId xmlns:a16="http://schemas.microsoft.com/office/drawing/2014/main" id="{178C601C-0F55-4ED1-9474-82BD1364B740}"/>
                  </a:ext>
                </a:extLst>
              </p:cNvPr>
              <p:cNvSpPr/>
              <p:nvPr/>
            </p:nvSpPr>
            <p:spPr>
              <a:xfrm>
                <a:off x="5037799" y="4353272"/>
                <a:ext cx="397910" cy="628279"/>
              </a:xfrm>
              <a:custGeom>
                <a:avLst/>
                <a:gdLst>
                  <a:gd name="connsiteX0" fmla="*/ 177641 w 180975"/>
                  <a:gd name="connsiteY0" fmla="*/ 217646 h 285750"/>
                  <a:gd name="connsiteX1" fmla="*/ 7144 w 180975"/>
                  <a:gd name="connsiteY1" fmla="*/ 282416 h 285750"/>
                  <a:gd name="connsiteX2" fmla="*/ 7144 w 180975"/>
                  <a:gd name="connsiteY2" fmla="*/ 7144 h 285750"/>
                  <a:gd name="connsiteX3" fmla="*/ 177641 w 180975"/>
                  <a:gd name="connsiteY3" fmla="*/ 67151 h 285750"/>
                </a:gdLst>
                <a:ahLst/>
                <a:cxnLst>
                  <a:cxn ang="0">
                    <a:pos x="connsiteX0" y="connsiteY0"/>
                  </a:cxn>
                  <a:cxn ang="0">
                    <a:pos x="connsiteX1" y="connsiteY1"/>
                  </a:cxn>
                  <a:cxn ang="0">
                    <a:pos x="connsiteX2" y="connsiteY2"/>
                  </a:cxn>
                  <a:cxn ang="0">
                    <a:pos x="connsiteX3" y="connsiteY3"/>
                  </a:cxn>
                </a:cxnLst>
                <a:rect l="l" t="t" r="r" b="b"/>
                <a:pathLst>
                  <a:path w="180975" h="285750">
                    <a:moveTo>
                      <a:pt x="177641" y="217646"/>
                    </a:moveTo>
                    <a:lnTo>
                      <a:pt x="7144" y="282416"/>
                    </a:lnTo>
                    <a:lnTo>
                      <a:pt x="7144" y="7144"/>
                    </a:lnTo>
                    <a:lnTo>
                      <a:pt x="177641" y="67151"/>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3" name="Freeform: Shape 232">
                <a:extLst>
                  <a:ext uri="{FF2B5EF4-FFF2-40B4-BE49-F238E27FC236}">
                    <a16:creationId xmlns:a16="http://schemas.microsoft.com/office/drawing/2014/main" id="{BB7F4CF2-2037-4C5F-8B68-499CE10687A1}"/>
                  </a:ext>
                </a:extLst>
              </p:cNvPr>
              <p:cNvSpPr/>
              <p:nvPr/>
            </p:nvSpPr>
            <p:spPr>
              <a:xfrm>
                <a:off x="4692243" y="4353272"/>
                <a:ext cx="293198" cy="628279"/>
              </a:xfrm>
              <a:custGeom>
                <a:avLst/>
                <a:gdLst>
                  <a:gd name="connsiteX0" fmla="*/ 7144 w 133350"/>
                  <a:gd name="connsiteY0" fmla="*/ 51911 h 285750"/>
                  <a:gd name="connsiteX1" fmla="*/ 7144 w 133350"/>
                  <a:gd name="connsiteY1" fmla="*/ 233839 h 285750"/>
                  <a:gd name="connsiteX2" fmla="*/ 134779 w 133350"/>
                  <a:gd name="connsiteY2" fmla="*/ 283369 h 285750"/>
                  <a:gd name="connsiteX3" fmla="*/ 134779 w 133350"/>
                  <a:gd name="connsiteY3" fmla="*/ 7144 h 285750"/>
                  <a:gd name="connsiteX4" fmla="*/ 7144 w 133350"/>
                  <a:gd name="connsiteY4" fmla="*/ 51911 h 285750"/>
                  <a:gd name="connsiteX5" fmla="*/ 20479 w 133350"/>
                  <a:gd name="connsiteY5" fmla="*/ 219551 h 285750"/>
                  <a:gd name="connsiteX6" fmla="*/ 13811 w 133350"/>
                  <a:gd name="connsiteY6" fmla="*/ 217646 h 285750"/>
                  <a:gd name="connsiteX7" fmla="*/ 13811 w 133350"/>
                  <a:gd name="connsiteY7" fmla="*/ 67151 h 285750"/>
                  <a:gd name="connsiteX8" fmla="*/ 20479 w 133350"/>
                  <a:gd name="connsiteY8" fmla="*/ 65246 h 285750"/>
                  <a:gd name="connsiteX9" fmla="*/ 27146 w 133350"/>
                  <a:gd name="connsiteY9" fmla="*/ 63341 h 285750"/>
                  <a:gd name="connsiteX10" fmla="*/ 33814 w 133350"/>
                  <a:gd name="connsiteY10" fmla="*/ 61436 h 285750"/>
                  <a:gd name="connsiteX11" fmla="*/ 33814 w 133350"/>
                  <a:gd name="connsiteY11" fmla="*/ 225266 h 285750"/>
                  <a:gd name="connsiteX12" fmla="*/ 27146 w 133350"/>
                  <a:gd name="connsiteY12" fmla="*/ 223361 h 285750"/>
                  <a:gd name="connsiteX13" fmla="*/ 20479 w 133350"/>
                  <a:gd name="connsiteY13" fmla="*/ 219551 h 285750"/>
                  <a:gd name="connsiteX14" fmla="*/ 54769 w 133350"/>
                  <a:gd name="connsiteY14" fmla="*/ 230981 h 285750"/>
                  <a:gd name="connsiteX15" fmla="*/ 46196 w 133350"/>
                  <a:gd name="connsiteY15" fmla="*/ 229076 h 285750"/>
                  <a:gd name="connsiteX16" fmla="*/ 46196 w 133350"/>
                  <a:gd name="connsiteY16" fmla="*/ 60484 h 285750"/>
                  <a:gd name="connsiteX17" fmla="*/ 54769 w 133350"/>
                  <a:gd name="connsiteY17" fmla="*/ 58579 h 285750"/>
                  <a:gd name="connsiteX18" fmla="*/ 63341 w 133350"/>
                  <a:gd name="connsiteY18" fmla="*/ 56674 h 285750"/>
                  <a:gd name="connsiteX19" fmla="*/ 71914 w 133350"/>
                  <a:gd name="connsiteY19" fmla="*/ 54769 h 285750"/>
                  <a:gd name="connsiteX20" fmla="*/ 71914 w 133350"/>
                  <a:gd name="connsiteY20" fmla="*/ 238601 h 285750"/>
                  <a:gd name="connsiteX21" fmla="*/ 63341 w 133350"/>
                  <a:gd name="connsiteY21" fmla="*/ 236696 h 285750"/>
                  <a:gd name="connsiteX22" fmla="*/ 54769 w 133350"/>
                  <a:gd name="connsiteY22" fmla="*/ 230981 h 285750"/>
                  <a:gd name="connsiteX23" fmla="*/ 94774 w 133350"/>
                  <a:gd name="connsiteY23" fmla="*/ 244316 h 285750"/>
                  <a:gd name="connsiteX24" fmla="*/ 83344 w 133350"/>
                  <a:gd name="connsiteY24" fmla="*/ 239554 h 285750"/>
                  <a:gd name="connsiteX25" fmla="*/ 83344 w 133350"/>
                  <a:gd name="connsiteY25" fmla="*/ 49054 h 285750"/>
                  <a:gd name="connsiteX26" fmla="*/ 94774 w 133350"/>
                  <a:gd name="connsiteY26" fmla="*/ 47149 h 285750"/>
                  <a:gd name="connsiteX27" fmla="*/ 106204 w 133350"/>
                  <a:gd name="connsiteY27" fmla="*/ 42386 h 285750"/>
                  <a:gd name="connsiteX28" fmla="*/ 119539 w 133350"/>
                  <a:gd name="connsiteY28" fmla="*/ 37624 h 285750"/>
                  <a:gd name="connsiteX29" fmla="*/ 119539 w 133350"/>
                  <a:gd name="connsiteY29" fmla="*/ 250984 h 285750"/>
                  <a:gd name="connsiteX30" fmla="*/ 106204 w 133350"/>
                  <a:gd name="connsiteY30" fmla="*/ 246221 h 285750"/>
                  <a:gd name="connsiteX31" fmla="*/ 94774 w 133350"/>
                  <a:gd name="connsiteY31" fmla="*/ 244316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350" h="285750">
                    <a:moveTo>
                      <a:pt x="7144" y="51911"/>
                    </a:moveTo>
                    <a:lnTo>
                      <a:pt x="7144" y="233839"/>
                    </a:lnTo>
                    <a:lnTo>
                      <a:pt x="134779" y="283369"/>
                    </a:lnTo>
                    <a:lnTo>
                      <a:pt x="134779" y="7144"/>
                    </a:lnTo>
                    <a:lnTo>
                      <a:pt x="7144" y="51911"/>
                    </a:lnTo>
                    <a:close/>
                    <a:moveTo>
                      <a:pt x="20479" y="219551"/>
                    </a:moveTo>
                    <a:lnTo>
                      <a:pt x="13811" y="217646"/>
                    </a:lnTo>
                    <a:lnTo>
                      <a:pt x="13811" y="67151"/>
                    </a:lnTo>
                    <a:lnTo>
                      <a:pt x="20479" y="65246"/>
                    </a:lnTo>
                    <a:lnTo>
                      <a:pt x="27146" y="63341"/>
                    </a:lnTo>
                    <a:lnTo>
                      <a:pt x="33814" y="61436"/>
                    </a:lnTo>
                    <a:lnTo>
                      <a:pt x="33814" y="225266"/>
                    </a:lnTo>
                    <a:lnTo>
                      <a:pt x="27146" y="223361"/>
                    </a:lnTo>
                    <a:lnTo>
                      <a:pt x="20479" y="219551"/>
                    </a:lnTo>
                    <a:close/>
                    <a:moveTo>
                      <a:pt x="54769" y="230981"/>
                    </a:moveTo>
                    <a:lnTo>
                      <a:pt x="46196" y="229076"/>
                    </a:lnTo>
                    <a:lnTo>
                      <a:pt x="46196" y="60484"/>
                    </a:lnTo>
                    <a:lnTo>
                      <a:pt x="54769" y="58579"/>
                    </a:lnTo>
                    <a:lnTo>
                      <a:pt x="63341" y="56674"/>
                    </a:lnTo>
                    <a:lnTo>
                      <a:pt x="71914" y="54769"/>
                    </a:lnTo>
                    <a:lnTo>
                      <a:pt x="71914" y="238601"/>
                    </a:lnTo>
                    <a:lnTo>
                      <a:pt x="63341" y="236696"/>
                    </a:lnTo>
                    <a:lnTo>
                      <a:pt x="54769" y="230981"/>
                    </a:lnTo>
                    <a:close/>
                    <a:moveTo>
                      <a:pt x="94774" y="244316"/>
                    </a:moveTo>
                    <a:lnTo>
                      <a:pt x="83344" y="239554"/>
                    </a:lnTo>
                    <a:lnTo>
                      <a:pt x="83344" y="49054"/>
                    </a:lnTo>
                    <a:lnTo>
                      <a:pt x="94774" y="47149"/>
                    </a:lnTo>
                    <a:lnTo>
                      <a:pt x="106204" y="42386"/>
                    </a:lnTo>
                    <a:lnTo>
                      <a:pt x="119539" y="37624"/>
                    </a:lnTo>
                    <a:lnTo>
                      <a:pt x="119539" y="250984"/>
                    </a:lnTo>
                    <a:lnTo>
                      <a:pt x="106204" y="246221"/>
                    </a:lnTo>
                    <a:lnTo>
                      <a:pt x="94774" y="244316"/>
                    </a:lnTo>
                    <a:close/>
                  </a:path>
                </a:pathLst>
              </a:custGeom>
              <a:solidFill>
                <a:schemeClr val="accent2"/>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4" name="Freeform: Shape 233">
                <a:extLst>
                  <a:ext uri="{FF2B5EF4-FFF2-40B4-BE49-F238E27FC236}">
                    <a16:creationId xmlns:a16="http://schemas.microsoft.com/office/drawing/2014/main" id="{EF3E1B17-4732-47E9-AB38-0288DE5A965F}"/>
                  </a:ext>
                </a:extLst>
              </p:cNvPr>
              <p:cNvSpPr/>
              <p:nvPr/>
            </p:nvSpPr>
            <p:spPr>
              <a:xfrm>
                <a:off x="2005632" y="4184679"/>
                <a:ext cx="4251364" cy="1256561"/>
              </a:xfrm>
              <a:custGeom>
                <a:avLst/>
                <a:gdLst>
                  <a:gd name="connsiteX0" fmla="*/ 1895800 w 1933575"/>
                  <a:gd name="connsiteY0" fmla="*/ 405765 h 571500"/>
                  <a:gd name="connsiteX1" fmla="*/ 922345 w 1933575"/>
                  <a:gd name="connsiteY1" fmla="*/ 468630 h 571500"/>
                  <a:gd name="connsiteX2" fmla="*/ 44139 w 1933575"/>
                  <a:gd name="connsiteY2" fmla="*/ 42863 h 571500"/>
                </a:gdLst>
                <a:ahLst/>
                <a:cxnLst>
                  <a:cxn ang="0">
                    <a:pos x="connsiteX0" y="connsiteY0"/>
                  </a:cxn>
                  <a:cxn ang="0">
                    <a:pos x="connsiteX1" y="connsiteY1"/>
                  </a:cxn>
                  <a:cxn ang="0">
                    <a:pos x="connsiteX2" y="connsiteY2"/>
                  </a:cxn>
                </a:cxnLst>
                <a:rect l="l" t="t" r="r" b="b"/>
                <a:pathLst>
                  <a:path w="1933575" h="571500">
                    <a:moveTo>
                      <a:pt x="1895800" y="405765"/>
                    </a:moveTo>
                    <a:cubicBezTo>
                      <a:pt x="1869130" y="541020"/>
                      <a:pt x="1432885" y="568643"/>
                      <a:pt x="922345" y="468630"/>
                    </a:cubicBezTo>
                    <a:cubicBezTo>
                      <a:pt x="411805" y="368618"/>
                      <a:pt x="17469" y="178118"/>
                      <a:pt x="44139" y="42863"/>
                    </a:cubicBezTo>
                  </a:path>
                </a:pathLst>
              </a:custGeom>
              <a:noFill/>
              <a:ln w="57150" cap="flat">
                <a:solidFill>
                  <a:schemeClr val="accent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5" name="Freeform: Shape 234">
                <a:extLst>
                  <a:ext uri="{FF2B5EF4-FFF2-40B4-BE49-F238E27FC236}">
                    <a16:creationId xmlns:a16="http://schemas.microsoft.com/office/drawing/2014/main" id="{7DEB6BE4-0563-481B-8F9E-20B220582801}"/>
                  </a:ext>
                </a:extLst>
              </p:cNvPr>
              <p:cNvSpPr/>
              <p:nvPr/>
            </p:nvSpPr>
            <p:spPr>
              <a:xfrm>
                <a:off x="5092248" y="5176315"/>
                <a:ext cx="523566" cy="272253"/>
              </a:xfrm>
              <a:custGeom>
                <a:avLst/>
                <a:gdLst>
                  <a:gd name="connsiteX0" fmla="*/ 136684 w 238125"/>
                  <a:gd name="connsiteY0" fmla="*/ 122396 h 123825"/>
                  <a:gd name="connsiteX1" fmla="*/ 7144 w 238125"/>
                  <a:gd name="connsiteY1" fmla="*/ 39529 h 123825"/>
                  <a:gd name="connsiteX2" fmla="*/ 123349 w 238125"/>
                  <a:gd name="connsiteY2" fmla="*/ 21431 h 123825"/>
                  <a:gd name="connsiteX3" fmla="*/ 226219 w 238125"/>
                  <a:gd name="connsiteY3" fmla="*/ 7144 h 123825"/>
                  <a:gd name="connsiteX4" fmla="*/ 239554 w 238125"/>
                  <a:gd name="connsiteY4" fmla="*/ 108109 h 123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5" h="123825">
                    <a:moveTo>
                      <a:pt x="136684" y="122396"/>
                    </a:moveTo>
                    <a:lnTo>
                      <a:pt x="7144" y="39529"/>
                    </a:lnTo>
                    <a:lnTo>
                      <a:pt x="123349" y="21431"/>
                    </a:lnTo>
                    <a:lnTo>
                      <a:pt x="226219" y="7144"/>
                    </a:lnTo>
                    <a:lnTo>
                      <a:pt x="239554" y="108109"/>
                    </a:lnTo>
                    <a:close/>
                  </a:path>
                </a:pathLst>
              </a:custGeom>
              <a:solidFill>
                <a:srgbClr val="D83B01">
                  <a:alpha val="60000"/>
                </a:srgb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6" name="Freeform: Shape 235">
                <a:extLst>
                  <a:ext uri="{FF2B5EF4-FFF2-40B4-BE49-F238E27FC236}">
                    <a16:creationId xmlns:a16="http://schemas.microsoft.com/office/drawing/2014/main" id="{98388732-64AC-4E5B-84F2-0E268E359366}"/>
                  </a:ext>
                </a:extLst>
              </p:cNvPr>
              <p:cNvSpPr/>
              <p:nvPr/>
            </p:nvSpPr>
            <p:spPr>
              <a:xfrm>
                <a:off x="5119472" y="5176315"/>
                <a:ext cx="502626" cy="293198"/>
              </a:xfrm>
              <a:custGeom>
                <a:avLst/>
                <a:gdLst>
                  <a:gd name="connsiteX0" fmla="*/ 79534 w 228600"/>
                  <a:gd name="connsiteY0" fmla="*/ 25241 h 133350"/>
                  <a:gd name="connsiteX1" fmla="*/ 7144 w 228600"/>
                  <a:gd name="connsiteY1" fmla="*/ 134779 h 133350"/>
                  <a:gd name="connsiteX2" fmla="*/ 124301 w 228600"/>
                  <a:gd name="connsiteY2" fmla="*/ 122396 h 133350"/>
                  <a:gd name="connsiteX3" fmla="*/ 227171 w 228600"/>
                  <a:gd name="connsiteY3" fmla="*/ 108109 h 133350"/>
                  <a:gd name="connsiteX4" fmla="*/ 213836 w 228600"/>
                  <a:gd name="connsiteY4" fmla="*/ 7144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133350">
                    <a:moveTo>
                      <a:pt x="79534" y="25241"/>
                    </a:moveTo>
                    <a:lnTo>
                      <a:pt x="7144" y="134779"/>
                    </a:lnTo>
                    <a:lnTo>
                      <a:pt x="124301" y="122396"/>
                    </a:lnTo>
                    <a:lnTo>
                      <a:pt x="227171" y="108109"/>
                    </a:lnTo>
                    <a:lnTo>
                      <a:pt x="213836" y="7144"/>
                    </a:lnTo>
                    <a:close/>
                  </a:path>
                </a:pathLst>
              </a:custGeom>
              <a:solidFill>
                <a:srgbClr val="DD5900">
                  <a:alpha val="70000"/>
                </a:srgb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7" name="Freeform: Shape 236">
                <a:extLst>
                  <a:ext uri="{FF2B5EF4-FFF2-40B4-BE49-F238E27FC236}">
                    <a16:creationId xmlns:a16="http://schemas.microsoft.com/office/drawing/2014/main" id="{B04F06CE-52FA-4136-ACC9-AA18135B25BC}"/>
                  </a:ext>
                </a:extLst>
              </p:cNvPr>
              <p:cNvSpPr/>
              <p:nvPr/>
            </p:nvSpPr>
            <p:spPr>
              <a:xfrm>
                <a:off x="5027329" y="5176315"/>
                <a:ext cx="607339" cy="272253"/>
              </a:xfrm>
              <a:custGeom>
                <a:avLst/>
                <a:gdLst>
                  <a:gd name="connsiteX0" fmla="*/ 121444 w 276225"/>
                  <a:gd name="connsiteY0" fmla="*/ 25241 h 123825"/>
                  <a:gd name="connsiteX1" fmla="*/ 7144 w 276225"/>
                  <a:gd name="connsiteY1" fmla="*/ 95726 h 123825"/>
                  <a:gd name="connsiteX2" fmla="*/ 166211 w 276225"/>
                  <a:gd name="connsiteY2" fmla="*/ 122396 h 123825"/>
                  <a:gd name="connsiteX3" fmla="*/ 269081 w 276225"/>
                  <a:gd name="connsiteY3" fmla="*/ 108109 h 123825"/>
                  <a:gd name="connsiteX4" fmla="*/ 255746 w 276225"/>
                  <a:gd name="connsiteY4" fmla="*/ 7144 h 123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225" h="123825">
                    <a:moveTo>
                      <a:pt x="121444" y="25241"/>
                    </a:moveTo>
                    <a:lnTo>
                      <a:pt x="7144" y="95726"/>
                    </a:lnTo>
                    <a:lnTo>
                      <a:pt x="166211" y="122396"/>
                    </a:lnTo>
                    <a:lnTo>
                      <a:pt x="269081" y="108109"/>
                    </a:lnTo>
                    <a:lnTo>
                      <a:pt x="255746" y="7144"/>
                    </a:lnTo>
                    <a:close/>
                  </a:path>
                </a:pathLst>
              </a:custGeom>
              <a:solidFill>
                <a:srgbClr val="EAE42D">
                  <a:alpha val="70000"/>
                </a:srgbClr>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8" name="Freeform: Shape 237">
                <a:extLst>
                  <a:ext uri="{FF2B5EF4-FFF2-40B4-BE49-F238E27FC236}">
                    <a16:creationId xmlns:a16="http://schemas.microsoft.com/office/drawing/2014/main" id="{FA981314-88FA-4760-BDAB-6908508DD63B}"/>
                  </a:ext>
                </a:extLst>
              </p:cNvPr>
              <p:cNvSpPr/>
              <p:nvPr/>
            </p:nvSpPr>
            <p:spPr>
              <a:xfrm>
                <a:off x="5278642" y="5111370"/>
                <a:ext cx="314141" cy="125656"/>
              </a:xfrm>
              <a:custGeom>
                <a:avLst/>
                <a:gdLst>
                  <a:gd name="connsiteX0" fmla="*/ 7144 w 142875"/>
                  <a:gd name="connsiteY0" fmla="*/ 54769 h 57150"/>
                  <a:gd name="connsiteX1" fmla="*/ 21431 w 142875"/>
                  <a:gd name="connsiteY1" fmla="*/ 7144 h 57150"/>
                  <a:gd name="connsiteX2" fmla="*/ 141446 w 142875"/>
                  <a:gd name="connsiteY2" fmla="*/ 36671 h 57150"/>
                </a:gdLst>
                <a:ahLst/>
                <a:cxnLst>
                  <a:cxn ang="0">
                    <a:pos x="connsiteX0" y="connsiteY0"/>
                  </a:cxn>
                  <a:cxn ang="0">
                    <a:pos x="connsiteX1" y="connsiteY1"/>
                  </a:cxn>
                  <a:cxn ang="0">
                    <a:pos x="connsiteX2" y="connsiteY2"/>
                  </a:cxn>
                </a:cxnLst>
                <a:rect l="l" t="t" r="r" b="b"/>
                <a:pathLst>
                  <a:path w="142875" h="57150">
                    <a:moveTo>
                      <a:pt x="7144" y="54769"/>
                    </a:moveTo>
                    <a:lnTo>
                      <a:pt x="21431" y="7144"/>
                    </a:lnTo>
                    <a:lnTo>
                      <a:pt x="141446" y="36671"/>
                    </a:lnTo>
                    <a:close/>
                  </a:path>
                </a:pathLst>
              </a:custGeom>
              <a:solidFill>
                <a:srgbClr val="022050"/>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9" name="Freeform: Shape 238">
                <a:extLst>
                  <a:ext uri="{FF2B5EF4-FFF2-40B4-BE49-F238E27FC236}">
                    <a16:creationId xmlns:a16="http://schemas.microsoft.com/office/drawing/2014/main" id="{46852A02-A5DA-431F-9976-867444E2320C}"/>
                  </a:ext>
                </a:extLst>
              </p:cNvPr>
              <p:cNvSpPr/>
              <p:nvPr/>
            </p:nvSpPr>
            <p:spPr>
              <a:xfrm>
                <a:off x="5307962" y="5398277"/>
                <a:ext cx="314141" cy="146597"/>
              </a:xfrm>
              <a:custGeom>
                <a:avLst/>
                <a:gdLst>
                  <a:gd name="connsiteX0" fmla="*/ 7144 w 142875"/>
                  <a:gd name="connsiteY0" fmla="*/ 25241 h 66675"/>
                  <a:gd name="connsiteX1" fmla="*/ 32861 w 142875"/>
                  <a:gd name="connsiteY1" fmla="*/ 68104 h 66675"/>
                  <a:gd name="connsiteX2" fmla="*/ 141446 w 142875"/>
                  <a:gd name="connsiteY2" fmla="*/ 7144 h 66675"/>
                </a:gdLst>
                <a:ahLst/>
                <a:cxnLst>
                  <a:cxn ang="0">
                    <a:pos x="connsiteX0" y="connsiteY0"/>
                  </a:cxn>
                  <a:cxn ang="0">
                    <a:pos x="connsiteX1" y="connsiteY1"/>
                  </a:cxn>
                  <a:cxn ang="0">
                    <a:pos x="connsiteX2" y="connsiteY2"/>
                  </a:cxn>
                </a:cxnLst>
                <a:rect l="l" t="t" r="r" b="b"/>
                <a:pathLst>
                  <a:path w="142875" h="66675">
                    <a:moveTo>
                      <a:pt x="7144" y="25241"/>
                    </a:moveTo>
                    <a:lnTo>
                      <a:pt x="32861" y="68104"/>
                    </a:lnTo>
                    <a:lnTo>
                      <a:pt x="141446" y="7144"/>
                    </a:lnTo>
                    <a:close/>
                  </a:path>
                </a:pathLst>
              </a:custGeom>
              <a:solidFill>
                <a:srgbClr val="022050"/>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0" name="Freeform: Shape 239">
                <a:extLst>
                  <a:ext uri="{FF2B5EF4-FFF2-40B4-BE49-F238E27FC236}">
                    <a16:creationId xmlns:a16="http://schemas.microsoft.com/office/drawing/2014/main" id="{527215B1-C524-47B4-A413-DA4B88F9510E}"/>
                  </a:ext>
                </a:extLst>
              </p:cNvPr>
              <p:cNvSpPr/>
              <p:nvPr/>
            </p:nvSpPr>
            <p:spPr>
              <a:xfrm>
                <a:off x="5343565" y="5153246"/>
                <a:ext cx="502628" cy="188484"/>
              </a:xfrm>
              <a:custGeom>
                <a:avLst/>
                <a:gdLst>
                  <a:gd name="connsiteX0" fmla="*/ 14764 w 228600"/>
                  <a:gd name="connsiteY0" fmla="*/ 80486 h 85725"/>
                  <a:gd name="connsiteX1" fmla="*/ 7144 w 228600"/>
                  <a:gd name="connsiteY1" fmla="*/ 21431 h 85725"/>
                  <a:gd name="connsiteX2" fmla="*/ 215741 w 228600"/>
                  <a:gd name="connsiteY2" fmla="*/ 7144 h 85725"/>
                  <a:gd name="connsiteX3" fmla="*/ 222409 w 228600"/>
                  <a:gd name="connsiteY3" fmla="*/ 53816 h 85725"/>
                </a:gdLst>
                <a:ahLst/>
                <a:cxnLst>
                  <a:cxn ang="0">
                    <a:pos x="connsiteX0" y="connsiteY0"/>
                  </a:cxn>
                  <a:cxn ang="0">
                    <a:pos x="connsiteX1" y="connsiteY1"/>
                  </a:cxn>
                  <a:cxn ang="0">
                    <a:pos x="connsiteX2" y="connsiteY2"/>
                  </a:cxn>
                  <a:cxn ang="0">
                    <a:pos x="connsiteX3" y="connsiteY3"/>
                  </a:cxn>
                </a:cxnLst>
                <a:rect l="l" t="t" r="r" b="b"/>
                <a:pathLst>
                  <a:path w="228600" h="85725">
                    <a:moveTo>
                      <a:pt x="14764" y="80486"/>
                    </a:moveTo>
                    <a:lnTo>
                      <a:pt x="7144" y="21431"/>
                    </a:lnTo>
                    <a:lnTo>
                      <a:pt x="215741" y="7144"/>
                    </a:lnTo>
                    <a:lnTo>
                      <a:pt x="222409" y="53816"/>
                    </a:lnTo>
                    <a:close/>
                  </a:path>
                </a:pathLst>
              </a:custGeom>
              <a:solidFill>
                <a:srgbClr val="354D73"/>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1" name="Freeform: Shape 240">
                <a:extLst>
                  <a:ext uri="{FF2B5EF4-FFF2-40B4-BE49-F238E27FC236}">
                    <a16:creationId xmlns:a16="http://schemas.microsoft.com/office/drawing/2014/main" id="{C8070A25-66F9-4144-BF8B-57A87C48B303}"/>
                  </a:ext>
                </a:extLst>
              </p:cNvPr>
              <p:cNvSpPr/>
              <p:nvPr/>
            </p:nvSpPr>
            <p:spPr>
              <a:xfrm>
                <a:off x="5802208" y="5153213"/>
                <a:ext cx="188485" cy="125656"/>
              </a:xfrm>
              <a:custGeom>
                <a:avLst/>
                <a:gdLst>
                  <a:gd name="connsiteX0" fmla="*/ 13811 w 85725"/>
                  <a:gd name="connsiteY0" fmla="*/ 53816 h 57150"/>
                  <a:gd name="connsiteX1" fmla="*/ 7144 w 85725"/>
                  <a:gd name="connsiteY1" fmla="*/ 7144 h 57150"/>
                  <a:gd name="connsiteX2" fmla="*/ 87154 w 85725"/>
                  <a:gd name="connsiteY2" fmla="*/ 43339 h 57150"/>
                </a:gdLst>
                <a:ahLst/>
                <a:cxnLst>
                  <a:cxn ang="0">
                    <a:pos x="connsiteX0" y="connsiteY0"/>
                  </a:cxn>
                  <a:cxn ang="0">
                    <a:pos x="connsiteX1" y="connsiteY1"/>
                  </a:cxn>
                  <a:cxn ang="0">
                    <a:pos x="connsiteX2" y="connsiteY2"/>
                  </a:cxn>
                </a:cxnLst>
                <a:rect l="l" t="t" r="r" b="b"/>
                <a:pathLst>
                  <a:path w="85725" h="57150">
                    <a:moveTo>
                      <a:pt x="13811" y="53816"/>
                    </a:moveTo>
                    <a:lnTo>
                      <a:pt x="7144" y="7144"/>
                    </a:lnTo>
                    <a:lnTo>
                      <a:pt x="87154" y="43339"/>
                    </a:lnTo>
                    <a:close/>
                  </a:path>
                </a:pathLst>
              </a:custGeom>
              <a:solidFill>
                <a:srgbClr val="022050"/>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2" name="Freeform: Shape 241">
                <a:extLst>
                  <a:ext uri="{FF2B5EF4-FFF2-40B4-BE49-F238E27FC236}">
                    <a16:creationId xmlns:a16="http://schemas.microsoft.com/office/drawing/2014/main" id="{8A39AEDA-7626-45A5-9311-C4A42912F177}"/>
                  </a:ext>
                </a:extLst>
              </p:cNvPr>
              <p:cNvSpPr/>
              <p:nvPr/>
            </p:nvSpPr>
            <p:spPr>
              <a:xfrm>
                <a:off x="5360319" y="5255827"/>
                <a:ext cx="481683" cy="209423"/>
              </a:xfrm>
              <a:custGeom>
                <a:avLst/>
                <a:gdLst>
                  <a:gd name="connsiteX0" fmla="*/ 7144 w 219075"/>
                  <a:gd name="connsiteY0" fmla="*/ 33814 h 95250"/>
                  <a:gd name="connsiteX1" fmla="*/ 15716 w 219075"/>
                  <a:gd name="connsiteY1" fmla="*/ 92869 h 95250"/>
                  <a:gd name="connsiteX2" fmla="*/ 220504 w 219075"/>
                  <a:gd name="connsiteY2" fmla="*/ 52864 h 95250"/>
                  <a:gd name="connsiteX3" fmla="*/ 214789 w 219075"/>
                  <a:gd name="connsiteY3" fmla="*/ 7144 h 95250"/>
                </a:gdLst>
                <a:ahLst/>
                <a:cxnLst>
                  <a:cxn ang="0">
                    <a:pos x="connsiteX0" y="connsiteY0"/>
                  </a:cxn>
                  <a:cxn ang="0">
                    <a:pos x="connsiteX1" y="connsiteY1"/>
                  </a:cxn>
                  <a:cxn ang="0">
                    <a:pos x="connsiteX2" y="connsiteY2"/>
                  </a:cxn>
                  <a:cxn ang="0">
                    <a:pos x="connsiteX3" y="connsiteY3"/>
                  </a:cxn>
                </a:cxnLst>
                <a:rect l="l" t="t" r="r" b="b"/>
                <a:pathLst>
                  <a:path w="219075" h="95250">
                    <a:moveTo>
                      <a:pt x="7144" y="33814"/>
                    </a:moveTo>
                    <a:lnTo>
                      <a:pt x="15716" y="92869"/>
                    </a:lnTo>
                    <a:lnTo>
                      <a:pt x="220504" y="52864"/>
                    </a:lnTo>
                    <a:lnTo>
                      <a:pt x="214789" y="7144"/>
                    </a:lnTo>
                    <a:close/>
                  </a:path>
                </a:pathLst>
              </a:custGeom>
              <a:solidFill>
                <a:srgbClr val="354D73"/>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3" name="Freeform: Shape 242">
                <a:extLst>
                  <a:ext uri="{FF2B5EF4-FFF2-40B4-BE49-F238E27FC236}">
                    <a16:creationId xmlns:a16="http://schemas.microsoft.com/office/drawing/2014/main" id="{2B397CDC-16CE-4400-97C9-8F1BA37AE124}"/>
                  </a:ext>
                </a:extLst>
              </p:cNvPr>
              <p:cNvSpPr/>
              <p:nvPr/>
            </p:nvSpPr>
            <p:spPr>
              <a:xfrm>
                <a:off x="5816878" y="5232829"/>
                <a:ext cx="188485" cy="146597"/>
              </a:xfrm>
              <a:custGeom>
                <a:avLst/>
                <a:gdLst>
                  <a:gd name="connsiteX0" fmla="*/ 7144 w 85725"/>
                  <a:gd name="connsiteY0" fmla="*/ 17621 h 66675"/>
                  <a:gd name="connsiteX1" fmla="*/ 12859 w 85725"/>
                  <a:gd name="connsiteY1" fmla="*/ 63341 h 66675"/>
                  <a:gd name="connsiteX2" fmla="*/ 80486 w 85725"/>
                  <a:gd name="connsiteY2" fmla="*/ 7144 h 66675"/>
                </a:gdLst>
                <a:ahLst/>
                <a:cxnLst>
                  <a:cxn ang="0">
                    <a:pos x="connsiteX0" y="connsiteY0"/>
                  </a:cxn>
                  <a:cxn ang="0">
                    <a:pos x="connsiteX1" y="connsiteY1"/>
                  </a:cxn>
                  <a:cxn ang="0">
                    <a:pos x="connsiteX2" y="connsiteY2"/>
                  </a:cxn>
                </a:cxnLst>
                <a:rect l="l" t="t" r="r" b="b"/>
                <a:pathLst>
                  <a:path w="85725" h="66675">
                    <a:moveTo>
                      <a:pt x="7144" y="17621"/>
                    </a:moveTo>
                    <a:lnTo>
                      <a:pt x="12859" y="63341"/>
                    </a:lnTo>
                    <a:lnTo>
                      <a:pt x="80486" y="7144"/>
                    </a:lnTo>
                    <a:close/>
                  </a:path>
                </a:pathLst>
              </a:custGeom>
              <a:solidFill>
                <a:srgbClr val="022050"/>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4" name="Freeform: Shape 243">
                <a:extLst>
                  <a:ext uri="{FF2B5EF4-FFF2-40B4-BE49-F238E27FC236}">
                    <a16:creationId xmlns:a16="http://schemas.microsoft.com/office/drawing/2014/main" id="{2B793C8C-105B-4A20-AF2F-16F609B70B3E}"/>
                  </a:ext>
                </a:extLst>
              </p:cNvPr>
              <p:cNvSpPr/>
              <p:nvPr/>
            </p:nvSpPr>
            <p:spPr>
              <a:xfrm>
                <a:off x="5224197" y="5257966"/>
                <a:ext cx="356027" cy="104711"/>
              </a:xfrm>
              <a:custGeom>
                <a:avLst/>
                <a:gdLst>
                  <a:gd name="connsiteX0" fmla="*/ 7144 w 161925"/>
                  <a:gd name="connsiteY0" fmla="*/ 43339 h 47625"/>
                  <a:gd name="connsiteX1" fmla="*/ 37624 w 161925"/>
                  <a:gd name="connsiteY1" fmla="*/ 7144 h 47625"/>
                  <a:gd name="connsiteX2" fmla="*/ 155734 w 161925"/>
                  <a:gd name="connsiteY2" fmla="*/ 23336 h 47625"/>
                </a:gdLst>
                <a:ahLst/>
                <a:cxnLst>
                  <a:cxn ang="0">
                    <a:pos x="connsiteX0" y="connsiteY0"/>
                  </a:cxn>
                  <a:cxn ang="0">
                    <a:pos x="connsiteX1" y="connsiteY1"/>
                  </a:cxn>
                  <a:cxn ang="0">
                    <a:pos x="connsiteX2" y="connsiteY2"/>
                  </a:cxn>
                </a:cxnLst>
                <a:rect l="l" t="t" r="r" b="b"/>
                <a:pathLst>
                  <a:path w="161925" h="47625">
                    <a:moveTo>
                      <a:pt x="7144" y="43339"/>
                    </a:moveTo>
                    <a:lnTo>
                      <a:pt x="37624" y="7144"/>
                    </a:lnTo>
                    <a:lnTo>
                      <a:pt x="155734" y="23336"/>
                    </a:lnTo>
                    <a:close/>
                  </a:path>
                </a:pathLst>
              </a:custGeom>
              <a:solidFill>
                <a:srgbClr val="022050"/>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5" name="Freeform: Shape 244">
                <a:extLst>
                  <a:ext uri="{FF2B5EF4-FFF2-40B4-BE49-F238E27FC236}">
                    <a16:creationId xmlns:a16="http://schemas.microsoft.com/office/drawing/2014/main" id="{1664074D-548A-4088-800E-92FB306F971F}"/>
                  </a:ext>
                </a:extLst>
              </p:cNvPr>
              <p:cNvSpPr/>
              <p:nvPr/>
            </p:nvSpPr>
            <p:spPr>
              <a:xfrm>
                <a:off x="5224197" y="5293625"/>
                <a:ext cx="356027" cy="125656"/>
              </a:xfrm>
              <a:custGeom>
                <a:avLst/>
                <a:gdLst>
                  <a:gd name="connsiteX0" fmla="*/ 7144 w 161925"/>
                  <a:gd name="connsiteY0" fmla="*/ 26194 h 57150"/>
                  <a:gd name="connsiteX1" fmla="*/ 45244 w 161925"/>
                  <a:gd name="connsiteY1" fmla="*/ 52864 h 57150"/>
                  <a:gd name="connsiteX2" fmla="*/ 155734 w 161925"/>
                  <a:gd name="connsiteY2" fmla="*/ 7144 h 57150"/>
                </a:gdLst>
                <a:ahLst/>
                <a:cxnLst>
                  <a:cxn ang="0">
                    <a:pos x="connsiteX0" y="connsiteY0"/>
                  </a:cxn>
                  <a:cxn ang="0">
                    <a:pos x="connsiteX1" y="connsiteY1"/>
                  </a:cxn>
                  <a:cxn ang="0">
                    <a:pos x="connsiteX2" y="connsiteY2"/>
                  </a:cxn>
                </a:cxnLst>
                <a:rect l="l" t="t" r="r" b="b"/>
                <a:pathLst>
                  <a:path w="161925" h="57150">
                    <a:moveTo>
                      <a:pt x="7144" y="26194"/>
                    </a:moveTo>
                    <a:lnTo>
                      <a:pt x="45244" y="52864"/>
                    </a:lnTo>
                    <a:lnTo>
                      <a:pt x="155734" y="7144"/>
                    </a:lnTo>
                    <a:close/>
                  </a:path>
                </a:pathLst>
              </a:custGeom>
              <a:solidFill>
                <a:srgbClr val="022050"/>
              </a:solidFill>
              <a:ln w="9525"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sp>
        <p:nvSpPr>
          <p:cNvPr id="153" name="Rectangle 152">
            <a:extLst>
              <a:ext uri="{FF2B5EF4-FFF2-40B4-BE49-F238E27FC236}">
                <a16:creationId xmlns:a16="http://schemas.microsoft.com/office/drawing/2014/main" id="{3378CD5A-7D97-4906-893C-76BCF20F15E6}"/>
              </a:ext>
            </a:extLst>
          </p:cNvPr>
          <p:cNvSpPr/>
          <p:nvPr/>
        </p:nvSpPr>
        <p:spPr bwMode="auto">
          <a:xfrm>
            <a:off x="7467180" y="5407628"/>
            <a:ext cx="3017092"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rPr>
              <a:t>Tool agnostic Python SDK</a:t>
            </a:r>
          </a:p>
        </p:txBody>
      </p:sp>
    </p:spTree>
    <p:extLst>
      <p:ext uri="{BB962C8B-B14F-4D97-AF65-F5344CB8AC3E}">
        <p14:creationId xmlns:p14="http://schemas.microsoft.com/office/powerpoint/2010/main" val="27968819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95"/>
                                        </p:tgtEl>
                                        <p:attrNameLst>
                                          <p:attrName>style.visibility</p:attrName>
                                        </p:attrNameLst>
                                      </p:cBhvr>
                                      <p:to>
                                        <p:strVal val="visible"/>
                                      </p:to>
                                    </p:set>
                                    <p:animEffect transition="in" filter="fade">
                                      <p:cBhvr>
                                        <p:cTn id="25" dur="500"/>
                                        <p:tgtEl>
                                          <p:spTgt spid="95"/>
                                        </p:tgtEl>
                                      </p:cBhvr>
                                    </p:animEffect>
                                  </p:childTnLst>
                                </p:cTn>
                              </p:par>
                              <p:par>
                                <p:cTn id="26" presetID="10" presetClass="entr" presetSubtype="0" fill="hold" nodeType="withEffect">
                                  <p:stCondLst>
                                    <p:cond delay="0"/>
                                  </p:stCondLst>
                                  <p:childTnLst>
                                    <p:set>
                                      <p:cBhvr>
                                        <p:cTn id="27" dur="1" fill="hold">
                                          <p:stCondLst>
                                            <p:cond delay="0"/>
                                          </p:stCondLst>
                                        </p:cTn>
                                        <p:tgtEl>
                                          <p:spTgt spid="96"/>
                                        </p:tgtEl>
                                        <p:attrNameLst>
                                          <p:attrName>style.visibility</p:attrName>
                                        </p:attrNameLst>
                                      </p:cBhvr>
                                      <p:to>
                                        <p:strVal val="visible"/>
                                      </p:to>
                                    </p:set>
                                    <p:animEffect transition="in" filter="fade">
                                      <p:cBhvr>
                                        <p:cTn id="28"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96DDBC4-D523-4012-B10B-5D86458F9884}"/>
              </a:ext>
            </a:extLst>
          </p:cNvPr>
          <p:cNvSpPr>
            <a:spLocks noGrp="1"/>
          </p:cNvSpPr>
          <p:nvPr>
            <p:ph type="title"/>
          </p:nvPr>
        </p:nvSpPr>
        <p:spPr>
          <a:xfrm>
            <a:off x="1593671" y="3586942"/>
            <a:ext cx="9004658" cy="828148"/>
          </a:xfrm>
        </p:spPr>
        <p:txBody>
          <a:bodyPr anchor="ctr"/>
          <a:lstStyle/>
          <a:p>
            <a:pPr algn="ctr"/>
            <a:r>
              <a:rPr lang="en-US" dirty="0"/>
              <a:t>Automated machine learning</a:t>
            </a:r>
          </a:p>
        </p:txBody>
      </p:sp>
      <p:grpSp>
        <p:nvGrpSpPr>
          <p:cNvPr id="5" name="Group 4">
            <a:extLst>
              <a:ext uri="{FF2B5EF4-FFF2-40B4-BE49-F238E27FC236}">
                <a16:creationId xmlns:a16="http://schemas.microsoft.com/office/drawing/2014/main" id="{5725A2C8-9704-514C-A56C-D5B15A87D0FE}"/>
              </a:ext>
            </a:extLst>
          </p:cNvPr>
          <p:cNvGrpSpPr/>
          <p:nvPr/>
        </p:nvGrpSpPr>
        <p:grpSpPr>
          <a:xfrm>
            <a:off x="5388502" y="2147901"/>
            <a:ext cx="1414996" cy="1123157"/>
            <a:chOff x="4223626" y="2353385"/>
            <a:chExt cx="1173971" cy="931848"/>
          </a:xfrm>
        </p:grpSpPr>
        <p:grpSp>
          <p:nvGrpSpPr>
            <p:cNvPr id="6" name="Group 5">
              <a:extLst>
                <a:ext uri="{FF2B5EF4-FFF2-40B4-BE49-F238E27FC236}">
                  <a16:creationId xmlns:a16="http://schemas.microsoft.com/office/drawing/2014/main" id="{32B248E1-D684-8F49-A820-F2C65837B4E4}"/>
                </a:ext>
              </a:extLst>
            </p:cNvPr>
            <p:cNvGrpSpPr/>
            <p:nvPr/>
          </p:nvGrpSpPr>
          <p:grpSpPr>
            <a:xfrm>
              <a:off x="4273550" y="2402418"/>
              <a:ext cx="1079500" cy="840315"/>
              <a:chOff x="4273550" y="2402418"/>
              <a:chExt cx="1079500" cy="840315"/>
            </a:xfrm>
          </p:grpSpPr>
          <p:cxnSp>
            <p:nvCxnSpPr>
              <p:cNvPr id="15" name="Straight Connector 14">
                <a:extLst>
                  <a:ext uri="{FF2B5EF4-FFF2-40B4-BE49-F238E27FC236}">
                    <a16:creationId xmlns:a16="http://schemas.microsoft.com/office/drawing/2014/main" id="{A95E64BC-0BFE-0E44-A9CE-2D6482AF8641}"/>
                  </a:ext>
                </a:extLst>
              </p:cNvPr>
              <p:cNvCxnSpPr>
                <a:cxnSpLocks/>
              </p:cNvCxnSpPr>
              <p:nvPr/>
            </p:nvCxnSpPr>
            <p:spPr>
              <a:xfrm>
                <a:off x="4997450" y="2413000"/>
                <a:ext cx="355600" cy="232833"/>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 name="Straight Connector 15">
                <a:extLst>
                  <a:ext uri="{FF2B5EF4-FFF2-40B4-BE49-F238E27FC236}">
                    <a16:creationId xmlns:a16="http://schemas.microsoft.com/office/drawing/2014/main" id="{65CF55B8-06F9-DF47-B04A-6CFBF1AE2889}"/>
                  </a:ext>
                </a:extLst>
              </p:cNvPr>
              <p:cNvCxnSpPr>
                <a:cxnSpLocks/>
              </p:cNvCxnSpPr>
              <p:nvPr/>
            </p:nvCxnSpPr>
            <p:spPr>
              <a:xfrm>
                <a:off x="4997450" y="2413000"/>
                <a:ext cx="296333" cy="721783"/>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7" name="Straight Connector 16">
                <a:extLst>
                  <a:ext uri="{FF2B5EF4-FFF2-40B4-BE49-F238E27FC236}">
                    <a16:creationId xmlns:a16="http://schemas.microsoft.com/office/drawing/2014/main" id="{AA0A3CDC-A6D9-E74F-9380-44E9395F34FC}"/>
                  </a:ext>
                </a:extLst>
              </p:cNvPr>
              <p:cNvCxnSpPr>
                <a:cxnSpLocks/>
              </p:cNvCxnSpPr>
              <p:nvPr/>
            </p:nvCxnSpPr>
            <p:spPr>
              <a:xfrm flipV="1">
                <a:off x="4762500" y="3143250"/>
                <a:ext cx="520700" cy="86783"/>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8" name="Straight Connector 17">
                <a:extLst>
                  <a:ext uri="{FF2B5EF4-FFF2-40B4-BE49-F238E27FC236}">
                    <a16:creationId xmlns:a16="http://schemas.microsoft.com/office/drawing/2014/main" id="{F06365D7-6E28-AE4C-9E62-C842364A95D8}"/>
                  </a:ext>
                </a:extLst>
              </p:cNvPr>
              <p:cNvCxnSpPr>
                <a:cxnSpLocks/>
              </p:cNvCxnSpPr>
              <p:nvPr/>
            </p:nvCxnSpPr>
            <p:spPr>
              <a:xfrm flipV="1">
                <a:off x="5039783" y="2641600"/>
                <a:ext cx="300567" cy="241300"/>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 name="Straight Connector 18">
                <a:extLst>
                  <a:ext uri="{FF2B5EF4-FFF2-40B4-BE49-F238E27FC236}">
                    <a16:creationId xmlns:a16="http://schemas.microsoft.com/office/drawing/2014/main" id="{C57EF3EB-CCBD-BB42-9A38-2B4D023C5539}"/>
                  </a:ext>
                </a:extLst>
              </p:cNvPr>
              <p:cNvCxnSpPr>
                <a:cxnSpLocks/>
              </p:cNvCxnSpPr>
              <p:nvPr/>
            </p:nvCxnSpPr>
            <p:spPr>
              <a:xfrm flipV="1">
                <a:off x="4413250" y="2413001"/>
                <a:ext cx="571500" cy="126999"/>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 name="Straight Connector 19">
                <a:extLst>
                  <a:ext uri="{FF2B5EF4-FFF2-40B4-BE49-F238E27FC236}">
                    <a16:creationId xmlns:a16="http://schemas.microsoft.com/office/drawing/2014/main" id="{B3DC11BA-6C68-744E-90A0-E93DC87F2249}"/>
                  </a:ext>
                </a:extLst>
              </p:cNvPr>
              <p:cNvCxnSpPr>
                <a:cxnSpLocks/>
              </p:cNvCxnSpPr>
              <p:nvPr/>
            </p:nvCxnSpPr>
            <p:spPr>
              <a:xfrm flipV="1">
                <a:off x="4703233" y="2450099"/>
                <a:ext cx="251425" cy="248651"/>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1" name="Straight Connector 20">
                <a:extLst>
                  <a:ext uri="{FF2B5EF4-FFF2-40B4-BE49-F238E27FC236}">
                    <a16:creationId xmlns:a16="http://schemas.microsoft.com/office/drawing/2014/main" id="{BF2FD355-0DD5-6347-8583-22DEDC7A67AE}"/>
                  </a:ext>
                </a:extLst>
              </p:cNvPr>
              <p:cNvCxnSpPr>
                <a:cxnSpLocks/>
              </p:cNvCxnSpPr>
              <p:nvPr/>
            </p:nvCxnSpPr>
            <p:spPr>
              <a:xfrm flipV="1">
                <a:off x="4762500" y="2402418"/>
                <a:ext cx="232833" cy="821265"/>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2" name="Straight Connector 21">
                <a:extLst>
                  <a:ext uri="{FF2B5EF4-FFF2-40B4-BE49-F238E27FC236}">
                    <a16:creationId xmlns:a16="http://schemas.microsoft.com/office/drawing/2014/main" id="{B54D5BEE-ED87-0F4A-91F4-F589C52F3FFA}"/>
                  </a:ext>
                </a:extLst>
              </p:cNvPr>
              <p:cNvCxnSpPr>
                <a:cxnSpLocks/>
              </p:cNvCxnSpPr>
              <p:nvPr/>
            </p:nvCxnSpPr>
            <p:spPr>
              <a:xfrm flipH="1" flipV="1">
                <a:off x="4273550" y="2984500"/>
                <a:ext cx="495300" cy="251883"/>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3" name="Straight Connector 22">
                <a:extLst>
                  <a:ext uri="{FF2B5EF4-FFF2-40B4-BE49-F238E27FC236}">
                    <a16:creationId xmlns:a16="http://schemas.microsoft.com/office/drawing/2014/main" id="{775B5FD0-E472-774D-8457-251D5C31DEFD}"/>
                  </a:ext>
                </a:extLst>
              </p:cNvPr>
              <p:cNvCxnSpPr>
                <a:cxnSpLocks/>
              </p:cNvCxnSpPr>
              <p:nvPr/>
            </p:nvCxnSpPr>
            <p:spPr>
              <a:xfrm flipH="1" flipV="1">
                <a:off x="4417483" y="2537884"/>
                <a:ext cx="647700" cy="338666"/>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 name="Straight Connector 23">
                <a:extLst>
                  <a:ext uri="{FF2B5EF4-FFF2-40B4-BE49-F238E27FC236}">
                    <a16:creationId xmlns:a16="http://schemas.microsoft.com/office/drawing/2014/main" id="{79BE64EB-1B1D-734F-91BA-A2C994661A20}"/>
                  </a:ext>
                </a:extLst>
              </p:cNvPr>
              <p:cNvCxnSpPr>
                <a:cxnSpLocks/>
              </p:cNvCxnSpPr>
              <p:nvPr/>
            </p:nvCxnSpPr>
            <p:spPr>
              <a:xfrm flipV="1">
                <a:off x="4277783" y="2874433"/>
                <a:ext cx="770467" cy="107950"/>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 name="Straight Connector 24">
                <a:extLst>
                  <a:ext uri="{FF2B5EF4-FFF2-40B4-BE49-F238E27FC236}">
                    <a16:creationId xmlns:a16="http://schemas.microsoft.com/office/drawing/2014/main" id="{AAAEFE72-548A-2E43-BB04-B5A224779E14}"/>
                  </a:ext>
                </a:extLst>
              </p:cNvPr>
              <p:cNvCxnSpPr>
                <a:cxnSpLocks/>
              </p:cNvCxnSpPr>
              <p:nvPr/>
            </p:nvCxnSpPr>
            <p:spPr>
              <a:xfrm flipH="1" flipV="1">
                <a:off x="4413250" y="2531533"/>
                <a:ext cx="353483" cy="698500"/>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6" name="Straight Connector 25">
                <a:extLst>
                  <a:ext uri="{FF2B5EF4-FFF2-40B4-BE49-F238E27FC236}">
                    <a16:creationId xmlns:a16="http://schemas.microsoft.com/office/drawing/2014/main" id="{46620B28-E1A8-0145-B566-BB6FB62D4072}"/>
                  </a:ext>
                </a:extLst>
              </p:cNvPr>
              <p:cNvCxnSpPr>
                <a:cxnSpLocks/>
              </p:cNvCxnSpPr>
              <p:nvPr/>
            </p:nvCxnSpPr>
            <p:spPr>
              <a:xfrm flipH="1" flipV="1">
                <a:off x="4715933" y="2698750"/>
                <a:ext cx="50800" cy="543983"/>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7" name="Straight Connector 26">
                <a:extLst>
                  <a:ext uri="{FF2B5EF4-FFF2-40B4-BE49-F238E27FC236}">
                    <a16:creationId xmlns:a16="http://schemas.microsoft.com/office/drawing/2014/main" id="{3D90210E-CA50-2949-8BA1-D02C7702496A}"/>
                  </a:ext>
                </a:extLst>
              </p:cNvPr>
              <p:cNvCxnSpPr>
                <a:cxnSpLocks/>
              </p:cNvCxnSpPr>
              <p:nvPr/>
            </p:nvCxnSpPr>
            <p:spPr>
              <a:xfrm flipH="1" flipV="1">
                <a:off x="5052483" y="2899834"/>
                <a:ext cx="234950" cy="218016"/>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 name="Straight Connector 27">
                <a:extLst>
                  <a:ext uri="{FF2B5EF4-FFF2-40B4-BE49-F238E27FC236}">
                    <a16:creationId xmlns:a16="http://schemas.microsoft.com/office/drawing/2014/main" id="{00A598E5-D697-AC4F-907C-88735AEF8062}"/>
                  </a:ext>
                </a:extLst>
              </p:cNvPr>
              <p:cNvCxnSpPr>
                <a:cxnSpLocks/>
              </p:cNvCxnSpPr>
              <p:nvPr/>
            </p:nvCxnSpPr>
            <p:spPr>
              <a:xfrm flipV="1">
                <a:off x="4762500" y="2876550"/>
                <a:ext cx="292101" cy="340783"/>
              </a:xfrm>
              <a:prstGeom prst="line">
                <a:avLst/>
              </a:prstGeom>
              <a:noFill/>
              <a:ln w="19050" cap="rnd">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7" name="Oval 19">
              <a:extLst>
                <a:ext uri="{FF2B5EF4-FFF2-40B4-BE49-F238E27FC236}">
                  <a16:creationId xmlns:a16="http://schemas.microsoft.com/office/drawing/2014/main" id="{A515C96F-58BF-ED47-88CE-CA70963A1F2C}"/>
                </a:ext>
              </a:extLst>
            </p:cNvPr>
            <p:cNvSpPr>
              <a:spLocks noChangeArrowheads="1"/>
            </p:cNvSpPr>
            <p:nvPr/>
          </p:nvSpPr>
          <p:spPr bwMode="auto">
            <a:xfrm>
              <a:off x="4938065" y="2353385"/>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a:ea typeface="+mn-ea"/>
                <a:cs typeface="+mn-cs"/>
              </a:endParaRPr>
            </a:p>
          </p:txBody>
        </p:sp>
        <p:sp useBgFill="1">
          <p:nvSpPr>
            <p:cNvPr id="8" name="Oval 19">
              <a:extLst>
                <a:ext uri="{FF2B5EF4-FFF2-40B4-BE49-F238E27FC236}">
                  <a16:creationId xmlns:a16="http://schemas.microsoft.com/office/drawing/2014/main" id="{7425EA27-1C1A-CA4B-B840-2589BC42C205}"/>
                </a:ext>
              </a:extLst>
            </p:cNvPr>
            <p:cNvSpPr>
              <a:spLocks noChangeArrowheads="1"/>
            </p:cNvSpPr>
            <p:nvPr/>
          </p:nvSpPr>
          <p:spPr bwMode="auto">
            <a:xfrm>
              <a:off x="5284290" y="2582712"/>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a:ea typeface="+mn-ea"/>
                <a:cs typeface="+mn-cs"/>
              </a:endParaRPr>
            </a:p>
          </p:txBody>
        </p:sp>
        <p:sp useBgFill="1">
          <p:nvSpPr>
            <p:cNvPr id="9" name="Oval 19">
              <a:extLst>
                <a:ext uri="{FF2B5EF4-FFF2-40B4-BE49-F238E27FC236}">
                  <a16:creationId xmlns:a16="http://schemas.microsoft.com/office/drawing/2014/main" id="{170B9D61-514A-E34C-B4BC-91D1F4FD6C15}"/>
                </a:ext>
              </a:extLst>
            </p:cNvPr>
            <p:cNvSpPr>
              <a:spLocks noChangeArrowheads="1"/>
            </p:cNvSpPr>
            <p:nvPr/>
          </p:nvSpPr>
          <p:spPr bwMode="auto">
            <a:xfrm>
              <a:off x="4992571" y="2824202"/>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a:ea typeface="+mn-ea"/>
                <a:cs typeface="+mn-cs"/>
              </a:endParaRPr>
            </a:p>
          </p:txBody>
        </p:sp>
        <p:sp useBgFill="1">
          <p:nvSpPr>
            <p:cNvPr id="10" name="Oval 19">
              <a:extLst>
                <a:ext uri="{FF2B5EF4-FFF2-40B4-BE49-F238E27FC236}">
                  <a16:creationId xmlns:a16="http://schemas.microsoft.com/office/drawing/2014/main" id="{E1691540-0A1F-D841-9621-83573E1931E1}"/>
                </a:ext>
              </a:extLst>
            </p:cNvPr>
            <p:cNvSpPr>
              <a:spLocks noChangeArrowheads="1"/>
            </p:cNvSpPr>
            <p:nvPr/>
          </p:nvSpPr>
          <p:spPr bwMode="auto">
            <a:xfrm>
              <a:off x="5227637" y="3071688"/>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a:ea typeface="+mn-ea"/>
                <a:cs typeface="+mn-cs"/>
              </a:endParaRPr>
            </a:p>
          </p:txBody>
        </p:sp>
        <p:sp useBgFill="1">
          <p:nvSpPr>
            <p:cNvPr id="11" name="Oval 19">
              <a:extLst>
                <a:ext uri="{FF2B5EF4-FFF2-40B4-BE49-F238E27FC236}">
                  <a16:creationId xmlns:a16="http://schemas.microsoft.com/office/drawing/2014/main" id="{0EAA5D1A-B071-5C4F-BCC6-1E54C8D4D3EF}"/>
                </a:ext>
              </a:extLst>
            </p:cNvPr>
            <p:cNvSpPr>
              <a:spLocks noChangeArrowheads="1"/>
            </p:cNvSpPr>
            <p:nvPr/>
          </p:nvSpPr>
          <p:spPr bwMode="auto">
            <a:xfrm>
              <a:off x="4703544" y="3171926"/>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a:ea typeface="+mn-ea"/>
                <a:cs typeface="+mn-cs"/>
              </a:endParaRPr>
            </a:p>
          </p:txBody>
        </p:sp>
        <p:sp useBgFill="1">
          <p:nvSpPr>
            <p:cNvPr id="12" name="Oval 19">
              <a:extLst>
                <a:ext uri="{FF2B5EF4-FFF2-40B4-BE49-F238E27FC236}">
                  <a16:creationId xmlns:a16="http://schemas.microsoft.com/office/drawing/2014/main" id="{650B2524-0148-CD43-B9BE-D8BB98FE6141}"/>
                </a:ext>
              </a:extLst>
            </p:cNvPr>
            <p:cNvSpPr>
              <a:spLocks noChangeArrowheads="1"/>
            </p:cNvSpPr>
            <p:nvPr/>
          </p:nvSpPr>
          <p:spPr bwMode="auto">
            <a:xfrm>
              <a:off x="4223626" y="2924064"/>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a:ea typeface="+mn-ea"/>
                <a:cs typeface="+mn-cs"/>
              </a:endParaRPr>
            </a:p>
          </p:txBody>
        </p:sp>
        <p:sp useBgFill="1">
          <p:nvSpPr>
            <p:cNvPr id="13" name="Oval 19">
              <a:extLst>
                <a:ext uri="{FF2B5EF4-FFF2-40B4-BE49-F238E27FC236}">
                  <a16:creationId xmlns:a16="http://schemas.microsoft.com/office/drawing/2014/main" id="{DE0C8D3D-B686-7A40-B416-38267A1DE390}"/>
                </a:ext>
              </a:extLst>
            </p:cNvPr>
            <p:cNvSpPr>
              <a:spLocks noChangeArrowheads="1"/>
            </p:cNvSpPr>
            <p:nvPr/>
          </p:nvSpPr>
          <p:spPr bwMode="auto">
            <a:xfrm>
              <a:off x="4655543" y="2638231"/>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a:ea typeface="+mn-ea"/>
                <a:cs typeface="+mn-cs"/>
              </a:endParaRPr>
            </a:p>
          </p:txBody>
        </p:sp>
        <p:sp useBgFill="1">
          <p:nvSpPr>
            <p:cNvPr id="14" name="Oval 19">
              <a:extLst>
                <a:ext uri="{FF2B5EF4-FFF2-40B4-BE49-F238E27FC236}">
                  <a16:creationId xmlns:a16="http://schemas.microsoft.com/office/drawing/2014/main" id="{F12ACFC8-4B29-A149-954C-89F50C36C236}"/>
                </a:ext>
              </a:extLst>
            </p:cNvPr>
            <p:cNvSpPr>
              <a:spLocks noChangeArrowheads="1"/>
            </p:cNvSpPr>
            <p:nvPr/>
          </p:nvSpPr>
          <p:spPr bwMode="auto">
            <a:xfrm>
              <a:off x="4363387" y="2482918"/>
              <a:ext cx="113307" cy="113307"/>
            </a:xfrm>
            <a:prstGeom prst="ellipse">
              <a:avLst/>
            </a:prstGeom>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922129556"/>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168F540-B516-4595-99BE-669BAE43E877}"/>
              </a:ext>
            </a:extLst>
          </p:cNvPr>
          <p:cNvSpPr/>
          <p:nvPr/>
        </p:nvSpPr>
        <p:spPr bwMode="auto">
          <a:xfrm>
            <a:off x="736343" y="2780242"/>
            <a:ext cx="1775612" cy="21046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leage</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ondition</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ar brand</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Year of make</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Regulations</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7" name="Rectangle 6">
            <a:extLst>
              <a:ext uri="{FF2B5EF4-FFF2-40B4-BE49-F238E27FC236}">
                <a16:creationId xmlns:a16="http://schemas.microsoft.com/office/drawing/2014/main" id="{6EA458CC-0786-48FB-A64B-B427CE24316B}"/>
              </a:ext>
            </a:extLst>
          </p:cNvPr>
          <p:cNvSpPr/>
          <p:nvPr/>
        </p:nvSpPr>
        <p:spPr bwMode="auto">
          <a:xfrm>
            <a:off x="5577549" y="2780243"/>
            <a:ext cx="1371450" cy="17506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1</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2</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3</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4</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9" name="Rectangle 8">
            <a:extLst>
              <a:ext uri="{FF2B5EF4-FFF2-40B4-BE49-F238E27FC236}">
                <a16:creationId xmlns:a16="http://schemas.microsoft.com/office/drawing/2014/main" id="{8613D47F-F817-488D-A5C9-E311626DB096}"/>
              </a:ext>
            </a:extLst>
          </p:cNvPr>
          <p:cNvSpPr/>
          <p:nvPr/>
        </p:nvSpPr>
        <p:spPr bwMode="auto">
          <a:xfrm>
            <a:off x="3085138" y="2780242"/>
            <a:ext cx="2281267" cy="21046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Gradient Boosted  </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arest Neighbors </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SVM</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Bayesian Regression</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GBM </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11" name="Rectangle 10">
            <a:extLst>
              <a:ext uri="{FF2B5EF4-FFF2-40B4-BE49-F238E27FC236}">
                <a16:creationId xmlns:a16="http://schemas.microsoft.com/office/drawing/2014/main" id="{E605D490-EE66-4928-8D25-10151ED50C5B}"/>
              </a:ext>
            </a:extLst>
          </p:cNvPr>
          <p:cNvSpPr/>
          <p:nvPr/>
        </p:nvSpPr>
        <p:spPr bwMode="auto">
          <a:xfrm>
            <a:off x="736343" y="2827305"/>
            <a:ext cx="1859308" cy="2991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Mileage</a:t>
            </a:r>
          </a:p>
        </p:txBody>
      </p:sp>
      <p:sp>
        <p:nvSpPr>
          <p:cNvPr id="12" name="Rectangle 11">
            <a:extLst>
              <a:ext uri="{FF2B5EF4-FFF2-40B4-BE49-F238E27FC236}">
                <a16:creationId xmlns:a16="http://schemas.microsoft.com/office/drawing/2014/main" id="{839EEEBE-474C-4A48-8C83-5F1694ABB77B}"/>
              </a:ext>
            </a:extLst>
          </p:cNvPr>
          <p:cNvSpPr/>
          <p:nvPr/>
        </p:nvSpPr>
        <p:spPr bwMode="auto">
          <a:xfrm>
            <a:off x="3085139" y="2802669"/>
            <a:ext cx="2083918" cy="3411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27428" rIns="91427" bIns="4571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Segoe UI Semibold" panose="020B0702040204020203" pitchFamily="34" charset="0"/>
              </a:rPr>
              <a:t>Gradient Boosted</a:t>
            </a:r>
          </a:p>
        </p:txBody>
      </p:sp>
      <p:sp>
        <p:nvSpPr>
          <p:cNvPr id="13" name="Rectangle 12">
            <a:extLst>
              <a:ext uri="{FF2B5EF4-FFF2-40B4-BE49-F238E27FC236}">
                <a16:creationId xmlns:a16="http://schemas.microsoft.com/office/drawing/2014/main" id="{6D24F1C5-AFA1-4EB9-B62D-87EF246C2E29}"/>
              </a:ext>
            </a:extLst>
          </p:cNvPr>
          <p:cNvSpPr/>
          <p:nvPr/>
        </p:nvSpPr>
        <p:spPr bwMode="auto">
          <a:xfrm>
            <a:off x="5577550" y="2780243"/>
            <a:ext cx="1669425" cy="17506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riterion</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oss</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n Samples Split</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n Samples Leaf</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Others</a:t>
            </a:r>
          </a:p>
        </p:txBody>
      </p:sp>
      <p:grpSp>
        <p:nvGrpSpPr>
          <p:cNvPr id="14" name="Group 13">
            <a:extLst>
              <a:ext uri="{FF2B5EF4-FFF2-40B4-BE49-F238E27FC236}">
                <a16:creationId xmlns:a16="http://schemas.microsoft.com/office/drawing/2014/main" id="{EB7F8B3D-BA5D-451F-A1DB-80D9356B9AD0}"/>
              </a:ext>
            </a:extLst>
          </p:cNvPr>
          <p:cNvGrpSpPr/>
          <p:nvPr/>
        </p:nvGrpSpPr>
        <p:grpSpPr>
          <a:xfrm>
            <a:off x="7294889" y="2893389"/>
            <a:ext cx="1450408" cy="146982"/>
            <a:chOff x="8120217" y="3558128"/>
            <a:chExt cx="1940664" cy="147003"/>
          </a:xfrm>
        </p:grpSpPr>
        <p:cxnSp>
          <p:nvCxnSpPr>
            <p:cNvPr id="15" name="Straight Connector 14">
              <a:extLst>
                <a:ext uri="{FF2B5EF4-FFF2-40B4-BE49-F238E27FC236}">
                  <a16:creationId xmlns:a16="http://schemas.microsoft.com/office/drawing/2014/main" id="{36E66D7F-221D-4A0D-A9EC-9E8497E2AEA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F721B48-8884-4907-8896-F0A5619E29E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570DBDBC-C4D7-4D6E-9975-A40CD248796E}"/>
                </a:ext>
              </a:extLst>
            </p:cNvPr>
            <p:cNvGrpSpPr/>
            <p:nvPr/>
          </p:nvGrpSpPr>
          <p:grpSpPr>
            <a:xfrm>
              <a:off x="8335846" y="3593256"/>
              <a:ext cx="1509402" cy="111875"/>
              <a:chOff x="8335846" y="3498555"/>
              <a:chExt cx="1509402" cy="206573"/>
            </a:xfrm>
          </p:grpSpPr>
          <p:cxnSp>
            <p:nvCxnSpPr>
              <p:cNvPr id="18" name="Straight Connector 17">
                <a:extLst>
                  <a:ext uri="{FF2B5EF4-FFF2-40B4-BE49-F238E27FC236}">
                    <a16:creationId xmlns:a16="http://schemas.microsoft.com/office/drawing/2014/main" id="{33F4E9F9-A7BB-417B-B7D8-44E513C1E35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4471F8A-A6FF-478F-B21C-16B27F79EA1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7BD7BAD-A456-4CDA-AAF2-5B28F66CF7AC}"/>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93968D-4ED1-4D98-BC02-7CE789FA38B2}"/>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F79CF59-778A-4310-9EAA-73FC5193DBEB}"/>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5C58FA-21CF-4D4E-8F85-D218ABD5DBD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307C462-2E34-4B78-AF4D-6D93FF61EB7D}"/>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82B236-4337-4E82-BF42-5F3BF652CD0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AE3E6691-849A-42CE-B310-226C974D8545}"/>
              </a:ext>
            </a:extLst>
          </p:cNvPr>
          <p:cNvGrpSpPr/>
          <p:nvPr/>
        </p:nvGrpSpPr>
        <p:grpSpPr>
          <a:xfrm>
            <a:off x="7294889" y="3241041"/>
            <a:ext cx="1450408" cy="146978"/>
            <a:chOff x="8120217" y="3558128"/>
            <a:chExt cx="1940664" cy="146999"/>
          </a:xfrm>
        </p:grpSpPr>
        <p:cxnSp>
          <p:nvCxnSpPr>
            <p:cNvPr id="27" name="Straight Connector 26">
              <a:extLst>
                <a:ext uri="{FF2B5EF4-FFF2-40B4-BE49-F238E27FC236}">
                  <a16:creationId xmlns:a16="http://schemas.microsoft.com/office/drawing/2014/main" id="{4A2AADB1-5ACB-4B06-8960-DA5B2CBA957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971EAF7-2482-48BE-B9D1-ED930A7D5255}"/>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1B140EAB-319E-4A3D-BADD-1487F2A8610F}"/>
                </a:ext>
              </a:extLst>
            </p:cNvPr>
            <p:cNvGrpSpPr/>
            <p:nvPr/>
          </p:nvGrpSpPr>
          <p:grpSpPr>
            <a:xfrm>
              <a:off x="8335846" y="3592140"/>
              <a:ext cx="1509402" cy="112986"/>
              <a:chOff x="8335846" y="3496504"/>
              <a:chExt cx="1509402" cy="208625"/>
            </a:xfrm>
          </p:grpSpPr>
          <p:cxnSp>
            <p:nvCxnSpPr>
              <p:cNvPr id="31" name="Straight Connector 30">
                <a:extLst>
                  <a:ext uri="{FF2B5EF4-FFF2-40B4-BE49-F238E27FC236}">
                    <a16:creationId xmlns:a16="http://schemas.microsoft.com/office/drawing/2014/main" id="{E00BEBDB-ED9F-4CF4-86F8-6932A394656B}"/>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85136C-A8BF-418A-AC51-79F632211548}"/>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D7CE1A0-DB70-4794-98EC-7F2367C9D90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E2E449-5E21-4074-AE06-FFA79787AFB8}"/>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7693B8E-21A1-4B6A-B15E-5563F05446D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8085440-B678-4A53-91EA-F68A0F5D3ABF}"/>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CADAF9-6666-4671-8DF5-6C4B0902B046}"/>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39F7B7-30CE-40EC-BD52-084CB961FCF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42862650-122D-478D-A643-4F78F1CFC9AD}"/>
              </a:ext>
            </a:extLst>
          </p:cNvPr>
          <p:cNvGrpSpPr/>
          <p:nvPr/>
        </p:nvGrpSpPr>
        <p:grpSpPr>
          <a:xfrm>
            <a:off x="7294889" y="3588690"/>
            <a:ext cx="1450408" cy="146979"/>
            <a:chOff x="8120217" y="3558128"/>
            <a:chExt cx="1940664" cy="147000"/>
          </a:xfrm>
        </p:grpSpPr>
        <p:cxnSp>
          <p:nvCxnSpPr>
            <p:cNvPr id="41" name="Straight Connector 40">
              <a:extLst>
                <a:ext uri="{FF2B5EF4-FFF2-40B4-BE49-F238E27FC236}">
                  <a16:creationId xmlns:a16="http://schemas.microsoft.com/office/drawing/2014/main" id="{9D607C2D-C5DF-442D-8A48-59D656A91493}"/>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DA20C60-AB0F-478B-8CA7-BFE6B3F9DBD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D0211F3B-8C0B-4A97-9EA8-D67A0CB21FF3}"/>
                </a:ext>
              </a:extLst>
            </p:cNvPr>
            <p:cNvGrpSpPr/>
            <p:nvPr/>
          </p:nvGrpSpPr>
          <p:grpSpPr>
            <a:xfrm>
              <a:off x="8335846" y="3593752"/>
              <a:ext cx="1509402" cy="111376"/>
              <a:chOff x="8335846" y="3499477"/>
              <a:chExt cx="1509402" cy="205652"/>
            </a:xfrm>
          </p:grpSpPr>
          <p:cxnSp>
            <p:nvCxnSpPr>
              <p:cNvPr id="45" name="Straight Connector 44">
                <a:extLst>
                  <a:ext uri="{FF2B5EF4-FFF2-40B4-BE49-F238E27FC236}">
                    <a16:creationId xmlns:a16="http://schemas.microsoft.com/office/drawing/2014/main" id="{7F1B9279-5D72-436B-AA70-8DE4EE1BA9C3}"/>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EFC06FA-2399-48C8-B905-D7338CDD3CDC}"/>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B3B114-19EA-47E8-BE1A-AABBCF4D4F21}"/>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817593F-BEB3-4069-B7AD-0436D92788C8}"/>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A67F6FE-9B8F-4A1B-A058-5414093A731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9F0A976-453B-463F-91D6-0C611B815CBC}"/>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565DDC2-7B47-4B83-A0FB-2DC7C7C8BC1B}"/>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D3691DC-B356-4D59-99E2-0970AE2C758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B4CEA875-FCA7-44FB-A4C6-37F4D145A96D}"/>
              </a:ext>
            </a:extLst>
          </p:cNvPr>
          <p:cNvGrpSpPr/>
          <p:nvPr/>
        </p:nvGrpSpPr>
        <p:grpSpPr>
          <a:xfrm>
            <a:off x="7294889" y="3936339"/>
            <a:ext cx="1450408" cy="146981"/>
            <a:chOff x="8120217" y="3558128"/>
            <a:chExt cx="1940664" cy="147002"/>
          </a:xfrm>
        </p:grpSpPr>
        <p:cxnSp>
          <p:nvCxnSpPr>
            <p:cNvPr id="54" name="Straight Connector 53">
              <a:extLst>
                <a:ext uri="{FF2B5EF4-FFF2-40B4-BE49-F238E27FC236}">
                  <a16:creationId xmlns:a16="http://schemas.microsoft.com/office/drawing/2014/main" id="{B967AD7B-F52F-4B1F-B557-CDADFF492C20}"/>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E85ECC0-806C-4FB5-AAC3-F83E14B7B51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1E82DF8A-9DA7-42CE-A9D7-D153E0037A75}"/>
                </a:ext>
              </a:extLst>
            </p:cNvPr>
            <p:cNvGrpSpPr/>
            <p:nvPr/>
          </p:nvGrpSpPr>
          <p:grpSpPr>
            <a:xfrm>
              <a:off x="8335846" y="3595364"/>
              <a:ext cx="1509402" cy="109766"/>
              <a:chOff x="8335846" y="3502450"/>
              <a:chExt cx="1509402" cy="202679"/>
            </a:xfrm>
          </p:grpSpPr>
          <p:cxnSp>
            <p:nvCxnSpPr>
              <p:cNvPr id="57" name="Straight Connector 56">
                <a:extLst>
                  <a:ext uri="{FF2B5EF4-FFF2-40B4-BE49-F238E27FC236}">
                    <a16:creationId xmlns:a16="http://schemas.microsoft.com/office/drawing/2014/main" id="{B49411CB-20CD-4961-BCEF-F473BF9DE50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03961EE-4D11-41B0-A80C-6F74F6E972D2}"/>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EB82067-4994-4ABF-9DFE-E6EDD20ACAD8}"/>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3EC73D7-0229-49D8-9310-B919F1C32BD2}"/>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EB320E5-A7E5-43E0-B8AA-F97D163948B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048D1FB-D453-418E-825B-CD0FE7434ECD}"/>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29C819F-C82D-4546-96FF-9F6354F14FA0}"/>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438182D-82AE-4512-8139-D435A9D2FB23}"/>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66" name="Isosceles Triangle 65">
            <a:extLst>
              <a:ext uri="{FF2B5EF4-FFF2-40B4-BE49-F238E27FC236}">
                <a16:creationId xmlns:a16="http://schemas.microsoft.com/office/drawing/2014/main" id="{B0DD8EC6-0046-4274-B5A9-B81B57C48785}"/>
              </a:ext>
            </a:extLst>
          </p:cNvPr>
          <p:cNvSpPr/>
          <p:nvPr/>
        </p:nvSpPr>
        <p:spPr bwMode="auto">
          <a:xfrm>
            <a:off x="7227677" y="2948939"/>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Isosceles Triangle 66">
            <a:extLst>
              <a:ext uri="{FF2B5EF4-FFF2-40B4-BE49-F238E27FC236}">
                <a16:creationId xmlns:a16="http://schemas.microsoft.com/office/drawing/2014/main" id="{B25060C6-9AA8-42B4-9FAE-2F09F4C71448}"/>
              </a:ext>
            </a:extLst>
          </p:cNvPr>
          <p:cNvSpPr/>
          <p:nvPr/>
        </p:nvSpPr>
        <p:spPr bwMode="auto">
          <a:xfrm>
            <a:off x="7227677" y="3296590"/>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Isosceles Triangle 67">
            <a:extLst>
              <a:ext uri="{FF2B5EF4-FFF2-40B4-BE49-F238E27FC236}">
                <a16:creationId xmlns:a16="http://schemas.microsoft.com/office/drawing/2014/main" id="{3DD55A1A-0126-4F4B-8DAB-7170E3312892}"/>
              </a:ext>
            </a:extLst>
          </p:cNvPr>
          <p:cNvSpPr/>
          <p:nvPr/>
        </p:nvSpPr>
        <p:spPr bwMode="auto">
          <a:xfrm>
            <a:off x="7227677" y="3644241"/>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D4F56831-466C-490B-994D-C4E766A67456}"/>
              </a:ext>
            </a:extLst>
          </p:cNvPr>
          <p:cNvSpPr/>
          <p:nvPr/>
        </p:nvSpPr>
        <p:spPr bwMode="auto">
          <a:xfrm>
            <a:off x="7227677" y="3991890"/>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8073F30B-1B75-468A-9E11-233BEF8B686E}"/>
              </a:ext>
            </a:extLst>
          </p:cNvPr>
          <p:cNvSpPr/>
          <p:nvPr/>
        </p:nvSpPr>
        <p:spPr bwMode="auto">
          <a:xfrm>
            <a:off x="9571195" y="3743405"/>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74" name="TextBox 73">
            <a:extLst>
              <a:ext uri="{FF2B5EF4-FFF2-40B4-BE49-F238E27FC236}">
                <a16:creationId xmlns:a16="http://schemas.microsoft.com/office/drawing/2014/main" id="{5819BF1A-393F-4DC0-AAFF-F23D33A65562}"/>
              </a:ext>
            </a:extLst>
          </p:cNvPr>
          <p:cNvSpPr txBox="1"/>
          <p:nvPr/>
        </p:nvSpPr>
        <p:spPr>
          <a:xfrm>
            <a:off x="9610712" y="4218228"/>
            <a:ext cx="574115" cy="240609"/>
          </a:xfrm>
          <a:prstGeom prst="rect">
            <a:avLst/>
          </a:prstGeom>
          <a:noFill/>
        </p:spPr>
        <p:txBody>
          <a:bodyPr wrap="none" lIns="91427" tIns="45713" rIns="91427" bIns="45713"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a:ea typeface="+mn-ea"/>
                <a:cs typeface="+mn-cs"/>
              </a:rPr>
              <a:t>Model</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110" y="2767743"/>
            <a:ext cx="323873" cy="2410248"/>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0" name="Group 99">
            <a:extLst>
              <a:ext uri="{FF2B5EF4-FFF2-40B4-BE49-F238E27FC236}">
                <a16:creationId xmlns:a16="http://schemas.microsoft.com/office/drawing/2014/main" id="{DE726EF7-D1FA-4062-B4C5-9B6733D5C31E}"/>
              </a:ext>
            </a:extLst>
          </p:cNvPr>
          <p:cNvGrpSpPr/>
          <p:nvPr/>
        </p:nvGrpSpPr>
        <p:grpSpPr>
          <a:xfrm>
            <a:off x="2470274" y="2268209"/>
            <a:ext cx="7251453" cy="346521"/>
            <a:chOff x="735582" y="2268043"/>
            <a:chExt cx="7252482" cy="346570"/>
          </a:xfrm>
        </p:grpSpPr>
        <p:sp>
          <p:nvSpPr>
            <p:cNvPr id="101" name="Rectangle 100">
              <a:extLst>
                <a:ext uri="{FF2B5EF4-FFF2-40B4-BE49-F238E27FC236}">
                  <a16:creationId xmlns:a16="http://schemas.microsoft.com/office/drawing/2014/main" id="{324E18D1-6B94-4650-90E2-157E1950682B}"/>
                </a:ext>
              </a:extLst>
            </p:cNvPr>
            <p:cNvSpPr/>
            <p:nvPr/>
          </p:nvSpPr>
          <p:spPr bwMode="auto">
            <a:xfrm>
              <a:off x="3084709" y="2268043"/>
              <a:ext cx="2211940" cy="346570"/>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102" name="Rectangle 101">
              <a:extLst>
                <a:ext uri="{FF2B5EF4-FFF2-40B4-BE49-F238E27FC236}">
                  <a16:creationId xmlns:a16="http://schemas.microsoft.com/office/drawing/2014/main" id="{A3A8272B-7B63-4A7D-A68B-04789BD8FA46}"/>
                </a:ext>
              </a:extLst>
            </p:cNvPr>
            <p:cNvSpPr/>
            <p:nvPr/>
          </p:nvSpPr>
          <p:spPr bwMode="auto">
            <a:xfrm>
              <a:off x="5577476" y="2268043"/>
              <a:ext cx="2410588" cy="346570"/>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103" name="Rectangle 102">
              <a:extLst>
                <a:ext uri="{FF2B5EF4-FFF2-40B4-BE49-F238E27FC236}">
                  <a16:creationId xmlns:a16="http://schemas.microsoft.com/office/drawing/2014/main" id="{10198808-CC0B-495A-81F7-CAE7F8DC4458}"/>
                </a:ext>
              </a:extLst>
            </p:cNvPr>
            <p:cNvSpPr/>
            <p:nvPr/>
          </p:nvSpPr>
          <p:spPr bwMode="auto">
            <a:xfrm>
              <a:off x="735582" y="2268043"/>
              <a:ext cx="2068299" cy="346570"/>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grpSp>
      <p:sp>
        <p:nvSpPr>
          <p:cNvPr id="104" name="Rectangle 103">
            <a:extLst>
              <a:ext uri="{FF2B5EF4-FFF2-40B4-BE49-F238E27FC236}">
                <a16:creationId xmlns:a16="http://schemas.microsoft.com/office/drawing/2014/main" id="{D0CF168F-2132-4758-BFE1-832832D1F6AC}"/>
              </a:ext>
            </a:extLst>
          </p:cNvPr>
          <p:cNvSpPr/>
          <p:nvPr/>
        </p:nvSpPr>
        <p:spPr bwMode="auto">
          <a:xfrm>
            <a:off x="736343" y="3527090"/>
            <a:ext cx="1859308" cy="2991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105" name="Rectangle 104">
            <a:extLst>
              <a:ext uri="{FF2B5EF4-FFF2-40B4-BE49-F238E27FC236}">
                <a16:creationId xmlns:a16="http://schemas.microsoft.com/office/drawing/2014/main" id="{FD25B7A3-F9AD-4257-871B-494A13D668C1}"/>
              </a:ext>
            </a:extLst>
          </p:cNvPr>
          <p:cNvSpPr/>
          <p:nvPr/>
        </p:nvSpPr>
        <p:spPr bwMode="auto">
          <a:xfrm>
            <a:off x="736343" y="3877336"/>
            <a:ext cx="1859308" cy="2991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grpSp>
        <p:nvGrpSpPr>
          <p:cNvPr id="70" name="Group 69">
            <a:extLst>
              <a:ext uri="{FF2B5EF4-FFF2-40B4-BE49-F238E27FC236}">
                <a16:creationId xmlns:a16="http://schemas.microsoft.com/office/drawing/2014/main" id="{14AA2959-6F4C-429A-A8AB-CE521F9CDFEF}"/>
              </a:ext>
            </a:extLst>
          </p:cNvPr>
          <p:cNvGrpSpPr/>
          <p:nvPr/>
        </p:nvGrpSpPr>
        <p:grpSpPr>
          <a:xfrm>
            <a:off x="7294889" y="4281249"/>
            <a:ext cx="1450408" cy="146981"/>
            <a:chOff x="8120217" y="3558128"/>
            <a:chExt cx="1940664" cy="147002"/>
          </a:xfrm>
        </p:grpSpPr>
        <p:cxnSp>
          <p:nvCxnSpPr>
            <p:cNvPr id="71" name="Straight Connector 70">
              <a:extLst>
                <a:ext uri="{FF2B5EF4-FFF2-40B4-BE49-F238E27FC236}">
                  <a16:creationId xmlns:a16="http://schemas.microsoft.com/office/drawing/2014/main" id="{E7EC2C52-1819-4767-80A1-A75A6DFB7A8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6190086-0E14-456D-A3EA-699EEEB26E5F}"/>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0DCDE0FC-AFB8-4AF2-968D-59AABFF9ADE3}"/>
                </a:ext>
              </a:extLst>
            </p:cNvPr>
            <p:cNvGrpSpPr/>
            <p:nvPr/>
          </p:nvGrpSpPr>
          <p:grpSpPr>
            <a:xfrm>
              <a:off x="8335846" y="3595364"/>
              <a:ext cx="1509402" cy="109766"/>
              <a:chOff x="8335846" y="3502450"/>
              <a:chExt cx="1509402" cy="202679"/>
            </a:xfrm>
          </p:grpSpPr>
          <p:cxnSp>
            <p:nvCxnSpPr>
              <p:cNvPr id="77" name="Straight Connector 76">
                <a:extLst>
                  <a:ext uri="{FF2B5EF4-FFF2-40B4-BE49-F238E27FC236}">
                    <a16:creationId xmlns:a16="http://schemas.microsoft.com/office/drawing/2014/main" id="{09E16FAD-08D0-4E8C-A18F-711C4CEECCC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F158C30-719E-4C2C-825D-490990D26729}"/>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BE32757-C701-41B2-9C72-E2617C77806E}"/>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94D0AAB6-5B96-4A7F-B240-D048BDFF71DF}"/>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900AE66-D293-4436-84A1-E503410EDAC9}"/>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B70103E5-57E3-4E59-ACBC-F5BC090D690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D410592-BE65-46FC-BB57-A316F21EA63C}"/>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53C2D859-5A03-4D3C-BFBF-A8976DC67BE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85" name="Isosceles Triangle 84">
            <a:extLst>
              <a:ext uri="{FF2B5EF4-FFF2-40B4-BE49-F238E27FC236}">
                <a16:creationId xmlns:a16="http://schemas.microsoft.com/office/drawing/2014/main" id="{F6F4027C-0511-46B4-9511-0BB75D5B785C}"/>
              </a:ext>
            </a:extLst>
          </p:cNvPr>
          <p:cNvSpPr/>
          <p:nvPr/>
        </p:nvSpPr>
        <p:spPr bwMode="auto">
          <a:xfrm>
            <a:off x="7227677" y="4336801"/>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3FF32116-3720-4960-BE05-75E1CD6A5103}"/>
              </a:ext>
            </a:extLst>
          </p:cNvPr>
          <p:cNvSpPr>
            <a:spLocks noGrp="1"/>
          </p:cNvSpPr>
          <p:nvPr>
            <p:ph type="title"/>
          </p:nvPr>
        </p:nvSpPr>
        <p:spPr/>
        <p:txBody>
          <a:bodyPr/>
          <a:lstStyle/>
          <a:p>
            <a:r>
              <a:rPr lang="en-US" spc="-147" dirty="0"/>
              <a:t>Model creation is typically a time consuming process </a:t>
            </a:r>
          </a:p>
        </p:txBody>
      </p:sp>
    </p:spTree>
    <p:extLst>
      <p:ext uri="{BB962C8B-B14F-4D97-AF65-F5344CB8AC3E}">
        <p14:creationId xmlns:p14="http://schemas.microsoft.com/office/powerpoint/2010/main" val="3048787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0 4.44444E-6 L -0.14232 4.44444E-6 " pathEditMode="relative" rAng="0" ptsTypes="AA">
                                      <p:cBhvr>
                                        <p:cTn id="6" dur="1000" fill="hold"/>
                                        <p:tgtEl>
                                          <p:spTgt spid="100"/>
                                        </p:tgtEl>
                                        <p:attrNameLst>
                                          <p:attrName>ppt_x</p:attrName>
                                          <p:attrName>ppt_y</p:attrName>
                                        </p:attrNameLst>
                                      </p:cBhvr>
                                      <p:rCtr x="-7122" y="0"/>
                                    </p:animMotion>
                                  </p:childTnLst>
                                </p:cTn>
                              </p:par>
                            </p:childTnLst>
                          </p:cTn>
                        </p:par>
                        <p:par>
                          <p:cTn id="7" fill="hold">
                            <p:stCondLst>
                              <p:cond delay="1000"/>
                            </p:stCondLst>
                            <p:childTnLst>
                              <p:par>
                                <p:cTn id="8" presetID="22" presetClass="entr" presetSubtype="1" fill="hold" grpId="0" nodeType="after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up)">
                                      <p:cBhvr>
                                        <p:cTn id="10" dur="500"/>
                                        <p:tgtEl>
                                          <p:spTgt spid="6"/>
                                        </p:tgtEl>
                                      </p:cBhvr>
                                    </p:animEffect>
                                  </p:childTnLst>
                                </p:cTn>
                              </p:par>
                              <p:par>
                                <p:cTn id="11" presetID="22" presetClass="entr" presetSubtype="1" fill="hold" grpId="0" nodeType="withEffect">
                                  <p:stCondLst>
                                    <p:cond delay="250"/>
                                  </p:stCondLst>
                                  <p:childTnLst>
                                    <p:set>
                                      <p:cBhvr>
                                        <p:cTn id="12" dur="1" fill="hold">
                                          <p:stCondLst>
                                            <p:cond delay="0"/>
                                          </p:stCondLst>
                                        </p:cTn>
                                        <p:tgtEl>
                                          <p:spTgt spid="9"/>
                                        </p:tgtEl>
                                        <p:attrNameLst>
                                          <p:attrName>style.visibility</p:attrName>
                                        </p:attrNameLst>
                                      </p:cBhvr>
                                      <p:to>
                                        <p:strVal val="visible"/>
                                      </p:to>
                                    </p:set>
                                    <p:animEffect transition="in" filter="wipe(up)">
                                      <p:cBhvr>
                                        <p:cTn id="13" dur="500"/>
                                        <p:tgtEl>
                                          <p:spTgt spid="9"/>
                                        </p:tgtEl>
                                      </p:cBhvr>
                                    </p:animEffect>
                                  </p:childTnLst>
                                </p:cTn>
                              </p:par>
                              <p:par>
                                <p:cTn id="14" presetID="22" presetClass="entr" presetSubtype="1" fill="hold" grpId="0" nodeType="withEffect">
                                  <p:stCondLst>
                                    <p:cond delay="5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4"/>
                                        </p:tgtEl>
                                        <p:attrNameLst>
                                          <p:attrName>style.visibility</p:attrName>
                                        </p:attrNameLst>
                                      </p:cBhvr>
                                      <p:to>
                                        <p:strVal val="visible"/>
                                      </p:to>
                                    </p:set>
                                    <p:animEffect transition="in" filter="fade">
                                      <p:cBhvr>
                                        <p:cTn id="21" dur="500"/>
                                        <p:tgtEl>
                                          <p:spTgt spid="104"/>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105"/>
                                        </p:tgtEl>
                                        <p:attrNameLst>
                                          <p:attrName>style.visibility</p:attrName>
                                        </p:attrNameLst>
                                      </p:cBhvr>
                                      <p:to>
                                        <p:strVal val="visible"/>
                                      </p:to>
                                    </p:set>
                                    <p:animEffect transition="in" filter="fade">
                                      <p:cBhvr>
                                        <p:cTn id="29" dur="500"/>
                                        <p:tgtEl>
                                          <p:spTgt spid="105"/>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10" presetClass="exit" presetSubtype="0" fill="hold" grpId="1" nodeType="withEffect">
                                  <p:stCondLst>
                                    <p:cond delay="500"/>
                                  </p:stCondLst>
                                  <p:childTnLst>
                                    <p:animEffect transition="out" filter="fade">
                                      <p:cBhvr>
                                        <p:cTn id="39" dur="500"/>
                                        <p:tgtEl>
                                          <p:spTgt spid="7"/>
                                        </p:tgtEl>
                                      </p:cBhvr>
                                    </p:animEffect>
                                    <p:set>
                                      <p:cBhvr>
                                        <p:cTn id="40" dur="1" fill="hold">
                                          <p:stCondLst>
                                            <p:cond delay="499"/>
                                          </p:stCondLst>
                                        </p:cTn>
                                        <p:tgtEl>
                                          <p:spTgt spid="7"/>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nodeType="click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wipe(left)">
                                      <p:cBhvr>
                                        <p:cTn id="45" dur="500"/>
                                        <p:tgtEl>
                                          <p:spTgt spid="14"/>
                                        </p:tgtEl>
                                      </p:cBhvr>
                                    </p:animEffect>
                                  </p:childTnLst>
                                </p:cTn>
                              </p:par>
                              <p:par>
                                <p:cTn id="46" presetID="22" presetClass="entr" presetSubtype="8" fill="hold" nodeType="with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wipe(left)">
                                      <p:cBhvr>
                                        <p:cTn id="48" dur="500"/>
                                        <p:tgtEl>
                                          <p:spTgt spid="26"/>
                                        </p:tgtEl>
                                      </p:cBhvr>
                                    </p:animEffect>
                                  </p:childTnLst>
                                </p:cTn>
                              </p:par>
                              <p:par>
                                <p:cTn id="49" presetID="22" presetClass="entr" presetSubtype="8" fill="hold" nodeType="withEffect">
                                  <p:stCondLst>
                                    <p:cond delay="0"/>
                                  </p:stCondLst>
                                  <p:childTnLst>
                                    <p:set>
                                      <p:cBhvr>
                                        <p:cTn id="50" dur="1" fill="hold">
                                          <p:stCondLst>
                                            <p:cond delay="0"/>
                                          </p:stCondLst>
                                        </p:cTn>
                                        <p:tgtEl>
                                          <p:spTgt spid="40"/>
                                        </p:tgtEl>
                                        <p:attrNameLst>
                                          <p:attrName>style.visibility</p:attrName>
                                        </p:attrNameLst>
                                      </p:cBhvr>
                                      <p:to>
                                        <p:strVal val="visible"/>
                                      </p:to>
                                    </p:set>
                                    <p:animEffect transition="in" filter="wipe(left)">
                                      <p:cBhvr>
                                        <p:cTn id="51" dur="500"/>
                                        <p:tgtEl>
                                          <p:spTgt spid="40"/>
                                        </p:tgtEl>
                                      </p:cBhvr>
                                    </p:animEffect>
                                  </p:childTnLst>
                                </p:cTn>
                              </p:par>
                              <p:par>
                                <p:cTn id="52" presetID="22" presetClass="entr" presetSubtype="8" fill="hold" nodeType="withEffect">
                                  <p:stCondLst>
                                    <p:cond delay="0"/>
                                  </p:stCondLst>
                                  <p:childTnLst>
                                    <p:set>
                                      <p:cBhvr>
                                        <p:cTn id="53" dur="1" fill="hold">
                                          <p:stCondLst>
                                            <p:cond delay="0"/>
                                          </p:stCondLst>
                                        </p:cTn>
                                        <p:tgtEl>
                                          <p:spTgt spid="53"/>
                                        </p:tgtEl>
                                        <p:attrNameLst>
                                          <p:attrName>style.visibility</p:attrName>
                                        </p:attrNameLst>
                                      </p:cBhvr>
                                      <p:to>
                                        <p:strVal val="visible"/>
                                      </p:to>
                                    </p:set>
                                    <p:animEffect transition="in" filter="wipe(left)">
                                      <p:cBhvr>
                                        <p:cTn id="54" dur="500"/>
                                        <p:tgtEl>
                                          <p:spTgt spid="53"/>
                                        </p:tgtEl>
                                      </p:cBhvr>
                                    </p:animEffect>
                                  </p:childTnLst>
                                </p:cTn>
                              </p:par>
                              <p:par>
                                <p:cTn id="55" presetID="22" presetClass="entr" presetSubtype="8" fill="hold" nodeType="withEffect">
                                  <p:stCondLst>
                                    <p:cond delay="0"/>
                                  </p:stCondLst>
                                  <p:childTnLst>
                                    <p:set>
                                      <p:cBhvr>
                                        <p:cTn id="56" dur="1" fill="hold">
                                          <p:stCondLst>
                                            <p:cond delay="0"/>
                                          </p:stCondLst>
                                        </p:cTn>
                                        <p:tgtEl>
                                          <p:spTgt spid="70"/>
                                        </p:tgtEl>
                                        <p:attrNameLst>
                                          <p:attrName>style.visibility</p:attrName>
                                        </p:attrNameLst>
                                      </p:cBhvr>
                                      <p:to>
                                        <p:strVal val="visible"/>
                                      </p:to>
                                    </p:set>
                                    <p:animEffect transition="in" filter="wipe(left)">
                                      <p:cBhvr>
                                        <p:cTn id="57" dur="500"/>
                                        <p:tgtEl>
                                          <p:spTgt spid="70"/>
                                        </p:tgtEl>
                                      </p:cBhvr>
                                    </p:animEffect>
                                  </p:childTnLst>
                                </p:cTn>
                              </p:par>
                              <p:par>
                                <p:cTn id="58" presetID="10" presetClass="entr" presetSubtype="0" fill="hold" grpId="0" nodeType="withEffect">
                                  <p:stCondLst>
                                    <p:cond delay="250"/>
                                  </p:stCondLst>
                                  <p:childTnLst>
                                    <p:set>
                                      <p:cBhvr>
                                        <p:cTn id="59" dur="1" fill="hold">
                                          <p:stCondLst>
                                            <p:cond delay="0"/>
                                          </p:stCondLst>
                                        </p:cTn>
                                        <p:tgtEl>
                                          <p:spTgt spid="66"/>
                                        </p:tgtEl>
                                        <p:attrNameLst>
                                          <p:attrName>style.visibility</p:attrName>
                                        </p:attrNameLst>
                                      </p:cBhvr>
                                      <p:to>
                                        <p:strVal val="visible"/>
                                      </p:to>
                                    </p:set>
                                    <p:animEffect transition="in" filter="fade">
                                      <p:cBhvr>
                                        <p:cTn id="60" dur="250"/>
                                        <p:tgtEl>
                                          <p:spTgt spid="66"/>
                                        </p:tgtEl>
                                      </p:cBhvr>
                                    </p:animEffect>
                                  </p:childTnLst>
                                </p:cTn>
                              </p:par>
                              <p:par>
                                <p:cTn id="61" presetID="10" presetClass="entr" presetSubtype="0" fill="hold" grpId="0" nodeType="withEffect">
                                  <p:stCondLst>
                                    <p:cond delay="250"/>
                                  </p:stCondLst>
                                  <p:childTnLst>
                                    <p:set>
                                      <p:cBhvr>
                                        <p:cTn id="62" dur="1" fill="hold">
                                          <p:stCondLst>
                                            <p:cond delay="0"/>
                                          </p:stCondLst>
                                        </p:cTn>
                                        <p:tgtEl>
                                          <p:spTgt spid="67"/>
                                        </p:tgtEl>
                                        <p:attrNameLst>
                                          <p:attrName>style.visibility</p:attrName>
                                        </p:attrNameLst>
                                      </p:cBhvr>
                                      <p:to>
                                        <p:strVal val="visible"/>
                                      </p:to>
                                    </p:set>
                                    <p:animEffect transition="in" filter="fade">
                                      <p:cBhvr>
                                        <p:cTn id="63" dur="250"/>
                                        <p:tgtEl>
                                          <p:spTgt spid="67"/>
                                        </p:tgtEl>
                                      </p:cBhvr>
                                    </p:animEffect>
                                  </p:childTnLst>
                                </p:cTn>
                              </p:par>
                              <p:par>
                                <p:cTn id="64" presetID="10" presetClass="entr" presetSubtype="0" fill="hold" grpId="0" nodeType="withEffect">
                                  <p:stCondLst>
                                    <p:cond delay="250"/>
                                  </p:stCondLst>
                                  <p:childTnLst>
                                    <p:set>
                                      <p:cBhvr>
                                        <p:cTn id="65" dur="1" fill="hold">
                                          <p:stCondLst>
                                            <p:cond delay="0"/>
                                          </p:stCondLst>
                                        </p:cTn>
                                        <p:tgtEl>
                                          <p:spTgt spid="68"/>
                                        </p:tgtEl>
                                        <p:attrNameLst>
                                          <p:attrName>style.visibility</p:attrName>
                                        </p:attrNameLst>
                                      </p:cBhvr>
                                      <p:to>
                                        <p:strVal val="visible"/>
                                      </p:to>
                                    </p:set>
                                    <p:animEffect transition="in" filter="fade">
                                      <p:cBhvr>
                                        <p:cTn id="66" dur="250"/>
                                        <p:tgtEl>
                                          <p:spTgt spid="68"/>
                                        </p:tgtEl>
                                      </p:cBhvr>
                                    </p:animEffect>
                                  </p:childTnLst>
                                </p:cTn>
                              </p:par>
                              <p:par>
                                <p:cTn id="67" presetID="10" presetClass="entr" presetSubtype="0" fill="hold" grpId="0" nodeType="withEffect">
                                  <p:stCondLst>
                                    <p:cond delay="250"/>
                                  </p:stCondLst>
                                  <p:childTnLst>
                                    <p:set>
                                      <p:cBhvr>
                                        <p:cTn id="68" dur="1" fill="hold">
                                          <p:stCondLst>
                                            <p:cond delay="0"/>
                                          </p:stCondLst>
                                        </p:cTn>
                                        <p:tgtEl>
                                          <p:spTgt spid="69"/>
                                        </p:tgtEl>
                                        <p:attrNameLst>
                                          <p:attrName>style.visibility</p:attrName>
                                        </p:attrNameLst>
                                      </p:cBhvr>
                                      <p:to>
                                        <p:strVal val="visible"/>
                                      </p:to>
                                    </p:set>
                                    <p:animEffect transition="in" filter="fade">
                                      <p:cBhvr>
                                        <p:cTn id="69" dur="250"/>
                                        <p:tgtEl>
                                          <p:spTgt spid="69"/>
                                        </p:tgtEl>
                                      </p:cBhvr>
                                    </p:animEffect>
                                  </p:childTnLst>
                                </p:cTn>
                              </p:par>
                              <p:par>
                                <p:cTn id="70" presetID="10" presetClass="entr" presetSubtype="0" fill="hold" grpId="0" nodeType="withEffect">
                                  <p:stCondLst>
                                    <p:cond delay="250"/>
                                  </p:stCondLst>
                                  <p:childTnLst>
                                    <p:set>
                                      <p:cBhvr>
                                        <p:cTn id="71" dur="1" fill="hold">
                                          <p:stCondLst>
                                            <p:cond delay="0"/>
                                          </p:stCondLst>
                                        </p:cTn>
                                        <p:tgtEl>
                                          <p:spTgt spid="85"/>
                                        </p:tgtEl>
                                        <p:attrNameLst>
                                          <p:attrName>style.visibility</p:attrName>
                                        </p:attrNameLst>
                                      </p:cBhvr>
                                      <p:to>
                                        <p:strVal val="visible"/>
                                      </p:to>
                                    </p:set>
                                    <p:animEffect transition="in" filter="fade">
                                      <p:cBhvr>
                                        <p:cTn id="72" dur="250"/>
                                        <p:tgtEl>
                                          <p:spTgt spid="85"/>
                                        </p:tgtEl>
                                      </p:cBhvr>
                                    </p:animEffect>
                                  </p:childTnLst>
                                </p:cTn>
                              </p:par>
                            </p:childTnLst>
                          </p:cTn>
                        </p:par>
                        <p:par>
                          <p:cTn id="73" fill="hold">
                            <p:stCondLst>
                              <p:cond delay="500"/>
                            </p:stCondLst>
                            <p:childTnLst>
                              <p:par>
                                <p:cTn id="74" presetID="63" presetClass="path" presetSubtype="0" accel="24000" decel="50000" fill="hold" grpId="1" nodeType="afterEffect">
                                  <p:stCondLst>
                                    <p:cond delay="0"/>
                                  </p:stCondLst>
                                  <p:childTnLst>
                                    <p:animMotion origin="layout" path="M 2.5E-6 -4.07407E-6 L 0.09245 -4.07407E-6 " pathEditMode="relative" rAng="0" ptsTypes="AA">
                                      <p:cBhvr>
                                        <p:cTn id="75" dur="750" fill="hold"/>
                                        <p:tgtEl>
                                          <p:spTgt spid="66"/>
                                        </p:tgtEl>
                                        <p:attrNameLst>
                                          <p:attrName>ppt_x</p:attrName>
                                          <p:attrName>ppt_y</p:attrName>
                                        </p:attrNameLst>
                                      </p:cBhvr>
                                      <p:rCtr x="4622" y="0"/>
                                    </p:animMotion>
                                  </p:childTnLst>
                                </p:cTn>
                              </p:par>
                              <p:par>
                                <p:cTn id="76" presetID="63" presetClass="path" presetSubtype="0" accel="24000" decel="50000" fill="hold" grpId="1" nodeType="withEffect">
                                  <p:stCondLst>
                                    <p:cond delay="0"/>
                                  </p:stCondLst>
                                  <p:childTnLst>
                                    <p:animMotion origin="layout" path="M 2.5E-6 -7.40741E-7 L 0.03958 -7.40741E-7 " pathEditMode="relative" rAng="0" ptsTypes="AA">
                                      <p:cBhvr>
                                        <p:cTn id="77" dur="750" fill="hold"/>
                                        <p:tgtEl>
                                          <p:spTgt spid="67"/>
                                        </p:tgtEl>
                                        <p:attrNameLst>
                                          <p:attrName>ppt_x</p:attrName>
                                          <p:attrName>ppt_y</p:attrName>
                                        </p:attrNameLst>
                                      </p:cBhvr>
                                      <p:rCtr x="1979" y="0"/>
                                    </p:animMotion>
                                  </p:childTnLst>
                                </p:cTn>
                              </p:par>
                              <p:par>
                                <p:cTn id="78" presetID="63" presetClass="path" presetSubtype="0" accel="24000" decel="50000" fill="hold" grpId="1" nodeType="withEffect">
                                  <p:stCondLst>
                                    <p:cond delay="0"/>
                                  </p:stCondLst>
                                  <p:childTnLst>
                                    <p:animMotion origin="layout" path="M 2.5E-6 2.59259E-6 L 0.05286 2.59259E-6 " pathEditMode="relative" rAng="0" ptsTypes="AA">
                                      <p:cBhvr>
                                        <p:cTn id="79" dur="750" fill="hold"/>
                                        <p:tgtEl>
                                          <p:spTgt spid="68"/>
                                        </p:tgtEl>
                                        <p:attrNameLst>
                                          <p:attrName>ppt_x</p:attrName>
                                          <p:attrName>ppt_y</p:attrName>
                                        </p:attrNameLst>
                                      </p:cBhvr>
                                      <p:rCtr x="2643" y="0"/>
                                    </p:animMotion>
                                  </p:childTnLst>
                                </p:cTn>
                              </p:par>
                              <p:par>
                                <p:cTn id="80" presetID="63" presetClass="path" presetSubtype="0" accel="24000" decel="50000" fill="hold" grpId="1" nodeType="withEffect">
                                  <p:stCondLst>
                                    <p:cond delay="0"/>
                                  </p:stCondLst>
                                  <p:childTnLst>
                                    <p:animMotion origin="layout" path="M 2.5E-6 -4.07407E-6 L 0.02643 -4.07407E-6 " pathEditMode="relative" rAng="0" ptsTypes="AA">
                                      <p:cBhvr>
                                        <p:cTn id="81" dur="750" fill="hold"/>
                                        <p:tgtEl>
                                          <p:spTgt spid="69"/>
                                        </p:tgtEl>
                                        <p:attrNameLst>
                                          <p:attrName>ppt_x</p:attrName>
                                          <p:attrName>ppt_y</p:attrName>
                                        </p:attrNameLst>
                                      </p:cBhvr>
                                      <p:rCtr x="1315" y="0"/>
                                    </p:animMotion>
                                  </p:childTnLst>
                                </p:cTn>
                              </p:par>
                              <p:par>
                                <p:cTn id="82" presetID="63" presetClass="path" presetSubtype="0" accel="24000" decel="50000" fill="hold" grpId="1" nodeType="withEffect">
                                  <p:stCondLst>
                                    <p:cond delay="0"/>
                                  </p:stCondLst>
                                  <p:childTnLst>
                                    <p:animMotion origin="layout" path="M 2.5E-6 -3.7037E-7 L 0.07916 -3.7037E-7 " pathEditMode="relative" rAng="0" ptsTypes="AA">
                                      <p:cBhvr>
                                        <p:cTn id="83" dur="750" fill="hold"/>
                                        <p:tgtEl>
                                          <p:spTgt spid="85"/>
                                        </p:tgtEl>
                                        <p:attrNameLst>
                                          <p:attrName>ppt_x</p:attrName>
                                          <p:attrName>ppt_y</p:attrName>
                                        </p:attrNameLst>
                                      </p:cBhvr>
                                      <p:rCtr x="3958" y="0"/>
                                    </p:animMotion>
                                  </p:childTnLst>
                                </p:cTn>
                              </p:par>
                            </p:childTnLst>
                          </p:cTn>
                        </p:par>
                        <p:par>
                          <p:cTn id="84" fill="hold">
                            <p:stCondLst>
                              <p:cond delay="1250"/>
                            </p:stCondLst>
                            <p:childTnLst>
                              <p:par>
                                <p:cTn id="85" presetID="12" presetClass="entr" presetSubtype="8" fill="hold" grpId="0" nodeType="afterEffect">
                                  <p:stCondLst>
                                    <p:cond delay="0"/>
                                  </p:stCondLst>
                                  <p:childTnLst>
                                    <p:set>
                                      <p:cBhvr>
                                        <p:cTn id="86" dur="1" fill="hold">
                                          <p:stCondLst>
                                            <p:cond delay="0"/>
                                          </p:stCondLst>
                                        </p:cTn>
                                        <p:tgtEl>
                                          <p:spTgt spid="75"/>
                                        </p:tgtEl>
                                        <p:attrNameLst>
                                          <p:attrName>style.visibility</p:attrName>
                                        </p:attrNameLst>
                                      </p:cBhvr>
                                      <p:to>
                                        <p:strVal val="visible"/>
                                      </p:to>
                                    </p:set>
                                    <p:anim calcmode="lin" valueType="num">
                                      <p:cBhvr additive="base">
                                        <p:cTn id="87" dur="500"/>
                                        <p:tgtEl>
                                          <p:spTgt spid="75"/>
                                        </p:tgtEl>
                                        <p:attrNameLst>
                                          <p:attrName>ppt_x</p:attrName>
                                        </p:attrNameLst>
                                      </p:cBhvr>
                                      <p:tavLst>
                                        <p:tav tm="0">
                                          <p:val>
                                            <p:strVal val="#ppt_x-#ppt_w*1.125000"/>
                                          </p:val>
                                        </p:tav>
                                        <p:tav tm="100000">
                                          <p:val>
                                            <p:strVal val="#ppt_x"/>
                                          </p:val>
                                        </p:tav>
                                      </p:tavLst>
                                    </p:anim>
                                    <p:animEffect transition="in" filter="wipe(right)">
                                      <p:cBhvr>
                                        <p:cTn id="88" dur="500"/>
                                        <p:tgtEl>
                                          <p:spTgt spid="75"/>
                                        </p:tgtEl>
                                      </p:cBhvr>
                                    </p:animEffect>
                                  </p:childTnLst>
                                </p:cTn>
                              </p:par>
                            </p:childTnLst>
                          </p:cTn>
                        </p:par>
                        <p:par>
                          <p:cTn id="89" fill="hold">
                            <p:stCondLst>
                              <p:cond delay="1750"/>
                            </p:stCondLst>
                            <p:childTnLst>
                              <p:par>
                                <p:cTn id="90" presetID="22" presetClass="entr" presetSubtype="8" fill="hold" grpId="0" nodeType="afterEffect">
                                  <p:stCondLst>
                                    <p:cond delay="0"/>
                                  </p:stCondLst>
                                  <p:childTnLst>
                                    <p:set>
                                      <p:cBhvr>
                                        <p:cTn id="91" dur="1" fill="hold">
                                          <p:stCondLst>
                                            <p:cond delay="0"/>
                                          </p:stCondLst>
                                        </p:cTn>
                                        <p:tgtEl>
                                          <p:spTgt spid="73"/>
                                        </p:tgtEl>
                                        <p:attrNameLst>
                                          <p:attrName>style.visibility</p:attrName>
                                        </p:attrNameLst>
                                      </p:cBhvr>
                                      <p:to>
                                        <p:strVal val="visible"/>
                                      </p:to>
                                    </p:set>
                                    <p:animEffect transition="in" filter="wipe(left)">
                                      <p:cBhvr>
                                        <p:cTn id="92" dur="500"/>
                                        <p:tgtEl>
                                          <p:spTgt spid="73"/>
                                        </p:tgtEl>
                                      </p:cBhvr>
                                    </p:animEffect>
                                  </p:childTnLst>
                                </p:cTn>
                              </p:par>
                              <p:par>
                                <p:cTn id="93" presetID="22" presetClass="entr" presetSubtype="8" fill="hold" grpId="0" nodeType="withEffect">
                                  <p:stCondLst>
                                    <p:cond delay="0"/>
                                  </p:stCondLst>
                                  <p:childTnLst>
                                    <p:set>
                                      <p:cBhvr>
                                        <p:cTn id="94" dur="1" fill="hold">
                                          <p:stCondLst>
                                            <p:cond delay="0"/>
                                          </p:stCondLst>
                                        </p:cTn>
                                        <p:tgtEl>
                                          <p:spTgt spid="74"/>
                                        </p:tgtEl>
                                        <p:attrNameLst>
                                          <p:attrName>style.visibility</p:attrName>
                                        </p:attrNameLst>
                                      </p:cBhvr>
                                      <p:to>
                                        <p:strVal val="visible"/>
                                      </p:to>
                                    </p:set>
                                    <p:animEffect transition="in" filter="wipe(left)">
                                      <p:cBhvr>
                                        <p:cTn id="95"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7" grpId="1"/>
      <p:bldP spid="9" grpId="0"/>
      <p:bldP spid="11" grpId="0" animBg="1"/>
      <p:bldP spid="12" grpId="0" animBg="1"/>
      <p:bldP spid="13" grpId="0"/>
      <p:bldP spid="66" grpId="0" animBg="1"/>
      <p:bldP spid="66" grpId="1" animBg="1"/>
      <p:bldP spid="67" grpId="0" animBg="1"/>
      <p:bldP spid="67" grpId="1" animBg="1"/>
      <p:bldP spid="68" grpId="0" animBg="1"/>
      <p:bldP spid="68" grpId="1" animBg="1"/>
      <p:bldP spid="69" grpId="0" animBg="1"/>
      <p:bldP spid="69" grpId="1" animBg="1"/>
      <p:bldP spid="73" grpId="0" animBg="1"/>
      <p:bldP spid="74" grpId="0"/>
      <p:bldP spid="75" grpId="0" animBg="1"/>
      <p:bldP spid="104" grpId="0" animBg="1"/>
      <p:bldP spid="105" grpId="0" animBg="1"/>
      <p:bldP spid="85" grpId="0" animBg="1"/>
      <p:bldP spid="85" grpId="1"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E85050E8-530B-48B8-8D30-6B4189AAC40C}"/>
              </a:ext>
            </a:extLst>
          </p:cNvPr>
          <p:cNvSpPr/>
          <p:nvPr/>
        </p:nvSpPr>
        <p:spPr bwMode="auto">
          <a:xfrm>
            <a:off x="3085136" y="2268209"/>
            <a:ext cx="2211626" cy="346521"/>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42" name="Rectangle 41">
            <a:extLst>
              <a:ext uri="{FF2B5EF4-FFF2-40B4-BE49-F238E27FC236}">
                <a16:creationId xmlns:a16="http://schemas.microsoft.com/office/drawing/2014/main" id="{8DFBE1EA-D672-4BA2-8AC5-8F9258F9AE8E}"/>
              </a:ext>
            </a:extLst>
          </p:cNvPr>
          <p:cNvSpPr/>
          <p:nvPr/>
        </p:nvSpPr>
        <p:spPr bwMode="auto">
          <a:xfrm>
            <a:off x="5577549" y="2268209"/>
            <a:ext cx="2410247" cy="346521"/>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29" name="Rectangle 28">
            <a:extLst>
              <a:ext uri="{FF2B5EF4-FFF2-40B4-BE49-F238E27FC236}">
                <a16:creationId xmlns:a16="http://schemas.microsoft.com/office/drawing/2014/main" id="{22EE7413-F083-4FA4-B233-0BE9A60054A1}"/>
              </a:ext>
            </a:extLst>
          </p:cNvPr>
          <p:cNvSpPr/>
          <p:nvPr/>
        </p:nvSpPr>
        <p:spPr bwMode="auto">
          <a:xfrm>
            <a:off x="736344" y="2268209"/>
            <a:ext cx="2068005" cy="346521"/>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sp>
        <p:nvSpPr>
          <p:cNvPr id="6" name="Rectangle 5">
            <a:extLst>
              <a:ext uri="{FF2B5EF4-FFF2-40B4-BE49-F238E27FC236}">
                <a16:creationId xmlns:a16="http://schemas.microsoft.com/office/drawing/2014/main" id="{1168F540-B516-4595-99BE-669BAE43E877}"/>
              </a:ext>
            </a:extLst>
          </p:cNvPr>
          <p:cNvSpPr/>
          <p:nvPr/>
        </p:nvSpPr>
        <p:spPr bwMode="auto">
          <a:xfrm>
            <a:off x="736343" y="2780243"/>
            <a:ext cx="1775612" cy="21371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leage</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ondition</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ar brand</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Year of make</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Regulations</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9" name="Rectangle 8">
            <a:extLst>
              <a:ext uri="{FF2B5EF4-FFF2-40B4-BE49-F238E27FC236}">
                <a16:creationId xmlns:a16="http://schemas.microsoft.com/office/drawing/2014/main" id="{8613D47F-F817-488D-A5C9-E311626DB096}"/>
              </a:ext>
            </a:extLst>
          </p:cNvPr>
          <p:cNvSpPr/>
          <p:nvPr/>
        </p:nvSpPr>
        <p:spPr bwMode="auto">
          <a:xfrm>
            <a:off x="3085138" y="2780243"/>
            <a:ext cx="2281267" cy="21371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Gradient Boosted  </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arest Neighbors </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SGD</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Bayesian Regression</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GBM </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12" name="Rectangle 11">
            <a:extLst>
              <a:ext uri="{FF2B5EF4-FFF2-40B4-BE49-F238E27FC236}">
                <a16:creationId xmlns:a16="http://schemas.microsoft.com/office/drawing/2014/main" id="{839EEEBE-474C-4A48-8C83-5F1694ABB77B}"/>
              </a:ext>
            </a:extLst>
          </p:cNvPr>
          <p:cNvSpPr/>
          <p:nvPr/>
        </p:nvSpPr>
        <p:spPr bwMode="auto">
          <a:xfrm>
            <a:off x="3085139" y="3156537"/>
            <a:ext cx="2083918" cy="3382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rPr>
              <a:t>Nearest Neighbors</a:t>
            </a:r>
          </a:p>
        </p:txBody>
      </p:sp>
      <p:sp>
        <p:nvSpPr>
          <p:cNvPr id="13" name="Rectangle 12">
            <a:extLst>
              <a:ext uri="{FF2B5EF4-FFF2-40B4-BE49-F238E27FC236}">
                <a16:creationId xmlns:a16="http://schemas.microsoft.com/office/drawing/2014/main" id="{6D24F1C5-AFA1-4EB9-B62D-87EF246C2E29}"/>
              </a:ext>
            </a:extLst>
          </p:cNvPr>
          <p:cNvSpPr/>
          <p:nvPr/>
        </p:nvSpPr>
        <p:spPr bwMode="auto">
          <a:xfrm>
            <a:off x="5577550" y="2780243"/>
            <a:ext cx="1669425" cy="17776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mn-ea"/>
                <a:cs typeface="Segoe UI Semibold" panose="020B0702040204020203" pitchFamily="34" charset="0"/>
              </a:rPr>
              <a:t>Criterion</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mn-ea"/>
                <a:cs typeface="Segoe UI Semibold" panose="020B0702040204020203" pitchFamily="34" charset="0"/>
              </a:rPr>
              <a:t>Loss</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mn-ea"/>
                <a:cs typeface="Segoe UI Semibold" panose="020B0702040204020203" pitchFamily="34" charset="0"/>
              </a:rPr>
              <a:t>Min Samples Split</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mn-ea"/>
                <a:cs typeface="Segoe UI Semibold" panose="020B0702040204020203" pitchFamily="34" charset="0"/>
              </a:rPr>
              <a:t>Min Samples Leaf</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mn-ea"/>
                <a:cs typeface="Segoe UI Semibold" panose="020B0702040204020203" pitchFamily="34" charset="0"/>
              </a:rPr>
              <a:t>XYZ</a:t>
            </a:r>
          </a:p>
        </p:txBody>
      </p:sp>
      <p:grpSp>
        <p:nvGrpSpPr>
          <p:cNvPr id="14" name="Group 13">
            <a:extLst>
              <a:ext uri="{FF2B5EF4-FFF2-40B4-BE49-F238E27FC236}">
                <a16:creationId xmlns:a16="http://schemas.microsoft.com/office/drawing/2014/main" id="{EB7F8B3D-BA5D-451F-A1DB-80D9356B9AD0}"/>
              </a:ext>
            </a:extLst>
          </p:cNvPr>
          <p:cNvGrpSpPr/>
          <p:nvPr/>
        </p:nvGrpSpPr>
        <p:grpSpPr>
          <a:xfrm>
            <a:off x="7294889" y="2917699"/>
            <a:ext cx="1450408" cy="146982"/>
            <a:chOff x="8120217" y="3558128"/>
            <a:chExt cx="1940664" cy="147003"/>
          </a:xfrm>
        </p:grpSpPr>
        <p:cxnSp>
          <p:nvCxnSpPr>
            <p:cNvPr id="15" name="Straight Connector 14">
              <a:extLst>
                <a:ext uri="{FF2B5EF4-FFF2-40B4-BE49-F238E27FC236}">
                  <a16:creationId xmlns:a16="http://schemas.microsoft.com/office/drawing/2014/main" id="{36E66D7F-221D-4A0D-A9EC-9E8497E2AEA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F721B48-8884-4907-8896-F0A5619E29E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570DBDBC-C4D7-4D6E-9975-A40CD248796E}"/>
                </a:ext>
              </a:extLst>
            </p:cNvPr>
            <p:cNvGrpSpPr/>
            <p:nvPr/>
          </p:nvGrpSpPr>
          <p:grpSpPr>
            <a:xfrm>
              <a:off x="8335846" y="3593256"/>
              <a:ext cx="1509402" cy="111875"/>
              <a:chOff x="8335846" y="3498555"/>
              <a:chExt cx="1509402" cy="206573"/>
            </a:xfrm>
          </p:grpSpPr>
          <p:cxnSp>
            <p:nvCxnSpPr>
              <p:cNvPr id="18" name="Straight Connector 17">
                <a:extLst>
                  <a:ext uri="{FF2B5EF4-FFF2-40B4-BE49-F238E27FC236}">
                    <a16:creationId xmlns:a16="http://schemas.microsoft.com/office/drawing/2014/main" id="{33F4E9F9-A7BB-417B-B7D8-44E513C1E35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4471F8A-A6FF-478F-B21C-16B27F79EA1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7BD7BAD-A456-4CDA-AAF2-5B28F66CF7AC}"/>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93968D-4ED1-4D98-BC02-7CE789FA38B2}"/>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F79CF59-778A-4310-9EAA-73FC5193DBEB}"/>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5C58FA-21CF-4D4E-8F85-D218ABD5DBD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307C462-2E34-4B78-AF4D-6D93FF61EB7D}"/>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82B236-4337-4E82-BF42-5F3BF652CD0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AE3E6691-849A-42CE-B310-226C974D8545}"/>
              </a:ext>
            </a:extLst>
          </p:cNvPr>
          <p:cNvGrpSpPr/>
          <p:nvPr/>
        </p:nvGrpSpPr>
        <p:grpSpPr>
          <a:xfrm>
            <a:off x="7294889" y="3257248"/>
            <a:ext cx="1450408" cy="146978"/>
            <a:chOff x="8120217" y="3558128"/>
            <a:chExt cx="1940664" cy="146999"/>
          </a:xfrm>
        </p:grpSpPr>
        <p:cxnSp>
          <p:nvCxnSpPr>
            <p:cNvPr id="27" name="Straight Connector 26">
              <a:extLst>
                <a:ext uri="{FF2B5EF4-FFF2-40B4-BE49-F238E27FC236}">
                  <a16:creationId xmlns:a16="http://schemas.microsoft.com/office/drawing/2014/main" id="{4A2AADB1-5ACB-4B06-8960-DA5B2CBA957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971EAF7-2482-48BE-B9D1-ED930A7D5255}"/>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1B140EAB-319E-4A3D-BADD-1487F2A8610F}"/>
                </a:ext>
              </a:extLst>
            </p:cNvPr>
            <p:cNvGrpSpPr/>
            <p:nvPr/>
          </p:nvGrpSpPr>
          <p:grpSpPr>
            <a:xfrm>
              <a:off x="8335846" y="3592140"/>
              <a:ext cx="1509402" cy="112986"/>
              <a:chOff x="8335846" y="3496504"/>
              <a:chExt cx="1509402" cy="208625"/>
            </a:xfrm>
          </p:grpSpPr>
          <p:cxnSp>
            <p:nvCxnSpPr>
              <p:cNvPr id="31" name="Straight Connector 30">
                <a:extLst>
                  <a:ext uri="{FF2B5EF4-FFF2-40B4-BE49-F238E27FC236}">
                    <a16:creationId xmlns:a16="http://schemas.microsoft.com/office/drawing/2014/main" id="{E00BEBDB-ED9F-4CF4-86F8-6932A394656B}"/>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85136C-A8BF-418A-AC51-79F632211548}"/>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D7CE1A0-DB70-4794-98EC-7F2367C9D90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E2E449-5E21-4074-AE06-FFA79787AFB8}"/>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7693B8E-21A1-4B6A-B15E-5563F05446D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8085440-B678-4A53-91EA-F68A0F5D3ABF}"/>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CADAF9-6666-4671-8DF5-6C4B0902B046}"/>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39F7B7-30CE-40EC-BD52-084CB961FCF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42862650-122D-478D-A643-4F78F1CFC9AD}"/>
              </a:ext>
            </a:extLst>
          </p:cNvPr>
          <p:cNvGrpSpPr/>
          <p:nvPr/>
        </p:nvGrpSpPr>
        <p:grpSpPr>
          <a:xfrm>
            <a:off x="7294889" y="3596793"/>
            <a:ext cx="1450408" cy="146979"/>
            <a:chOff x="8120217" y="3558128"/>
            <a:chExt cx="1940664" cy="147000"/>
          </a:xfrm>
        </p:grpSpPr>
        <p:cxnSp>
          <p:nvCxnSpPr>
            <p:cNvPr id="41" name="Straight Connector 40">
              <a:extLst>
                <a:ext uri="{FF2B5EF4-FFF2-40B4-BE49-F238E27FC236}">
                  <a16:creationId xmlns:a16="http://schemas.microsoft.com/office/drawing/2014/main" id="{9D607C2D-C5DF-442D-8A48-59D656A91493}"/>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DA20C60-AB0F-478B-8CA7-BFE6B3F9DBD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D0211F3B-8C0B-4A97-9EA8-D67A0CB21FF3}"/>
                </a:ext>
              </a:extLst>
            </p:cNvPr>
            <p:cNvGrpSpPr/>
            <p:nvPr/>
          </p:nvGrpSpPr>
          <p:grpSpPr>
            <a:xfrm>
              <a:off x="8335846" y="3593752"/>
              <a:ext cx="1509402" cy="111376"/>
              <a:chOff x="8335846" y="3499477"/>
              <a:chExt cx="1509402" cy="205652"/>
            </a:xfrm>
          </p:grpSpPr>
          <p:cxnSp>
            <p:nvCxnSpPr>
              <p:cNvPr id="45" name="Straight Connector 44">
                <a:extLst>
                  <a:ext uri="{FF2B5EF4-FFF2-40B4-BE49-F238E27FC236}">
                    <a16:creationId xmlns:a16="http://schemas.microsoft.com/office/drawing/2014/main" id="{7F1B9279-5D72-436B-AA70-8DE4EE1BA9C3}"/>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EFC06FA-2399-48C8-B905-D7338CDD3CDC}"/>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B3B114-19EA-47E8-BE1A-AABBCF4D4F21}"/>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817593F-BEB3-4069-B7AD-0436D92788C8}"/>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A67F6FE-9B8F-4A1B-A058-5414093A731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9F0A976-453B-463F-91D6-0C611B815CBC}"/>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565DDC2-7B47-4B83-A0FB-2DC7C7C8BC1B}"/>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D3691DC-B356-4D59-99E2-0970AE2C758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B4CEA875-FCA7-44FB-A4C6-37F4D145A96D}"/>
              </a:ext>
            </a:extLst>
          </p:cNvPr>
          <p:cNvGrpSpPr/>
          <p:nvPr/>
        </p:nvGrpSpPr>
        <p:grpSpPr>
          <a:xfrm>
            <a:off x="7294889" y="3936339"/>
            <a:ext cx="1450408" cy="146981"/>
            <a:chOff x="8120217" y="3558128"/>
            <a:chExt cx="1940664" cy="147002"/>
          </a:xfrm>
        </p:grpSpPr>
        <p:cxnSp>
          <p:nvCxnSpPr>
            <p:cNvPr id="54" name="Straight Connector 53">
              <a:extLst>
                <a:ext uri="{FF2B5EF4-FFF2-40B4-BE49-F238E27FC236}">
                  <a16:creationId xmlns:a16="http://schemas.microsoft.com/office/drawing/2014/main" id="{B967AD7B-F52F-4B1F-B557-CDADFF492C20}"/>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E85ECC0-806C-4FB5-AAC3-F83E14B7B51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1E82DF8A-9DA7-42CE-A9D7-D153E0037A75}"/>
                </a:ext>
              </a:extLst>
            </p:cNvPr>
            <p:cNvGrpSpPr/>
            <p:nvPr/>
          </p:nvGrpSpPr>
          <p:grpSpPr>
            <a:xfrm>
              <a:off x="8335846" y="3595364"/>
              <a:ext cx="1509402" cy="109766"/>
              <a:chOff x="8335846" y="3502450"/>
              <a:chExt cx="1509402" cy="202679"/>
            </a:xfrm>
          </p:grpSpPr>
          <p:cxnSp>
            <p:nvCxnSpPr>
              <p:cNvPr id="57" name="Straight Connector 56">
                <a:extLst>
                  <a:ext uri="{FF2B5EF4-FFF2-40B4-BE49-F238E27FC236}">
                    <a16:creationId xmlns:a16="http://schemas.microsoft.com/office/drawing/2014/main" id="{B49411CB-20CD-4961-BCEF-F473BF9DE50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03961EE-4D11-41B0-A80C-6F74F6E972D2}"/>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EB82067-4994-4ABF-9DFE-E6EDD20ACAD8}"/>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3EC73D7-0229-49D8-9310-B919F1C32BD2}"/>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EB320E5-A7E5-43E0-B8AA-F97D163948B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048D1FB-D453-418E-825B-CD0FE7434ECD}"/>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29C819F-C82D-4546-96FF-9F6354F14FA0}"/>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438182D-82AE-4512-8139-D435A9D2FB23}"/>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66" name="Isosceles Triangle 65">
            <a:extLst>
              <a:ext uri="{FF2B5EF4-FFF2-40B4-BE49-F238E27FC236}">
                <a16:creationId xmlns:a16="http://schemas.microsoft.com/office/drawing/2014/main" id="{B0DD8EC6-0046-4274-B5A9-B81B57C48785}"/>
              </a:ext>
            </a:extLst>
          </p:cNvPr>
          <p:cNvSpPr/>
          <p:nvPr/>
        </p:nvSpPr>
        <p:spPr bwMode="auto">
          <a:xfrm>
            <a:off x="8354410" y="2973253"/>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Isosceles Triangle 66">
            <a:extLst>
              <a:ext uri="{FF2B5EF4-FFF2-40B4-BE49-F238E27FC236}">
                <a16:creationId xmlns:a16="http://schemas.microsoft.com/office/drawing/2014/main" id="{B25060C6-9AA8-42B4-9FAE-2F09F4C71448}"/>
              </a:ext>
            </a:extLst>
          </p:cNvPr>
          <p:cNvSpPr/>
          <p:nvPr/>
        </p:nvSpPr>
        <p:spPr bwMode="auto">
          <a:xfrm>
            <a:off x="7712682" y="3312800"/>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Isosceles Triangle 67">
            <a:extLst>
              <a:ext uri="{FF2B5EF4-FFF2-40B4-BE49-F238E27FC236}">
                <a16:creationId xmlns:a16="http://schemas.microsoft.com/office/drawing/2014/main" id="{3DD55A1A-0126-4F4B-8DAB-7170E3312892}"/>
              </a:ext>
            </a:extLst>
          </p:cNvPr>
          <p:cNvSpPr/>
          <p:nvPr/>
        </p:nvSpPr>
        <p:spPr bwMode="auto">
          <a:xfrm>
            <a:off x="7863541" y="3652346"/>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D4F56831-466C-490B-994D-C4E766A67456}"/>
              </a:ext>
            </a:extLst>
          </p:cNvPr>
          <p:cNvSpPr/>
          <p:nvPr/>
        </p:nvSpPr>
        <p:spPr bwMode="auto">
          <a:xfrm>
            <a:off x="7542422" y="3991893"/>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8073F30B-1B75-468A-9E11-233BEF8B686E}"/>
              </a:ext>
            </a:extLst>
          </p:cNvPr>
          <p:cNvSpPr/>
          <p:nvPr/>
        </p:nvSpPr>
        <p:spPr bwMode="auto">
          <a:xfrm>
            <a:off x="9571195" y="3743405"/>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74" name="TextBox 73">
            <a:extLst>
              <a:ext uri="{FF2B5EF4-FFF2-40B4-BE49-F238E27FC236}">
                <a16:creationId xmlns:a16="http://schemas.microsoft.com/office/drawing/2014/main" id="{5819BF1A-393F-4DC0-AAFF-F23D33A65562}"/>
              </a:ext>
            </a:extLst>
          </p:cNvPr>
          <p:cNvSpPr txBox="1"/>
          <p:nvPr/>
        </p:nvSpPr>
        <p:spPr>
          <a:xfrm>
            <a:off x="9615493" y="4225153"/>
            <a:ext cx="564552" cy="237743"/>
          </a:xfrm>
          <a:prstGeom prst="rect">
            <a:avLst/>
          </a:prstGeom>
          <a:noFill/>
        </p:spPr>
        <p:txBody>
          <a:bodyPr wrap="none" lIns="91427" tIns="45713" rIns="91427" bIns="45713"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8D4"/>
                </a:solidFill>
                <a:effectLst/>
                <a:uLnTx/>
                <a:uFillTx/>
                <a:latin typeface="Segoe UI"/>
                <a:ea typeface="+mn-ea"/>
                <a:cs typeface="+mn-cs"/>
              </a:rPr>
              <a:t>Model</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110" y="2767743"/>
            <a:ext cx="323873" cy="2410248"/>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77B495D5-2B30-4AA1-AA98-F45B619A2F83}"/>
              </a:ext>
            </a:extLst>
          </p:cNvPr>
          <p:cNvGrpSpPr/>
          <p:nvPr/>
        </p:nvGrpSpPr>
        <p:grpSpPr>
          <a:xfrm>
            <a:off x="589045" y="5680087"/>
            <a:ext cx="8659839" cy="667278"/>
            <a:chOff x="837631" y="5844617"/>
            <a:chExt cx="9792001" cy="667372"/>
          </a:xfrm>
        </p:grpSpPr>
        <p:cxnSp>
          <p:nvCxnSpPr>
            <p:cNvPr id="78" name="Connector: Elbow 77">
              <a:extLst>
                <a:ext uri="{FF2B5EF4-FFF2-40B4-BE49-F238E27FC236}">
                  <a16:creationId xmlns:a16="http://schemas.microsoft.com/office/drawing/2014/main" id="{CD9E5583-191B-46A7-89A0-4970E92444FC}"/>
                </a:ext>
              </a:extLst>
            </p:cNvPr>
            <p:cNvCxnSpPr>
              <a:cxnSpLocks/>
            </p:cNvCxnSpPr>
            <p:nvPr/>
          </p:nvCxnSpPr>
          <p:spPr>
            <a:xfrm rot="5400000">
              <a:off x="5727282" y="954966"/>
              <a:ext cx="12700" cy="9792001"/>
            </a:xfrm>
            <a:prstGeom prst="bentConnector3">
              <a:avLst>
                <a:gd name="adj1" fmla="val 2170835"/>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619FF23F-887C-46B1-9898-6C2E0700A7A2}"/>
                </a:ext>
              </a:extLst>
            </p:cNvPr>
            <p:cNvSpPr/>
            <p:nvPr/>
          </p:nvSpPr>
          <p:spPr bwMode="auto">
            <a:xfrm>
              <a:off x="4652842" y="6221910"/>
              <a:ext cx="2161581" cy="290079"/>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Iterate</a:t>
              </a:r>
            </a:p>
          </p:txBody>
        </p:sp>
      </p:grpSp>
      <p:sp>
        <p:nvSpPr>
          <p:cNvPr id="80" name="Rectangle 79">
            <a:extLst>
              <a:ext uri="{FF2B5EF4-FFF2-40B4-BE49-F238E27FC236}">
                <a16:creationId xmlns:a16="http://schemas.microsoft.com/office/drawing/2014/main" id="{6C1DA2B4-1C0E-4041-B2C8-AE1DBE888000}"/>
              </a:ext>
            </a:extLst>
          </p:cNvPr>
          <p:cNvSpPr/>
          <p:nvPr/>
        </p:nvSpPr>
        <p:spPr bwMode="auto">
          <a:xfrm>
            <a:off x="9571195" y="3751822"/>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83" name="Rectangle 82">
            <a:extLst>
              <a:ext uri="{FF2B5EF4-FFF2-40B4-BE49-F238E27FC236}">
                <a16:creationId xmlns:a16="http://schemas.microsoft.com/office/drawing/2014/main" id="{766313DE-E1C9-40AE-938F-A49589B1BBD4}"/>
              </a:ext>
            </a:extLst>
          </p:cNvPr>
          <p:cNvSpPr/>
          <p:nvPr/>
        </p:nvSpPr>
        <p:spPr bwMode="auto">
          <a:xfrm>
            <a:off x="3085139" y="2805555"/>
            <a:ext cx="2083918" cy="3382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rPr>
              <a:t>Gradient Boosted</a:t>
            </a:r>
          </a:p>
        </p:txBody>
      </p:sp>
      <p:sp>
        <p:nvSpPr>
          <p:cNvPr id="84" name="Rectangle 83">
            <a:extLst>
              <a:ext uri="{FF2B5EF4-FFF2-40B4-BE49-F238E27FC236}">
                <a16:creationId xmlns:a16="http://schemas.microsoft.com/office/drawing/2014/main" id="{92192048-1443-47D3-9B5E-3646ED6B16D2}"/>
              </a:ext>
            </a:extLst>
          </p:cNvPr>
          <p:cNvSpPr/>
          <p:nvPr/>
        </p:nvSpPr>
        <p:spPr bwMode="auto">
          <a:xfrm>
            <a:off x="5577550" y="2780243"/>
            <a:ext cx="1669425" cy="17776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mn-ea"/>
                <a:cs typeface="Segoe UI Semibold" panose="020B0702040204020203" pitchFamily="34" charset="0"/>
              </a:rPr>
              <a:t>N </a:t>
            </a: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ighbors</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Weights</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etric</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t>
            </a:r>
          </a:p>
          <a:p>
            <a:pPr marL="0" marR="0" lvl="0" indent="0" algn="l" defTabSz="932293"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ZYX</a:t>
            </a:r>
          </a:p>
        </p:txBody>
      </p:sp>
      <p:grpSp>
        <p:nvGrpSpPr>
          <p:cNvPr id="97" name="Group 96">
            <a:extLst>
              <a:ext uri="{FF2B5EF4-FFF2-40B4-BE49-F238E27FC236}">
                <a16:creationId xmlns:a16="http://schemas.microsoft.com/office/drawing/2014/main" id="{A5076285-431D-44B4-824C-4F8DF6C6B7A4}"/>
              </a:ext>
            </a:extLst>
          </p:cNvPr>
          <p:cNvGrpSpPr/>
          <p:nvPr/>
        </p:nvGrpSpPr>
        <p:grpSpPr>
          <a:xfrm>
            <a:off x="736983" y="2829465"/>
            <a:ext cx="1859308" cy="1349172"/>
            <a:chOff x="887982" y="2979620"/>
            <a:chExt cx="1859572" cy="1349364"/>
          </a:xfrm>
          <a:solidFill>
            <a:schemeClr val="tx2"/>
          </a:solidFill>
        </p:grpSpPr>
        <p:sp>
          <p:nvSpPr>
            <p:cNvPr id="98" name="Rectangle 97">
              <a:extLst>
                <a:ext uri="{FF2B5EF4-FFF2-40B4-BE49-F238E27FC236}">
                  <a16:creationId xmlns:a16="http://schemas.microsoft.com/office/drawing/2014/main" id="{2DB19555-5C4A-423A-81BC-6D0081323C7C}"/>
                </a:ext>
              </a:extLst>
            </p:cNvPr>
            <p:cNvSpPr/>
            <p:nvPr/>
          </p:nvSpPr>
          <p:spPr bwMode="auto">
            <a:xfrm>
              <a:off x="887982" y="2979620"/>
              <a:ext cx="1859572" cy="2991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rPr>
                <a:t>Mileage</a:t>
              </a:r>
            </a:p>
          </p:txBody>
        </p:sp>
        <p:sp>
          <p:nvSpPr>
            <p:cNvPr id="99" name="Rectangle 98">
              <a:extLst>
                <a:ext uri="{FF2B5EF4-FFF2-40B4-BE49-F238E27FC236}">
                  <a16:creationId xmlns:a16="http://schemas.microsoft.com/office/drawing/2014/main" id="{71FE8245-9253-4C95-833E-F8CE7A73D919}"/>
                </a:ext>
              </a:extLst>
            </p:cNvPr>
            <p:cNvSpPr/>
            <p:nvPr/>
          </p:nvSpPr>
          <p:spPr bwMode="auto">
            <a:xfrm>
              <a:off x="887982" y="3679504"/>
              <a:ext cx="1859572" cy="2991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103" name="Rectangle 102">
              <a:extLst>
                <a:ext uri="{FF2B5EF4-FFF2-40B4-BE49-F238E27FC236}">
                  <a16:creationId xmlns:a16="http://schemas.microsoft.com/office/drawing/2014/main" id="{A5C9A6E2-03E2-4179-B9E9-43BE2661A750}"/>
                </a:ext>
              </a:extLst>
            </p:cNvPr>
            <p:cNvSpPr/>
            <p:nvPr/>
          </p:nvSpPr>
          <p:spPr bwMode="auto">
            <a:xfrm>
              <a:off x="887982" y="4029800"/>
              <a:ext cx="1859572" cy="2991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grpSp>
      <p:grpSp>
        <p:nvGrpSpPr>
          <p:cNvPr id="82" name="Group 81">
            <a:extLst>
              <a:ext uri="{FF2B5EF4-FFF2-40B4-BE49-F238E27FC236}">
                <a16:creationId xmlns:a16="http://schemas.microsoft.com/office/drawing/2014/main" id="{112BEC75-D81D-4186-8772-659189043A0B}"/>
              </a:ext>
            </a:extLst>
          </p:cNvPr>
          <p:cNvGrpSpPr/>
          <p:nvPr/>
        </p:nvGrpSpPr>
        <p:grpSpPr>
          <a:xfrm>
            <a:off x="736983" y="3179358"/>
            <a:ext cx="1859308" cy="999280"/>
            <a:chOff x="887982" y="3329562"/>
            <a:chExt cx="1859572" cy="999422"/>
          </a:xfrm>
          <a:solidFill>
            <a:schemeClr val="tx2"/>
          </a:solidFill>
        </p:grpSpPr>
        <p:sp>
          <p:nvSpPr>
            <p:cNvPr id="87" name="Rectangle 86">
              <a:extLst>
                <a:ext uri="{FF2B5EF4-FFF2-40B4-BE49-F238E27FC236}">
                  <a16:creationId xmlns:a16="http://schemas.microsoft.com/office/drawing/2014/main" id="{893B809B-6138-4491-82C4-842FA4297CF5}"/>
                </a:ext>
              </a:extLst>
            </p:cNvPr>
            <p:cNvSpPr/>
            <p:nvPr/>
          </p:nvSpPr>
          <p:spPr bwMode="auto">
            <a:xfrm>
              <a:off x="887982" y="3679504"/>
              <a:ext cx="1859572" cy="2991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88" name="Rectangle 87">
              <a:extLst>
                <a:ext uri="{FF2B5EF4-FFF2-40B4-BE49-F238E27FC236}">
                  <a16:creationId xmlns:a16="http://schemas.microsoft.com/office/drawing/2014/main" id="{F10017AA-64D2-4E65-84D5-C84A8DD03586}"/>
                </a:ext>
              </a:extLst>
            </p:cNvPr>
            <p:cNvSpPr/>
            <p:nvPr/>
          </p:nvSpPr>
          <p:spPr bwMode="auto">
            <a:xfrm>
              <a:off x="887982" y="4029800"/>
              <a:ext cx="1859572" cy="2991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sp>
          <p:nvSpPr>
            <p:cNvPr id="89" name="Rectangle 88">
              <a:extLst>
                <a:ext uri="{FF2B5EF4-FFF2-40B4-BE49-F238E27FC236}">
                  <a16:creationId xmlns:a16="http://schemas.microsoft.com/office/drawing/2014/main" id="{EF5445C5-73C5-489C-9D10-B4969B450FE9}"/>
                </a:ext>
              </a:extLst>
            </p:cNvPr>
            <p:cNvSpPr/>
            <p:nvPr/>
          </p:nvSpPr>
          <p:spPr bwMode="auto">
            <a:xfrm>
              <a:off x="887982" y="3329562"/>
              <a:ext cx="1859572" cy="2991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rPr>
                <a:t>Condition</a:t>
              </a:r>
            </a:p>
          </p:txBody>
        </p:sp>
      </p:grpSp>
      <p:grpSp>
        <p:nvGrpSpPr>
          <p:cNvPr id="81" name="Group 80">
            <a:extLst>
              <a:ext uri="{FF2B5EF4-FFF2-40B4-BE49-F238E27FC236}">
                <a16:creationId xmlns:a16="http://schemas.microsoft.com/office/drawing/2014/main" id="{ACF85DC9-5BD9-4A30-A0F4-9AD7F813FBBF}"/>
              </a:ext>
            </a:extLst>
          </p:cNvPr>
          <p:cNvGrpSpPr/>
          <p:nvPr/>
        </p:nvGrpSpPr>
        <p:grpSpPr>
          <a:xfrm>
            <a:off x="7294889" y="4281249"/>
            <a:ext cx="1450408" cy="146981"/>
            <a:chOff x="8120217" y="3558128"/>
            <a:chExt cx="1940664" cy="147002"/>
          </a:xfrm>
        </p:grpSpPr>
        <p:cxnSp>
          <p:nvCxnSpPr>
            <p:cNvPr id="86" name="Straight Connector 85">
              <a:extLst>
                <a:ext uri="{FF2B5EF4-FFF2-40B4-BE49-F238E27FC236}">
                  <a16:creationId xmlns:a16="http://schemas.microsoft.com/office/drawing/2014/main" id="{FD831044-E06F-46BE-B791-C4588AA8B0FD}"/>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673CF05-855A-42F6-B8B4-6815B4183A8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70EB13C6-CB43-4DFB-ACBA-BA73ADB8BA5A}"/>
                </a:ext>
              </a:extLst>
            </p:cNvPr>
            <p:cNvGrpSpPr/>
            <p:nvPr/>
          </p:nvGrpSpPr>
          <p:grpSpPr>
            <a:xfrm>
              <a:off x="8335846" y="3595364"/>
              <a:ext cx="1509402" cy="109766"/>
              <a:chOff x="8335846" y="3502450"/>
              <a:chExt cx="1509402" cy="202679"/>
            </a:xfrm>
          </p:grpSpPr>
          <p:cxnSp>
            <p:nvCxnSpPr>
              <p:cNvPr id="92" name="Straight Connector 91">
                <a:extLst>
                  <a:ext uri="{FF2B5EF4-FFF2-40B4-BE49-F238E27FC236}">
                    <a16:creationId xmlns:a16="http://schemas.microsoft.com/office/drawing/2014/main" id="{36177D08-0A16-4664-BCEF-F8466BAA5189}"/>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8327A26-4063-4476-A929-43C18A757171}"/>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135E53D-F0C8-4E22-A844-588BEFBD230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87D8D64-1156-4C04-AC90-9AFA7DFFD56F}"/>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1925A22-FA2D-4017-A757-00855BF459B8}"/>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FF5EC524-7BB5-43E7-8A12-AB79994538B1}"/>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4FFD033-D313-436C-B4DD-4B40BA2517DF}"/>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B6C3F520-E24D-45F8-8BA0-3C8FC04BB182}"/>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104" name="Isosceles Triangle 103">
            <a:extLst>
              <a:ext uri="{FF2B5EF4-FFF2-40B4-BE49-F238E27FC236}">
                <a16:creationId xmlns:a16="http://schemas.microsoft.com/office/drawing/2014/main" id="{6445037D-370B-4B1F-84C2-A80D4B35AC29}"/>
              </a:ext>
            </a:extLst>
          </p:cNvPr>
          <p:cNvSpPr/>
          <p:nvPr/>
        </p:nvSpPr>
        <p:spPr bwMode="auto">
          <a:xfrm>
            <a:off x="8193254" y="4336801"/>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5" name="Group 104">
            <a:extLst>
              <a:ext uri="{FF2B5EF4-FFF2-40B4-BE49-F238E27FC236}">
                <a16:creationId xmlns:a16="http://schemas.microsoft.com/office/drawing/2014/main" id="{6C391238-5F66-4C8A-A304-CCDA94D8567D}"/>
              </a:ext>
            </a:extLst>
          </p:cNvPr>
          <p:cNvGrpSpPr/>
          <p:nvPr/>
        </p:nvGrpSpPr>
        <p:grpSpPr>
          <a:xfrm>
            <a:off x="9347929" y="1743237"/>
            <a:ext cx="2808891" cy="3976883"/>
            <a:chOff x="9351516" y="1586752"/>
            <a:chExt cx="2809289" cy="4133694"/>
          </a:xfrm>
        </p:grpSpPr>
        <p:sp>
          <p:nvSpPr>
            <p:cNvPr id="106" name="Rectangle 105">
              <a:extLst>
                <a:ext uri="{FF2B5EF4-FFF2-40B4-BE49-F238E27FC236}">
                  <a16:creationId xmlns:a16="http://schemas.microsoft.com/office/drawing/2014/main" id="{5D4D48D9-5A7A-4EB7-896A-2AA61BE32CEE}"/>
                </a:ext>
              </a:extLst>
            </p:cNvPr>
            <p:cNvSpPr/>
            <p:nvPr/>
          </p:nvSpPr>
          <p:spPr bwMode="auto">
            <a:xfrm>
              <a:off x="9615066" y="1756590"/>
              <a:ext cx="2298048" cy="324332"/>
            </a:xfrm>
            <a:prstGeom prst="rect">
              <a:avLst/>
            </a:prstGeom>
            <a:solidFill>
              <a:schemeClr val="bg1"/>
            </a:solidFill>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Track</a:t>
              </a:r>
            </a:p>
          </p:txBody>
        </p:sp>
        <p:sp>
          <p:nvSpPr>
            <p:cNvPr id="107" name="Isosceles Triangle 31">
              <a:extLst>
                <a:ext uri="{FF2B5EF4-FFF2-40B4-BE49-F238E27FC236}">
                  <a16:creationId xmlns:a16="http://schemas.microsoft.com/office/drawing/2014/main" id="{9B155A72-72D4-4E6F-BBCB-2606C125CBB3}"/>
                </a:ext>
              </a:extLst>
            </p:cNvPr>
            <p:cNvSpPr/>
            <p:nvPr/>
          </p:nvSpPr>
          <p:spPr>
            <a:xfrm>
              <a:off x="9351516" y="1586752"/>
              <a:ext cx="2809289" cy="551139"/>
            </a:xfrm>
            <a:custGeom>
              <a:avLst/>
              <a:gdLst>
                <a:gd name="connsiteX0" fmla="*/ 0 w 3934939"/>
                <a:gd name="connsiteY0" fmla="*/ 384890 h 384890"/>
                <a:gd name="connsiteX1" fmla="*/ 1967470 w 3934939"/>
                <a:gd name="connsiteY1" fmla="*/ 0 h 384890"/>
                <a:gd name="connsiteX2" fmla="*/ 3934939 w 3934939"/>
                <a:gd name="connsiteY2" fmla="*/ 384890 h 384890"/>
                <a:gd name="connsiteX3" fmla="*/ 0 w 3934939"/>
                <a:gd name="connsiteY3" fmla="*/ 384890 h 384890"/>
                <a:gd name="connsiteX0" fmla="*/ 0 w 3934939"/>
                <a:gd name="connsiteY0" fmla="*/ 384890 h 469590"/>
                <a:gd name="connsiteX1" fmla="*/ 1967470 w 3934939"/>
                <a:gd name="connsiteY1" fmla="*/ 0 h 469590"/>
                <a:gd name="connsiteX2" fmla="*/ 3934939 w 3934939"/>
                <a:gd name="connsiteY2" fmla="*/ 384890 h 469590"/>
                <a:gd name="connsiteX3" fmla="*/ 2070893 w 3934939"/>
                <a:gd name="connsiteY3" fmla="*/ 469590 h 469590"/>
                <a:gd name="connsiteX4" fmla="*/ 0 w 3934939"/>
                <a:gd name="connsiteY4" fmla="*/ 384890 h 469590"/>
                <a:gd name="connsiteX0" fmla="*/ 2070893 w 3934939"/>
                <a:gd name="connsiteY0" fmla="*/ 469590 h 561030"/>
                <a:gd name="connsiteX1" fmla="*/ 0 w 3934939"/>
                <a:gd name="connsiteY1" fmla="*/ 384890 h 561030"/>
                <a:gd name="connsiteX2" fmla="*/ 1967470 w 3934939"/>
                <a:gd name="connsiteY2" fmla="*/ 0 h 561030"/>
                <a:gd name="connsiteX3" fmla="*/ 3934939 w 3934939"/>
                <a:gd name="connsiteY3" fmla="*/ 384890 h 561030"/>
                <a:gd name="connsiteX4" fmla="*/ 2162333 w 3934939"/>
                <a:gd name="connsiteY4" fmla="*/ 561030 h 561030"/>
                <a:gd name="connsiteX0" fmla="*/ 0 w 3934939"/>
                <a:gd name="connsiteY0" fmla="*/ 384890 h 561030"/>
                <a:gd name="connsiteX1" fmla="*/ 1967470 w 3934939"/>
                <a:gd name="connsiteY1" fmla="*/ 0 h 561030"/>
                <a:gd name="connsiteX2" fmla="*/ 3934939 w 3934939"/>
                <a:gd name="connsiteY2" fmla="*/ 384890 h 561030"/>
                <a:gd name="connsiteX3" fmla="*/ 2162333 w 3934939"/>
                <a:gd name="connsiteY3" fmla="*/ 561030 h 561030"/>
                <a:gd name="connsiteX0" fmla="*/ 0 w 3934939"/>
                <a:gd name="connsiteY0" fmla="*/ 384890 h 384890"/>
                <a:gd name="connsiteX1" fmla="*/ 1967470 w 3934939"/>
                <a:gd name="connsiteY1" fmla="*/ 0 h 384890"/>
                <a:gd name="connsiteX2" fmla="*/ 3934939 w 3934939"/>
                <a:gd name="connsiteY2" fmla="*/ 384890 h 384890"/>
              </a:gdLst>
              <a:ahLst/>
              <a:cxnLst>
                <a:cxn ang="0">
                  <a:pos x="connsiteX0" y="connsiteY0"/>
                </a:cxn>
                <a:cxn ang="0">
                  <a:pos x="connsiteX1" y="connsiteY1"/>
                </a:cxn>
                <a:cxn ang="0">
                  <a:pos x="connsiteX2" y="connsiteY2"/>
                </a:cxn>
              </a:cxnLst>
              <a:rect l="l" t="t" r="r" b="b"/>
              <a:pathLst>
                <a:path w="3934939" h="384890">
                  <a:moveTo>
                    <a:pt x="0" y="384890"/>
                  </a:moveTo>
                  <a:lnTo>
                    <a:pt x="1967470" y="0"/>
                  </a:lnTo>
                  <a:lnTo>
                    <a:pt x="3934939" y="384890"/>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8" name="Rectangle 5">
              <a:extLst>
                <a:ext uri="{FF2B5EF4-FFF2-40B4-BE49-F238E27FC236}">
                  <a16:creationId xmlns:a16="http://schemas.microsoft.com/office/drawing/2014/main" id="{FA011F11-7DEF-420F-9BFE-D4EEF17942EB}"/>
                </a:ext>
              </a:extLst>
            </p:cNvPr>
            <p:cNvSpPr/>
            <p:nvPr/>
          </p:nvSpPr>
          <p:spPr bwMode="auto">
            <a:xfrm>
              <a:off x="9457198" y="2113387"/>
              <a:ext cx="2609823" cy="3607059"/>
            </a:xfrm>
            <a:custGeom>
              <a:avLst/>
              <a:gdLst>
                <a:gd name="connsiteX0" fmla="*/ 0 w 1703540"/>
                <a:gd name="connsiteY0" fmla="*/ 0 h 1703540"/>
                <a:gd name="connsiteX1" fmla="*/ 1703540 w 1703540"/>
                <a:gd name="connsiteY1" fmla="*/ 0 h 1703540"/>
                <a:gd name="connsiteX2" fmla="*/ 1703540 w 1703540"/>
                <a:gd name="connsiteY2" fmla="*/ 1703540 h 1703540"/>
                <a:gd name="connsiteX3" fmla="*/ 0 w 1703540"/>
                <a:gd name="connsiteY3" fmla="*/ 1703540 h 1703540"/>
                <a:gd name="connsiteX4" fmla="*/ 0 w 1703540"/>
                <a:gd name="connsiteY4" fmla="*/ 0 h 1703540"/>
                <a:gd name="connsiteX0" fmla="*/ 1703540 w 1703540"/>
                <a:gd name="connsiteY0" fmla="*/ 0 h 1703540"/>
                <a:gd name="connsiteX1" fmla="*/ 1703540 w 1703540"/>
                <a:gd name="connsiteY1" fmla="*/ 1703540 h 1703540"/>
                <a:gd name="connsiteX2" fmla="*/ 0 w 1703540"/>
                <a:gd name="connsiteY2" fmla="*/ 1703540 h 1703540"/>
                <a:gd name="connsiteX3" fmla="*/ 91440 w 1703540"/>
                <a:gd name="connsiteY3" fmla="*/ 91440 h 1703540"/>
                <a:gd name="connsiteX0" fmla="*/ 1715339 w 1715339"/>
                <a:gd name="connsiteY0" fmla="*/ 0 h 1703540"/>
                <a:gd name="connsiteX1" fmla="*/ 1715339 w 1715339"/>
                <a:gd name="connsiteY1" fmla="*/ 1703540 h 1703540"/>
                <a:gd name="connsiteX2" fmla="*/ 11799 w 1715339"/>
                <a:gd name="connsiteY2" fmla="*/ 1703540 h 1703540"/>
                <a:gd name="connsiteX3" fmla="*/ 0 w 1715339"/>
                <a:gd name="connsiteY3" fmla="*/ 91440 h 1703540"/>
                <a:gd name="connsiteX0" fmla="*/ 1707965 w 1707965"/>
                <a:gd name="connsiteY0" fmla="*/ 0 h 1703540"/>
                <a:gd name="connsiteX1" fmla="*/ 1707965 w 1707965"/>
                <a:gd name="connsiteY1" fmla="*/ 1703540 h 1703540"/>
                <a:gd name="connsiteX2" fmla="*/ 4425 w 1707965"/>
                <a:gd name="connsiteY2" fmla="*/ 1703540 h 1703540"/>
                <a:gd name="connsiteX3" fmla="*/ 0 w 1707965"/>
                <a:gd name="connsiteY3" fmla="*/ 32447 h 1703540"/>
                <a:gd name="connsiteX0" fmla="*/ 1715339 w 1715339"/>
                <a:gd name="connsiteY0" fmla="*/ 19172 h 1722712"/>
                <a:gd name="connsiteX1" fmla="*/ 1715339 w 1715339"/>
                <a:gd name="connsiteY1" fmla="*/ 1722712 h 1722712"/>
                <a:gd name="connsiteX2" fmla="*/ 11799 w 1715339"/>
                <a:gd name="connsiteY2" fmla="*/ 1722712 h 1722712"/>
                <a:gd name="connsiteX3" fmla="*/ 0 w 1715339"/>
                <a:gd name="connsiteY3" fmla="*/ 0 h 1722712"/>
                <a:gd name="connsiteX0" fmla="*/ 1707965 w 1707965"/>
                <a:gd name="connsiteY0" fmla="*/ 0 h 1703540"/>
                <a:gd name="connsiteX1" fmla="*/ 1707965 w 1707965"/>
                <a:gd name="connsiteY1" fmla="*/ 1703540 h 1703540"/>
                <a:gd name="connsiteX2" fmla="*/ 4425 w 1707965"/>
                <a:gd name="connsiteY2" fmla="*/ 1703540 h 1703540"/>
                <a:gd name="connsiteX3" fmla="*/ 0 w 1707965"/>
                <a:gd name="connsiteY3" fmla="*/ 10325 h 1703540"/>
                <a:gd name="connsiteX0" fmla="*/ 1703540 w 1703540"/>
                <a:gd name="connsiteY0" fmla="*/ 5816 h 1709356"/>
                <a:gd name="connsiteX1" fmla="*/ 1703540 w 1703540"/>
                <a:gd name="connsiteY1" fmla="*/ 1709356 h 1709356"/>
                <a:gd name="connsiteX2" fmla="*/ 0 w 1703540"/>
                <a:gd name="connsiteY2" fmla="*/ 1709356 h 1709356"/>
                <a:gd name="connsiteX3" fmla="*/ 706 w 1703540"/>
                <a:gd name="connsiteY3" fmla="*/ 0 h 1709356"/>
              </a:gdLst>
              <a:ahLst/>
              <a:cxnLst>
                <a:cxn ang="0">
                  <a:pos x="connsiteX0" y="connsiteY0"/>
                </a:cxn>
                <a:cxn ang="0">
                  <a:pos x="connsiteX1" y="connsiteY1"/>
                </a:cxn>
                <a:cxn ang="0">
                  <a:pos x="connsiteX2" y="connsiteY2"/>
                </a:cxn>
                <a:cxn ang="0">
                  <a:pos x="connsiteX3" y="connsiteY3"/>
                </a:cxn>
              </a:cxnLst>
              <a:rect l="l" t="t" r="r" b="b"/>
              <a:pathLst>
                <a:path w="1703540" h="1709356">
                  <a:moveTo>
                    <a:pt x="1703540" y="5816"/>
                  </a:moveTo>
                  <a:lnTo>
                    <a:pt x="1703540" y="1709356"/>
                  </a:lnTo>
                  <a:lnTo>
                    <a:pt x="0" y="1709356"/>
                  </a:lnTo>
                  <a:cubicBezTo>
                    <a:pt x="0" y="1141509"/>
                    <a:pt x="706" y="0"/>
                    <a:pt x="706" y="0"/>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Segoe UI"/>
                <a:ea typeface="+mn-ea"/>
                <a:cs typeface="+mn-cs"/>
              </a:endParaRPr>
            </a:p>
          </p:txBody>
        </p:sp>
      </p:grpSp>
      <p:sp>
        <p:nvSpPr>
          <p:cNvPr id="110" name="Title 2">
            <a:extLst>
              <a:ext uri="{FF2B5EF4-FFF2-40B4-BE49-F238E27FC236}">
                <a16:creationId xmlns:a16="http://schemas.microsoft.com/office/drawing/2014/main" id="{2A3300AA-C68C-4791-9919-C2EF9113C4F1}"/>
              </a:ext>
            </a:extLst>
          </p:cNvPr>
          <p:cNvSpPr>
            <a:spLocks noGrp="1"/>
          </p:cNvSpPr>
          <p:nvPr>
            <p:ph type="title"/>
          </p:nvPr>
        </p:nvSpPr>
        <p:spPr>
          <a:xfrm>
            <a:off x="426424" y="302995"/>
            <a:ext cx="11354135" cy="757914"/>
          </a:xfrm>
        </p:spPr>
        <p:txBody>
          <a:bodyPr/>
          <a:lstStyle/>
          <a:p>
            <a:r>
              <a:rPr lang="en-US" sz="3725" dirty="0"/>
              <a:t>Model creation is typically a time consuming process</a:t>
            </a:r>
          </a:p>
        </p:txBody>
      </p:sp>
    </p:spTree>
    <p:extLst>
      <p:ext uri="{BB962C8B-B14F-4D97-AF65-F5344CB8AC3E}">
        <p14:creationId xmlns:p14="http://schemas.microsoft.com/office/powerpoint/2010/main" val="2601942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right)">
                                      <p:cBhvr>
                                        <p:cTn id="7" dur="1000"/>
                                        <p:tgtEl>
                                          <p:spTgt spid="77"/>
                                        </p:tgtEl>
                                      </p:cBhvr>
                                    </p:animEffect>
                                  </p:childTnLst>
                                </p:cTn>
                              </p:par>
                              <p:par>
                                <p:cTn id="8" presetID="42" presetClass="path" presetSubtype="0" accel="50000" decel="50000" fill="hold" grpId="0" nodeType="withEffect">
                                  <p:stCondLst>
                                    <p:cond delay="0"/>
                                  </p:stCondLst>
                                  <p:childTnLst>
                                    <p:animMotion origin="layout" path="M 1.04167E-6 4.44444E-6 L 0.14284 -0.20348 " pathEditMode="relative" rAng="0" ptsTypes="AA">
                                      <p:cBhvr>
                                        <p:cTn id="9" dur="750" fill="hold"/>
                                        <p:tgtEl>
                                          <p:spTgt spid="80"/>
                                        </p:tgtEl>
                                        <p:attrNameLst>
                                          <p:attrName>ppt_x</p:attrName>
                                          <p:attrName>ppt_y</p:attrName>
                                        </p:attrNameLst>
                                      </p:cBhvr>
                                      <p:rCtr x="7135" y="-10185"/>
                                    </p:animMotion>
                                  </p:childTnLst>
                                </p:cTn>
                              </p:par>
                              <p:par>
                                <p:cTn id="10" presetID="1" presetClass="entr" presetSubtype="0" fill="hold" nodeType="withEffect">
                                  <p:stCondLst>
                                    <p:cond delay="0"/>
                                  </p:stCondLst>
                                  <p:childTnLst>
                                    <p:set>
                                      <p:cBhvr>
                                        <p:cTn id="11" dur="1" fill="hold">
                                          <p:stCondLst>
                                            <p:cond delay="0"/>
                                          </p:stCondLst>
                                        </p:cTn>
                                        <p:tgtEl>
                                          <p:spTgt spid="105"/>
                                        </p:tgtEl>
                                        <p:attrNameLst>
                                          <p:attrName>style.visibility</p:attrName>
                                        </p:attrNameLst>
                                      </p:cBhvr>
                                      <p:to>
                                        <p:strVal val="visible"/>
                                      </p:to>
                                    </p:set>
                                  </p:childTnLst>
                                </p:cTn>
                              </p:par>
                            </p:childTnLst>
                          </p:cTn>
                        </p:par>
                        <p:par>
                          <p:cTn id="12" fill="hold">
                            <p:stCondLst>
                              <p:cond delay="1000"/>
                            </p:stCondLst>
                            <p:childTnLst>
                              <p:par>
                                <p:cTn id="13" presetID="10" presetClass="entr" presetSubtype="0" fill="hold" nodeType="afterEffect">
                                  <p:stCondLst>
                                    <p:cond delay="250"/>
                                  </p:stCondLst>
                                  <p:childTnLst>
                                    <p:set>
                                      <p:cBhvr>
                                        <p:cTn id="14" dur="1" fill="hold">
                                          <p:stCondLst>
                                            <p:cond delay="0"/>
                                          </p:stCondLst>
                                        </p:cTn>
                                        <p:tgtEl>
                                          <p:spTgt spid="82"/>
                                        </p:tgtEl>
                                        <p:attrNameLst>
                                          <p:attrName>style.visibility</p:attrName>
                                        </p:attrNameLst>
                                      </p:cBhvr>
                                      <p:to>
                                        <p:strVal val="visible"/>
                                      </p:to>
                                    </p:set>
                                    <p:animEffect transition="in" filter="fade">
                                      <p:cBhvr>
                                        <p:cTn id="15" dur="500"/>
                                        <p:tgtEl>
                                          <p:spTgt spid="82"/>
                                        </p:tgtEl>
                                      </p:cBhvr>
                                    </p:animEffect>
                                  </p:childTnLst>
                                </p:cTn>
                              </p:par>
                            </p:childTnLst>
                          </p:cTn>
                        </p:par>
                        <p:par>
                          <p:cTn id="16" fill="hold">
                            <p:stCondLst>
                              <p:cond delay="1750"/>
                            </p:stCondLst>
                            <p:childTnLst>
                              <p:par>
                                <p:cTn id="17" presetID="22" presetClass="entr" presetSubtype="1" fill="hold" grpId="0"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wipe(up)">
                                      <p:cBhvr>
                                        <p:cTn id="19" dur="500"/>
                                        <p:tgtEl>
                                          <p:spTgt spid="12"/>
                                        </p:tgtEl>
                                      </p:cBhvr>
                                    </p:animEffect>
                                  </p:childTnLst>
                                </p:cTn>
                              </p:par>
                              <p:par>
                                <p:cTn id="20" presetID="22" presetClass="exit" presetSubtype="1" fill="hold" grpId="0" nodeType="withEffect">
                                  <p:stCondLst>
                                    <p:cond delay="0"/>
                                  </p:stCondLst>
                                  <p:childTnLst>
                                    <p:animEffect transition="out" filter="wipe(up)">
                                      <p:cBhvr>
                                        <p:cTn id="21" dur="500"/>
                                        <p:tgtEl>
                                          <p:spTgt spid="83"/>
                                        </p:tgtEl>
                                      </p:cBhvr>
                                    </p:animEffect>
                                    <p:set>
                                      <p:cBhvr>
                                        <p:cTn id="22" dur="1" fill="hold">
                                          <p:stCondLst>
                                            <p:cond delay="499"/>
                                          </p:stCondLst>
                                        </p:cTn>
                                        <p:tgtEl>
                                          <p:spTgt spid="83"/>
                                        </p:tgtEl>
                                        <p:attrNameLst>
                                          <p:attrName>style.visibility</p:attrName>
                                        </p:attrNameLst>
                                      </p:cBhvr>
                                      <p:to>
                                        <p:strVal val="hidden"/>
                                      </p:to>
                                    </p:set>
                                  </p:childTnLst>
                                </p:cTn>
                              </p:par>
                              <p:par>
                                <p:cTn id="23" presetID="10" presetClass="entr" presetSubtype="0" fill="hold" grpId="0" nodeType="withEffect">
                                  <p:stCondLst>
                                    <p:cond delay="0"/>
                                  </p:stCondLst>
                                  <p:childTnLst>
                                    <p:set>
                                      <p:cBhvr>
                                        <p:cTn id="24" dur="1" fill="hold">
                                          <p:stCondLst>
                                            <p:cond delay="0"/>
                                          </p:stCondLst>
                                        </p:cTn>
                                        <p:tgtEl>
                                          <p:spTgt spid="84"/>
                                        </p:tgtEl>
                                        <p:attrNameLst>
                                          <p:attrName>style.visibility</p:attrName>
                                        </p:attrNameLst>
                                      </p:cBhvr>
                                      <p:to>
                                        <p:strVal val="visible"/>
                                      </p:to>
                                    </p:set>
                                    <p:animEffect transition="in" filter="fade">
                                      <p:cBhvr>
                                        <p:cTn id="25" dur="500"/>
                                        <p:tgtEl>
                                          <p:spTgt spid="84"/>
                                        </p:tgtEl>
                                      </p:cBhvr>
                                    </p:animEffect>
                                  </p:childTnLst>
                                </p:cTn>
                              </p:par>
                              <p:par>
                                <p:cTn id="26" presetID="10" presetClass="exit" presetSubtype="0" fill="hold" grpId="0" nodeType="withEffect">
                                  <p:stCondLst>
                                    <p:cond delay="0"/>
                                  </p:stCondLst>
                                  <p:childTnLst>
                                    <p:animEffect transition="out" filter="fade">
                                      <p:cBhvr>
                                        <p:cTn id="27" dur="500"/>
                                        <p:tgtEl>
                                          <p:spTgt spid="13"/>
                                        </p:tgtEl>
                                      </p:cBhvr>
                                    </p:animEffect>
                                    <p:set>
                                      <p:cBhvr>
                                        <p:cTn id="28" dur="1" fill="hold">
                                          <p:stCondLst>
                                            <p:cond delay="499"/>
                                          </p:stCondLst>
                                        </p:cTn>
                                        <p:tgtEl>
                                          <p:spTgt spid="13"/>
                                        </p:tgtEl>
                                        <p:attrNameLst>
                                          <p:attrName>style.visibility</p:attrName>
                                        </p:attrNameLst>
                                      </p:cBhvr>
                                      <p:to>
                                        <p:strVal val="hidden"/>
                                      </p:to>
                                    </p:set>
                                  </p:childTnLst>
                                </p:cTn>
                              </p:par>
                            </p:childTnLst>
                          </p:cTn>
                        </p:par>
                        <p:par>
                          <p:cTn id="29" fill="hold">
                            <p:stCondLst>
                              <p:cond delay="2250"/>
                            </p:stCondLst>
                            <p:childTnLst>
                              <p:par>
                                <p:cTn id="30" presetID="63" presetClass="path" presetSubtype="0" accel="24000" decel="50000" fill="hold" grpId="0" nodeType="afterEffect">
                                  <p:stCondLst>
                                    <p:cond delay="0"/>
                                  </p:stCondLst>
                                  <p:childTnLst>
                                    <p:animMotion origin="layout" path="M 4.58333E-6 3.7037E-6 L -0.05287 3.7037E-6 " pathEditMode="relative" rAng="0" ptsTypes="AA">
                                      <p:cBhvr>
                                        <p:cTn id="31" dur="750" fill="hold"/>
                                        <p:tgtEl>
                                          <p:spTgt spid="66"/>
                                        </p:tgtEl>
                                        <p:attrNameLst>
                                          <p:attrName>ppt_x</p:attrName>
                                          <p:attrName>ppt_y</p:attrName>
                                        </p:attrNameLst>
                                      </p:cBhvr>
                                      <p:rCtr x="-2643" y="0"/>
                                    </p:animMotion>
                                  </p:childTnLst>
                                </p:cTn>
                              </p:par>
                              <p:par>
                                <p:cTn id="32" presetID="63" presetClass="path" presetSubtype="0" accel="24000" decel="50000" fill="hold" grpId="0" nodeType="withEffect">
                                  <p:stCondLst>
                                    <p:cond delay="0"/>
                                  </p:stCondLst>
                                  <p:childTnLst>
                                    <p:animMotion origin="layout" path="M -1.25E-6 -3.33333E-6 L 0.07904 -3.33333E-6 " pathEditMode="relative" rAng="0" ptsTypes="AA">
                                      <p:cBhvr>
                                        <p:cTn id="33" dur="750" fill="hold"/>
                                        <p:tgtEl>
                                          <p:spTgt spid="67"/>
                                        </p:tgtEl>
                                        <p:attrNameLst>
                                          <p:attrName>ppt_x</p:attrName>
                                          <p:attrName>ppt_y</p:attrName>
                                        </p:attrNameLst>
                                      </p:cBhvr>
                                      <p:rCtr x="3945" y="0"/>
                                    </p:animMotion>
                                  </p:childTnLst>
                                </p:cTn>
                              </p:par>
                              <p:par>
                                <p:cTn id="34" presetID="63" presetClass="path" presetSubtype="0" accel="50000" decel="50000" fill="hold" grpId="0" nodeType="withEffect">
                                  <p:stCondLst>
                                    <p:cond delay="0"/>
                                  </p:stCondLst>
                                  <p:childTnLst>
                                    <p:animMotion origin="layout" path="M -1.04167E-6 -3.7037E-7 L 0.0138 -3.7037E-7 " pathEditMode="relative" rAng="0" ptsTypes="AA">
                                      <p:cBhvr>
                                        <p:cTn id="35" dur="750" fill="hold"/>
                                        <p:tgtEl>
                                          <p:spTgt spid="68"/>
                                        </p:tgtEl>
                                        <p:attrNameLst>
                                          <p:attrName>ppt_x</p:attrName>
                                          <p:attrName>ppt_y</p:attrName>
                                        </p:attrNameLst>
                                      </p:cBhvr>
                                      <p:rCtr x="690" y="0"/>
                                    </p:animMotion>
                                  </p:childTnLst>
                                </p:cTn>
                              </p:par>
                              <p:par>
                                <p:cTn id="36" presetID="63" presetClass="path" presetSubtype="0" accel="24000" decel="50000" fill="hold" grpId="0" nodeType="withEffect">
                                  <p:stCondLst>
                                    <p:cond delay="0"/>
                                  </p:stCondLst>
                                  <p:childTnLst>
                                    <p:animMotion origin="layout" path="M 1.25E-6 2.59259E-6 L 0.06667 2.59259E-6 " pathEditMode="relative" rAng="0" ptsTypes="AA">
                                      <p:cBhvr>
                                        <p:cTn id="37" dur="750" fill="hold"/>
                                        <p:tgtEl>
                                          <p:spTgt spid="69"/>
                                        </p:tgtEl>
                                        <p:attrNameLst>
                                          <p:attrName>ppt_x</p:attrName>
                                          <p:attrName>ppt_y</p:attrName>
                                        </p:attrNameLst>
                                      </p:cBhvr>
                                      <p:rCtr x="3333" y="0"/>
                                    </p:animMotion>
                                  </p:childTnLst>
                                </p:cTn>
                              </p:par>
                              <p:par>
                                <p:cTn id="38" presetID="63" presetClass="path" presetSubtype="0" accel="24000" decel="50000" fill="hold" grpId="0" nodeType="withEffect">
                                  <p:stCondLst>
                                    <p:cond delay="0"/>
                                  </p:stCondLst>
                                  <p:childTnLst>
                                    <p:animMotion origin="layout" path="M -4.16667E-6 -3.7037E-7 L 0.02709 -3.7037E-7 " pathEditMode="relative" rAng="0" ptsTypes="AA">
                                      <p:cBhvr>
                                        <p:cTn id="39" dur="750" fill="hold"/>
                                        <p:tgtEl>
                                          <p:spTgt spid="104"/>
                                        </p:tgtEl>
                                        <p:attrNameLst>
                                          <p:attrName>ppt_x</p:attrName>
                                          <p:attrName>ppt_y</p:attrName>
                                        </p:attrNameLst>
                                      </p:cBhvr>
                                      <p:rCtr x="1354" y="0"/>
                                    </p:animMotion>
                                  </p:childTnLst>
                                </p:cTn>
                              </p:par>
                            </p:childTnLst>
                          </p:cTn>
                        </p:par>
                        <p:par>
                          <p:cTn id="40" fill="hold">
                            <p:stCondLst>
                              <p:cond delay="3000"/>
                            </p:stCondLst>
                            <p:childTnLst>
                              <p:par>
                                <p:cTn id="41" presetID="22" presetClass="entr" presetSubtype="8" fill="hold" grpId="0" nodeType="afterEffect">
                                  <p:stCondLst>
                                    <p:cond delay="0"/>
                                  </p:stCondLst>
                                  <p:childTnLst>
                                    <p:set>
                                      <p:cBhvr>
                                        <p:cTn id="42" dur="1" fill="hold">
                                          <p:stCondLst>
                                            <p:cond delay="0"/>
                                          </p:stCondLst>
                                        </p:cTn>
                                        <p:tgtEl>
                                          <p:spTgt spid="73"/>
                                        </p:tgtEl>
                                        <p:attrNameLst>
                                          <p:attrName>style.visibility</p:attrName>
                                        </p:attrNameLst>
                                      </p:cBhvr>
                                      <p:to>
                                        <p:strVal val="visible"/>
                                      </p:to>
                                    </p:set>
                                    <p:animEffect transition="in" filter="wipe(left)">
                                      <p:cBhvr>
                                        <p:cTn id="43" dur="500"/>
                                        <p:tgtEl>
                                          <p:spTgt spid="73"/>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74"/>
                                        </p:tgtEl>
                                        <p:attrNameLst>
                                          <p:attrName>style.visibility</p:attrName>
                                        </p:attrNameLst>
                                      </p:cBhvr>
                                      <p:to>
                                        <p:strVal val="visible"/>
                                      </p:to>
                                    </p:set>
                                    <p:animEffect transition="in" filter="wipe(left)">
                                      <p:cBhvr>
                                        <p:cTn id="46"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p:bldP spid="66" grpId="0" animBg="1"/>
      <p:bldP spid="67" grpId="0" animBg="1"/>
      <p:bldP spid="68" grpId="0" animBg="1"/>
      <p:bldP spid="69" grpId="0" animBg="1"/>
      <p:bldP spid="73" grpId="0" animBg="1"/>
      <p:bldP spid="74" grpId="0"/>
      <p:bldP spid="80" grpId="0" animBg="1"/>
      <p:bldP spid="83" grpId="0" animBg="1"/>
      <p:bldP spid="84" grpId="0"/>
      <p:bldP spid="10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10">
            <a:extLst>
              <a:ext uri="{FF2B5EF4-FFF2-40B4-BE49-F238E27FC236}">
                <a16:creationId xmlns:a16="http://schemas.microsoft.com/office/drawing/2014/main" id="{D49D0E1D-C2A4-445D-891F-A171ED3FC738}"/>
              </a:ext>
            </a:extLst>
          </p:cNvPr>
          <p:cNvSpPr txBox="1">
            <a:spLocks/>
          </p:cNvSpPr>
          <p:nvPr/>
        </p:nvSpPr>
        <p:spPr>
          <a:xfrm>
            <a:off x="779866" y="2821000"/>
            <a:ext cx="3652091" cy="1661993"/>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l"/>
            <a:r>
              <a:rPr lang="en-US" b="0" dirty="0">
                <a:latin typeface="+mn-lt"/>
              </a:rPr>
              <a:t>How</a:t>
            </a:r>
            <a:r>
              <a:rPr lang="en-US" dirty="0"/>
              <a:t> Insight IoT Offer </a:t>
            </a:r>
            <a:r>
              <a:rPr lang="en-US" b="0" dirty="0">
                <a:latin typeface="+mn-lt"/>
              </a:rPr>
              <a:t>can help you</a:t>
            </a:r>
          </a:p>
        </p:txBody>
      </p:sp>
      <p:graphicFrame>
        <p:nvGraphicFramePr>
          <p:cNvPr id="97" name="Table 96">
            <a:extLst>
              <a:ext uri="{FF2B5EF4-FFF2-40B4-BE49-F238E27FC236}">
                <a16:creationId xmlns:a16="http://schemas.microsoft.com/office/drawing/2014/main" id="{91DC9036-85D1-46E0-9F41-75791DA0CCBB}"/>
              </a:ext>
            </a:extLst>
          </p:cNvPr>
          <p:cNvGraphicFramePr>
            <a:graphicFrameLocks noGrp="1"/>
          </p:cNvGraphicFramePr>
          <p:nvPr/>
        </p:nvGraphicFramePr>
        <p:xfrm>
          <a:off x="4752976" y="592940"/>
          <a:ext cx="6501693" cy="5901247"/>
        </p:xfrm>
        <a:graphic>
          <a:graphicData uri="http://schemas.openxmlformats.org/drawingml/2006/table">
            <a:tbl>
              <a:tblPr firstRow="1" firstCol="1" bandRow="1">
                <a:tableStyleId>{638B1855-1B75-4FBE-930C-398BA8C253C6}</a:tableStyleId>
              </a:tblPr>
              <a:tblGrid>
                <a:gridCol w="1670079">
                  <a:extLst>
                    <a:ext uri="{9D8B030D-6E8A-4147-A177-3AD203B41FA5}">
                      <a16:colId xmlns:a16="http://schemas.microsoft.com/office/drawing/2014/main" val="3289106244"/>
                    </a:ext>
                  </a:extLst>
                </a:gridCol>
                <a:gridCol w="1670079">
                  <a:extLst>
                    <a:ext uri="{9D8B030D-6E8A-4147-A177-3AD203B41FA5}">
                      <a16:colId xmlns:a16="http://schemas.microsoft.com/office/drawing/2014/main" val="3664985393"/>
                    </a:ext>
                  </a:extLst>
                </a:gridCol>
                <a:gridCol w="3161535">
                  <a:extLst>
                    <a:ext uri="{9D8B030D-6E8A-4147-A177-3AD203B41FA5}">
                      <a16:colId xmlns:a16="http://schemas.microsoft.com/office/drawing/2014/main" val="2041150482"/>
                    </a:ext>
                  </a:extLst>
                </a:gridCol>
              </a:tblGrid>
              <a:tr h="415151">
                <a:tc gridSpan="3">
                  <a:txBody>
                    <a:bodyPr/>
                    <a:lstStyle/>
                    <a:p>
                      <a:pPr marL="0" marR="0" algn="ctr">
                        <a:spcBef>
                          <a:spcPts val="600"/>
                        </a:spcBef>
                        <a:spcAft>
                          <a:spcPts val="600"/>
                        </a:spcAft>
                      </a:pPr>
                      <a:r>
                        <a:rPr lang="en-US" sz="1400" dirty="0">
                          <a:solidFill>
                            <a:srgbClr val="1A1A1A"/>
                          </a:solidFill>
                          <a:effectLst/>
                        </a:rPr>
                        <a:t>Insight IoT Engagement Outcomes</a:t>
                      </a:r>
                      <a:endParaRPr lang="en-US" sz="1400" b="1" dirty="0">
                        <a:solidFill>
                          <a:srgbClr val="1A1A1A"/>
                        </a:solidFill>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pPr marL="0" marR="0">
                        <a:spcBef>
                          <a:spcPts val="600"/>
                        </a:spcBef>
                        <a:spcAft>
                          <a:spcPts val="600"/>
                        </a:spcAft>
                      </a:pPr>
                      <a:endParaRPr lang="en-US" sz="1400" b="1" dirty="0">
                        <a:solidFill>
                          <a:srgbClr val="FFFFFF"/>
                        </a:solidFill>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pPr marL="0" marR="0">
                        <a:spcBef>
                          <a:spcPts val="600"/>
                        </a:spcBef>
                        <a:spcAft>
                          <a:spcPts val="600"/>
                        </a:spcAft>
                      </a:pPr>
                      <a:endParaRPr lang="en-US" sz="1400" b="1" dirty="0">
                        <a:solidFill>
                          <a:srgbClr val="FFFFFF"/>
                        </a:solidFill>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192457562"/>
                  </a:ext>
                </a:extLst>
              </a:tr>
              <a:tr h="415151">
                <a:tc>
                  <a:txBody>
                    <a:bodyPr/>
                    <a:lstStyle/>
                    <a:p>
                      <a:pPr marL="0" marR="0">
                        <a:spcBef>
                          <a:spcPts val="600"/>
                        </a:spcBef>
                        <a:spcAft>
                          <a:spcPts val="600"/>
                        </a:spcAft>
                      </a:pPr>
                      <a:endParaRPr lang="en-US" sz="1400" b="1" dirty="0">
                        <a:solidFill>
                          <a:srgbClr val="FFFFFF"/>
                        </a:solidFill>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600"/>
                        </a:spcBef>
                        <a:spcAft>
                          <a:spcPts val="600"/>
                        </a:spcAft>
                      </a:pPr>
                      <a:r>
                        <a:rPr lang="en-US" sz="1400" dirty="0">
                          <a:solidFill>
                            <a:srgbClr val="1A1A1A"/>
                          </a:solidFill>
                          <a:effectLst/>
                        </a:rPr>
                        <a:t>Deliverables</a:t>
                      </a:r>
                      <a:endParaRPr lang="en-US" sz="1400" b="1" dirty="0">
                        <a:solidFill>
                          <a:srgbClr val="1A1A1A"/>
                        </a:solidFill>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600"/>
                        </a:spcBef>
                        <a:spcAft>
                          <a:spcPts val="600"/>
                        </a:spcAft>
                      </a:pPr>
                      <a:r>
                        <a:rPr lang="en-US" sz="1400" dirty="0">
                          <a:solidFill>
                            <a:srgbClr val="1A1A1A"/>
                          </a:solidFill>
                          <a:effectLst/>
                        </a:rPr>
                        <a:t>Description</a:t>
                      </a:r>
                      <a:endParaRPr lang="en-US" sz="1400" b="1" dirty="0">
                        <a:solidFill>
                          <a:srgbClr val="1A1A1A"/>
                        </a:solidFill>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301086250"/>
                  </a:ext>
                </a:extLst>
              </a:tr>
              <a:tr h="1236711">
                <a:tc>
                  <a:txBody>
                    <a:bodyPr/>
                    <a:lstStyle/>
                    <a:p>
                      <a:pPr marL="0" marR="0">
                        <a:spcBef>
                          <a:spcPts val="600"/>
                        </a:spcBef>
                        <a:spcAft>
                          <a:spcPts val="600"/>
                        </a:spcAft>
                      </a:pPr>
                      <a:endParaRPr lang="en-US" sz="1400" b="0" dirty="0">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600"/>
                        </a:spcBef>
                        <a:spcAft>
                          <a:spcPts val="600"/>
                        </a:spcAft>
                      </a:pPr>
                      <a:r>
                        <a:rPr lang="en-US" sz="1400" dirty="0">
                          <a:solidFill>
                            <a:srgbClr val="1A1A1A"/>
                          </a:solidFill>
                          <a:effectLst/>
                        </a:rPr>
                        <a:t>The conceptual and logical architecture document</a:t>
                      </a:r>
                      <a:endParaRPr lang="en-US" sz="1400" b="0" dirty="0">
                        <a:solidFill>
                          <a:srgbClr val="1A1A1A"/>
                        </a:solidFill>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600"/>
                        </a:spcBef>
                        <a:spcAft>
                          <a:spcPts val="600"/>
                        </a:spcAft>
                      </a:pPr>
                      <a:r>
                        <a:rPr lang="en-US" sz="1400" dirty="0">
                          <a:solidFill>
                            <a:srgbClr val="1A1A1A"/>
                          </a:solidFill>
                          <a:effectLst/>
                        </a:rPr>
                        <a:t>The conceptual and logical architecture document outlines the Solution and describes the results of the scenario analysis.</a:t>
                      </a:r>
                      <a:endParaRPr lang="en-US" sz="1400" dirty="0">
                        <a:solidFill>
                          <a:srgbClr val="1A1A1A"/>
                        </a:solidFill>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966761113"/>
                  </a:ext>
                </a:extLst>
              </a:tr>
              <a:tr h="1104003">
                <a:tc>
                  <a:txBody>
                    <a:bodyPr/>
                    <a:lstStyle/>
                    <a:p>
                      <a:pPr marL="0" marR="0">
                        <a:spcBef>
                          <a:spcPts val="600"/>
                        </a:spcBef>
                        <a:spcAft>
                          <a:spcPts val="600"/>
                        </a:spcAft>
                      </a:pPr>
                      <a:endParaRPr lang="en-US" sz="1400" b="0" dirty="0">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600"/>
                        </a:spcBef>
                        <a:spcAft>
                          <a:spcPts val="600"/>
                        </a:spcAft>
                      </a:pPr>
                      <a:r>
                        <a:rPr lang="en-US" sz="1400" dirty="0">
                          <a:solidFill>
                            <a:srgbClr val="1A1A1A"/>
                          </a:solidFill>
                          <a:effectLst/>
                        </a:rPr>
                        <a:t>User Dashboard</a:t>
                      </a:r>
                      <a:endParaRPr lang="en-US" sz="1400" b="0" dirty="0">
                        <a:solidFill>
                          <a:srgbClr val="1A1A1A"/>
                        </a:solidFill>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600"/>
                        </a:spcBef>
                        <a:spcAft>
                          <a:spcPts val="600"/>
                        </a:spcAft>
                      </a:pPr>
                      <a:r>
                        <a:rPr lang="en-US" sz="1400" dirty="0">
                          <a:solidFill>
                            <a:srgbClr val="1A1A1A"/>
                          </a:solidFill>
                          <a:effectLst/>
                        </a:rPr>
                        <a:t>Web portal with configured dashboard to visualize insights.</a:t>
                      </a:r>
                      <a:endParaRPr lang="en-US" sz="1400" dirty="0">
                        <a:solidFill>
                          <a:srgbClr val="1A1A1A"/>
                        </a:solidFill>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320329276"/>
                  </a:ext>
                </a:extLst>
              </a:tr>
              <a:tr h="1104003">
                <a:tc rowSpan="2">
                  <a:txBody>
                    <a:bodyPr/>
                    <a:lstStyle/>
                    <a:p>
                      <a:pPr marL="0" marR="0">
                        <a:spcBef>
                          <a:spcPts val="600"/>
                        </a:spcBef>
                        <a:spcAft>
                          <a:spcPts val="600"/>
                        </a:spcAft>
                      </a:pPr>
                      <a:endParaRPr lang="en-US" sz="1400" b="0" dirty="0">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600"/>
                        </a:spcBef>
                        <a:spcAft>
                          <a:spcPts val="600"/>
                        </a:spcAft>
                      </a:pPr>
                      <a:r>
                        <a:rPr lang="en-US" sz="1400" dirty="0">
                          <a:solidFill>
                            <a:srgbClr val="1A1A1A"/>
                          </a:solidFill>
                          <a:effectLst/>
                        </a:rPr>
                        <a:t>Working IoT production ready pilot</a:t>
                      </a:r>
                      <a:endParaRPr lang="en-US" sz="1400" b="0" dirty="0">
                        <a:solidFill>
                          <a:srgbClr val="1A1A1A"/>
                        </a:solidFill>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600"/>
                        </a:spcBef>
                        <a:spcAft>
                          <a:spcPts val="600"/>
                        </a:spcAft>
                      </a:pPr>
                      <a:r>
                        <a:rPr lang="en-US" sz="1400" dirty="0">
                          <a:solidFill>
                            <a:srgbClr val="1A1A1A"/>
                          </a:solidFill>
                          <a:effectLst/>
                        </a:rPr>
                        <a:t>A deployed version of a working solution. One version in a test environment that is ready to be operationalized in a production environment. A Development environment with the latest code base will be also provided.</a:t>
                      </a:r>
                      <a:endParaRPr lang="en-US" sz="1400" dirty="0">
                        <a:solidFill>
                          <a:srgbClr val="1A1A1A"/>
                        </a:solidFill>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744888387"/>
                  </a:ext>
                </a:extLst>
              </a:tr>
              <a:tr h="1236711">
                <a:tc vMerge="1">
                  <a:txBody>
                    <a:bodyPr/>
                    <a:lstStyle/>
                    <a:p>
                      <a:pPr marL="0" marR="0">
                        <a:spcBef>
                          <a:spcPts val="600"/>
                        </a:spcBef>
                        <a:spcAft>
                          <a:spcPts val="600"/>
                        </a:spcAft>
                      </a:pPr>
                      <a:endParaRPr lang="en-US" sz="1400" b="0" dirty="0">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600"/>
                        </a:spcBef>
                        <a:spcAft>
                          <a:spcPts val="600"/>
                        </a:spcAft>
                      </a:pPr>
                      <a:r>
                        <a:rPr lang="en-US" sz="1400" dirty="0">
                          <a:solidFill>
                            <a:srgbClr val="1A1A1A"/>
                          </a:solidFill>
                          <a:effectLst/>
                        </a:rPr>
                        <a:t>Post-pilot Roadmap</a:t>
                      </a:r>
                      <a:endParaRPr lang="en-US" sz="1400" b="0" dirty="0">
                        <a:solidFill>
                          <a:srgbClr val="1A1A1A"/>
                        </a:solidFill>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600"/>
                        </a:spcBef>
                        <a:spcAft>
                          <a:spcPts val="600"/>
                        </a:spcAft>
                      </a:pPr>
                      <a:r>
                        <a:rPr lang="en-US" sz="1400" dirty="0">
                          <a:solidFill>
                            <a:srgbClr val="1A1A1A"/>
                          </a:solidFill>
                          <a:effectLst/>
                        </a:rPr>
                        <a:t>Provides recommendation and roadmap for next step on IoT customer journey. </a:t>
                      </a:r>
                      <a:endParaRPr lang="en-US" sz="1400" dirty="0">
                        <a:solidFill>
                          <a:srgbClr val="1A1A1A"/>
                        </a:solidFill>
                        <a:effectLst/>
                        <a:latin typeface="Segoe UI" panose="020B0502040204020203"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384050968"/>
                  </a:ext>
                </a:extLst>
              </a:tr>
            </a:tbl>
          </a:graphicData>
        </a:graphic>
      </p:graphicFrame>
      <p:grpSp>
        <p:nvGrpSpPr>
          <p:cNvPr id="3" name="Group 2">
            <a:extLst>
              <a:ext uri="{FF2B5EF4-FFF2-40B4-BE49-F238E27FC236}">
                <a16:creationId xmlns:a16="http://schemas.microsoft.com/office/drawing/2014/main" id="{FE83DBCD-7C6B-4DB4-AE55-7D1BC1D0C11A}"/>
              </a:ext>
            </a:extLst>
          </p:cNvPr>
          <p:cNvGrpSpPr/>
          <p:nvPr/>
        </p:nvGrpSpPr>
        <p:grpSpPr>
          <a:xfrm>
            <a:off x="4233251" y="1530206"/>
            <a:ext cx="2612993" cy="1128208"/>
            <a:chOff x="4245277" y="1696620"/>
            <a:chExt cx="3878499" cy="1646511"/>
          </a:xfrm>
        </p:grpSpPr>
        <p:sp>
          <p:nvSpPr>
            <p:cNvPr id="50" name="Rectangle 49">
              <a:extLst>
                <a:ext uri="{FF2B5EF4-FFF2-40B4-BE49-F238E27FC236}">
                  <a16:creationId xmlns:a16="http://schemas.microsoft.com/office/drawing/2014/main" id="{10D556AD-1BFC-4BF2-800D-7C6BE521342F}"/>
                </a:ext>
              </a:extLst>
            </p:cNvPr>
            <p:cNvSpPr/>
            <p:nvPr/>
          </p:nvSpPr>
          <p:spPr>
            <a:xfrm>
              <a:off x="4245277" y="2646825"/>
              <a:ext cx="3878499" cy="696306"/>
            </a:xfrm>
            <a:prstGeom prst="rect">
              <a:avLst/>
            </a:prstGeom>
            <a:noFill/>
            <a:ln>
              <a:noFill/>
            </a:ln>
          </p:spPr>
          <p:txBody>
            <a:bodyPr wrap="square" rtlCol="0" anchor="t">
              <a:noAutofit/>
            </a:bodyPr>
            <a:lstStyle/>
            <a:p>
              <a:pPr marL="0" marR="0" lvl="0" indent="0" algn="ctr" defTabSz="932114" rtl="0" eaLnBrk="1" fontAlgn="base" latinLnBrk="0" hangingPunct="1">
                <a:lnSpc>
                  <a:spcPct val="90000"/>
                </a:lnSpc>
                <a:spcBef>
                  <a:spcPct val="0"/>
                </a:spcBef>
                <a:spcAft>
                  <a:spcPts val="1800"/>
                </a:spcAft>
                <a:buClrTx/>
                <a:buSzTx/>
                <a:buFontTx/>
                <a:buNone/>
                <a:tabLst/>
                <a:defRPr/>
              </a:pPr>
              <a:r>
                <a:rPr lang="en-US" sz="1200" dirty="0">
                  <a:latin typeface="Segoe UI Semibold"/>
                </a:rPr>
                <a:t>Start fast</a:t>
              </a:r>
              <a:endParaRPr kumimoji="0" lang="en-US" sz="1200" b="0" i="0" u="none" strike="noStrike" kern="1200" cap="none" spc="0" normalizeH="0" baseline="0" noProof="0" dirty="0">
                <a:ln>
                  <a:noFill/>
                </a:ln>
                <a:effectLst/>
                <a:uLnTx/>
                <a:uFillTx/>
                <a:latin typeface="Segoe UI Semibold"/>
                <a:cs typeface="Segoe UI Semilight" panose="020B0402040204020203" pitchFamily="34" charset="0"/>
              </a:endParaRPr>
            </a:p>
            <a:p>
              <a:pPr marL="0" marR="0" lvl="0" indent="0" algn="ctr" defTabSz="914400" rtl="0" eaLnBrk="1" fontAlgn="auto" latinLnBrk="0" hangingPunct="1">
                <a:lnSpc>
                  <a:spcPct val="100000"/>
                </a:lnSpc>
                <a:spcBef>
                  <a:spcPts val="0"/>
                </a:spcBef>
                <a:spcAft>
                  <a:spcPts val="600"/>
                </a:spcAft>
                <a:buClrTx/>
                <a:buSzPct val="100000"/>
                <a:buFontTx/>
                <a:buNone/>
                <a:tabLst/>
                <a:defRPr/>
              </a:pPr>
              <a:endParaRPr kumimoji="0" lang="en-US" sz="1400" b="0" i="0" u="none" strike="noStrike" kern="1200" cap="none" spc="0" normalizeH="0" baseline="0" noProof="0" dirty="0">
                <a:ln>
                  <a:noFill/>
                </a:ln>
                <a:effectLst/>
                <a:uLnTx/>
                <a:uFillTx/>
                <a:latin typeface="Segoe UI Semibold"/>
                <a:ea typeface="+mn-ea"/>
                <a:cs typeface="Segoe UI Semilight" panose="020B0402040204020203" pitchFamily="34" charset="0"/>
              </a:endParaRPr>
            </a:p>
          </p:txBody>
        </p:sp>
        <p:grpSp>
          <p:nvGrpSpPr>
            <p:cNvPr id="55" name="Group 54">
              <a:extLst>
                <a:ext uri="{FF2B5EF4-FFF2-40B4-BE49-F238E27FC236}">
                  <a16:creationId xmlns:a16="http://schemas.microsoft.com/office/drawing/2014/main" id="{F103E9FE-09E5-41E4-BED4-3C704C6DCACD}"/>
                </a:ext>
              </a:extLst>
            </p:cNvPr>
            <p:cNvGrpSpPr/>
            <p:nvPr/>
          </p:nvGrpSpPr>
          <p:grpSpPr>
            <a:xfrm>
              <a:off x="5799897" y="1696620"/>
              <a:ext cx="769256" cy="769256"/>
              <a:chOff x="1984261" y="1960889"/>
              <a:chExt cx="769256" cy="769256"/>
            </a:xfrm>
          </p:grpSpPr>
          <p:sp>
            <p:nvSpPr>
              <p:cNvPr id="56" name="Oval 55">
                <a:extLst>
                  <a:ext uri="{FF2B5EF4-FFF2-40B4-BE49-F238E27FC236}">
                    <a16:creationId xmlns:a16="http://schemas.microsoft.com/office/drawing/2014/main" id="{48CED29D-BCE5-4B90-9C31-F7AF6A40594A}"/>
                  </a:ext>
                </a:extLst>
              </p:cNvPr>
              <p:cNvSpPr/>
              <p:nvPr/>
            </p:nvSpPr>
            <p:spPr bwMode="auto">
              <a:xfrm>
                <a:off x="1984261" y="1960889"/>
                <a:ext cx="769256" cy="76925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effectLst/>
                  <a:uLnTx/>
                  <a:uFillTx/>
                  <a:latin typeface="Segoe UI Semilight"/>
                  <a:ea typeface="+mn-ea"/>
                  <a:cs typeface="+mn-cs"/>
                </a:endParaRPr>
              </a:p>
            </p:txBody>
          </p:sp>
          <p:grpSp>
            <p:nvGrpSpPr>
              <p:cNvPr id="57" name="Group 56">
                <a:extLst>
                  <a:ext uri="{FF2B5EF4-FFF2-40B4-BE49-F238E27FC236}">
                    <a16:creationId xmlns:a16="http://schemas.microsoft.com/office/drawing/2014/main" id="{B7D36562-85E6-440F-AE6D-82425395E65E}"/>
                  </a:ext>
                </a:extLst>
              </p:cNvPr>
              <p:cNvGrpSpPr/>
              <p:nvPr/>
            </p:nvGrpSpPr>
            <p:grpSpPr>
              <a:xfrm>
                <a:off x="2082965" y="2242106"/>
                <a:ext cx="571848" cy="206823"/>
                <a:chOff x="1277277" y="1334579"/>
                <a:chExt cx="1314350" cy="475368"/>
              </a:xfrm>
            </p:grpSpPr>
            <p:grpSp>
              <p:nvGrpSpPr>
                <p:cNvPr id="58" name="Group 57">
                  <a:extLst>
                    <a:ext uri="{FF2B5EF4-FFF2-40B4-BE49-F238E27FC236}">
                      <a16:creationId xmlns:a16="http://schemas.microsoft.com/office/drawing/2014/main" id="{3BDA6D87-8689-44F0-BD31-B03464B1766F}"/>
                    </a:ext>
                  </a:extLst>
                </p:cNvPr>
                <p:cNvGrpSpPr/>
                <p:nvPr/>
              </p:nvGrpSpPr>
              <p:grpSpPr>
                <a:xfrm>
                  <a:off x="1277277" y="1334579"/>
                  <a:ext cx="926064" cy="460945"/>
                  <a:chOff x="1178490" y="1608635"/>
                  <a:chExt cx="926182" cy="461004"/>
                </a:xfrm>
              </p:grpSpPr>
              <p:sp>
                <p:nvSpPr>
                  <p:cNvPr id="62" name="Freeform: Shape 61">
                    <a:extLst>
                      <a:ext uri="{FF2B5EF4-FFF2-40B4-BE49-F238E27FC236}">
                        <a16:creationId xmlns:a16="http://schemas.microsoft.com/office/drawing/2014/main" id="{6AF283F4-8C1B-4C02-AE14-95DE1676F341}"/>
                      </a:ext>
                    </a:extLst>
                  </p:cNvPr>
                  <p:cNvSpPr/>
                  <p:nvPr/>
                </p:nvSpPr>
                <p:spPr bwMode="auto">
                  <a:xfrm>
                    <a:off x="1178490" y="1608635"/>
                    <a:ext cx="926182" cy="461004"/>
                  </a:xfrm>
                  <a:custGeom>
                    <a:avLst/>
                    <a:gdLst>
                      <a:gd name="connsiteX0" fmla="*/ 795356 w 1380227"/>
                      <a:gd name="connsiteY0" fmla="*/ 446849 h 721169"/>
                      <a:gd name="connsiteX1" fmla="*/ 1380227 w 1380227"/>
                      <a:gd name="connsiteY1" fmla="*/ 446849 h 721169"/>
                      <a:gd name="connsiteX2" fmla="*/ 1380227 w 1380227"/>
                      <a:gd name="connsiteY2" fmla="*/ 196683 h 721169"/>
                      <a:gd name="connsiteX3" fmla="*/ 338156 w 1380227"/>
                      <a:gd name="connsiteY3" fmla="*/ 196683 h 721169"/>
                      <a:gd name="connsiteX4" fmla="*/ 338156 w 1380227"/>
                      <a:gd name="connsiteY4" fmla="*/ 0 h 721169"/>
                      <a:gd name="connsiteX5" fmla="*/ 0 w 1380227"/>
                      <a:gd name="connsiteY5" fmla="*/ 338156 h 721169"/>
                      <a:gd name="connsiteX6" fmla="*/ 0 w 1380227"/>
                      <a:gd name="connsiteY6" fmla="*/ 386464 h 721169"/>
                      <a:gd name="connsiteX7" fmla="*/ 334705 w 1380227"/>
                      <a:gd name="connsiteY7" fmla="*/ 721169 h 721169"/>
                      <a:gd name="connsiteX8" fmla="*/ 334705 w 1380227"/>
                      <a:gd name="connsiteY8" fmla="*/ 567619 h 721169"/>
                      <a:gd name="connsiteX0" fmla="*/ 795356 w 1380227"/>
                      <a:gd name="connsiteY0" fmla="*/ 446849 h 757400"/>
                      <a:gd name="connsiteX1" fmla="*/ 1380227 w 1380227"/>
                      <a:gd name="connsiteY1" fmla="*/ 446849 h 757400"/>
                      <a:gd name="connsiteX2" fmla="*/ 1380227 w 1380227"/>
                      <a:gd name="connsiteY2" fmla="*/ 196683 h 757400"/>
                      <a:gd name="connsiteX3" fmla="*/ 338156 w 1380227"/>
                      <a:gd name="connsiteY3" fmla="*/ 196683 h 757400"/>
                      <a:gd name="connsiteX4" fmla="*/ 338156 w 1380227"/>
                      <a:gd name="connsiteY4" fmla="*/ 0 h 757400"/>
                      <a:gd name="connsiteX5" fmla="*/ 0 w 1380227"/>
                      <a:gd name="connsiteY5" fmla="*/ 338156 h 757400"/>
                      <a:gd name="connsiteX6" fmla="*/ 0 w 1380227"/>
                      <a:gd name="connsiteY6" fmla="*/ 386464 h 757400"/>
                      <a:gd name="connsiteX7" fmla="*/ 334705 w 1380227"/>
                      <a:gd name="connsiteY7" fmla="*/ 757400 h 757400"/>
                      <a:gd name="connsiteX8" fmla="*/ 334705 w 1380227"/>
                      <a:gd name="connsiteY8" fmla="*/ 567619 h 757400"/>
                      <a:gd name="connsiteX0" fmla="*/ 795356 w 1380227"/>
                      <a:gd name="connsiteY0" fmla="*/ 446849 h 757400"/>
                      <a:gd name="connsiteX1" fmla="*/ 1380227 w 1380227"/>
                      <a:gd name="connsiteY1" fmla="*/ 446849 h 757400"/>
                      <a:gd name="connsiteX2" fmla="*/ 1380227 w 1380227"/>
                      <a:gd name="connsiteY2" fmla="*/ 196683 h 757400"/>
                      <a:gd name="connsiteX3" fmla="*/ 338156 w 1380227"/>
                      <a:gd name="connsiteY3" fmla="*/ 196683 h 757400"/>
                      <a:gd name="connsiteX4" fmla="*/ 338156 w 1380227"/>
                      <a:gd name="connsiteY4" fmla="*/ 0 h 757400"/>
                      <a:gd name="connsiteX5" fmla="*/ 0 w 1380227"/>
                      <a:gd name="connsiteY5" fmla="*/ 338156 h 757400"/>
                      <a:gd name="connsiteX6" fmla="*/ 0 w 1380227"/>
                      <a:gd name="connsiteY6" fmla="*/ 408893 h 757400"/>
                      <a:gd name="connsiteX7" fmla="*/ 334705 w 1380227"/>
                      <a:gd name="connsiteY7" fmla="*/ 757400 h 757400"/>
                      <a:gd name="connsiteX8" fmla="*/ 334705 w 1380227"/>
                      <a:gd name="connsiteY8" fmla="*/ 567619 h 757400"/>
                      <a:gd name="connsiteX0" fmla="*/ 811684 w 1396555"/>
                      <a:gd name="connsiteY0" fmla="*/ 446849 h 757400"/>
                      <a:gd name="connsiteX1" fmla="*/ 1396555 w 1396555"/>
                      <a:gd name="connsiteY1" fmla="*/ 446849 h 757400"/>
                      <a:gd name="connsiteX2" fmla="*/ 1396555 w 1396555"/>
                      <a:gd name="connsiteY2" fmla="*/ 196683 h 757400"/>
                      <a:gd name="connsiteX3" fmla="*/ 354484 w 1396555"/>
                      <a:gd name="connsiteY3" fmla="*/ 196683 h 757400"/>
                      <a:gd name="connsiteX4" fmla="*/ 354484 w 1396555"/>
                      <a:gd name="connsiteY4" fmla="*/ 0 h 757400"/>
                      <a:gd name="connsiteX5" fmla="*/ 16328 w 1396555"/>
                      <a:gd name="connsiteY5" fmla="*/ 338156 h 757400"/>
                      <a:gd name="connsiteX6" fmla="*/ 16328 w 1396555"/>
                      <a:gd name="connsiteY6" fmla="*/ 408893 h 757400"/>
                      <a:gd name="connsiteX7" fmla="*/ 351033 w 1396555"/>
                      <a:gd name="connsiteY7" fmla="*/ 757400 h 757400"/>
                      <a:gd name="connsiteX8" fmla="*/ 351033 w 1396555"/>
                      <a:gd name="connsiteY8" fmla="*/ 567619 h 757400"/>
                      <a:gd name="connsiteX0" fmla="*/ 809266 w 1394137"/>
                      <a:gd name="connsiteY0" fmla="*/ 446849 h 757400"/>
                      <a:gd name="connsiteX1" fmla="*/ 1394137 w 1394137"/>
                      <a:gd name="connsiteY1" fmla="*/ 446849 h 757400"/>
                      <a:gd name="connsiteX2" fmla="*/ 1394137 w 1394137"/>
                      <a:gd name="connsiteY2" fmla="*/ 196683 h 757400"/>
                      <a:gd name="connsiteX3" fmla="*/ 352066 w 1394137"/>
                      <a:gd name="connsiteY3" fmla="*/ 196683 h 757400"/>
                      <a:gd name="connsiteX4" fmla="*/ 352066 w 1394137"/>
                      <a:gd name="connsiteY4" fmla="*/ 0 h 757400"/>
                      <a:gd name="connsiteX5" fmla="*/ 13910 w 1394137"/>
                      <a:gd name="connsiteY5" fmla="*/ 338156 h 757400"/>
                      <a:gd name="connsiteX6" fmla="*/ 13910 w 1394137"/>
                      <a:gd name="connsiteY6" fmla="*/ 408893 h 757400"/>
                      <a:gd name="connsiteX7" fmla="*/ 348615 w 1394137"/>
                      <a:gd name="connsiteY7" fmla="*/ 757400 h 757400"/>
                      <a:gd name="connsiteX8" fmla="*/ 348615 w 1394137"/>
                      <a:gd name="connsiteY8" fmla="*/ 567619 h 757400"/>
                      <a:gd name="connsiteX0" fmla="*/ 820910 w 1405781"/>
                      <a:gd name="connsiteY0" fmla="*/ 446849 h 757400"/>
                      <a:gd name="connsiteX1" fmla="*/ 1405781 w 1405781"/>
                      <a:gd name="connsiteY1" fmla="*/ 446849 h 757400"/>
                      <a:gd name="connsiteX2" fmla="*/ 1405781 w 1405781"/>
                      <a:gd name="connsiteY2" fmla="*/ 196683 h 757400"/>
                      <a:gd name="connsiteX3" fmla="*/ 363710 w 1405781"/>
                      <a:gd name="connsiteY3" fmla="*/ 196683 h 757400"/>
                      <a:gd name="connsiteX4" fmla="*/ 363710 w 1405781"/>
                      <a:gd name="connsiteY4" fmla="*/ 0 h 757400"/>
                      <a:gd name="connsiteX5" fmla="*/ 25554 w 1405781"/>
                      <a:gd name="connsiteY5" fmla="*/ 338156 h 757400"/>
                      <a:gd name="connsiteX6" fmla="*/ 25554 w 1405781"/>
                      <a:gd name="connsiteY6" fmla="*/ 408893 h 757400"/>
                      <a:gd name="connsiteX7" fmla="*/ 360259 w 1405781"/>
                      <a:gd name="connsiteY7" fmla="*/ 757400 h 757400"/>
                      <a:gd name="connsiteX8" fmla="*/ 360259 w 1405781"/>
                      <a:gd name="connsiteY8" fmla="*/ 567619 h 757400"/>
                      <a:gd name="connsiteX0" fmla="*/ 820910 w 1471700"/>
                      <a:gd name="connsiteY0" fmla="*/ 446849 h 757400"/>
                      <a:gd name="connsiteX1" fmla="*/ 1405781 w 1471700"/>
                      <a:gd name="connsiteY1" fmla="*/ 446849 h 757400"/>
                      <a:gd name="connsiteX2" fmla="*/ 1405781 w 1471700"/>
                      <a:gd name="connsiteY2" fmla="*/ 196683 h 757400"/>
                      <a:gd name="connsiteX3" fmla="*/ 363710 w 1471700"/>
                      <a:gd name="connsiteY3" fmla="*/ 196683 h 757400"/>
                      <a:gd name="connsiteX4" fmla="*/ 363710 w 1471700"/>
                      <a:gd name="connsiteY4" fmla="*/ 0 h 757400"/>
                      <a:gd name="connsiteX5" fmla="*/ 25554 w 1471700"/>
                      <a:gd name="connsiteY5" fmla="*/ 338156 h 757400"/>
                      <a:gd name="connsiteX6" fmla="*/ 25554 w 1471700"/>
                      <a:gd name="connsiteY6" fmla="*/ 408893 h 757400"/>
                      <a:gd name="connsiteX7" fmla="*/ 360259 w 1471700"/>
                      <a:gd name="connsiteY7" fmla="*/ 757400 h 757400"/>
                      <a:gd name="connsiteX8" fmla="*/ 360259 w 1471700"/>
                      <a:gd name="connsiteY8" fmla="*/ 567619 h 757400"/>
                      <a:gd name="connsiteX0" fmla="*/ 820910 w 1521657"/>
                      <a:gd name="connsiteY0" fmla="*/ 446849 h 757400"/>
                      <a:gd name="connsiteX1" fmla="*/ 1405781 w 1521657"/>
                      <a:gd name="connsiteY1" fmla="*/ 446849 h 757400"/>
                      <a:gd name="connsiteX2" fmla="*/ 1405781 w 1521657"/>
                      <a:gd name="connsiteY2" fmla="*/ 196683 h 757400"/>
                      <a:gd name="connsiteX3" fmla="*/ 363710 w 1521657"/>
                      <a:gd name="connsiteY3" fmla="*/ 196683 h 757400"/>
                      <a:gd name="connsiteX4" fmla="*/ 363710 w 1521657"/>
                      <a:gd name="connsiteY4" fmla="*/ 0 h 757400"/>
                      <a:gd name="connsiteX5" fmla="*/ 25554 w 1521657"/>
                      <a:gd name="connsiteY5" fmla="*/ 338156 h 757400"/>
                      <a:gd name="connsiteX6" fmla="*/ 25554 w 1521657"/>
                      <a:gd name="connsiteY6" fmla="*/ 408893 h 757400"/>
                      <a:gd name="connsiteX7" fmla="*/ 360259 w 1521657"/>
                      <a:gd name="connsiteY7" fmla="*/ 757400 h 757400"/>
                      <a:gd name="connsiteX8" fmla="*/ 360259 w 1521657"/>
                      <a:gd name="connsiteY8" fmla="*/ 567619 h 7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1657" h="757400">
                        <a:moveTo>
                          <a:pt x="820910" y="446849"/>
                        </a:moveTo>
                        <a:lnTo>
                          <a:pt x="1405781" y="446849"/>
                        </a:lnTo>
                        <a:cubicBezTo>
                          <a:pt x="1566345" y="446464"/>
                          <a:pt x="1554099" y="192986"/>
                          <a:pt x="1405781" y="196683"/>
                        </a:cubicBezTo>
                        <a:cubicBezTo>
                          <a:pt x="1257463" y="200380"/>
                          <a:pt x="711067" y="196683"/>
                          <a:pt x="363710" y="196683"/>
                        </a:cubicBezTo>
                        <a:lnTo>
                          <a:pt x="363710" y="0"/>
                        </a:lnTo>
                        <a:lnTo>
                          <a:pt x="25554" y="338156"/>
                        </a:lnTo>
                        <a:cubicBezTo>
                          <a:pt x="-11185" y="375342"/>
                          <a:pt x="-5743" y="377149"/>
                          <a:pt x="25554" y="408893"/>
                        </a:cubicBezTo>
                        <a:cubicBezTo>
                          <a:pt x="56851" y="440637"/>
                          <a:pt x="248691" y="641231"/>
                          <a:pt x="360259" y="757400"/>
                        </a:cubicBezTo>
                        <a:lnTo>
                          <a:pt x="360259" y="567619"/>
                        </a:lnTo>
                      </a:path>
                    </a:pathLst>
                  </a:custGeom>
                  <a:noFill/>
                  <a:ln w="1270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latin typeface="Segoe UI"/>
                      <a:ea typeface="+mn-ea"/>
                      <a:cs typeface="+mn-cs"/>
                    </a:endParaRPr>
                  </a:p>
                </p:txBody>
              </p:sp>
              <p:sp>
                <p:nvSpPr>
                  <p:cNvPr id="63" name="Oval 62">
                    <a:extLst>
                      <a:ext uri="{FF2B5EF4-FFF2-40B4-BE49-F238E27FC236}">
                        <a16:creationId xmlns:a16="http://schemas.microsoft.com/office/drawing/2014/main" id="{85C5CEC7-4CFF-44E0-9DED-F4172C8D065F}"/>
                      </a:ext>
                    </a:extLst>
                  </p:cNvPr>
                  <p:cNvSpPr/>
                  <p:nvPr/>
                </p:nvSpPr>
                <p:spPr bwMode="auto">
                  <a:xfrm>
                    <a:off x="1652077" y="1861823"/>
                    <a:ext cx="49053" cy="49053"/>
                  </a:xfrm>
                  <a:prstGeom prst="ellipse">
                    <a:avLst/>
                  </a:prstGeom>
                  <a:solidFill>
                    <a:srgbClr val="FFFFFF"/>
                  </a:solidFill>
                  <a:ln w="12700" cap="flat">
                    <a:solidFill>
                      <a:srgbClr val="FFFFFF"/>
                    </a:solidFill>
                    <a:prstDash val="solid"/>
                  </a:ln>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latin typeface="Segoe UI"/>
                      <a:ea typeface="+mn-ea"/>
                      <a:cs typeface="+mn-cs"/>
                    </a:endParaRPr>
                  </a:p>
                </p:txBody>
              </p:sp>
            </p:grpSp>
            <p:grpSp>
              <p:nvGrpSpPr>
                <p:cNvPr id="59" name="Group 58">
                  <a:extLst>
                    <a:ext uri="{FF2B5EF4-FFF2-40B4-BE49-F238E27FC236}">
                      <a16:creationId xmlns:a16="http://schemas.microsoft.com/office/drawing/2014/main" id="{61E2E3B0-7CED-41C0-8AB7-141ABBC12CA0}"/>
                    </a:ext>
                  </a:extLst>
                </p:cNvPr>
                <p:cNvGrpSpPr/>
                <p:nvPr/>
              </p:nvGrpSpPr>
              <p:grpSpPr>
                <a:xfrm>
                  <a:off x="1665563" y="1349002"/>
                  <a:ext cx="926064" cy="460945"/>
                  <a:chOff x="1566826" y="1623060"/>
                  <a:chExt cx="926182" cy="461004"/>
                </a:xfrm>
              </p:grpSpPr>
              <p:sp>
                <p:nvSpPr>
                  <p:cNvPr id="60" name="Freeform: Shape 59">
                    <a:extLst>
                      <a:ext uri="{FF2B5EF4-FFF2-40B4-BE49-F238E27FC236}">
                        <a16:creationId xmlns:a16="http://schemas.microsoft.com/office/drawing/2014/main" id="{3DD350A5-9B7F-4969-90B0-D9D59920BE3D}"/>
                      </a:ext>
                    </a:extLst>
                  </p:cNvPr>
                  <p:cNvSpPr/>
                  <p:nvPr/>
                </p:nvSpPr>
                <p:spPr bwMode="auto">
                  <a:xfrm flipH="1" flipV="1">
                    <a:off x="1566826" y="1623060"/>
                    <a:ext cx="926182" cy="461004"/>
                  </a:xfrm>
                  <a:custGeom>
                    <a:avLst/>
                    <a:gdLst>
                      <a:gd name="connsiteX0" fmla="*/ 795356 w 1380227"/>
                      <a:gd name="connsiteY0" fmla="*/ 446849 h 721169"/>
                      <a:gd name="connsiteX1" fmla="*/ 1380227 w 1380227"/>
                      <a:gd name="connsiteY1" fmla="*/ 446849 h 721169"/>
                      <a:gd name="connsiteX2" fmla="*/ 1380227 w 1380227"/>
                      <a:gd name="connsiteY2" fmla="*/ 196683 h 721169"/>
                      <a:gd name="connsiteX3" fmla="*/ 338156 w 1380227"/>
                      <a:gd name="connsiteY3" fmla="*/ 196683 h 721169"/>
                      <a:gd name="connsiteX4" fmla="*/ 338156 w 1380227"/>
                      <a:gd name="connsiteY4" fmla="*/ 0 h 721169"/>
                      <a:gd name="connsiteX5" fmla="*/ 0 w 1380227"/>
                      <a:gd name="connsiteY5" fmla="*/ 338156 h 721169"/>
                      <a:gd name="connsiteX6" fmla="*/ 0 w 1380227"/>
                      <a:gd name="connsiteY6" fmla="*/ 386464 h 721169"/>
                      <a:gd name="connsiteX7" fmla="*/ 334705 w 1380227"/>
                      <a:gd name="connsiteY7" fmla="*/ 721169 h 721169"/>
                      <a:gd name="connsiteX8" fmla="*/ 334705 w 1380227"/>
                      <a:gd name="connsiteY8" fmla="*/ 567619 h 721169"/>
                      <a:gd name="connsiteX0" fmla="*/ 795356 w 1380227"/>
                      <a:gd name="connsiteY0" fmla="*/ 446849 h 757400"/>
                      <a:gd name="connsiteX1" fmla="*/ 1380227 w 1380227"/>
                      <a:gd name="connsiteY1" fmla="*/ 446849 h 757400"/>
                      <a:gd name="connsiteX2" fmla="*/ 1380227 w 1380227"/>
                      <a:gd name="connsiteY2" fmla="*/ 196683 h 757400"/>
                      <a:gd name="connsiteX3" fmla="*/ 338156 w 1380227"/>
                      <a:gd name="connsiteY3" fmla="*/ 196683 h 757400"/>
                      <a:gd name="connsiteX4" fmla="*/ 338156 w 1380227"/>
                      <a:gd name="connsiteY4" fmla="*/ 0 h 757400"/>
                      <a:gd name="connsiteX5" fmla="*/ 0 w 1380227"/>
                      <a:gd name="connsiteY5" fmla="*/ 338156 h 757400"/>
                      <a:gd name="connsiteX6" fmla="*/ 0 w 1380227"/>
                      <a:gd name="connsiteY6" fmla="*/ 386464 h 757400"/>
                      <a:gd name="connsiteX7" fmla="*/ 334705 w 1380227"/>
                      <a:gd name="connsiteY7" fmla="*/ 757400 h 757400"/>
                      <a:gd name="connsiteX8" fmla="*/ 334705 w 1380227"/>
                      <a:gd name="connsiteY8" fmla="*/ 567619 h 757400"/>
                      <a:gd name="connsiteX0" fmla="*/ 795356 w 1380227"/>
                      <a:gd name="connsiteY0" fmla="*/ 446849 h 757400"/>
                      <a:gd name="connsiteX1" fmla="*/ 1380227 w 1380227"/>
                      <a:gd name="connsiteY1" fmla="*/ 446849 h 757400"/>
                      <a:gd name="connsiteX2" fmla="*/ 1380227 w 1380227"/>
                      <a:gd name="connsiteY2" fmla="*/ 196683 h 757400"/>
                      <a:gd name="connsiteX3" fmla="*/ 338156 w 1380227"/>
                      <a:gd name="connsiteY3" fmla="*/ 196683 h 757400"/>
                      <a:gd name="connsiteX4" fmla="*/ 338156 w 1380227"/>
                      <a:gd name="connsiteY4" fmla="*/ 0 h 757400"/>
                      <a:gd name="connsiteX5" fmla="*/ 0 w 1380227"/>
                      <a:gd name="connsiteY5" fmla="*/ 338156 h 757400"/>
                      <a:gd name="connsiteX6" fmla="*/ 0 w 1380227"/>
                      <a:gd name="connsiteY6" fmla="*/ 408893 h 757400"/>
                      <a:gd name="connsiteX7" fmla="*/ 334705 w 1380227"/>
                      <a:gd name="connsiteY7" fmla="*/ 757400 h 757400"/>
                      <a:gd name="connsiteX8" fmla="*/ 334705 w 1380227"/>
                      <a:gd name="connsiteY8" fmla="*/ 567619 h 757400"/>
                      <a:gd name="connsiteX0" fmla="*/ 811684 w 1396555"/>
                      <a:gd name="connsiteY0" fmla="*/ 446849 h 757400"/>
                      <a:gd name="connsiteX1" fmla="*/ 1396555 w 1396555"/>
                      <a:gd name="connsiteY1" fmla="*/ 446849 h 757400"/>
                      <a:gd name="connsiteX2" fmla="*/ 1396555 w 1396555"/>
                      <a:gd name="connsiteY2" fmla="*/ 196683 h 757400"/>
                      <a:gd name="connsiteX3" fmla="*/ 354484 w 1396555"/>
                      <a:gd name="connsiteY3" fmla="*/ 196683 h 757400"/>
                      <a:gd name="connsiteX4" fmla="*/ 354484 w 1396555"/>
                      <a:gd name="connsiteY4" fmla="*/ 0 h 757400"/>
                      <a:gd name="connsiteX5" fmla="*/ 16328 w 1396555"/>
                      <a:gd name="connsiteY5" fmla="*/ 338156 h 757400"/>
                      <a:gd name="connsiteX6" fmla="*/ 16328 w 1396555"/>
                      <a:gd name="connsiteY6" fmla="*/ 408893 h 757400"/>
                      <a:gd name="connsiteX7" fmla="*/ 351033 w 1396555"/>
                      <a:gd name="connsiteY7" fmla="*/ 757400 h 757400"/>
                      <a:gd name="connsiteX8" fmla="*/ 351033 w 1396555"/>
                      <a:gd name="connsiteY8" fmla="*/ 567619 h 757400"/>
                      <a:gd name="connsiteX0" fmla="*/ 809266 w 1394137"/>
                      <a:gd name="connsiteY0" fmla="*/ 446849 h 757400"/>
                      <a:gd name="connsiteX1" fmla="*/ 1394137 w 1394137"/>
                      <a:gd name="connsiteY1" fmla="*/ 446849 h 757400"/>
                      <a:gd name="connsiteX2" fmla="*/ 1394137 w 1394137"/>
                      <a:gd name="connsiteY2" fmla="*/ 196683 h 757400"/>
                      <a:gd name="connsiteX3" fmla="*/ 352066 w 1394137"/>
                      <a:gd name="connsiteY3" fmla="*/ 196683 h 757400"/>
                      <a:gd name="connsiteX4" fmla="*/ 352066 w 1394137"/>
                      <a:gd name="connsiteY4" fmla="*/ 0 h 757400"/>
                      <a:gd name="connsiteX5" fmla="*/ 13910 w 1394137"/>
                      <a:gd name="connsiteY5" fmla="*/ 338156 h 757400"/>
                      <a:gd name="connsiteX6" fmla="*/ 13910 w 1394137"/>
                      <a:gd name="connsiteY6" fmla="*/ 408893 h 757400"/>
                      <a:gd name="connsiteX7" fmla="*/ 348615 w 1394137"/>
                      <a:gd name="connsiteY7" fmla="*/ 757400 h 757400"/>
                      <a:gd name="connsiteX8" fmla="*/ 348615 w 1394137"/>
                      <a:gd name="connsiteY8" fmla="*/ 567619 h 757400"/>
                      <a:gd name="connsiteX0" fmla="*/ 820910 w 1405781"/>
                      <a:gd name="connsiteY0" fmla="*/ 446849 h 757400"/>
                      <a:gd name="connsiteX1" fmla="*/ 1405781 w 1405781"/>
                      <a:gd name="connsiteY1" fmla="*/ 446849 h 757400"/>
                      <a:gd name="connsiteX2" fmla="*/ 1405781 w 1405781"/>
                      <a:gd name="connsiteY2" fmla="*/ 196683 h 757400"/>
                      <a:gd name="connsiteX3" fmla="*/ 363710 w 1405781"/>
                      <a:gd name="connsiteY3" fmla="*/ 196683 h 757400"/>
                      <a:gd name="connsiteX4" fmla="*/ 363710 w 1405781"/>
                      <a:gd name="connsiteY4" fmla="*/ 0 h 757400"/>
                      <a:gd name="connsiteX5" fmla="*/ 25554 w 1405781"/>
                      <a:gd name="connsiteY5" fmla="*/ 338156 h 757400"/>
                      <a:gd name="connsiteX6" fmla="*/ 25554 w 1405781"/>
                      <a:gd name="connsiteY6" fmla="*/ 408893 h 757400"/>
                      <a:gd name="connsiteX7" fmla="*/ 360259 w 1405781"/>
                      <a:gd name="connsiteY7" fmla="*/ 757400 h 757400"/>
                      <a:gd name="connsiteX8" fmla="*/ 360259 w 1405781"/>
                      <a:gd name="connsiteY8" fmla="*/ 567619 h 757400"/>
                      <a:gd name="connsiteX0" fmla="*/ 820910 w 1471700"/>
                      <a:gd name="connsiteY0" fmla="*/ 446849 h 757400"/>
                      <a:gd name="connsiteX1" fmla="*/ 1405781 w 1471700"/>
                      <a:gd name="connsiteY1" fmla="*/ 446849 h 757400"/>
                      <a:gd name="connsiteX2" fmla="*/ 1405781 w 1471700"/>
                      <a:gd name="connsiteY2" fmla="*/ 196683 h 757400"/>
                      <a:gd name="connsiteX3" fmla="*/ 363710 w 1471700"/>
                      <a:gd name="connsiteY3" fmla="*/ 196683 h 757400"/>
                      <a:gd name="connsiteX4" fmla="*/ 363710 w 1471700"/>
                      <a:gd name="connsiteY4" fmla="*/ 0 h 757400"/>
                      <a:gd name="connsiteX5" fmla="*/ 25554 w 1471700"/>
                      <a:gd name="connsiteY5" fmla="*/ 338156 h 757400"/>
                      <a:gd name="connsiteX6" fmla="*/ 25554 w 1471700"/>
                      <a:gd name="connsiteY6" fmla="*/ 408893 h 757400"/>
                      <a:gd name="connsiteX7" fmla="*/ 360259 w 1471700"/>
                      <a:gd name="connsiteY7" fmla="*/ 757400 h 757400"/>
                      <a:gd name="connsiteX8" fmla="*/ 360259 w 1471700"/>
                      <a:gd name="connsiteY8" fmla="*/ 567619 h 757400"/>
                      <a:gd name="connsiteX0" fmla="*/ 820910 w 1521657"/>
                      <a:gd name="connsiteY0" fmla="*/ 446849 h 757400"/>
                      <a:gd name="connsiteX1" fmla="*/ 1405781 w 1521657"/>
                      <a:gd name="connsiteY1" fmla="*/ 446849 h 757400"/>
                      <a:gd name="connsiteX2" fmla="*/ 1405781 w 1521657"/>
                      <a:gd name="connsiteY2" fmla="*/ 196683 h 757400"/>
                      <a:gd name="connsiteX3" fmla="*/ 363710 w 1521657"/>
                      <a:gd name="connsiteY3" fmla="*/ 196683 h 757400"/>
                      <a:gd name="connsiteX4" fmla="*/ 363710 w 1521657"/>
                      <a:gd name="connsiteY4" fmla="*/ 0 h 757400"/>
                      <a:gd name="connsiteX5" fmla="*/ 25554 w 1521657"/>
                      <a:gd name="connsiteY5" fmla="*/ 338156 h 757400"/>
                      <a:gd name="connsiteX6" fmla="*/ 25554 w 1521657"/>
                      <a:gd name="connsiteY6" fmla="*/ 408893 h 757400"/>
                      <a:gd name="connsiteX7" fmla="*/ 360259 w 1521657"/>
                      <a:gd name="connsiteY7" fmla="*/ 757400 h 757400"/>
                      <a:gd name="connsiteX8" fmla="*/ 360259 w 1521657"/>
                      <a:gd name="connsiteY8" fmla="*/ 567619 h 7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1657" h="757400">
                        <a:moveTo>
                          <a:pt x="820910" y="446849"/>
                        </a:moveTo>
                        <a:lnTo>
                          <a:pt x="1405781" y="446849"/>
                        </a:lnTo>
                        <a:cubicBezTo>
                          <a:pt x="1566345" y="446464"/>
                          <a:pt x="1554099" y="192986"/>
                          <a:pt x="1405781" y="196683"/>
                        </a:cubicBezTo>
                        <a:cubicBezTo>
                          <a:pt x="1257463" y="200380"/>
                          <a:pt x="711067" y="196683"/>
                          <a:pt x="363710" y="196683"/>
                        </a:cubicBezTo>
                        <a:lnTo>
                          <a:pt x="363710" y="0"/>
                        </a:lnTo>
                        <a:lnTo>
                          <a:pt x="25554" y="338156"/>
                        </a:lnTo>
                        <a:cubicBezTo>
                          <a:pt x="-11185" y="375342"/>
                          <a:pt x="-5743" y="377149"/>
                          <a:pt x="25554" y="408893"/>
                        </a:cubicBezTo>
                        <a:cubicBezTo>
                          <a:pt x="56851" y="440637"/>
                          <a:pt x="248691" y="641231"/>
                          <a:pt x="360259" y="757400"/>
                        </a:cubicBezTo>
                        <a:lnTo>
                          <a:pt x="360259" y="567619"/>
                        </a:lnTo>
                      </a:path>
                    </a:pathLst>
                  </a:custGeom>
                  <a:noFill/>
                  <a:ln w="1270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latin typeface="Segoe UI"/>
                      <a:ea typeface="+mn-ea"/>
                      <a:cs typeface="+mn-cs"/>
                    </a:endParaRPr>
                  </a:p>
                </p:txBody>
              </p:sp>
              <p:sp>
                <p:nvSpPr>
                  <p:cNvPr id="61" name="Oval 60">
                    <a:extLst>
                      <a:ext uri="{FF2B5EF4-FFF2-40B4-BE49-F238E27FC236}">
                        <a16:creationId xmlns:a16="http://schemas.microsoft.com/office/drawing/2014/main" id="{D4AF29F0-8D22-428E-8743-15966BD4399A}"/>
                      </a:ext>
                    </a:extLst>
                  </p:cNvPr>
                  <p:cNvSpPr/>
                  <p:nvPr/>
                </p:nvSpPr>
                <p:spPr bwMode="auto">
                  <a:xfrm flipH="1" flipV="1">
                    <a:off x="1970368" y="1781823"/>
                    <a:ext cx="49053" cy="49053"/>
                  </a:xfrm>
                  <a:prstGeom prst="ellipse">
                    <a:avLst/>
                  </a:prstGeom>
                  <a:solidFill>
                    <a:srgbClr val="FFFFFF"/>
                  </a:solidFill>
                  <a:ln w="12700" cap="flat">
                    <a:solidFill>
                      <a:srgbClr val="FFFFFF"/>
                    </a:solidFill>
                    <a:prstDash val="solid"/>
                  </a:ln>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latin typeface="Segoe UI"/>
                      <a:ea typeface="+mn-ea"/>
                      <a:cs typeface="+mn-cs"/>
                    </a:endParaRPr>
                  </a:p>
                </p:txBody>
              </p:sp>
            </p:grpSp>
          </p:grpSp>
        </p:grpSp>
      </p:grpSp>
      <p:grpSp>
        <p:nvGrpSpPr>
          <p:cNvPr id="4" name="Group 3">
            <a:extLst>
              <a:ext uri="{FF2B5EF4-FFF2-40B4-BE49-F238E27FC236}">
                <a16:creationId xmlns:a16="http://schemas.microsoft.com/office/drawing/2014/main" id="{8B97230C-8406-4725-9E71-587E9D13AEC9}"/>
              </a:ext>
            </a:extLst>
          </p:cNvPr>
          <p:cNvGrpSpPr/>
          <p:nvPr/>
        </p:nvGrpSpPr>
        <p:grpSpPr>
          <a:xfrm>
            <a:off x="4314896" y="2813354"/>
            <a:ext cx="2485225" cy="1074729"/>
            <a:chOff x="1023119" y="3319315"/>
            <a:chExt cx="3878499" cy="1687193"/>
          </a:xfrm>
        </p:grpSpPr>
        <p:grpSp>
          <p:nvGrpSpPr>
            <p:cNvPr id="64" name="Group 63">
              <a:extLst>
                <a:ext uri="{FF2B5EF4-FFF2-40B4-BE49-F238E27FC236}">
                  <a16:creationId xmlns:a16="http://schemas.microsoft.com/office/drawing/2014/main" id="{AE1D18C1-46F1-4D6E-8D3F-03DAA93D2CEF}"/>
                </a:ext>
              </a:extLst>
            </p:cNvPr>
            <p:cNvGrpSpPr/>
            <p:nvPr/>
          </p:nvGrpSpPr>
          <p:grpSpPr>
            <a:xfrm>
              <a:off x="2545740" y="3319315"/>
              <a:ext cx="769256" cy="769256"/>
              <a:chOff x="5834330" y="1960889"/>
              <a:chExt cx="769256" cy="769256"/>
            </a:xfrm>
          </p:grpSpPr>
          <p:sp>
            <p:nvSpPr>
              <p:cNvPr id="65" name="Oval 64">
                <a:extLst>
                  <a:ext uri="{FF2B5EF4-FFF2-40B4-BE49-F238E27FC236}">
                    <a16:creationId xmlns:a16="http://schemas.microsoft.com/office/drawing/2014/main" id="{CB0A6C91-BBAF-4D2D-B207-EA3434874CDC}"/>
                  </a:ext>
                </a:extLst>
              </p:cNvPr>
              <p:cNvSpPr/>
              <p:nvPr/>
            </p:nvSpPr>
            <p:spPr bwMode="auto">
              <a:xfrm>
                <a:off x="5834330" y="1960889"/>
                <a:ext cx="769256" cy="76925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66" name="Group 65">
                <a:extLst>
                  <a:ext uri="{FF2B5EF4-FFF2-40B4-BE49-F238E27FC236}">
                    <a16:creationId xmlns:a16="http://schemas.microsoft.com/office/drawing/2014/main" id="{15951BA7-1F5A-4F27-AE84-8E84CA3D5579}"/>
                  </a:ext>
                </a:extLst>
              </p:cNvPr>
              <p:cNvGrpSpPr/>
              <p:nvPr/>
            </p:nvGrpSpPr>
            <p:grpSpPr>
              <a:xfrm>
                <a:off x="5953179" y="2077564"/>
                <a:ext cx="531559" cy="535907"/>
                <a:chOff x="5819235" y="-1078967"/>
                <a:chExt cx="739899" cy="745951"/>
              </a:xfrm>
            </p:grpSpPr>
            <p:sp>
              <p:nvSpPr>
                <p:cNvPr id="67" name="Arrow: Up-Down 66">
                  <a:extLst>
                    <a:ext uri="{FF2B5EF4-FFF2-40B4-BE49-F238E27FC236}">
                      <a16:creationId xmlns:a16="http://schemas.microsoft.com/office/drawing/2014/main" id="{B125A90F-A97C-42EA-A500-B9FD8355FA5A}"/>
                    </a:ext>
                  </a:extLst>
                </p:cNvPr>
                <p:cNvSpPr/>
                <p:nvPr/>
              </p:nvSpPr>
              <p:spPr bwMode="auto">
                <a:xfrm>
                  <a:off x="5924964" y="-1000953"/>
                  <a:ext cx="528441" cy="587159"/>
                </a:xfrm>
                <a:prstGeom prst="upDownArrow">
                  <a:avLst>
                    <a:gd name="adj1" fmla="val 100000"/>
                    <a:gd name="adj2" fmla="val 24391"/>
                  </a:avLst>
                </a:prstGeom>
                <a:noFill/>
                <a:ln w="12700" cap="rnd" cmpd="sng" algn="ctr">
                  <a:solidFill>
                    <a:srgbClr val="FFFFFF"/>
                  </a:solidFill>
                  <a:prstDash val="solid"/>
                  <a:headEnd type="none" w="med" len="med"/>
                  <a:tailEnd type="none" w="med" len="med"/>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68" name="Group 67">
                  <a:extLst>
                    <a:ext uri="{FF2B5EF4-FFF2-40B4-BE49-F238E27FC236}">
                      <a16:creationId xmlns:a16="http://schemas.microsoft.com/office/drawing/2014/main" id="{2ECFB68D-9CFD-47FF-97AC-A80CBFD9996D}"/>
                    </a:ext>
                  </a:extLst>
                </p:cNvPr>
                <p:cNvGrpSpPr/>
                <p:nvPr/>
              </p:nvGrpSpPr>
              <p:grpSpPr>
                <a:xfrm>
                  <a:off x="6075438" y="-1078967"/>
                  <a:ext cx="211409" cy="248650"/>
                  <a:chOff x="3448088" y="4177256"/>
                  <a:chExt cx="1138785" cy="1339387"/>
                </a:xfrm>
                <a:solidFill>
                  <a:srgbClr val="E6E6E6"/>
                </a:solidFill>
              </p:grpSpPr>
              <p:grpSp>
                <p:nvGrpSpPr>
                  <p:cNvPr id="87" name="Group 86">
                    <a:extLst>
                      <a:ext uri="{FF2B5EF4-FFF2-40B4-BE49-F238E27FC236}">
                        <a16:creationId xmlns:a16="http://schemas.microsoft.com/office/drawing/2014/main" id="{66C38378-7965-4C78-A863-D05C173A091B}"/>
                      </a:ext>
                    </a:extLst>
                  </p:cNvPr>
                  <p:cNvGrpSpPr/>
                  <p:nvPr/>
                </p:nvGrpSpPr>
                <p:grpSpPr>
                  <a:xfrm>
                    <a:off x="3448088" y="4177256"/>
                    <a:ext cx="1138785" cy="1339387"/>
                    <a:chOff x="3448088" y="4177256"/>
                    <a:chExt cx="1138785" cy="1339387"/>
                  </a:xfrm>
                  <a:grpFill/>
                </p:grpSpPr>
                <p:sp>
                  <p:nvSpPr>
                    <p:cNvPr id="89" name="Freeform: Shape 88">
                      <a:extLst>
                        <a:ext uri="{FF2B5EF4-FFF2-40B4-BE49-F238E27FC236}">
                          <a16:creationId xmlns:a16="http://schemas.microsoft.com/office/drawing/2014/main" id="{EDEF460A-DA2D-499D-83D5-7824171CC156}"/>
                        </a:ext>
                      </a:extLst>
                    </p:cNvPr>
                    <p:cNvSpPr/>
                    <p:nvPr/>
                  </p:nvSpPr>
                  <p:spPr bwMode="auto">
                    <a:xfrm>
                      <a:off x="3448088" y="4177256"/>
                      <a:ext cx="1138785" cy="1339387"/>
                    </a:xfrm>
                    <a:custGeom>
                      <a:avLst/>
                      <a:gdLst>
                        <a:gd name="connsiteX0" fmla="*/ 140153 w 293914"/>
                        <a:gd name="connsiteY0" fmla="*/ 0 h 336097"/>
                        <a:gd name="connsiteX1" fmla="*/ 0 w 293914"/>
                        <a:gd name="connsiteY1" fmla="*/ 84364 h 336097"/>
                        <a:gd name="connsiteX2" fmla="*/ 0 w 293914"/>
                        <a:gd name="connsiteY2" fmla="*/ 232682 h 336097"/>
                        <a:gd name="connsiteX3" fmla="*/ 141514 w 293914"/>
                        <a:gd name="connsiteY3" fmla="*/ 336097 h 336097"/>
                        <a:gd name="connsiteX4" fmla="*/ 293914 w 293914"/>
                        <a:gd name="connsiteY4" fmla="*/ 231322 h 336097"/>
                        <a:gd name="connsiteX5" fmla="*/ 278946 w 293914"/>
                        <a:gd name="connsiteY5" fmla="*/ 77561 h 336097"/>
                        <a:gd name="connsiteX6" fmla="*/ 140153 w 293914"/>
                        <a:gd name="connsiteY6" fmla="*/ 0 h 336097"/>
                        <a:gd name="connsiteX0" fmla="*/ 140153 w 284389"/>
                        <a:gd name="connsiteY0" fmla="*/ 0 h 336097"/>
                        <a:gd name="connsiteX1" fmla="*/ 0 w 284389"/>
                        <a:gd name="connsiteY1" fmla="*/ 84364 h 336097"/>
                        <a:gd name="connsiteX2" fmla="*/ 0 w 284389"/>
                        <a:gd name="connsiteY2" fmla="*/ 232682 h 336097"/>
                        <a:gd name="connsiteX3" fmla="*/ 141514 w 284389"/>
                        <a:gd name="connsiteY3" fmla="*/ 336097 h 336097"/>
                        <a:gd name="connsiteX4" fmla="*/ 284389 w 284389"/>
                        <a:gd name="connsiteY4" fmla="*/ 228601 h 336097"/>
                        <a:gd name="connsiteX5" fmla="*/ 278946 w 284389"/>
                        <a:gd name="connsiteY5" fmla="*/ 77561 h 336097"/>
                        <a:gd name="connsiteX6" fmla="*/ 140153 w 284389"/>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4389 w 287111"/>
                        <a:gd name="connsiteY4" fmla="*/ 228601 h 336097"/>
                        <a:gd name="connsiteX5" fmla="*/ 287111 w 287111"/>
                        <a:gd name="connsiteY5" fmla="*/ 88447 h 336097"/>
                        <a:gd name="connsiteX6" fmla="*/ 140153 w 287111"/>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6467 w 287111"/>
                        <a:gd name="connsiteY4" fmla="*/ 235529 h 336097"/>
                        <a:gd name="connsiteX5" fmla="*/ 287111 w 287111"/>
                        <a:gd name="connsiteY5" fmla="*/ 88447 h 336097"/>
                        <a:gd name="connsiteX6" fmla="*/ 140153 w 287111"/>
                        <a:gd name="connsiteY6" fmla="*/ 0 h 336097"/>
                        <a:gd name="connsiteX0" fmla="*/ 140153 w 286690"/>
                        <a:gd name="connsiteY0" fmla="*/ 0 h 336097"/>
                        <a:gd name="connsiteX1" fmla="*/ 0 w 286690"/>
                        <a:gd name="connsiteY1" fmla="*/ 84364 h 336097"/>
                        <a:gd name="connsiteX2" fmla="*/ 0 w 286690"/>
                        <a:gd name="connsiteY2" fmla="*/ 232682 h 336097"/>
                        <a:gd name="connsiteX3" fmla="*/ 141514 w 286690"/>
                        <a:gd name="connsiteY3" fmla="*/ 336097 h 336097"/>
                        <a:gd name="connsiteX4" fmla="*/ 286467 w 286690"/>
                        <a:gd name="connsiteY4" fmla="*/ 235529 h 336097"/>
                        <a:gd name="connsiteX5" fmla="*/ 286072 w 286690"/>
                        <a:gd name="connsiteY5" fmla="*/ 83251 h 336097"/>
                        <a:gd name="connsiteX6" fmla="*/ 140153 w 286690"/>
                        <a:gd name="connsiteY6" fmla="*/ 0 h 336097"/>
                        <a:gd name="connsiteX0" fmla="*/ 142924 w 289461"/>
                        <a:gd name="connsiteY0" fmla="*/ 0 h 336097"/>
                        <a:gd name="connsiteX1" fmla="*/ 2771 w 289461"/>
                        <a:gd name="connsiteY1" fmla="*/ 84364 h 336097"/>
                        <a:gd name="connsiteX2" fmla="*/ 0 w 289461"/>
                        <a:gd name="connsiteY2" fmla="*/ 230604 h 336097"/>
                        <a:gd name="connsiteX3" fmla="*/ 144285 w 289461"/>
                        <a:gd name="connsiteY3" fmla="*/ 336097 h 336097"/>
                        <a:gd name="connsiteX4" fmla="*/ 289238 w 289461"/>
                        <a:gd name="connsiteY4" fmla="*/ 235529 h 336097"/>
                        <a:gd name="connsiteX5" fmla="*/ 288843 w 289461"/>
                        <a:gd name="connsiteY5" fmla="*/ 83251 h 336097"/>
                        <a:gd name="connsiteX6" fmla="*/ 142924 w 289461"/>
                        <a:gd name="connsiteY6" fmla="*/ 0 h 336097"/>
                        <a:gd name="connsiteX0" fmla="*/ 144147 w 290684"/>
                        <a:gd name="connsiteY0" fmla="*/ 0 h 336097"/>
                        <a:gd name="connsiteX1" fmla="*/ 184 w 290684"/>
                        <a:gd name="connsiteY1" fmla="*/ 83325 h 336097"/>
                        <a:gd name="connsiteX2" fmla="*/ 1223 w 290684"/>
                        <a:gd name="connsiteY2" fmla="*/ 230604 h 336097"/>
                        <a:gd name="connsiteX3" fmla="*/ 145508 w 290684"/>
                        <a:gd name="connsiteY3" fmla="*/ 336097 h 336097"/>
                        <a:gd name="connsiteX4" fmla="*/ 290461 w 290684"/>
                        <a:gd name="connsiteY4" fmla="*/ 235529 h 336097"/>
                        <a:gd name="connsiteX5" fmla="*/ 290066 w 290684"/>
                        <a:gd name="connsiteY5" fmla="*/ 83251 h 336097"/>
                        <a:gd name="connsiteX6" fmla="*/ 144147 w 290684"/>
                        <a:gd name="connsiteY6" fmla="*/ 0 h 336097"/>
                        <a:gd name="connsiteX0" fmla="*/ 145186 w 290684"/>
                        <a:gd name="connsiteY0" fmla="*/ 0 h 342332"/>
                        <a:gd name="connsiteX1" fmla="*/ 184 w 290684"/>
                        <a:gd name="connsiteY1" fmla="*/ 89560 h 342332"/>
                        <a:gd name="connsiteX2" fmla="*/ 1223 w 290684"/>
                        <a:gd name="connsiteY2" fmla="*/ 236839 h 342332"/>
                        <a:gd name="connsiteX3" fmla="*/ 145508 w 290684"/>
                        <a:gd name="connsiteY3" fmla="*/ 342332 h 342332"/>
                        <a:gd name="connsiteX4" fmla="*/ 290461 w 290684"/>
                        <a:gd name="connsiteY4" fmla="*/ 241764 h 342332"/>
                        <a:gd name="connsiteX5" fmla="*/ 290066 w 290684"/>
                        <a:gd name="connsiteY5" fmla="*/ 89486 h 342332"/>
                        <a:gd name="connsiteX6" fmla="*/ 145186 w 290684"/>
                        <a:gd name="connsiteY6" fmla="*/ 0 h 342332"/>
                        <a:gd name="connsiteX0" fmla="*/ 143963 w 289461"/>
                        <a:gd name="connsiteY0" fmla="*/ 0 h 342332"/>
                        <a:gd name="connsiteX1" fmla="*/ 1039 w 289461"/>
                        <a:gd name="connsiteY1" fmla="*/ 89560 h 342332"/>
                        <a:gd name="connsiteX2" fmla="*/ 0 w 289461"/>
                        <a:gd name="connsiteY2" fmla="*/ 236839 h 342332"/>
                        <a:gd name="connsiteX3" fmla="*/ 144285 w 289461"/>
                        <a:gd name="connsiteY3" fmla="*/ 342332 h 342332"/>
                        <a:gd name="connsiteX4" fmla="*/ 289238 w 289461"/>
                        <a:gd name="connsiteY4" fmla="*/ 241764 h 342332"/>
                        <a:gd name="connsiteX5" fmla="*/ 288843 w 289461"/>
                        <a:gd name="connsiteY5" fmla="*/ 89486 h 342332"/>
                        <a:gd name="connsiteX6" fmla="*/ 143963 w 289461"/>
                        <a:gd name="connsiteY6" fmla="*/ 0 h 342332"/>
                        <a:gd name="connsiteX0" fmla="*/ 143092 w 288590"/>
                        <a:gd name="connsiteY0" fmla="*/ 0 h 342332"/>
                        <a:gd name="connsiteX1" fmla="*/ 168 w 288590"/>
                        <a:gd name="connsiteY1" fmla="*/ 89560 h 342332"/>
                        <a:gd name="connsiteX2" fmla="*/ 1554 w 288590"/>
                        <a:gd name="connsiteY2" fmla="*/ 234414 h 342332"/>
                        <a:gd name="connsiteX3" fmla="*/ 143414 w 288590"/>
                        <a:gd name="connsiteY3" fmla="*/ 342332 h 342332"/>
                        <a:gd name="connsiteX4" fmla="*/ 288367 w 288590"/>
                        <a:gd name="connsiteY4" fmla="*/ 241764 h 342332"/>
                        <a:gd name="connsiteX5" fmla="*/ 287972 w 288590"/>
                        <a:gd name="connsiteY5" fmla="*/ 89486 h 342332"/>
                        <a:gd name="connsiteX6" fmla="*/ 143092 w 288590"/>
                        <a:gd name="connsiteY6" fmla="*/ 0 h 342332"/>
                        <a:gd name="connsiteX0" fmla="*/ 145002 w 290500"/>
                        <a:gd name="connsiteY0" fmla="*/ 0 h 342332"/>
                        <a:gd name="connsiteX1" fmla="*/ 2078 w 290500"/>
                        <a:gd name="connsiteY1" fmla="*/ 89560 h 342332"/>
                        <a:gd name="connsiteX2" fmla="*/ 0 w 290500"/>
                        <a:gd name="connsiteY2" fmla="*/ 234067 h 342332"/>
                        <a:gd name="connsiteX3" fmla="*/ 145324 w 290500"/>
                        <a:gd name="connsiteY3" fmla="*/ 342332 h 342332"/>
                        <a:gd name="connsiteX4" fmla="*/ 290277 w 290500"/>
                        <a:gd name="connsiteY4" fmla="*/ 241764 h 342332"/>
                        <a:gd name="connsiteX5" fmla="*/ 289882 w 290500"/>
                        <a:gd name="connsiteY5" fmla="*/ 89486 h 342332"/>
                        <a:gd name="connsiteX6" fmla="*/ 145002 w 290500"/>
                        <a:gd name="connsiteY6" fmla="*/ 0 h 342332"/>
                        <a:gd name="connsiteX0" fmla="*/ 145002 w 290500"/>
                        <a:gd name="connsiteY0" fmla="*/ 0 h 337829"/>
                        <a:gd name="connsiteX1" fmla="*/ 2078 w 290500"/>
                        <a:gd name="connsiteY1" fmla="*/ 89560 h 337829"/>
                        <a:gd name="connsiteX2" fmla="*/ 0 w 290500"/>
                        <a:gd name="connsiteY2" fmla="*/ 234067 h 337829"/>
                        <a:gd name="connsiteX3" fmla="*/ 145324 w 290500"/>
                        <a:gd name="connsiteY3" fmla="*/ 337829 h 337829"/>
                        <a:gd name="connsiteX4" fmla="*/ 290277 w 290500"/>
                        <a:gd name="connsiteY4" fmla="*/ 241764 h 337829"/>
                        <a:gd name="connsiteX5" fmla="*/ 289882 w 290500"/>
                        <a:gd name="connsiteY5" fmla="*/ 89486 h 337829"/>
                        <a:gd name="connsiteX6" fmla="*/ 145002 w 290500"/>
                        <a:gd name="connsiteY6" fmla="*/ 0 h 337829"/>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764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6813 w 289882"/>
                        <a:gd name="connsiteY4" fmla="*/ 242457 h 340946"/>
                        <a:gd name="connsiteX5" fmla="*/ 289882 w 289882"/>
                        <a:gd name="connsiteY5" fmla="*/ 89486 h 340946"/>
                        <a:gd name="connsiteX6" fmla="*/ 145002 w 289882"/>
                        <a:gd name="connsiteY6" fmla="*/ 0 h 340946"/>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418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9238 w 289882"/>
                        <a:gd name="connsiteY4" fmla="*/ 239686 h 340946"/>
                        <a:gd name="connsiteX5" fmla="*/ 289882 w 289882"/>
                        <a:gd name="connsiteY5" fmla="*/ 89486 h 340946"/>
                        <a:gd name="connsiteX6" fmla="*/ 145002 w 289882"/>
                        <a:gd name="connsiteY6" fmla="*/ 0 h 340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882" h="340946">
                          <a:moveTo>
                            <a:pt x="145002" y="0"/>
                          </a:moveTo>
                          <a:lnTo>
                            <a:pt x="2078" y="89560"/>
                          </a:lnTo>
                          <a:cubicBezTo>
                            <a:pt x="1154" y="138307"/>
                            <a:pt x="924" y="185320"/>
                            <a:pt x="0" y="234067"/>
                          </a:cubicBezTo>
                          <a:lnTo>
                            <a:pt x="145670" y="340946"/>
                          </a:lnTo>
                          <a:lnTo>
                            <a:pt x="289238" y="239686"/>
                          </a:lnTo>
                          <a:cubicBezTo>
                            <a:pt x="290145" y="192968"/>
                            <a:pt x="288975" y="136204"/>
                            <a:pt x="289882" y="89486"/>
                          </a:cubicBezTo>
                          <a:lnTo>
                            <a:pt x="145002" y="0"/>
                          </a:lnTo>
                          <a:close/>
                        </a:path>
                      </a:pathLst>
                    </a:custGeom>
                    <a:solidFill>
                      <a:srgbClr val="0078D7"/>
                    </a:solidFill>
                    <a:ln w="12700" cap="rnd" cmpd="sng" algn="ctr">
                      <a:solidFill>
                        <a:srgbClr val="FFFFFF"/>
                      </a:solidFill>
                      <a:prstDash val="solid"/>
                      <a:headEnd type="none" w="med" len="med"/>
                      <a:tailEnd type="none" w="med" len="med"/>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90" name="Straight Connector 89">
                      <a:extLst>
                        <a:ext uri="{FF2B5EF4-FFF2-40B4-BE49-F238E27FC236}">
                          <a16:creationId xmlns:a16="http://schemas.microsoft.com/office/drawing/2014/main" id="{0DE086D5-FDD7-4F2C-BEF8-CD81FA1233DC}"/>
                        </a:ext>
                      </a:extLst>
                    </p:cNvPr>
                    <p:cNvCxnSpPr>
                      <a:cxnSpLocks/>
                    </p:cNvCxnSpPr>
                    <p:nvPr/>
                  </p:nvCxnSpPr>
                  <p:spPr>
                    <a:xfrm flipV="1">
                      <a:off x="4019187" y="4532301"/>
                      <a:ext cx="563116" cy="421997"/>
                    </a:xfrm>
                    <a:prstGeom prst="line">
                      <a:avLst/>
                    </a:prstGeom>
                    <a:grpFill/>
                    <a:ln w="12700" cap="rnd" cmpd="sng" algn="ctr">
                      <a:solidFill>
                        <a:srgbClr val="FFFFFF"/>
                      </a:solidFill>
                      <a:prstDash val="solid"/>
                      <a:headEnd type="none" w="med" len="med"/>
                      <a:tailEnd type="none" w="med" len="med"/>
                    </a:ln>
                    <a:effectLst/>
                  </p:spPr>
                </p:cxnSp>
                <p:cxnSp>
                  <p:nvCxnSpPr>
                    <p:cNvPr id="91" name="Straight Connector 90">
                      <a:extLst>
                        <a:ext uri="{FF2B5EF4-FFF2-40B4-BE49-F238E27FC236}">
                          <a16:creationId xmlns:a16="http://schemas.microsoft.com/office/drawing/2014/main" id="{16593B93-8A08-4B4B-B705-8216FA727C9D}"/>
                        </a:ext>
                      </a:extLst>
                    </p:cNvPr>
                    <p:cNvCxnSpPr>
                      <a:cxnSpLocks/>
                    </p:cNvCxnSpPr>
                    <p:nvPr/>
                  </p:nvCxnSpPr>
                  <p:spPr>
                    <a:xfrm flipH="1" flipV="1">
                      <a:off x="3454309" y="4532300"/>
                      <a:ext cx="563116" cy="421997"/>
                    </a:xfrm>
                    <a:prstGeom prst="line">
                      <a:avLst/>
                    </a:prstGeom>
                    <a:grpFill/>
                    <a:ln w="12700" cap="rnd" cmpd="sng" algn="ctr">
                      <a:solidFill>
                        <a:srgbClr val="FFFFFF"/>
                      </a:solidFill>
                      <a:prstDash val="solid"/>
                      <a:headEnd type="none" w="med" len="med"/>
                      <a:tailEnd type="none" w="med" len="med"/>
                    </a:ln>
                    <a:effectLst/>
                  </p:spPr>
                </p:cxnSp>
              </p:grpSp>
              <p:cxnSp>
                <p:nvCxnSpPr>
                  <p:cNvPr id="88" name="Straight Connector 87">
                    <a:extLst>
                      <a:ext uri="{FF2B5EF4-FFF2-40B4-BE49-F238E27FC236}">
                        <a16:creationId xmlns:a16="http://schemas.microsoft.com/office/drawing/2014/main" id="{243008C5-C055-4420-AFF4-37515D61000D}"/>
                      </a:ext>
                    </a:extLst>
                  </p:cNvPr>
                  <p:cNvCxnSpPr>
                    <a:cxnSpLocks/>
                    <a:endCxn id="89" idx="3"/>
                  </p:cNvCxnSpPr>
                  <p:nvPr/>
                </p:nvCxnSpPr>
                <p:spPr>
                  <a:xfrm flipH="1">
                    <a:off x="4020344" y="4956376"/>
                    <a:ext cx="682" cy="560267"/>
                  </a:xfrm>
                  <a:prstGeom prst="line">
                    <a:avLst/>
                  </a:prstGeom>
                  <a:grpFill/>
                  <a:ln w="12700" cap="rnd" cmpd="sng" algn="ctr">
                    <a:solidFill>
                      <a:srgbClr val="FFFFFF"/>
                    </a:solidFill>
                    <a:prstDash val="solid"/>
                    <a:headEnd type="none" w="med" len="med"/>
                    <a:tailEnd type="none" w="med" len="med"/>
                  </a:ln>
                  <a:effectLst/>
                </p:spPr>
              </p:cxnSp>
            </p:grpSp>
            <p:grpSp>
              <p:nvGrpSpPr>
                <p:cNvPr id="69" name="Group 68">
                  <a:extLst>
                    <a:ext uri="{FF2B5EF4-FFF2-40B4-BE49-F238E27FC236}">
                      <a16:creationId xmlns:a16="http://schemas.microsoft.com/office/drawing/2014/main" id="{5F502783-F15C-4FAB-A586-425EECFFCCDD}"/>
                    </a:ext>
                  </a:extLst>
                </p:cNvPr>
                <p:cNvGrpSpPr/>
                <p:nvPr/>
              </p:nvGrpSpPr>
              <p:grpSpPr>
                <a:xfrm>
                  <a:off x="6347725" y="-830317"/>
                  <a:ext cx="211409" cy="248650"/>
                  <a:chOff x="3448088" y="4177256"/>
                  <a:chExt cx="1138785" cy="1339387"/>
                </a:xfrm>
                <a:solidFill>
                  <a:srgbClr val="E6E6E6"/>
                </a:solidFill>
              </p:grpSpPr>
              <p:grpSp>
                <p:nvGrpSpPr>
                  <p:cNvPr id="82" name="Group 81">
                    <a:extLst>
                      <a:ext uri="{FF2B5EF4-FFF2-40B4-BE49-F238E27FC236}">
                        <a16:creationId xmlns:a16="http://schemas.microsoft.com/office/drawing/2014/main" id="{E81921F3-7E54-40E8-A1DE-94DEF0990D70}"/>
                      </a:ext>
                    </a:extLst>
                  </p:cNvPr>
                  <p:cNvGrpSpPr/>
                  <p:nvPr/>
                </p:nvGrpSpPr>
                <p:grpSpPr>
                  <a:xfrm>
                    <a:off x="3448088" y="4177256"/>
                    <a:ext cx="1138785" cy="1339387"/>
                    <a:chOff x="3448088" y="4177256"/>
                    <a:chExt cx="1138785" cy="1339387"/>
                  </a:xfrm>
                  <a:grpFill/>
                </p:grpSpPr>
                <p:sp>
                  <p:nvSpPr>
                    <p:cNvPr id="84" name="Freeform: Shape 83">
                      <a:extLst>
                        <a:ext uri="{FF2B5EF4-FFF2-40B4-BE49-F238E27FC236}">
                          <a16:creationId xmlns:a16="http://schemas.microsoft.com/office/drawing/2014/main" id="{978CE63A-4517-4ECF-BC56-5A8D746B7907}"/>
                        </a:ext>
                      </a:extLst>
                    </p:cNvPr>
                    <p:cNvSpPr/>
                    <p:nvPr/>
                  </p:nvSpPr>
                  <p:spPr bwMode="auto">
                    <a:xfrm>
                      <a:off x="3448088" y="4177256"/>
                      <a:ext cx="1138785" cy="1339387"/>
                    </a:xfrm>
                    <a:custGeom>
                      <a:avLst/>
                      <a:gdLst>
                        <a:gd name="connsiteX0" fmla="*/ 140153 w 293914"/>
                        <a:gd name="connsiteY0" fmla="*/ 0 h 336097"/>
                        <a:gd name="connsiteX1" fmla="*/ 0 w 293914"/>
                        <a:gd name="connsiteY1" fmla="*/ 84364 h 336097"/>
                        <a:gd name="connsiteX2" fmla="*/ 0 w 293914"/>
                        <a:gd name="connsiteY2" fmla="*/ 232682 h 336097"/>
                        <a:gd name="connsiteX3" fmla="*/ 141514 w 293914"/>
                        <a:gd name="connsiteY3" fmla="*/ 336097 h 336097"/>
                        <a:gd name="connsiteX4" fmla="*/ 293914 w 293914"/>
                        <a:gd name="connsiteY4" fmla="*/ 231322 h 336097"/>
                        <a:gd name="connsiteX5" fmla="*/ 278946 w 293914"/>
                        <a:gd name="connsiteY5" fmla="*/ 77561 h 336097"/>
                        <a:gd name="connsiteX6" fmla="*/ 140153 w 293914"/>
                        <a:gd name="connsiteY6" fmla="*/ 0 h 336097"/>
                        <a:gd name="connsiteX0" fmla="*/ 140153 w 284389"/>
                        <a:gd name="connsiteY0" fmla="*/ 0 h 336097"/>
                        <a:gd name="connsiteX1" fmla="*/ 0 w 284389"/>
                        <a:gd name="connsiteY1" fmla="*/ 84364 h 336097"/>
                        <a:gd name="connsiteX2" fmla="*/ 0 w 284389"/>
                        <a:gd name="connsiteY2" fmla="*/ 232682 h 336097"/>
                        <a:gd name="connsiteX3" fmla="*/ 141514 w 284389"/>
                        <a:gd name="connsiteY3" fmla="*/ 336097 h 336097"/>
                        <a:gd name="connsiteX4" fmla="*/ 284389 w 284389"/>
                        <a:gd name="connsiteY4" fmla="*/ 228601 h 336097"/>
                        <a:gd name="connsiteX5" fmla="*/ 278946 w 284389"/>
                        <a:gd name="connsiteY5" fmla="*/ 77561 h 336097"/>
                        <a:gd name="connsiteX6" fmla="*/ 140153 w 284389"/>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4389 w 287111"/>
                        <a:gd name="connsiteY4" fmla="*/ 228601 h 336097"/>
                        <a:gd name="connsiteX5" fmla="*/ 287111 w 287111"/>
                        <a:gd name="connsiteY5" fmla="*/ 88447 h 336097"/>
                        <a:gd name="connsiteX6" fmla="*/ 140153 w 287111"/>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6467 w 287111"/>
                        <a:gd name="connsiteY4" fmla="*/ 235529 h 336097"/>
                        <a:gd name="connsiteX5" fmla="*/ 287111 w 287111"/>
                        <a:gd name="connsiteY5" fmla="*/ 88447 h 336097"/>
                        <a:gd name="connsiteX6" fmla="*/ 140153 w 287111"/>
                        <a:gd name="connsiteY6" fmla="*/ 0 h 336097"/>
                        <a:gd name="connsiteX0" fmla="*/ 140153 w 286690"/>
                        <a:gd name="connsiteY0" fmla="*/ 0 h 336097"/>
                        <a:gd name="connsiteX1" fmla="*/ 0 w 286690"/>
                        <a:gd name="connsiteY1" fmla="*/ 84364 h 336097"/>
                        <a:gd name="connsiteX2" fmla="*/ 0 w 286690"/>
                        <a:gd name="connsiteY2" fmla="*/ 232682 h 336097"/>
                        <a:gd name="connsiteX3" fmla="*/ 141514 w 286690"/>
                        <a:gd name="connsiteY3" fmla="*/ 336097 h 336097"/>
                        <a:gd name="connsiteX4" fmla="*/ 286467 w 286690"/>
                        <a:gd name="connsiteY4" fmla="*/ 235529 h 336097"/>
                        <a:gd name="connsiteX5" fmla="*/ 286072 w 286690"/>
                        <a:gd name="connsiteY5" fmla="*/ 83251 h 336097"/>
                        <a:gd name="connsiteX6" fmla="*/ 140153 w 286690"/>
                        <a:gd name="connsiteY6" fmla="*/ 0 h 336097"/>
                        <a:gd name="connsiteX0" fmla="*/ 142924 w 289461"/>
                        <a:gd name="connsiteY0" fmla="*/ 0 h 336097"/>
                        <a:gd name="connsiteX1" fmla="*/ 2771 w 289461"/>
                        <a:gd name="connsiteY1" fmla="*/ 84364 h 336097"/>
                        <a:gd name="connsiteX2" fmla="*/ 0 w 289461"/>
                        <a:gd name="connsiteY2" fmla="*/ 230604 h 336097"/>
                        <a:gd name="connsiteX3" fmla="*/ 144285 w 289461"/>
                        <a:gd name="connsiteY3" fmla="*/ 336097 h 336097"/>
                        <a:gd name="connsiteX4" fmla="*/ 289238 w 289461"/>
                        <a:gd name="connsiteY4" fmla="*/ 235529 h 336097"/>
                        <a:gd name="connsiteX5" fmla="*/ 288843 w 289461"/>
                        <a:gd name="connsiteY5" fmla="*/ 83251 h 336097"/>
                        <a:gd name="connsiteX6" fmla="*/ 142924 w 289461"/>
                        <a:gd name="connsiteY6" fmla="*/ 0 h 336097"/>
                        <a:gd name="connsiteX0" fmla="*/ 144147 w 290684"/>
                        <a:gd name="connsiteY0" fmla="*/ 0 h 336097"/>
                        <a:gd name="connsiteX1" fmla="*/ 184 w 290684"/>
                        <a:gd name="connsiteY1" fmla="*/ 83325 h 336097"/>
                        <a:gd name="connsiteX2" fmla="*/ 1223 w 290684"/>
                        <a:gd name="connsiteY2" fmla="*/ 230604 h 336097"/>
                        <a:gd name="connsiteX3" fmla="*/ 145508 w 290684"/>
                        <a:gd name="connsiteY3" fmla="*/ 336097 h 336097"/>
                        <a:gd name="connsiteX4" fmla="*/ 290461 w 290684"/>
                        <a:gd name="connsiteY4" fmla="*/ 235529 h 336097"/>
                        <a:gd name="connsiteX5" fmla="*/ 290066 w 290684"/>
                        <a:gd name="connsiteY5" fmla="*/ 83251 h 336097"/>
                        <a:gd name="connsiteX6" fmla="*/ 144147 w 290684"/>
                        <a:gd name="connsiteY6" fmla="*/ 0 h 336097"/>
                        <a:gd name="connsiteX0" fmla="*/ 145186 w 290684"/>
                        <a:gd name="connsiteY0" fmla="*/ 0 h 342332"/>
                        <a:gd name="connsiteX1" fmla="*/ 184 w 290684"/>
                        <a:gd name="connsiteY1" fmla="*/ 89560 h 342332"/>
                        <a:gd name="connsiteX2" fmla="*/ 1223 w 290684"/>
                        <a:gd name="connsiteY2" fmla="*/ 236839 h 342332"/>
                        <a:gd name="connsiteX3" fmla="*/ 145508 w 290684"/>
                        <a:gd name="connsiteY3" fmla="*/ 342332 h 342332"/>
                        <a:gd name="connsiteX4" fmla="*/ 290461 w 290684"/>
                        <a:gd name="connsiteY4" fmla="*/ 241764 h 342332"/>
                        <a:gd name="connsiteX5" fmla="*/ 290066 w 290684"/>
                        <a:gd name="connsiteY5" fmla="*/ 89486 h 342332"/>
                        <a:gd name="connsiteX6" fmla="*/ 145186 w 290684"/>
                        <a:gd name="connsiteY6" fmla="*/ 0 h 342332"/>
                        <a:gd name="connsiteX0" fmla="*/ 143963 w 289461"/>
                        <a:gd name="connsiteY0" fmla="*/ 0 h 342332"/>
                        <a:gd name="connsiteX1" fmla="*/ 1039 w 289461"/>
                        <a:gd name="connsiteY1" fmla="*/ 89560 h 342332"/>
                        <a:gd name="connsiteX2" fmla="*/ 0 w 289461"/>
                        <a:gd name="connsiteY2" fmla="*/ 236839 h 342332"/>
                        <a:gd name="connsiteX3" fmla="*/ 144285 w 289461"/>
                        <a:gd name="connsiteY3" fmla="*/ 342332 h 342332"/>
                        <a:gd name="connsiteX4" fmla="*/ 289238 w 289461"/>
                        <a:gd name="connsiteY4" fmla="*/ 241764 h 342332"/>
                        <a:gd name="connsiteX5" fmla="*/ 288843 w 289461"/>
                        <a:gd name="connsiteY5" fmla="*/ 89486 h 342332"/>
                        <a:gd name="connsiteX6" fmla="*/ 143963 w 289461"/>
                        <a:gd name="connsiteY6" fmla="*/ 0 h 342332"/>
                        <a:gd name="connsiteX0" fmla="*/ 143092 w 288590"/>
                        <a:gd name="connsiteY0" fmla="*/ 0 h 342332"/>
                        <a:gd name="connsiteX1" fmla="*/ 168 w 288590"/>
                        <a:gd name="connsiteY1" fmla="*/ 89560 h 342332"/>
                        <a:gd name="connsiteX2" fmla="*/ 1554 w 288590"/>
                        <a:gd name="connsiteY2" fmla="*/ 234414 h 342332"/>
                        <a:gd name="connsiteX3" fmla="*/ 143414 w 288590"/>
                        <a:gd name="connsiteY3" fmla="*/ 342332 h 342332"/>
                        <a:gd name="connsiteX4" fmla="*/ 288367 w 288590"/>
                        <a:gd name="connsiteY4" fmla="*/ 241764 h 342332"/>
                        <a:gd name="connsiteX5" fmla="*/ 287972 w 288590"/>
                        <a:gd name="connsiteY5" fmla="*/ 89486 h 342332"/>
                        <a:gd name="connsiteX6" fmla="*/ 143092 w 288590"/>
                        <a:gd name="connsiteY6" fmla="*/ 0 h 342332"/>
                        <a:gd name="connsiteX0" fmla="*/ 145002 w 290500"/>
                        <a:gd name="connsiteY0" fmla="*/ 0 h 342332"/>
                        <a:gd name="connsiteX1" fmla="*/ 2078 w 290500"/>
                        <a:gd name="connsiteY1" fmla="*/ 89560 h 342332"/>
                        <a:gd name="connsiteX2" fmla="*/ 0 w 290500"/>
                        <a:gd name="connsiteY2" fmla="*/ 234067 h 342332"/>
                        <a:gd name="connsiteX3" fmla="*/ 145324 w 290500"/>
                        <a:gd name="connsiteY3" fmla="*/ 342332 h 342332"/>
                        <a:gd name="connsiteX4" fmla="*/ 290277 w 290500"/>
                        <a:gd name="connsiteY4" fmla="*/ 241764 h 342332"/>
                        <a:gd name="connsiteX5" fmla="*/ 289882 w 290500"/>
                        <a:gd name="connsiteY5" fmla="*/ 89486 h 342332"/>
                        <a:gd name="connsiteX6" fmla="*/ 145002 w 290500"/>
                        <a:gd name="connsiteY6" fmla="*/ 0 h 342332"/>
                        <a:gd name="connsiteX0" fmla="*/ 145002 w 290500"/>
                        <a:gd name="connsiteY0" fmla="*/ 0 h 337829"/>
                        <a:gd name="connsiteX1" fmla="*/ 2078 w 290500"/>
                        <a:gd name="connsiteY1" fmla="*/ 89560 h 337829"/>
                        <a:gd name="connsiteX2" fmla="*/ 0 w 290500"/>
                        <a:gd name="connsiteY2" fmla="*/ 234067 h 337829"/>
                        <a:gd name="connsiteX3" fmla="*/ 145324 w 290500"/>
                        <a:gd name="connsiteY3" fmla="*/ 337829 h 337829"/>
                        <a:gd name="connsiteX4" fmla="*/ 290277 w 290500"/>
                        <a:gd name="connsiteY4" fmla="*/ 241764 h 337829"/>
                        <a:gd name="connsiteX5" fmla="*/ 289882 w 290500"/>
                        <a:gd name="connsiteY5" fmla="*/ 89486 h 337829"/>
                        <a:gd name="connsiteX6" fmla="*/ 145002 w 290500"/>
                        <a:gd name="connsiteY6" fmla="*/ 0 h 337829"/>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764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6813 w 289882"/>
                        <a:gd name="connsiteY4" fmla="*/ 242457 h 340946"/>
                        <a:gd name="connsiteX5" fmla="*/ 289882 w 289882"/>
                        <a:gd name="connsiteY5" fmla="*/ 89486 h 340946"/>
                        <a:gd name="connsiteX6" fmla="*/ 145002 w 289882"/>
                        <a:gd name="connsiteY6" fmla="*/ 0 h 340946"/>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418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9238 w 289882"/>
                        <a:gd name="connsiteY4" fmla="*/ 239686 h 340946"/>
                        <a:gd name="connsiteX5" fmla="*/ 289882 w 289882"/>
                        <a:gd name="connsiteY5" fmla="*/ 89486 h 340946"/>
                        <a:gd name="connsiteX6" fmla="*/ 145002 w 289882"/>
                        <a:gd name="connsiteY6" fmla="*/ 0 h 340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882" h="340946">
                          <a:moveTo>
                            <a:pt x="145002" y="0"/>
                          </a:moveTo>
                          <a:lnTo>
                            <a:pt x="2078" y="89560"/>
                          </a:lnTo>
                          <a:cubicBezTo>
                            <a:pt x="1154" y="138307"/>
                            <a:pt x="924" y="185320"/>
                            <a:pt x="0" y="234067"/>
                          </a:cubicBezTo>
                          <a:lnTo>
                            <a:pt x="145670" y="340946"/>
                          </a:lnTo>
                          <a:lnTo>
                            <a:pt x="289238" y="239686"/>
                          </a:lnTo>
                          <a:cubicBezTo>
                            <a:pt x="290145" y="192968"/>
                            <a:pt x="288975" y="136204"/>
                            <a:pt x="289882" y="89486"/>
                          </a:cubicBezTo>
                          <a:lnTo>
                            <a:pt x="145002" y="0"/>
                          </a:lnTo>
                          <a:close/>
                        </a:path>
                      </a:pathLst>
                    </a:custGeom>
                    <a:solidFill>
                      <a:srgbClr val="0078D7"/>
                    </a:solidFill>
                    <a:ln w="12700" cap="rnd" cmpd="sng" algn="ctr">
                      <a:solidFill>
                        <a:srgbClr val="FFFFFF"/>
                      </a:solidFill>
                      <a:prstDash val="solid"/>
                      <a:headEnd type="none" w="med" len="med"/>
                      <a:tailEnd type="none" w="med" len="med"/>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5" name="Straight Connector 84">
                      <a:extLst>
                        <a:ext uri="{FF2B5EF4-FFF2-40B4-BE49-F238E27FC236}">
                          <a16:creationId xmlns:a16="http://schemas.microsoft.com/office/drawing/2014/main" id="{27817552-7D72-4247-8C3B-80A9DCCF9859}"/>
                        </a:ext>
                      </a:extLst>
                    </p:cNvPr>
                    <p:cNvCxnSpPr>
                      <a:cxnSpLocks/>
                    </p:cNvCxnSpPr>
                    <p:nvPr/>
                  </p:nvCxnSpPr>
                  <p:spPr>
                    <a:xfrm flipV="1">
                      <a:off x="4019187" y="4532301"/>
                      <a:ext cx="563116" cy="421997"/>
                    </a:xfrm>
                    <a:prstGeom prst="line">
                      <a:avLst/>
                    </a:prstGeom>
                    <a:grpFill/>
                    <a:ln w="12700" cap="rnd" cmpd="sng" algn="ctr">
                      <a:solidFill>
                        <a:srgbClr val="FFFFFF"/>
                      </a:solidFill>
                      <a:prstDash val="solid"/>
                      <a:headEnd type="none" w="med" len="med"/>
                      <a:tailEnd type="none" w="med" len="med"/>
                    </a:ln>
                    <a:effectLst/>
                  </p:spPr>
                </p:cxnSp>
                <p:cxnSp>
                  <p:nvCxnSpPr>
                    <p:cNvPr id="86" name="Straight Connector 85">
                      <a:extLst>
                        <a:ext uri="{FF2B5EF4-FFF2-40B4-BE49-F238E27FC236}">
                          <a16:creationId xmlns:a16="http://schemas.microsoft.com/office/drawing/2014/main" id="{C43E3631-2E20-4F2B-A792-12C238909DC1}"/>
                        </a:ext>
                      </a:extLst>
                    </p:cNvPr>
                    <p:cNvCxnSpPr>
                      <a:cxnSpLocks/>
                    </p:cNvCxnSpPr>
                    <p:nvPr/>
                  </p:nvCxnSpPr>
                  <p:spPr>
                    <a:xfrm flipH="1" flipV="1">
                      <a:off x="3454309" y="4532300"/>
                      <a:ext cx="563116" cy="421997"/>
                    </a:xfrm>
                    <a:prstGeom prst="line">
                      <a:avLst/>
                    </a:prstGeom>
                    <a:grpFill/>
                    <a:ln w="12700" cap="rnd" cmpd="sng" algn="ctr">
                      <a:solidFill>
                        <a:srgbClr val="FFFFFF"/>
                      </a:solidFill>
                      <a:prstDash val="solid"/>
                      <a:headEnd type="none" w="med" len="med"/>
                      <a:tailEnd type="none" w="med" len="med"/>
                    </a:ln>
                    <a:effectLst/>
                  </p:spPr>
                </p:cxnSp>
              </p:grpSp>
              <p:cxnSp>
                <p:nvCxnSpPr>
                  <p:cNvPr id="83" name="Straight Connector 82">
                    <a:extLst>
                      <a:ext uri="{FF2B5EF4-FFF2-40B4-BE49-F238E27FC236}">
                        <a16:creationId xmlns:a16="http://schemas.microsoft.com/office/drawing/2014/main" id="{D4F20A74-7E2E-4C79-B18B-176D357EC7E3}"/>
                      </a:ext>
                    </a:extLst>
                  </p:cNvPr>
                  <p:cNvCxnSpPr>
                    <a:cxnSpLocks/>
                    <a:endCxn id="84" idx="3"/>
                  </p:cNvCxnSpPr>
                  <p:nvPr/>
                </p:nvCxnSpPr>
                <p:spPr>
                  <a:xfrm flipH="1">
                    <a:off x="4020344" y="4956376"/>
                    <a:ext cx="682" cy="560267"/>
                  </a:xfrm>
                  <a:prstGeom prst="line">
                    <a:avLst/>
                  </a:prstGeom>
                  <a:grpFill/>
                  <a:ln w="12700" cap="rnd" cmpd="sng" algn="ctr">
                    <a:solidFill>
                      <a:srgbClr val="FFFFFF"/>
                    </a:solidFill>
                    <a:prstDash val="solid"/>
                    <a:headEnd type="none" w="med" len="med"/>
                    <a:tailEnd type="none" w="med" len="med"/>
                  </a:ln>
                  <a:effectLst/>
                </p:spPr>
              </p:cxnSp>
            </p:grpSp>
            <p:grpSp>
              <p:nvGrpSpPr>
                <p:cNvPr id="70" name="Group 69">
                  <a:extLst>
                    <a:ext uri="{FF2B5EF4-FFF2-40B4-BE49-F238E27FC236}">
                      <a16:creationId xmlns:a16="http://schemas.microsoft.com/office/drawing/2014/main" id="{54C08587-97F0-4F81-976E-87E8B4FB07C7}"/>
                    </a:ext>
                  </a:extLst>
                </p:cNvPr>
                <p:cNvGrpSpPr/>
                <p:nvPr/>
              </p:nvGrpSpPr>
              <p:grpSpPr>
                <a:xfrm>
                  <a:off x="6075438" y="-581666"/>
                  <a:ext cx="211409" cy="248650"/>
                  <a:chOff x="3448088" y="4177256"/>
                  <a:chExt cx="1138785" cy="1339387"/>
                </a:xfrm>
                <a:solidFill>
                  <a:srgbClr val="E6E6E6"/>
                </a:solidFill>
              </p:grpSpPr>
              <p:grpSp>
                <p:nvGrpSpPr>
                  <p:cNvPr id="77" name="Group 76">
                    <a:extLst>
                      <a:ext uri="{FF2B5EF4-FFF2-40B4-BE49-F238E27FC236}">
                        <a16:creationId xmlns:a16="http://schemas.microsoft.com/office/drawing/2014/main" id="{F4EB49CB-0FEA-4420-B824-383371BB385F}"/>
                      </a:ext>
                    </a:extLst>
                  </p:cNvPr>
                  <p:cNvGrpSpPr/>
                  <p:nvPr/>
                </p:nvGrpSpPr>
                <p:grpSpPr>
                  <a:xfrm>
                    <a:off x="3448088" y="4177256"/>
                    <a:ext cx="1138785" cy="1339387"/>
                    <a:chOff x="3448088" y="4177256"/>
                    <a:chExt cx="1138785" cy="1339387"/>
                  </a:xfrm>
                  <a:grpFill/>
                </p:grpSpPr>
                <p:sp>
                  <p:nvSpPr>
                    <p:cNvPr id="79" name="Freeform: Shape 78">
                      <a:extLst>
                        <a:ext uri="{FF2B5EF4-FFF2-40B4-BE49-F238E27FC236}">
                          <a16:creationId xmlns:a16="http://schemas.microsoft.com/office/drawing/2014/main" id="{069A4055-7DB0-4403-AFA0-0B8CA4C656EA}"/>
                        </a:ext>
                      </a:extLst>
                    </p:cNvPr>
                    <p:cNvSpPr/>
                    <p:nvPr/>
                  </p:nvSpPr>
                  <p:spPr bwMode="auto">
                    <a:xfrm>
                      <a:off x="3448088" y="4177256"/>
                      <a:ext cx="1138785" cy="1339387"/>
                    </a:xfrm>
                    <a:custGeom>
                      <a:avLst/>
                      <a:gdLst>
                        <a:gd name="connsiteX0" fmla="*/ 140153 w 293914"/>
                        <a:gd name="connsiteY0" fmla="*/ 0 h 336097"/>
                        <a:gd name="connsiteX1" fmla="*/ 0 w 293914"/>
                        <a:gd name="connsiteY1" fmla="*/ 84364 h 336097"/>
                        <a:gd name="connsiteX2" fmla="*/ 0 w 293914"/>
                        <a:gd name="connsiteY2" fmla="*/ 232682 h 336097"/>
                        <a:gd name="connsiteX3" fmla="*/ 141514 w 293914"/>
                        <a:gd name="connsiteY3" fmla="*/ 336097 h 336097"/>
                        <a:gd name="connsiteX4" fmla="*/ 293914 w 293914"/>
                        <a:gd name="connsiteY4" fmla="*/ 231322 h 336097"/>
                        <a:gd name="connsiteX5" fmla="*/ 278946 w 293914"/>
                        <a:gd name="connsiteY5" fmla="*/ 77561 h 336097"/>
                        <a:gd name="connsiteX6" fmla="*/ 140153 w 293914"/>
                        <a:gd name="connsiteY6" fmla="*/ 0 h 336097"/>
                        <a:gd name="connsiteX0" fmla="*/ 140153 w 284389"/>
                        <a:gd name="connsiteY0" fmla="*/ 0 h 336097"/>
                        <a:gd name="connsiteX1" fmla="*/ 0 w 284389"/>
                        <a:gd name="connsiteY1" fmla="*/ 84364 h 336097"/>
                        <a:gd name="connsiteX2" fmla="*/ 0 w 284389"/>
                        <a:gd name="connsiteY2" fmla="*/ 232682 h 336097"/>
                        <a:gd name="connsiteX3" fmla="*/ 141514 w 284389"/>
                        <a:gd name="connsiteY3" fmla="*/ 336097 h 336097"/>
                        <a:gd name="connsiteX4" fmla="*/ 284389 w 284389"/>
                        <a:gd name="connsiteY4" fmla="*/ 228601 h 336097"/>
                        <a:gd name="connsiteX5" fmla="*/ 278946 w 284389"/>
                        <a:gd name="connsiteY5" fmla="*/ 77561 h 336097"/>
                        <a:gd name="connsiteX6" fmla="*/ 140153 w 284389"/>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4389 w 287111"/>
                        <a:gd name="connsiteY4" fmla="*/ 228601 h 336097"/>
                        <a:gd name="connsiteX5" fmla="*/ 287111 w 287111"/>
                        <a:gd name="connsiteY5" fmla="*/ 88447 h 336097"/>
                        <a:gd name="connsiteX6" fmla="*/ 140153 w 287111"/>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6467 w 287111"/>
                        <a:gd name="connsiteY4" fmla="*/ 235529 h 336097"/>
                        <a:gd name="connsiteX5" fmla="*/ 287111 w 287111"/>
                        <a:gd name="connsiteY5" fmla="*/ 88447 h 336097"/>
                        <a:gd name="connsiteX6" fmla="*/ 140153 w 287111"/>
                        <a:gd name="connsiteY6" fmla="*/ 0 h 336097"/>
                        <a:gd name="connsiteX0" fmla="*/ 140153 w 286690"/>
                        <a:gd name="connsiteY0" fmla="*/ 0 h 336097"/>
                        <a:gd name="connsiteX1" fmla="*/ 0 w 286690"/>
                        <a:gd name="connsiteY1" fmla="*/ 84364 h 336097"/>
                        <a:gd name="connsiteX2" fmla="*/ 0 w 286690"/>
                        <a:gd name="connsiteY2" fmla="*/ 232682 h 336097"/>
                        <a:gd name="connsiteX3" fmla="*/ 141514 w 286690"/>
                        <a:gd name="connsiteY3" fmla="*/ 336097 h 336097"/>
                        <a:gd name="connsiteX4" fmla="*/ 286467 w 286690"/>
                        <a:gd name="connsiteY4" fmla="*/ 235529 h 336097"/>
                        <a:gd name="connsiteX5" fmla="*/ 286072 w 286690"/>
                        <a:gd name="connsiteY5" fmla="*/ 83251 h 336097"/>
                        <a:gd name="connsiteX6" fmla="*/ 140153 w 286690"/>
                        <a:gd name="connsiteY6" fmla="*/ 0 h 336097"/>
                        <a:gd name="connsiteX0" fmla="*/ 142924 w 289461"/>
                        <a:gd name="connsiteY0" fmla="*/ 0 h 336097"/>
                        <a:gd name="connsiteX1" fmla="*/ 2771 w 289461"/>
                        <a:gd name="connsiteY1" fmla="*/ 84364 h 336097"/>
                        <a:gd name="connsiteX2" fmla="*/ 0 w 289461"/>
                        <a:gd name="connsiteY2" fmla="*/ 230604 h 336097"/>
                        <a:gd name="connsiteX3" fmla="*/ 144285 w 289461"/>
                        <a:gd name="connsiteY3" fmla="*/ 336097 h 336097"/>
                        <a:gd name="connsiteX4" fmla="*/ 289238 w 289461"/>
                        <a:gd name="connsiteY4" fmla="*/ 235529 h 336097"/>
                        <a:gd name="connsiteX5" fmla="*/ 288843 w 289461"/>
                        <a:gd name="connsiteY5" fmla="*/ 83251 h 336097"/>
                        <a:gd name="connsiteX6" fmla="*/ 142924 w 289461"/>
                        <a:gd name="connsiteY6" fmla="*/ 0 h 336097"/>
                        <a:gd name="connsiteX0" fmla="*/ 144147 w 290684"/>
                        <a:gd name="connsiteY0" fmla="*/ 0 h 336097"/>
                        <a:gd name="connsiteX1" fmla="*/ 184 w 290684"/>
                        <a:gd name="connsiteY1" fmla="*/ 83325 h 336097"/>
                        <a:gd name="connsiteX2" fmla="*/ 1223 w 290684"/>
                        <a:gd name="connsiteY2" fmla="*/ 230604 h 336097"/>
                        <a:gd name="connsiteX3" fmla="*/ 145508 w 290684"/>
                        <a:gd name="connsiteY3" fmla="*/ 336097 h 336097"/>
                        <a:gd name="connsiteX4" fmla="*/ 290461 w 290684"/>
                        <a:gd name="connsiteY4" fmla="*/ 235529 h 336097"/>
                        <a:gd name="connsiteX5" fmla="*/ 290066 w 290684"/>
                        <a:gd name="connsiteY5" fmla="*/ 83251 h 336097"/>
                        <a:gd name="connsiteX6" fmla="*/ 144147 w 290684"/>
                        <a:gd name="connsiteY6" fmla="*/ 0 h 336097"/>
                        <a:gd name="connsiteX0" fmla="*/ 145186 w 290684"/>
                        <a:gd name="connsiteY0" fmla="*/ 0 h 342332"/>
                        <a:gd name="connsiteX1" fmla="*/ 184 w 290684"/>
                        <a:gd name="connsiteY1" fmla="*/ 89560 h 342332"/>
                        <a:gd name="connsiteX2" fmla="*/ 1223 w 290684"/>
                        <a:gd name="connsiteY2" fmla="*/ 236839 h 342332"/>
                        <a:gd name="connsiteX3" fmla="*/ 145508 w 290684"/>
                        <a:gd name="connsiteY3" fmla="*/ 342332 h 342332"/>
                        <a:gd name="connsiteX4" fmla="*/ 290461 w 290684"/>
                        <a:gd name="connsiteY4" fmla="*/ 241764 h 342332"/>
                        <a:gd name="connsiteX5" fmla="*/ 290066 w 290684"/>
                        <a:gd name="connsiteY5" fmla="*/ 89486 h 342332"/>
                        <a:gd name="connsiteX6" fmla="*/ 145186 w 290684"/>
                        <a:gd name="connsiteY6" fmla="*/ 0 h 342332"/>
                        <a:gd name="connsiteX0" fmla="*/ 143963 w 289461"/>
                        <a:gd name="connsiteY0" fmla="*/ 0 h 342332"/>
                        <a:gd name="connsiteX1" fmla="*/ 1039 w 289461"/>
                        <a:gd name="connsiteY1" fmla="*/ 89560 h 342332"/>
                        <a:gd name="connsiteX2" fmla="*/ 0 w 289461"/>
                        <a:gd name="connsiteY2" fmla="*/ 236839 h 342332"/>
                        <a:gd name="connsiteX3" fmla="*/ 144285 w 289461"/>
                        <a:gd name="connsiteY3" fmla="*/ 342332 h 342332"/>
                        <a:gd name="connsiteX4" fmla="*/ 289238 w 289461"/>
                        <a:gd name="connsiteY4" fmla="*/ 241764 h 342332"/>
                        <a:gd name="connsiteX5" fmla="*/ 288843 w 289461"/>
                        <a:gd name="connsiteY5" fmla="*/ 89486 h 342332"/>
                        <a:gd name="connsiteX6" fmla="*/ 143963 w 289461"/>
                        <a:gd name="connsiteY6" fmla="*/ 0 h 342332"/>
                        <a:gd name="connsiteX0" fmla="*/ 143092 w 288590"/>
                        <a:gd name="connsiteY0" fmla="*/ 0 h 342332"/>
                        <a:gd name="connsiteX1" fmla="*/ 168 w 288590"/>
                        <a:gd name="connsiteY1" fmla="*/ 89560 h 342332"/>
                        <a:gd name="connsiteX2" fmla="*/ 1554 w 288590"/>
                        <a:gd name="connsiteY2" fmla="*/ 234414 h 342332"/>
                        <a:gd name="connsiteX3" fmla="*/ 143414 w 288590"/>
                        <a:gd name="connsiteY3" fmla="*/ 342332 h 342332"/>
                        <a:gd name="connsiteX4" fmla="*/ 288367 w 288590"/>
                        <a:gd name="connsiteY4" fmla="*/ 241764 h 342332"/>
                        <a:gd name="connsiteX5" fmla="*/ 287972 w 288590"/>
                        <a:gd name="connsiteY5" fmla="*/ 89486 h 342332"/>
                        <a:gd name="connsiteX6" fmla="*/ 143092 w 288590"/>
                        <a:gd name="connsiteY6" fmla="*/ 0 h 342332"/>
                        <a:gd name="connsiteX0" fmla="*/ 145002 w 290500"/>
                        <a:gd name="connsiteY0" fmla="*/ 0 h 342332"/>
                        <a:gd name="connsiteX1" fmla="*/ 2078 w 290500"/>
                        <a:gd name="connsiteY1" fmla="*/ 89560 h 342332"/>
                        <a:gd name="connsiteX2" fmla="*/ 0 w 290500"/>
                        <a:gd name="connsiteY2" fmla="*/ 234067 h 342332"/>
                        <a:gd name="connsiteX3" fmla="*/ 145324 w 290500"/>
                        <a:gd name="connsiteY3" fmla="*/ 342332 h 342332"/>
                        <a:gd name="connsiteX4" fmla="*/ 290277 w 290500"/>
                        <a:gd name="connsiteY4" fmla="*/ 241764 h 342332"/>
                        <a:gd name="connsiteX5" fmla="*/ 289882 w 290500"/>
                        <a:gd name="connsiteY5" fmla="*/ 89486 h 342332"/>
                        <a:gd name="connsiteX6" fmla="*/ 145002 w 290500"/>
                        <a:gd name="connsiteY6" fmla="*/ 0 h 342332"/>
                        <a:gd name="connsiteX0" fmla="*/ 145002 w 290500"/>
                        <a:gd name="connsiteY0" fmla="*/ 0 h 337829"/>
                        <a:gd name="connsiteX1" fmla="*/ 2078 w 290500"/>
                        <a:gd name="connsiteY1" fmla="*/ 89560 h 337829"/>
                        <a:gd name="connsiteX2" fmla="*/ 0 w 290500"/>
                        <a:gd name="connsiteY2" fmla="*/ 234067 h 337829"/>
                        <a:gd name="connsiteX3" fmla="*/ 145324 w 290500"/>
                        <a:gd name="connsiteY3" fmla="*/ 337829 h 337829"/>
                        <a:gd name="connsiteX4" fmla="*/ 290277 w 290500"/>
                        <a:gd name="connsiteY4" fmla="*/ 241764 h 337829"/>
                        <a:gd name="connsiteX5" fmla="*/ 289882 w 290500"/>
                        <a:gd name="connsiteY5" fmla="*/ 89486 h 337829"/>
                        <a:gd name="connsiteX6" fmla="*/ 145002 w 290500"/>
                        <a:gd name="connsiteY6" fmla="*/ 0 h 337829"/>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764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6813 w 289882"/>
                        <a:gd name="connsiteY4" fmla="*/ 242457 h 340946"/>
                        <a:gd name="connsiteX5" fmla="*/ 289882 w 289882"/>
                        <a:gd name="connsiteY5" fmla="*/ 89486 h 340946"/>
                        <a:gd name="connsiteX6" fmla="*/ 145002 w 289882"/>
                        <a:gd name="connsiteY6" fmla="*/ 0 h 340946"/>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418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9238 w 289882"/>
                        <a:gd name="connsiteY4" fmla="*/ 239686 h 340946"/>
                        <a:gd name="connsiteX5" fmla="*/ 289882 w 289882"/>
                        <a:gd name="connsiteY5" fmla="*/ 89486 h 340946"/>
                        <a:gd name="connsiteX6" fmla="*/ 145002 w 289882"/>
                        <a:gd name="connsiteY6" fmla="*/ 0 h 340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882" h="340946">
                          <a:moveTo>
                            <a:pt x="145002" y="0"/>
                          </a:moveTo>
                          <a:lnTo>
                            <a:pt x="2078" y="89560"/>
                          </a:lnTo>
                          <a:cubicBezTo>
                            <a:pt x="1154" y="138307"/>
                            <a:pt x="924" y="185320"/>
                            <a:pt x="0" y="234067"/>
                          </a:cubicBezTo>
                          <a:lnTo>
                            <a:pt x="145670" y="340946"/>
                          </a:lnTo>
                          <a:lnTo>
                            <a:pt x="289238" y="239686"/>
                          </a:lnTo>
                          <a:cubicBezTo>
                            <a:pt x="290145" y="192968"/>
                            <a:pt x="288975" y="136204"/>
                            <a:pt x="289882" y="89486"/>
                          </a:cubicBezTo>
                          <a:lnTo>
                            <a:pt x="145002" y="0"/>
                          </a:lnTo>
                          <a:close/>
                        </a:path>
                      </a:pathLst>
                    </a:custGeom>
                    <a:solidFill>
                      <a:srgbClr val="0078D7"/>
                    </a:solidFill>
                    <a:ln w="12700" cap="rnd" cmpd="sng" algn="ctr">
                      <a:solidFill>
                        <a:srgbClr val="FFFFFF"/>
                      </a:solidFill>
                      <a:prstDash val="solid"/>
                      <a:headEnd type="none" w="med" len="med"/>
                      <a:tailEnd type="none" w="med" len="med"/>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0" name="Straight Connector 79">
                      <a:extLst>
                        <a:ext uri="{FF2B5EF4-FFF2-40B4-BE49-F238E27FC236}">
                          <a16:creationId xmlns:a16="http://schemas.microsoft.com/office/drawing/2014/main" id="{508610E1-FD46-40B7-840C-2A913FC52030}"/>
                        </a:ext>
                      </a:extLst>
                    </p:cNvPr>
                    <p:cNvCxnSpPr>
                      <a:cxnSpLocks/>
                    </p:cNvCxnSpPr>
                    <p:nvPr/>
                  </p:nvCxnSpPr>
                  <p:spPr>
                    <a:xfrm flipV="1">
                      <a:off x="4019187" y="4532301"/>
                      <a:ext cx="563116" cy="421997"/>
                    </a:xfrm>
                    <a:prstGeom prst="line">
                      <a:avLst/>
                    </a:prstGeom>
                    <a:grpFill/>
                    <a:ln w="12700" cap="rnd" cmpd="sng" algn="ctr">
                      <a:solidFill>
                        <a:srgbClr val="FFFFFF"/>
                      </a:solidFill>
                      <a:prstDash val="solid"/>
                      <a:headEnd type="none" w="med" len="med"/>
                      <a:tailEnd type="none" w="med" len="med"/>
                    </a:ln>
                    <a:effectLst/>
                  </p:spPr>
                </p:cxnSp>
                <p:cxnSp>
                  <p:nvCxnSpPr>
                    <p:cNvPr id="81" name="Straight Connector 80">
                      <a:extLst>
                        <a:ext uri="{FF2B5EF4-FFF2-40B4-BE49-F238E27FC236}">
                          <a16:creationId xmlns:a16="http://schemas.microsoft.com/office/drawing/2014/main" id="{72737E99-5A26-4784-B4C8-17532C19C18D}"/>
                        </a:ext>
                      </a:extLst>
                    </p:cNvPr>
                    <p:cNvCxnSpPr>
                      <a:cxnSpLocks/>
                    </p:cNvCxnSpPr>
                    <p:nvPr/>
                  </p:nvCxnSpPr>
                  <p:spPr>
                    <a:xfrm flipH="1" flipV="1">
                      <a:off x="3454309" y="4532300"/>
                      <a:ext cx="563116" cy="421997"/>
                    </a:xfrm>
                    <a:prstGeom prst="line">
                      <a:avLst/>
                    </a:prstGeom>
                    <a:grpFill/>
                    <a:ln w="12700" cap="rnd" cmpd="sng" algn="ctr">
                      <a:solidFill>
                        <a:srgbClr val="FFFFFF"/>
                      </a:solidFill>
                      <a:prstDash val="solid"/>
                      <a:headEnd type="none" w="med" len="med"/>
                      <a:tailEnd type="none" w="med" len="med"/>
                    </a:ln>
                    <a:effectLst/>
                  </p:spPr>
                </p:cxnSp>
              </p:grpSp>
              <p:cxnSp>
                <p:nvCxnSpPr>
                  <p:cNvPr id="78" name="Straight Connector 77">
                    <a:extLst>
                      <a:ext uri="{FF2B5EF4-FFF2-40B4-BE49-F238E27FC236}">
                        <a16:creationId xmlns:a16="http://schemas.microsoft.com/office/drawing/2014/main" id="{790E6322-ACDA-49DA-B0BB-41F9B2F05809}"/>
                      </a:ext>
                    </a:extLst>
                  </p:cNvPr>
                  <p:cNvCxnSpPr>
                    <a:cxnSpLocks/>
                    <a:endCxn id="79" idx="3"/>
                  </p:cNvCxnSpPr>
                  <p:nvPr/>
                </p:nvCxnSpPr>
                <p:spPr>
                  <a:xfrm flipH="1">
                    <a:off x="4020344" y="4956376"/>
                    <a:ext cx="682" cy="560267"/>
                  </a:xfrm>
                  <a:prstGeom prst="line">
                    <a:avLst/>
                  </a:prstGeom>
                  <a:grpFill/>
                  <a:ln w="12700" cap="rnd" cmpd="sng" algn="ctr">
                    <a:solidFill>
                      <a:srgbClr val="FFFFFF"/>
                    </a:solidFill>
                    <a:prstDash val="solid"/>
                    <a:headEnd type="none" w="med" len="med"/>
                    <a:tailEnd type="none" w="med" len="med"/>
                  </a:ln>
                  <a:effectLst/>
                </p:spPr>
              </p:cxnSp>
            </p:grpSp>
            <p:grpSp>
              <p:nvGrpSpPr>
                <p:cNvPr id="71" name="Group 70">
                  <a:extLst>
                    <a:ext uri="{FF2B5EF4-FFF2-40B4-BE49-F238E27FC236}">
                      <a16:creationId xmlns:a16="http://schemas.microsoft.com/office/drawing/2014/main" id="{8A21944D-A8E0-4C97-B71B-932A8FFD4169}"/>
                    </a:ext>
                  </a:extLst>
                </p:cNvPr>
                <p:cNvGrpSpPr/>
                <p:nvPr/>
              </p:nvGrpSpPr>
              <p:grpSpPr>
                <a:xfrm>
                  <a:off x="5819235" y="-830317"/>
                  <a:ext cx="211409" cy="248650"/>
                  <a:chOff x="3448088" y="4177256"/>
                  <a:chExt cx="1138785" cy="1339387"/>
                </a:xfrm>
                <a:solidFill>
                  <a:srgbClr val="E6E6E6"/>
                </a:solidFill>
              </p:grpSpPr>
              <p:grpSp>
                <p:nvGrpSpPr>
                  <p:cNvPr id="72" name="Group 71">
                    <a:extLst>
                      <a:ext uri="{FF2B5EF4-FFF2-40B4-BE49-F238E27FC236}">
                        <a16:creationId xmlns:a16="http://schemas.microsoft.com/office/drawing/2014/main" id="{66B49ACE-A695-4DCA-B516-50AC6EEA429C}"/>
                      </a:ext>
                    </a:extLst>
                  </p:cNvPr>
                  <p:cNvGrpSpPr/>
                  <p:nvPr/>
                </p:nvGrpSpPr>
                <p:grpSpPr>
                  <a:xfrm>
                    <a:off x="3448088" y="4177256"/>
                    <a:ext cx="1138785" cy="1339387"/>
                    <a:chOff x="3448088" y="4177256"/>
                    <a:chExt cx="1138785" cy="1339387"/>
                  </a:xfrm>
                  <a:grpFill/>
                </p:grpSpPr>
                <p:sp>
                  <p:nvSpPr>
                    <p:cNvPr id="74" name="Freeform: Shape 73">
                      <a:extLst>
                        <a:ext uri="{FF2B5EF4-FFF2-40B4-BE49-F238E27FC236}">
                          <a16:creationId xmlns:a16="http://schemas.microsoft.com/office/drawing/2014/main" id="{56352FA1-B764-456B-A44F-A1FB09CA9B5D}"/>
                        </a:ext>
                      </a:extLst>
                    </p:cNvPr>
                    <p:cNvSpPr/>
                    <p:nvPr/>
                  </p:nvSpPr>
                  <p:spPr bwMode="auto">
                    <a:xfrm>
                      <a:off x="3448088" y="4177256"/>
                      <a:ext cx="1138785" cy="1339387"/>
                    </a:xfrm>
                    <a:custGeom>
                      <a:avLst/>
                      <a:gdLst>
                        <a:gd name="connsiteX0" fmla="*/ 140153 w 293914"/>
                        <a:gd name="connsiteY0" fmla="*/ 0 h 336097"/>
                        <a:gd name="connsiteX1" fmla="*/ 0 w 293914"/>
                        <a:gd name="connsiteY1" fmla="*/ 84364 h 336097"/>
                        <a:gd name="connsiteX2" fmla="*/ 0 w 293914"/>
                        <a:gd name="connsiteY2" fmla="*/ 232682 h 336097"/>
                        <a:gd name="connsiteX3" fmla="*/ 141514 w 293914"/>
                        <a:gd name="connsiteY3" fmla="*/ 336097 h 336097"/>
                        <a:gd name="connsiteX4" fmla="*/ 293914 w 293914"/>
                        <a:gd name="connsiteY4" fmla="*/ 231322 h 336097"/>
                        <a:gd name="connsiteX5" fmla="*/ 278946 w 293914"/>
                        <a:gd name="connsiteY5" fmla="*/ 77561 h 336097"/>
                        <a:gd name="connsiteX6" fmla="*/ 140153 w 293914"/>
                        <a:gd name="connsiteY6" fmla="*/ 0 h 336097"/>
                        <a:gd name="connsiteX0" fmla="*/ 140153 w 284389"/>
                        <a:gd name="connsiteY0" fmla="*/ 0 h 336097"/>
                        <a:gd name="connsiteX1" fmla="*/ 0 w 284389"/>
                        <a:gd name="connsiteY1" fmla="*/ 84364 h 336097"/>
                        <a:gd name="connsiteX2" fmla="*/ 0 w 284389"/>
                        <a:gd name="connsiteY2" fmla="*/ 232682 h 336097"/>
                        <a:gd name="connsiteX3" fmla="*/ 141514 w 284389"/>
                        <a:gd name="connsiteY3" fmla="*/ 336097 h 336097"/>
                        <a:gd name="connsiteX4" fmla="*/ 284389 w 284389"/>
                        <a:gd name="connsiteY4" fmla="*/ 228601 h 336097"/>
                        <a:gd name="connsiteX5" fmla="*/ 278946 w 284389"/>
                        <a:gd name="connsiteY5" fmla="*/ 77561 h 336097"/>
                        <a:gd name="connsiteX6" fmla="*/ 140153 w 284389"/>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4389 w 287111"/>
                        <a:gd name="connsiteY4" fmla="*/ 228601 h 336097"/>
                        <a:gd name="connsiteX5" fmla="*/ 287111 w 287111"/>
                        <a:gd name="connsiteY5" fmla="*/ 88447 h 336097"/>
                        <a:gd name="connsiteX6" fmla="*/ 140153 w 287111"/>
                        <a:gd name="connsiteY6" fmla="*/ 0 h 336097"/>
                        <a:gd name="connsiteX0" fmla="*/ 140153 w 287111"/>
                        <a:gd name="connsiteY0" fmla="*/ 0 h 336097"/>
                        <a:gd name="connsiteX1" fmla="*/ 0 w 287111"/>
                        <a:gd name="connsiteY1" fmla="*/ 84364 h 336097"/>
                        <a:gd name="connsiteX2" fmla="*/ 0 w 287111"/>
                        <a:gd name="connsiteY2" fmla="*/ 232682 h 336097"/>
                        <a:gd name="connsiteX3" fmla="*/ 141514 w 287111"/>
                        <a:gd name="connsiteY3" fmla="*/ 336097 h 336097"/>
                        <a:gd name="connsiteX4" fmla="*/ 286467 w 287111"/>
                        <a:gd name="connsiteY4" fmla="*/ 235529 h 336097"/>
                        <a:gd name="connsiteX5" fmla="*/ 287111 w 287111"/>
                        <a:gd name="connsiteY5" fmla="*/ 88447 h 336097"/>
                        <a:gd name="connsiteX6" fmla="*/ 140153 w 287111"/>
                        <a:gd name="connsiteY6" fmla="*/ 0 h 336097"/>
                        <a:gd name="connsiteX0" fmla="*/ 140153 w 286690"/>
                        <a:gd name="connsiteY0" fmla="*/ 0 h 336097"/>
                        <a:gd name="connsiteX1" fmla="*/ 0 w 286690"/>
                        <a:gd name="connsiteY1" fmla="*/ 84364 h 336097"/>
                        <a:gd name="connsiteX2" fmla="*/ 0 w 286690"/>
                        <a:gd name="connsiteY2" fmla="*/ 232682 h 336097"/>
                        <a:gd name="connsiteX3" fmla="*/ 141514 w 286690"/>
                        <a:gd name="connsiteY3" fmla="*/ 336097 h 336097"/>
                        <a:gd name="connsiteX4" fmla="*/ 286467 w 286690"/>
                        <a:gd name="connsiteY4" fmla="*/ 235529 h 336097"/>
                        <a:gd name="connsiteX5" fmla="*/ 286072 w 286690"/>
                        <a:gd name="connsiteY5" fmla="*/ 83251 h 336097"/>
                        <a:gd name="connsiteX6" fmla="*/ 140153 w 286690"/>
                        <a:gd name="connsiteY6" fmla="*/ 0 h 336097"/>
                        <a:gd name="connsiteX0" fmla="*/ 142924 w 289461"/>
                        <a:gd name="connsiteY0" fmla="*/ 0 h 336097"/>
                        <a:gd name="connsiteX1" fmla="*/ 2771 w 289461"/>
                        <a:gd name="connsiteY1" fmla="*/ 84364 h 336097"/>
                        <a:gd name="connsiteX2" fmla="*/ 0 w 289461"/>
                        <a:gd name="connsiteY2" fmla="*/ 230604 h 336097"/>
                        <a:gd name="connsiteX3" fmla="*/ 144285 w 289461"/>
                        <a:gd name="connsiteY3" fmla="*/ 336097 h 336097"/>
                        <a:gd name="connsiteX4" fmla="*/ 289238 w 289461"/>
                        <a:gd name="connsiteY4" fmla="*/ 235529 h 336097"/>
                        <a:gd name="connsiteX5" fmla="*/ 288843 w 289461"/>
                        <a:gd name="connsiteY5" fmla="*/ 83251 h 336097"/>
                        <a:gd name="connsiteX6" fmla="*/ 142924 w 289461"/>
                        <a:gd name="connsiteY6" fmla="*/ 0 h 336097"/>
                        <a:gd name="connsiteX0" fmla="*/ 144147 w 290684"/>
                        <a:gd name="connsiteY0" fmla="*/ 0 h 336097"/>
                        <a:gd name="connsiteX1" fmla="*/ 184 w 290684"/>
                        <a:gd name="connsiteY1" fmla="*/ 83325 h 336097"/>
                        <a:gd name="connsiteX2" fmla="*/ 1223 w 290684"/>
                        <a:gd name="connsiteY2" fmla="*/ 230604 h 336097"/>
                        <a:gd name="connsiteX3" fmla="*/ 145508 w 290684"/>
                        <a:gd name="connsiteY3" fmla="*/ 336097 h 336097"/>
                        <a:gd name="connsiteX4" fmla="*/ 290461 w 290684"/>
                        <a:gd name="connsiteY4" fmla="*/ 235529 h 336097"/>
                        <a:gd name="connsiteX5" fmla="*/ 290066 w 290684"/>
                        <a:gd name="connsiteY5" fmla="*/ 83251 h 336097"/>
                        <a:gd name="connsiteX6" fmla="*/ 144147 w 290684"/>
                        <a:gd name="connsiteY6" fmla="*/ 0 h 336097"/>
                        <a:gd name="connsiteX0" fmla="*/ 145186 w 290684"/>
                        <a:gd name="connsiteY0" fmla="*/ 0 h 342332"/>
                        <a:gd name="connsiteX1" fmla="*/ 184 w 290684"/>
                        <a:gd name="connsiteY1" fmla="*/ 89560 h 342332"/>
                        <a:gd name="connsiteX2" fmla="*/ 1223 w 290684"/>
                        <a:gd name="connsiteY2" fmla="*/ 236839 h 342332"/>
                        <a:gd name="connsiteX3" fmla="*/ 145508 w 290684"/>
                        <a:gd name="connsiteY3" fmla="*/ 342332 h 342332"/>
                        <a:gd name="connsiteX4" fmla="*/ 290461 w 290684"/>
                        <a:gd name="connsiteY4" fmla="*/ 241764 h 342332"/>
                        <a:gd name="connsiteX5" fmla="*/ 290066 w 290684"/>
                        <a:gd name="connsiteY5" fmla="*/ 89486 h 342332"/>
                        <a:gd name="connsiteX6" fmla="*/ 145186 w 290684"/>
                        <a:gd name="connsiteY6" fmla="*/ 0 h 342332"/>
                        <a:gd name="connsiteX0" fmla="*/ 143963 w 289461"/>
                        <a:gd name="connsiteY0" fmla="*/ 0 h 342332"/>
                        <a:gd name="connsiteX1" fmla="*/ 1039 w 289461"/>
                        <a:gd name="connsiteY1" fmla="*/ 89560 h 342332"/>
                        <a:gd name="connsiteX2" fmla="*/ 0 w 289461"/>
                        <a:gd name="connsiteY2" fmla="*/ 236839 h 342332"/>
                        <a:gd name="connsiteX3" fmla="*/ 144285 w 289461"/>
                        <a:gd name="connsiteY3" fmla="*/ 342332 h 342332"/>
                        <a:gd name="connsiteX4" fmla="*/ 289238 w 289461"/>
                        <a:gd name="connsiteY4" fmla="*/ 241764 h 342332"/>
                        <a:gd name="connsiteX5" fmla="*/ 288843 w 289461"/>
                        <a:gd name="connsiteY5" fmla="*/ 89486 h 342332"/>
                        <a:gd name="connsiteX6" fmla="*/ 143963 w 289461"/>
                        <a:gd name="connsiteY6" fmla="*/ 0 h 342332"/>
                        <a:gd name="connsiteX0" fmla="*/ 143092 w 288590"/>
                        <a:gd name="connsiteY0" fmla="*/ 0 h 342332"/>
                        <a:gd name="connsiteX1" fmla="*/ 168 w 288590"/>
                        <a:gd name="connsiteY1" fmla="*/ 89560 h 342332"/>
                        <a:gd name="connsiteX2" fmla="*/ 1554 w 288590"/>
                        <a:gd name="connsiteY2" fmla="*/ 234414 h 342332"/>
                        <a:gd name="connsiteX3" fmla="*/ 143414 w 288590"/>
                        <a:gd name="connsiteY3" fmla="*/ 342332 h 342332"/>
                        <a:gd name="connsiteX4" fmla="*/ 288367 w 288590"/>
                        <a:gd name="connsiteY4" fmla="*/ 241764 h 342332"/>
                        <a:gd name="connsiteX5" fmla="*/ 287972 w 288590"/>
                        <a:gd name="connsiteY5" fmla="*/ 89486 h 342332"/>
                        <a:gd name="connsiteX6" fmla="*/ 143092 w 288590"/>
                        <a:gd name="connsiteY6" fmla="*/ 0 h 342332"/>
                        <a:gd name="connsiteX0" fmla="*/ 145002 w 290500"/>
                        <a:gd name="connsiteY0" fmla="*/ 0 h 342332"/>
                        <a:gd name="connsiteX1" fmla="*/ 2078 w 290500"/>
                        <a:gd name="connsiteY1" fmla="*/ 89560 h 342332"/>
                        <a:gd name="connsiteX2" fmla="*/ 0 w 290500"/>
                        <a:gd name="connsiteY2" fmla="*/ 234067 h 342332"/>
                        <a:gd name="connsiteX3" fmla="*/ 145324 w 290500"/>
                        <a:gd name="connsiteY3" fmla="*/ 342332 h 342332"/>
                        <a:gd name="connsiteX4" fmla="*/ 290277 w 290500"/>
                        <a:gd name="connsiteY4" fmla="*/ 241764 h 342332"/>
                        <a:gd name="connsiteX5" fmla="*/ 289882 w 290500"/>
                        <a:gd name="connsiteY5" fmla="*/ 89486 h 342332"/>
                        <a:gd name="connsiteX6" fmla="*/ 145002 w 290500"/>
                        <a:gd name="connsiteY6" fmla="*/ 0 h 342332"/>
                        <a:gd name="connsiteX0" fmla="*/ 145002 w 290500"/>
                        <a:gd name="connsiteY0" fmla="*/ 0 h 337829"/>
                        <a:gd name="connsiteX1" fmla="*/ 2078 w 290500"/>
                        <a:gd name="connsiteY1" fmla="*/ 89560 h 337829"/>
                        <a:gd name="connsiteX2" fmla="*/ 0 w 290500"/>
                        <a:gd name="connsiteY2" fmla="*/ 234067 h 337829"/>
                        <a:gd name="connsiteX3" fmla="*/ 145324 w 290500"/>
                        <a:gd name="connsiteY3" fmla="*/ 337829 h 337829"/>
                        <a:gd name="connsiteX4" fmla="*/ 290277 w 290500"/>
                        <a:gd name="connsiteY4" fmla="*/ 241764 h 337829"/>
                        <a:gd name="connsiteX5" fmla="*/ 289882 w 290500"/>
                        <a:gd name="connsiteY5" fmla="*/ 89486 h 337829"/>
                        <a:gd name="connsiteX6" fmla="*/ 145002 w 290500"/>
                        <a:gd name="connsiteY6" fmla="*/ 0 h 337829"/>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764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6813 w 289882"/>
                        <a:gd name="connsiteY4" fmla="*/ 242457 h 340946"/>
                        <a:gd name="connsiteX5" fmla="*/ 289882 w 289882"/>
                        <a:gd name="connsiteY5" fmla="*/ 89486 h 340946"/>
                        <a:gd name="connsiteX6" fmla="*/ 145002 w 289882"/>
                        <a:gd name="connsiteY6" fmla="*/ 0 h 340946"/>
                        <a:gd name="connsiteX0" fmla="*/ 145002 w 290500"/>
                        <a:gd name="connsiteY0" fmla="*/ 0 h 340946"/>
                        <a:gd name="connsiteX1" fmla="*/ 2078 w 290500"/>
                        <a:gd name="connsiteY1" fmla="*/ 89560 h 340946"/>
                        <a:gd name="connsiteX2" fmla="*/ 0 w 290500"/>
                        <a:gd name="connsiteY2" fmla="*/ 234067 h 340946"/>
                        <a:gd name="connsiteX3" fmla="*/ 145670 w 290500"/>
                        <a:gd name="connsiteY3" fmla="*/ 340946 h 340946"/>
                        <a:gd name="connsiteX4" fmla="*/ 290277 w 290500"/>
                        <a:gd name="connsiteY4" fmla="*/ 241418 h 340946"/>
                        <a:gd name="connsiteX5" fmla="*/ 289882 w 290500"/>
                        <a:gd name="connsiteY5" fmla="*/ 89486 h 340946"/>
                        <a:gd name="connsiteX6" fmla="*/ 145002 w 290500"/>
                        <a:gd name="connsiteY6" fmla="*/ 0 h 340946"/>
                        <a:gd name="connsiteX0" fmla="*/ 145002 w 289882"/>
                        <a:gd name="connsiteY0" fmla="*/ 0 h 340946"/>
                        <a:gd name="connsiteX1" fmla="*/ 2078 w 289882"/>
                        <a:gd name="connsiteY1" fmla="*/ 89560 h 340946"/>
                        <a:gd name="connsiteX2" fmla="*/ 0 w 289882"/>
                        <a:gd name="connsiteY2" fmla="*/ 234067 h 340946"/>
                        <a:gd name="connsiteX3" fmla="*/ 145670 w 289882"/>
                        <a:gd name="connsiteY3" fmla="*/ 340946 h 340946"/>
                        <a:gd name="connsiteX4" fmla="*/ 289238 w 289882"/>
                        <a:gd name="connsiteY4" fmla="*/ 239686 h 340946"/>
                        <a:gd name="connsiteX5" fmla="*/ 289882 w 289882"/>
                        <a:gd name="connsiteY5" fmla="*/ 89486 h 340946"/>
                        <a:gd name="connsiteX6" fmla="*/ 145002 w 289882"/>
                        <a:gd name="connsiteY6" fmla="*/ 0 h 340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882" h="340946">
                          <a:moveTo>
                            <a:pt x="145002" y="0"/>
                          </a:moveTo>
                          <a:lnTo>
                            <a:pt x="2078" y="89560"/>
                          </a:lnTo>
                          <a:cubicBezTo>
                            <a:pt x="1154" y="138307"/>
                            <a:pt x="924" y="185320"/>
                            <a:pt x="0" y="234067"/>
                          </a:cubicBezTo>
                          <a:lnTo>
                            <a:pt x="145670" y="340946"/>
                          </a:lnTo>
                          <a:lnTo>
                            <a:pt x="289238" y="239686"/>
                          </a:lnTo>
                          <a:cubicBezTo>
                            <a:pt x="290145" y="192968"/>
                            <a:pt x="288975" y="136204"/>
                            <a:pt x="289882" y="89486"/>
                          </a:cubicBezTo>
                          <a:lnTo>
                            <a:pt x="145002" y="0"/>
                          </a:lnTo>
                          <a:close/>
                        </a:path>
                      </a:pathLst>
                    </a:custGeom>
                    <a:solidFill>
                      <a:srgbClr val="0078D7"/>
                    </a:solidFill>
                    <a:ln w="12700" cap="rnd" cmpd="sng" algn="ctr">
                      <a:solidFill>
                        <a:srgbClr val="FFFFFF"/>
                      </a:solidFill>
                      <a:prstDash val="solid"/>
                      <a:headEnd type="none" w="med" len="med"/>
                      <a:tailEnd type="none" w="med" len="med"/>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75" name="Straight Connector 74">
                      <a:extLst>
                        <a:ext uri="{FF2B5EF4-FFF2-40B4-BE49-F238E27FC236}">
                          <a16:creationId xmlns:a16="http://schemas.microsoft.com/office/drawing/2014/main" id="{8EF1150B-6154-48BA-9BF2-93C1D7B1A38E}"/>
                        </a:ext>
                      </a:extLst>
                    </p:cNvPr>
                    <p:cNvCxnSpPr>
                      <a:cxnSpLocks/>
                    </p:cNvCxnSpPr>
                    <p:nvPr/>
                  </p:nvCxnSpPr>
                  <p:spPr>
                    <a:xfrm flipV="1">
                      <a:off x="4019187" y="4532301"/>
                      <a:ext cx="563116" cy="421997"/>
                    </a:xfrm>
                    <a:prstGeom prst="line">
                      <a:avLst/>
                    </a:prstGeom>
                    <a:grpFill/>
                    <a:ln w="12700" cap="rnd" cmpd="sng" algn="ctr">
                      <a:solidFill>
                        <a:srgbClr val="FFFFFF"/>
                      </a:solidFill>
                      <a:prstDash val="solid"/>
                      <a:headEnd type="none" w="med" len="med"/>
                      <a:tailEnd type="none" w="med" len="med"/>
                    </a:ln>
                    <a:effectLst/>
                  </p:spPr>
                </p:cxnSp>
                <p:cxnSp>
                  <p:nvCxnSpPr>
                    <p:cNvPr id="76" name="Straight Connector 75">
                      <a:extLst>
                        <a:ext uri="{FF2B5EF4-FFF2-40B4-BE49-F238E27FC236}">
                          <a16:creationId xmlns:a16="http://schemas.microsoft.com/office/drawing/2014/main" id="{23C71654-0FD1-45AF-BD52-3C5CDCA4543C}"/>
                        </a:ext>
                      </a:extLst>
                    </p:cNvPr>
                    <p:cNvCxnSpPr>
                      <a:cxnSpLocks/>
                    </p:cNvCxnSpPr>
                    <p:nvPr/>
                  </p:nvCxnSpPr>
                  <p:spPr>
                    <a:xfrm flipH="1" flipV="1">
                      <a:off x="3454309" y="4532300"/>
                      <a:ext cx="563116" cy="421997"/>
                    </a:xfrm>
                    <a:prstGeom prst="line">
                      <a:avLst/>
                    </a:prstGeom>
                    <a:grpFill/>
                    <a:ln w="12700" cap="rnd" cmpd="sng" algn="ctr">
                      <a:solidFill>
                        <a:srgbClr val="FFFFFF"/>
                      </a:solidFill>
                      <a:prstDash val="solid"/>
                      <a:headEnd type="none" w="med" len="med"/>
                      <a:tailEnd type="none" w="med" len="med"/>
                    </a:ln>
                    <a:effectLst/>
                  </p:spPr>
                </p:cxnSp>
              </p:grpSp>
              <p:cxnSp>
                <p:nvCxnSpPr>
                  <p:cNvPr id="73" name="Straight Connector 72">
                    <a:extLst>
                      <a:ext uri="{FF2B5EF4-FFF2-40B4-BE49-F238E27FC236}">
                        <a16:creationId xmlns:a16="http://schemas.microsoft.com/office/drawing/2014/main" id="{264A8564-2E07-42B7-8041-6F0855007E22}"/>
                      </a:ext>
                    </a:extLst>
                  </p:cNvPr>
                  <p:cNvCxnSpPr>
                    <a:cxnSpLocks/>
                    <a:endCxn id="74" idx="3"/>
                  </p:cNvCxnSpPr>
                  <p:nvPr/>
                </p:nvCxnSpPr>
                <p:spPr>
                  <a:xfrm flipH="1">
                    <a:off x="4020344" y="4956376"/>
                    <a:ext cx="682" cy="560267"/>
                  </a:xfrm>
                  <a:prstGeom prst="line">
                    <a:avLst/>
                  </a:prstGeom>
                  <a:grpFill/>
                  <a:ln w="12700" cap="rnd" cmpd="sng" algn="ctr">
                    <a:solidFill>
                      <a:srgbClr val="FFFFFF"/>
                    </a:solidFill>
                    <a:prstDash val="solid"/>
                    <a:headEnd type="none" w="med" len="med"/>
                    <a:tailEnd type="none" w="med" len="med"/>
                  </a:ln>
                  <a:effectLst/>
                </p:spPr>
              </p:cxnSp>
            </p:grpSp>
          </p:grpSp>
        </p:grpSp>
        <p:sp>
          <p:nvSpPr>
            <p:cNvPr id="51" name="Rectangle 50">
              <a:extLst>
                <a:ext uri="{FF2B5EF4-FFF2-40B4-BE49-F238E27FC236}">
                  <a16:creationId xmlns:a16="http://schemas.microsoft.com/office/drawing/2014/main" id="{0456DB06-30C2-415B-97F7-3549B915E594}"/>
                </a:ext>
              </a:extLst>
            </p:cNvPr>
            <p:cNvSpPr/>
            <p:nvPr/>
          </p:nvSpPr>
          <p:spPr>
            <a:xfrm>
              <a:off x="1023119" y="4128986"/>
              <a:ext cx="3878499" cy="877522"/>
            </a:xfrm>
            <a:prstGeom prst="rect">
              <a:avLst/>
            </a:prstGeom>
            <a:noFill/>
            <a:ln>
              <a:noFill/>
            </a:ln>
          </p:spPr>
          <p:txBody>
            <a:bodyPr wrap="square" rtlCol="0" anchor="t">
              <a:noAutofit/>
            </a:bodyPr>
            <a:lstStyle/>
            <a:p>
              <a:pPr marL="0" marR="0" lvl="0" indent="0" algn="ctr" defTabSz="932688" rtl="0" eaLnBrk="1" fontAlgn="base" latinLnBrk="0" hangingPunct="1">
                <a:lnSpc>
                  <a:spcPct val="90000"/>
                </a:lnSpc>
                <a:spcBef>
                  <a:spcPts val="408"/>
                </a:spcBef>
                <a:spcAft>
                  <a:spcPts val="1800"/>
                </a:spcAft>
                <a:buClrTx/>
                <a:buSzPct val="100000"/>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Semibold"/>
                  <a:ea typeface="+mn-ea"/>
                  <a:cs typeface="+mn-cs"/>
                </a:rPr>
                <a:t>Creates values </a:t>
              </a:r>
              <a:br>
                <a:rPr lang="en-US" sz="1200" dirty="0">
                  <a:gradFill>
                    <a:gsLst>
                      <a:gs pos="2917">
                        <a:srgbClr val="1A1A1A"/>
                      </a:gs>
                      <a:gs pos="30000">
                        <a:srgbClr val="1A1A1A"/>
                      </a:gs>
                    </a:gsLst>
                    <a:lin ang="5400000" scaled="0"/>
                  </a:gradFill>
                  <a:latin typeface="Segoe UI Semibold"/>
                </a:rPr>
              </a:b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Semibold"/>
                  <a:ea typeface="+mn-ea"/>
                  <a:cs typeface="+mn-cs"/>
                </a:rPr>
                <a:t>with insights</a:t>
              </a:r>
            </a:p>
          </p:txBody>
        </p:sp>
      </p:grpSp>
      <p:grpSp>
        <p:nvGrpSpPr>
          <p:cNvPr id="5" name="Group 4">
            <a:extLst>
              <a:ext uri="{FF2B5EF4-FFF2-40B4-BE49-F238E27FC236}">
                <a16:creationId xmlns:a16="http://schemas.microsoft.com/office/drawing/2014/main" id="{7711374B-0F10-44EC-9654-8C5E2370EB35}"/>
              </a:ext>
            </a:extLst>
          </p:cNvPr>
          <p:cNvGrpSpPr/>
          <p:nvPr/>
        </p:nvGrpSpPr>
        <p:grpSpPr>
          <a:xfrm>
            <a:off x="4113896" y="4460842"/>
            <a:ext cx="2887224" cy="1261800"/>
            <a:chOff x="6569153" y="4518156"/>
            <a:chExt cx="3877056" cy="1780065"/>
          </a:xfrm>
        </p:grpSpPr>
        <p:sp>
          <p:nvSpPr>
            <p:cNvPr id="53" name="Rectangle 52">
              <a:extLst>
                <a:ext uri="{FF2B5EF4-FFF2-40B4-BE49-F238E27FC236}">
                  <a16:creationId xmlns:a16="http://schemas.microsoft.com/office/drawing/2014/main" id="{A309DCE4-C455-42B5-BF04-C9F0AFAA06C8}"/>
                </a:ext>
              </a:extLst>
            </p:cNvPr>
            <p:cNvSpPr/>
            <p:nvPr/>
          </p:nvSpPr>
          <p:spPr>
            <a:xfrm>
              <a:off x="6569153" y="5601915"/>
              <a:ext cx="3877056" cy="696306"/>
            </a:xfrm>
            <a:prstGeom prst="rect">
              <a:avLst/>
            </a:prstGeom>
            <a:noFill/>
            <a:ln>
              <a:noFill/>
            </a:ln>
          </p:spPr>
          <p:txBody>
            <a:bodyPr wrap="square" rtlCol="0" anchor="t">
              <a:noAutofit/>
            </a:bodyPr>
            <a:lstStyle/>
            <a:p>
              <a:pPr marL="0" marR="0" lvl="0" indent="0" algn="ctr" defTabSz="932688" rtl="0" eaLnBrk="1" fontAlgn="base" latinLnBrk="0" hangingPunct="1">
                <a:lnSpc>
                  <a:spcPct val="90000"/>
                </a:lnSpc>
                <a:spcBef>
                  <a:spcPts val="408"/>
                </a:spcBef>
                <a:spcAft>
                  <a:spcPts val="3000"/>
                </a:spcAft>
                <a:buClrTx/>
                <a:buSzPct val="100000"/>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Semibold"/>
                  <a:ea typeface="+mn-ea"/>
                  <a:cs typeface="+mn-cs"/>
                </a:rPr>
                <a:t>Build to</a:t>
              </a:r>
              <a:r>
                <a:rPr kumimoji="0" lang="en-US" sz="1200" b="0" i="0" u="none" strike="noStrike" kern="1200" cap="none" spc="0" normalizeH="0" noProof="0" dirty="0">
                  <a:ln>
                    <a:noFill/>
                  </a:ln>
                  <a:gradFill>
                    <a:gsLst>
                      <a:gs pos="2917">
                        <a:srgbClr val="1A1A1A"/>
                      </a:gs>
                      <a:gs pos="30000">
                        <a:srgbClr val="1A1A1A"/>
                      </a:gs>
                    </a:gsLst>
                    <a:lin ang="5400000" scaled="0"/>
                  </a:gradFill>
                  <a:effectLst/>
                  <a:uLnTx/>
                  <a:uFillTx/>
                  <a:latin typeface="Segoe UI Semibold"/>
                  <a:ea typeface="+mn-ea"/>
                  <a:cs typeface="+mn-cs"/>
                </a:rPr>
                <a:t> stay</a:t>
              </a:r>
              <a:endPar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Semibold"/>
                <a:ea typeface="+mn-ea"/>
                <a:cs typeface="+mn-cs"/>
              </a:endParaRPr>
            </a:p>
            <a:p>
              <a:pPr lvl="0" algn="ctr">
                <a:spcAft>
                  <a:spcPts val="600"/>
                </a:spcAft>
                <a:buSzPct val="100000"/>
                <a:defRPr/>
              </a:pPr>
              <a:endParaRPr lang="en-US" sz="1200" dirty="0">
                <a:solidFill>
                  <a:srgbClr val="1A1A1A"/>
                </a:solidFill>
                <a:latin typeface="Segoe UI Semibold"/>
                <a:cs typeface="Segoe UI Semilight" panose="020B0402040204020203" pitchFamily="34" charset="0"/>
              </a:endParaRPr>
            </a:p>
            <a:p>
              <a:pPr lvl="0" algn="ctr">
                <a:spcAft>
                  <a:spcPts val="600"/>
                </a:spcAft>
                <a:buSzPct val="100000"/>
                <a:defRPr/>
              </a:pPr>
              <a:endParaRPr lang="en-US" sz="1200" dirty="0">
                <a:solidFill>
                  <a:srgbClr val="1A1A1A"/>
                </a:solidFill>
                <a:latin typeface="Segoe UI Semibold"/>
                <a:cs typeface="Segoe UI Semilight" panose="020B0402040204020203" pitchFamily="34" charset="0"/>
              </a:endParaRPr>
            </a:p>
          </p:txBody>
        </p:sp>
        <p:grpSp>
          <p:nvGrpSpPr>
            <p:cNvPr id="92" name="Group 91">
              <a:extLst>
                <a:ext uri="{FF2B5EF4-FFF2-40B4-BE49-F238E27FC236}">
                  <a16:creationId xmlns:a16="http://schemas.microsoft.com/office/drawing/2014/main" id="{0FDFDE8C-4504-4DD0-879D-B741D52C7378}"/>
                </a:ext>
              </a:extLst>
            </p:cNvPr>
            <p:cNvGrpSpPr/>
            <p:nvPr/>
          </p:nvGrpSpPr>
          <p:grpSpPr>
            <a:xfrm>
              <a:off x="8124496" y="4518156"/>
              <a:ext cx="769256" cy="769256"/>
              <a:chOff x="9683679" y="1960889"/>
              <a:chExt cx="769256" cy="769256"/>
            </a:xfrm>
          </p:grpSpPr>
          <p:sp>
            <p:nvSpPr>
              <p:cNvPr id="93" name="Oval 92">
                <a:extLst>
                  <a:ext uri="{FF2B5EF4-FFF2-40B4-BE49-F238E27FC236}">
                    <a16:creationId xmlns:a16="http://schemas.microsoft.com/office/drawing/2014/main" id="{C330BCC2-1A1D-42DA-B0D3-A48BFF2D0DF0}"/>
                  </a:ext>
                </a:extLst>
              </p:cNvPr>
              <p:cNvSpPr/>
              <p:nvPr/>
            </p:nvSpPr>
            <p:spPr bwMode="auto">
              <a:xfrm>
                <a:off x="9683679" y="1960889"/>
                <a:ext cx="769256" cy="769256"/>
              </a:xfrm>
              <a:prstGeom prst="ellipse">
                <a:avLst/>
              </a:prstGeom>
              <a:solidFill>
                <a:srgbClr val="0078D4"/>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94" name="Group 93">
                <a:extLst>
                  <a:ext uri="{FF2B5EF4-FFF2-40B4-BE49-F238E27FC236}">
                    <a16:creationId xmlns:a16="http://schemas.microsoft.com/office/drawing/2014/main" id="{36015A99-320D-463F-A1EA-393CBFAAD9CD}"/>
                  </a:ext>
                </a:extLst>
              </p:cNvPr>
              <p:cNvGrpSpPr/>
              <p:nvPr/>
            </p:nvGrpSpPr>
            <p:grpSpPr>
              <a:xfrm>
                <a:off x="9927554" y="2149758"/>
                <a:ext cx="281506" cy="391519"/>
                <a:chOff x="9904275" y="-1131915"/>
                <a:chExt cx="528476" cy="735005"/>
              </a:xfrm>
            </p:grpSpPr>
            <p:sp>
              <p:nvSpPr>
                <p:cNvPr id="95" name="key_3">
                  <a:extLst>
                    <a:ext uri="{FF2B5EF4-FFF2-40B4-BE49-F238E27FC236}">
                      <a16:creationId xmlns:a16="http://schemas.microsoft.com/office/drawing/2014/main" id="{A3C091FE-1BD6-45CD-A99E-36545DE3FDCF}"/>
                    </a:ext>
                  </a:extLst>
                </p:cNvPr>
                <p:cNvSpPr>
                  <a:spLocks noChangeAspect="1" noEditPoints="1"/>
                </p:cNvSpPr>
                <p:nvPr/>
              </p:nvSpPr>
              <p:spPr bwMode="auto">
                <a:xfrm rot="16200000">
                  <a:off x="10121921" y="-780233"/>
                  <a:ext cx="126375" cy="316575"/>
                </a:xfrm>
                <a:custGeom>
                  <a:avLst/>
                  <a:gdLst>
                    <a:gd name="T0" fmla="*/ 0 w 134"/>
                    <a:gd name="T1" fmla="*/ 33 h 343"/>
                    <a:gd name="T2" fmla="*/ 33 w 134"/>
                    <a:gd name="T3" fmla="*/ 0 h 343"/>
                    <a:gd name="T4" fmla="*/ 101 w 134"/>
                    <a:gd name="T5" fmla="*/ 0 h 343"/>
                    <a:gd name="T6" fmla="*/ 134 w 134"/>
                    <a:gd name="T7" fmla="*/ 33 h 343"/>
                    <a:gd name="T8" fmla="*/ 134 w 134"/>
                    <a:gd name="T9" fmla="*/ 113 h 343"/>
                    <a:gd name="T10" fmla="*/ 101 w 134"/>
                    <a:gd name="T11" fmla="*/ 146 h 343"/>
                    <a:gd name="T12" fmla="*/ 33 w 134"/>
                    <a:gd name="T13" fmla="*/ 146 h 343"/>
                    <a:gd name="T14" fmla="*/ 0 w 134"/>
                    <a:gd name="T15" fmla="*/ 113 h 343"/>
                    <a:gd name="T16" fmla="*/ 0 w 134"/>
                    <a:gd name="T17" fmla="*/ 33 h 343"/>
                    <a:gd name="T18" fmla="*/ 67 w 134"/>
                    <a:gd name="T19" fmla="*/ 69 h 343"/>
                    <a:gd name="T20" fmla="*/ 79 w 134"/>
                    <a:gd name="T21" fmla="*/ 57 h 343"/>
                    <a:gd name="T22" fmla="*/ 67 w 134"/>
                    <a:gd name="T23" fmla="*/ 44 h 343"/>
                    <a:gd name="T24" fmla="*/ 55 w 134"/>
                    <a:gd name="T25" fmla="*/ 57 h 343"/>
                    <a:gd name="T26" fmla="*/ 67 w 134"/>
                    <a:gd name="T27" fmla="*/ 69 h 343"/>
                    <a:gd name="T28" fmla="*/ 42 w 134"/>
                    <a:gd name="T29" fmla="*/ 146 h 343"/>
                    <a:gd name="T30" fmla="*/ 42 w 134"/>
                    <a:gd name="T31" fmla="*/ 235 h 343"/>
                    <a:gd name="T32" fmla="*/ 60 w 134"/>
                    <a:gd name="T33" fmla="*/ 253 h 343"/>
                    <a:gd name="T34" fmla="*/ 42 w 134"/>
                    <a:gd name="T35" fmla="*/ 268 h 343"/>
                    <a:gd name="T36" fmla="*/ 42 w 134"/>
                    <a:gd name="T37" fmla="*/ 290 h 343"/>
                    <a:gd name="T38" fmla="*/ 60 w 134"/>
                    <a:gd name="T39" fmla="*/ 308 h 343"/>
                    <a:gd name="T40" fmla="*/ 42 w 134"/>
                    <a:gd name="T41" fmla="*/ 324 h 343"/>
                    <a:gd name="T42" fmla="*/ 42 w 134"/>
                    <a:gd name="T43" fmla="*/ 343 h 343"/>
                    <a:gd name="T44" fmla="*/ 83 w 134"/>
                    <a:gd name="T45" fmla="*/ 343 h 343"/>
                    <a:gd name="T46" fmla="*/ 92 w 134"/>
                    <a:gd name="T47" fmla="*/ 332 h 343"/>
                    <a:gd name="T48" fmla="*/ 92 w 134"/>
                    <a:gd name="T49" fmla="*/ 146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343">
                      <a:moveTo>
                        <a:pt x="0" y="33"/>
                      </a:moveTo>
                      <a:cubicBezTo>
                        <a:pt x="0" y="15"/>
                        <a:pt x="15" y="0"/>
                        <a:pt x="33" y="0"/>
                      </a:cubicBezTo>
                      <a:cubicBezTo>
                        <a:pt x="101" y="0"/>
                        <a:pt x="101" y="0"/>
                        <a:pt x="101" y="0"/>
                      </a:cubicBezTo>
                      <a:cubicBezTo>
                        <a:pt x="119" y="0"/>
                        <a:pt x="134" y="15"/>
                        <a:pt x="134" y="33"/>
                      </a:cubicBezTo>
                      <a:cubicBezTo>
                        <a:pt x="134" y="113"/>
                        <a:pt x="134" y="113"/>
                        <a:pt x="134" y="113"/>
                      </a:cubicBezTo>
                      <a:cubicBezTo>
                        <a:pt x="134" y="131"/>
                        <a:pt x="119" y="146"/>
                        <a:pt x="101" y="146"/>
                      </a:cubicBezTo>
                      <a:cubicBezTo>
                        <a:pt x="33" y="146"/>
                        <a:pt x="33" y="146"/>
                        <a:pt x="33" y="146"/>
                      </a:cubicBezTo>
                      <a:cubicBezTo>
                        <a:pt x="15" y="146"/>
                        <a:pt x="0" y="131"/>
                        <a:pt x="0" y="113"/>
                      </a:cubicBezTo>
                      <a:lnTo>
                        <a:pt x="0" y="33"/>
                      </a:lnTo>
                      <a:close/>
                      <a:moveTo>
                        <a:pt x="67" y="69"/>
                      </a:moveTo>
                      <a:cubicBezTo>
                        <a:pt x="74" y="69"/>
                        <a:pt x="79" y="63"/>
                        <a:pt x="79" y="57"/>
                      </a:cubicBezTo>
                      <a:cubicBezTo>
                        <a:pt x="79" y="50"/>
                        <a:pt x="74" y="44"/>
                        <a:pt x="67" y="44"/>
                      </a:cubicBezTo>
                      <a:cubicBezTo>
                        <a:pt x="60" y="44"/>
                        <a:pt x="55" y="50"/>
                        <a:pt x="55" y="57"/>
                      </a:cubicBezTo>
                      <a:cubicBezTo>
                        <a:pt x="55" y="63"/>
                        <a:pt x="60" y="69"/>
                        <a:pt x="67" y="69"/>
                      </a:cubicBezTo>
                      <a:close/>
                      <a:moveTo>
                        <a:pt x="42" y="146"/>
                      </a:moveTo>
                      <a:cubicBezTo>
                        <a:pt x="42" y="235"/>
                        <a:pt x="42" y="235"/>
                        <a:pt x="42" y="235"/>
                      </a:cubicBezTo>
                      <a:cubicBezTo>
                        <a:pt x="60" y="253"/>
                        <a:pt x="60" y="253"/>
                        <a:pt x="60" y="253"/>
                      </a:cubicBezTo>
                      <a:cubicBezTo>
                        <a:pt x="42" y="268"/>
                        <a:pt x="42" y="268"/>
                        <a:pt x="42" y="268"/>
                      </a:cubicBezTo>
                      <a:cubicBezTo>
                        <a:pt x="42" y="290"/>
                        <a:pt x="42" y="290"/>
                        <a:pt x="42" y="290"/>
                      </a:cubicBezTo>
                      <a:cubicBezTo>
                        <a:pt x="60" y="308"/>
                        <a:pt x="60" y="308"/>
                        <a:pt x="60" y="308"/>
                      </a:cubicBezTo>
                      <a:cubicBezTo>
                        <a:pt x="42" y="324"/>
                        <a:pt x="42" y="324"/>
                        <a:pt x="42" y="324"/>
                      </a:cubicBezTo>
                      <a:cubicBezTo>
                        <a:pt x="42" y="343"/>
                        <a:pt x="42" y="343"/>
                        <a:pt x="42" y="343"/>
                      </a:cubicBezTo>
                      <a:cubicBezTo>
                        <a:pt x="83" y="343"/>
                        <a:pt x="83" y="343"/>
                        <a:pt x="83" y="343"/>
                      </a:cubicBezTo>
                      <a:cubicBezTo>
                        <a:pt x="88" y="343"/>
                        <a:pt x="92" y="338"/>
                        <a:pt x="92" y="332"/>
                      </a:cubicBezTo>
                      <a:cubicBezTo>
                        <a:pt x="92" y="146"/>
                        <a:pt x="92" y="146"/>
                        <a:pt x="92" y="146"/>
                      </a:cubicBezTo>
                    </a:path>
                  </a:pathLst>
                </a:custGeom>
                <a:noFill/>
                <a:ln w="12700" cap="rnd" cmpd="sng" algn="ctr">
                  <a:solidFill>
                    <a:srgbClr val="FFFFFF"/>
                  </a:solidFill>
                  <a:prstDash val="soli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Segoe UI"/>
                    <a:ea typeface="+mn-ea"/>
                    <a:cs typeface="+mn-cs"/>
                  </a:endParaRPr>
                </a:p>
              </p:txBody>
            </p:sp>
            <p:sp>
              <p:nvSpPr>
                <p:cNvPr id="96" name="lock">
                  <a:extLst>
                    <a:ext uri="{FF2B5EF4-FFF2-40B4-BE49-F238E27FC236}">
                      <a16:creationId xmlns:a16="http://schemas.microsoft.com/office/drawing/2014/main" id="{2959FE26-91E3-4266-AFE0-542999880657}"/>
                    </a:ext>
                  </a:extLst>
                </p:cNvPr>
                <p:cNvSpPr>
                  <a:spLocks noChangeAspect="1" noEditPoints="1"/>
                </p:cNvSpPr>
                <p:nvPr/>
              </p:nvSpPr>
              <p:spPr bwMode="auto">
                <a:xfrm>
                  <a:off x="9904275" y="-1131915"/>
                  <a:ext cx="528476" cy="73500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rnd" cmpd="sng" algn="ctr">
                  <a:solidFill>
                    <a:srgbClr val="FFFFFF"/>
                  </a:solidFill>
                  <a:prstDash val="soli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Segoe UI"/>
                    <a:ea typeface="+mn-ea"/>
                    <a:cs typeface="+mn-cs"/>
                  </a:endParaRPr>
                </a:p>
              </p:txBody>
            </p:sp>
          </p:grpSp>
        </p:grpSp>
      </p:grpSp>
    </p:spTree>
    <p:extLst>
      <p:ext uri="{BB962C8B-B14F-4D97-AF65-F5344CB8AC3E}">
        <p14:creationId xmlns:p14="http://schemas.microsoft.com/office/powerpoint/2010/main" val="15194994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1" name="Group 100">
            <a:extLst>
              <a:ext uri="{FF2B5EF4-FFF2-40B4-BE49-F238E27FC236}">
                <a16:creationId xmlns:a16="http://schemas.microsoft.com/office/drawing/2014/main" id="{1723F3D2-CF5C-4E0F-B5F8-9554765B6632}"/>
              </a:ext>
            </a:extLst>
          </p:cNvPr>
          <p:cNvGrpSpPr/>
          <p:nvPr/>
        </p:nvGrpSpPr>
        <p:grpSpPr>
          <a:xfrm>
            <a:off x="9347929" y="1743237"/>
            <a:ext cx="2808891" cy="3976883"/>
            <a:chOff x="9351516" y="1586752"/>
            <a:chExt cx="2809289" cy="4133694"/>
          </a:xfrm>
        </p:grpSpPr>
        <p:sp>
          <p:nvSpPr>
            <p:cNvPr id="102" name="Rectangle 101">
              <a:extLst>
                <a:ext uri="{FF2B5EF4-FFF2-40B4-BE49-F238E27FC236}">
                  <a16:creationId xmlns:a16="http://schemas.microsoft.com/office/drawing/2014/main" id="{1DC305BE-7241-4195-A554-7A2500E5064F}"/>
                </a:ext>
              </a:extLst>
            </p:cNvPr>
            <p:cNvSpPr/>
            <p:nvPr/>
          </p:nvSpPr>
          <p:spPr bwMode="auto">
            <a:xfrm>
              <a:off x="9615066" y="1756590"/>
              <a:ext cx="2298048" cy="324332"/>
            </a:xfrm>
            <a:prstGeom prst="rect">
              <a:avLst/>
            </a:prstGeom>
            <a:solidFill>
              <a:schemeClr val="bg1"/>
            </a:solidFill>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Track</a:t>
              </a:r>
            </a:p>
          </p:txBody>
        </p:sp>
        <p:sp>
          <p:nvSpPr>
            <p:cNvPr id="103" name="Isosceles Triangle 31">
              <a:extLst>
                <a:ext uri="{FF2B5EF4-FFF2-40B4-BE49-F238E27FC236}">
                  <a16:creationId xmlns:a16="http://schemas.microsoft.com/office/drawing/2014/main" id="{63F6F932-A16A-49F2-ADC7-512149872DD7}"/>
                </a:ext>
              </a:extLst>
            </p:cNvPr>
            <p:cNvSpPr/>
            <p:nvPr/>
          </p:nvSpPr>
          <p:spPr>
            <a:xfrm>
              <a:off x="9351516" y="1586752"/>
              <a:ext cx="2809289" cy="551139"/>
            </a:xfrm>
            <a:custGeom>
              <a:avLst/>
              <a:gdLst>
                <a:gd name="connsiteX0" fmla="*/ 0 w 3934939"/>
                <a:gd name="connsiteY0" fmla="*/ 384890 h 384890"/>
                <a:gd name="connsiteX1" fmla="*/ 1967470 w 3934939"/>
                <a:gd name="connsiteY1" fmla="*/ 0 h 384890"/>
                <a:gd name="connsiteX2" fmla="*/ 3934939 w 3934939"/>
                <a:gd name="connsiteY2" fmla="*/ 384890 h 384890"/>
                <a:gd name="connsiteX3" fmla="*/ 0 w 3934939"/>
                <a:gd name="connsiteY3" fmla="*/ 384890 h 384890"/>
                <a:gd name="connsiteX0" fmla="*/ 0 w 3934939"/>
                <a:gd name="connsiteY0" fmla="*/ 384890 h 469590"/>
                <a:gd name="connsiteX1" fmla="*/ 1967470 w 3934939"/>
                <a:gd name="connsiteY1" fmla="*/ 0 h 469590"/>
                <a:gd name="connsiteX2" fmla="*/ 3934939 w 3934939"/>
                <a:gd name="connsiteY2" fmla="*/ 384890 h 469590"/>
                <a:gd name="connsiteX3" fmla="*/ 2070893 w 3934939"/>
                <a:gd name="connsiteY3" fmla="*/ 469590 h 469590"/>
                <a:gd name="connsiteX4" fmla="*/ 0 w 3934939"/>
                <a:gd name="connsiteY4" fmla="*/ 384890 h 469590"/>
                <a:gd name="connsiteX0" fmla="*/ 2070893 w 3934939"/>
                <a:gd name="connsiteY0" fmla="*/ 469590 h 561030"/>
                <a:gd name="connsiteX1" fmla="*/ 0 w 3934939"/>
                <a:gd name="connsiteY1" fmla="*/ 384890 h 561030"/>
                <a:gd name="connsiteX2" fmla="*/ 1967470 w 3934939"/>
                <a:gd name="connsiteY2" fmla="*/ 0 h 561030"/>
                <a:gd name="connsiteX3" fmla="*/ 3934939 w 3934939"/>
                <a:gd name="connsiteY3" fmla="*/ 384890 h 561030"/>
                <a:gd name="connsiteX4" fmla="*/ 2162333 w 3934939"/>
                <a:gd name="connsiteY4" fmla="*/ 561030 h 561030"/>
                <a:gd name="connsiteX0" fmla="*/ 0 w 3934939"/>
                <a:gd name="connsiteY0" fmla="*/ 384890 h 561030"/>
                <a:gd name="connsiteX1" fmla="*/ 1967470 w 3934939"/>
                <a:gd name="connsiteY1" fmla="*/ 0 h 561030"/>
                <a:gd name="connsiteX2" fmla="*/ 3934939 w 3934939"/>
                <a:gd name="connsiteY2" fmla="*/ 384890 h 561030"/>
                <a:gd name="connsiteX3" fmla="*/ 2162333 w 3934939"/>
                <a:gd name="connsiteY3" fmla="*/ 561030 h 561030"/>
                <a:gd name="connsiteX0" fmla="*/ 0 w 3934939"/>
                <a:gd name="connsiteY0" fmla="*/ 384890 h 384890"/>
                <a:gd name="connsiteX1" fmla="*/ 1967470 w 3934939"/>
                <a:gd name="connsiteY1" fmla="*/ 0 h 384890"/>
                <a:gd name="connsiteX2" fmla="*/ 3934939 w 3934939"/>
                <a:gd name="connsiteY2" fmla="*/ 384890 h 384890"/>
              </a:gdLst>
              <a:ahLst/>
              <a:cxnLst>
                <a:cxn ang="0">
                  <a:pos x="connsiteX0" y="connsiteY0"/>
                </a:cxn>
                <a:cxn ang="0">
                  <a:pos x="connsiteX1" y="connsiteY1"/>
                </a:cxn>
                <a:cxn ang="0">
                  <a:pos x="connsiteX2" y="connsiteY2"/>
                </a:cxn>
              </a:cxnLst>
              <a:rect l="l" t="t" r="r" b="b"/>
              <a:pathLst>
                <a:path w="3934939" h="384890">
                  <a:moveTo>
                    <a:pt x="0" y="384890"/>
                  </a:moveTo>
                  <a:lnTo>
                    <a:pt x="1967470" y="0"/>
                  </a:lnTo>
                  <a:lnTo>
                    <a:pt x="3934939" y="384890"/>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Rectangle 5">
              <a:extLst>
                <a:ext uri="{FF2B5EF4-FFF2-40B4-BE49-F238E27FC236}">
                  <a16:creationId xmlns:a16="http://schemas.microsoft.com/office/drawing/2014/main" id="{3BE1C11A-A25A-46BF-86FF-8577B49536F2}"/>
                </a:ext>
              </a:extLst>
            </p:cNvPr>
            <p:cNvSpPr/>
            <p:nvPr/>
          </p:nvSpPr>
          <p:spPr bwMode="auto">
            <a:xfrm>
              <a:off x="9457198" y="2113387"/>
              <a:ext cx="2609823" cy="3607059"/>
            </a:xfrm>
            <a:custGeom>
              <a:avLst/>
              <a:gdLst>
                <a:gd name="connsiteX0" fmla="*/ 0 w 1703540"/>
                <a:gd name="connsiteY0" fmla="*/ 0 h 1703540"/>
                <a:gd name="connsiteX1" fmla="*/ 1703540 w 1703540"/>
                <a:gd name="connsiteY1" fmla="*/ 0 h 1703540"/>
                <a:gd name="connsiteX2" fmla="*/ 1703540 w 1703540"/>
                <a:gd name="connsiteY2" fmla="*/ 1703540 h 1703540"/>
                <a:gd name="connsiteX3" fmla="*/ 0 w 1703540"/>
                <a:gd name="connsiteY3" fmla="*/ 1703540 h 1703540"/>
                <a:gd name="connsiteX4" fmla="*/ 0 w 1703540"/>
                <a:gd name="connsiteY4" fmla="*/ 0 h 1703540"/>
                <a:gd name="connsiteX0" fmla="*/ 1703540 w 1703540"/>
                <a:gd name="connsiteY0" fmla="*/ 0 h 1703540"/>
                <a:gd name="connsiteX1" fmla="*/ 1703540 w 1703540"/>
                <a:gd name="connsiteY1" fmla="*/ 1703540 h 1703540"/>
                <a:gd name="connsiteX2" fmla="*/ 0 w 1703540"/>
                <a:gd name="connsiteY2" fmla="*/ 1703540 h 1703540"/>
                <a:gd name="connsiteX3" fmla="*/ 91440 w 1703540"/>
                <a:gd name="connsiteY3" fmla="*/ 91440 h 1703540"/>
                <a:gd name="connsiteX0" fmla="*/ 1715339 w 1715339"/>
                <a:gd name="connsiteY0" fmla="*/ 0 h 1703540"/>
                <a:gd name="connsiteX1" fmla="*/ 1715339 w 1715339"/>
                <a:gd name="connsiteY1" fmla="*/ 1703540 h 1703540"/>
                <a:gd name="connsiteX2" fmla="*/ 11799 w 1715339"/>
                <a:gd name="connsiteY2" fmla="*/ 1703540 h 1703540"/>
                <a:gd name="connsiteX3" fmla="*/ 0 w 1715339"/>
                <a:gd name="connsiteY3" fmla="*/ 91440 h 1703540"/>
                <a:gd name="connsiteX0" fmla="*/ 1707965 w 1707965"/>
                <a:gd name="connsiteY0" fmla="*/ 0 h 1703540"/>
                <a:gd name="connsiteX1" fmla="*/ 1707965 w 1707965"/>
                <a:gd name="connsiteY1" fmla="*/ 1703540 h 1703540"/>
                <a:gd name="connsiteX2" fmla="*/ 4425 w 1707965"/>
                <a:gd name="connsiteY2" fmla="*/ 1703540 h 1703540"/>
                <a:gd name="connsiteX3" fmla="*/ 0 w 1707965"/>
                <a:gd name="connsiteY3" fmla="*/ 32447 h 1703540"/>
                <a:gd name="connsiteX0" fmla="*/ 1715339 w 1715339"/>
                <a:gd name="connsiteY0" fmla="*/ 19172 h 1722712"/>
                <a:gd name="connsiteX1" fmla="*/ 1715339 w 1715339"/>
                <a:gd name="connsiteY1" fmla="*/ 1722712 h 1722712"/>
                <a:gd name="connsiteX2" fmla="*/ 11799 w 1715339"/>
                <a:gd name="connsiteY2" fmla="*/ 1722712 h 1722712"/>
                <a:gd name="connsiteX3" fmla="*/ 0 w 1715339"/>
                <a:gd name="connsiteY3" fmla="*/ 0 h 1722712"/>
                <a:gd name="connsiteX0" fmla="*/ 1707965 w 1707965"/>
                <a:gd name="connsiteY0" fmla="*/ 0 h 1703540"/>
                <a:gd name="connsiteX1" fmla="*/ 1707965 w 1707965"/>
                <a:gd name="connsiteY1" fmla="*/ 1703540 h 1703540"/>
                <a:gd name="connsiteX2" fmla="*/ 4425 w 1707965"/>
                <a:gd name="connsiteY2" fmla="*/ 1703540 h 1703540"/>
                <a:gd name="connsiteX3" fmla="*/ 0 w 1707965"/>
                <a:gd name="connsiteY3" fmla="*/ 10325 h 1703540"/>
                <a:gd name="connsiteX0" fmla="*/ 1703540 w 1703540"/>
                <a:gd name="connsiteY0" fmla="*/ 5816 h 1709356"/>
                <a:gd name="connsiteX1" fmla="*/ 1703540 w 1703540"/>
                <a:gd name="connsiteY1" fmla="*/ 1709356 h 1709356"/>
                <a:gd name="connsiteX2" fmla="*/ 0 w 1703540"/>
                <a:gd name="connsiteY2" fmla="*/ 1709356 h 1709356"/>
                <a:gd name="connsiteX3" fmla="*/ 706 w 1703540"/>
                <a:gd name="connsiteY3" fmla="*/ 0 h 1709356"/>
              </a:gdLst>
              <a:ahLst/>
              <a:cxnLst>
                <a:cxn ang="0">
                  <a:pos x="connsiteX0" y="connsiteY0"/>
                </a:cxn>
                <a:cxn ang="0">
                  <a:pos x="connsiteX1" y="connsiteY1"/>
                </a:cxn>
                <a:cxn ang="0">
                  <a:pos x="connsiteX2" y="connsiteY2"/>
                </a:cxn>
                <a:cxn ang="0">
                  <a:pos x="connsiteX3" y="connsiteY3"/>
                </a:cxn>
              </a:cxnLst>
              <a:rect l="l" t="t" r="r" b="b"/>
              <a:pathLst>
                <a:path w="1703540" h="1709356">
                  <a:moveTo>
                    <a:pt x="1703540" y="5816"/>
                  </a:moveTo>
                  <a:lnTo>
                    <a:pt x="1703540" y="1709356"/>
                  </a:lnTo>
                  <a:lnTo>
                    <a:pt x="0" y="1709356"/>
                  </a:lnTo>
                  <a:cubicBezTo>
                    <a:pt x="0" y="1141509"/>
                    <a:pt x="706" y="0"/>
                    <a:pt x="706" y="0"/>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Segoe UI"/>
                <a:ea typeface="+mn-ea"/>
                <a:cs typeface="+mn-cs"/>
              </a:endParaRPr>
            </a:p>
          </p:txBody>
        </p:sp>
      </p:grpSp>
      <p:grpSp>
        <p:nvGrpSpPr>
          <p:cNvPr id="2" name="Group 1">
            <a:extLst>
              <a:ext uri="{FF2B5EF4-FFF2-40B4-BE49-F238E27FC236}">
                <a16:creationId xmlns:a16="http://schemas.microsoft.com/office/drawing/2014/main" id="{BD8AE1ED-2270-4A61-B841-2FB66EFCD65D}"/>
              </a:ext>
            </a:extLst>
          </p:cNvPr>
          <p:cNvGrpSpPr/>
          <p:nvPr/>
        </p:nvGrpSpPr>
        <p:grpSpPr>
          <a:xfrm>
            <a:off x="5884476" y="3044591"/>
            <a:ext cx="1450408" cy="1505168"/>
            <a:chOff x="5884446" y="3044537"/>
            <a:chExt cx="1450614" cy="1505382"/>
          </a:xfrm>
        </p:grpSpPr>
        <p:grpSp>
          <p:nvGrpSpPr>
            <p:cNvPr id="37" name="Group 36">
              <a:extLst>
                <a:ext uri="{FF2B5EF4-FFF2-40B4-BE49-F238E27FC236}">
                  <a16:creationId xmlns:a16="http://schemas.microsoft.com/office/drawing/2014/main" id="{A995BB77-5A05-41A6-9266-9ADBB2F88266}"/>
                </a:ext>
              </a:extLst>
            </p:cNvPr>
            <p:cNvGrpSpPr/>
            <p:nvPr/>
          </p:nvGrpSpPr>
          <p:grpSpPr>
            <a:xfrm>
              <a:off x="5884446" y="3044537"/>
              <a:ext cx="1450614" cy="147003"/>
              <a:chOff x="8120217" y="3558128"/>
              <a:chExt cx="1940664" cy="147003"/>
            </a:xfrm>
          </p:grpSpPr>
          <p:cxnSp>
            <p:nvCxnSpPr>
              <p:cNvPr id="38" name="Straight Connector 37">
                <a:extLst>
                  <a:ext uri="{FF2B5EF4-FFF2-40B4-BE49-F238E27FC236}">
                    <a16:creationId xmlns:a16="http://schemas.microsoft.com/office/drawing/2014/main" id="{A2C03983-943E-4E59-8383-78832CD2E20F}"/>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CFA1416-A1B0-46EB-AA53-BA421B3A6A62}"/>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63FEEBB4-CF81-4A62-A145-6BB88C917CEF}"/>
                  </a:ext>
                </a:extLst>
              </p:cNvPr>
              <p:cNvGrpSpPr/>
              <p:nvPr/>
            </p:nvGrpSpPr>
            <p:grpSpPr>
              <a:xfrm>
                <a:off x="8335846" y="3593256"/>
                <a:ext cx="1509402" cy="111875"/>
                <a:chOff x="8335846" y="3498555"/>
                <a:chExt cx="1509402" cy="206573"/>
              </a:xfrm>
            </p:grpSpPr>
            <p:cxnSp>
              <p:nvCxnSpPr>
                <p:cNvPr id="41" name="Straight Connector 40">
                  <a:extLst>
                    <a:ext uri="{FF2B5EF4-FFF2-40B4-BE49-F238E27FC236}">
                      <a16:creationId xmlns:a16="http://schemas.microsoft.com/office/drawing/2014/main" id="{ABE1743D-D1F2-43E7-B341-1A20A333C275}"/>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C39D94C-F515-4933-9AF5-4B2CFA4290EE}"/>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EC3DB11-A16E-4FA3-81C1-F37D64614F79}"/>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901AC9C-3A65-48E6-8B46-C286C1AB0A94}"/>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F4013FE-06AA-432A-B791-C38C54872705}"/>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40B3E34-315A-43D8-AA4B-023448EFED5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BC5764D-496A-4C25-8E2B-2168EE748EB2}"/>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3933A55-06DD-421E-8217-539D482A68B2}"/>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0" name="Group 49">
              <a:extLst>
                <a:ext uri="{FF2B5EF4-FFF2-40B4-BE49-F238E27FC236}">
                  <a16:creationId xmlns:a16="http://schemas.microsoft.com/office/drawing/2014/main" id="{FBC36DC7-6421-41AA-90FB-4B930E7F7699}"/>
                </a:ext>
              </a:extLst>
            </p:cNvPr>
            <p:cNvGrpSpPr/>
            <p:nvPr/>
          </p:nvGrpSpPr>
          <p:grpSpPr>
            <a:xfrm>
              <a:off x="5884446" y="3384135"/>
              <a:ext cx="1450614" cy="146999"/>
              <a:chOff x="8120217" y="3558128"/>
              <a:chExt cx="1940664" cy="146999"/>
            </a:xfrm>
          </p:grpSpPr>
          <p:cxnSp>
            <p:nvCxnSpPr>
              <p:cNvPr id="51" name="Straight Connector 50">
                <a:extLst>
                  <a:ext uri="{FF2B5EF4-FFF2-40B4-BE49-F238E27FC236}">
                    <a16:creationId xmlns:a16="http://schemas.microsoft.com/office/drawing/2014/main" id="{FF018632-D3DD-4FB4-B439-BA2DE4ECF3EB}"/>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DA117C8-247D-4054-83E9-865713E71A63}"/>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2349FF8E-577E-498D-AB2F-B28E2E1BD54A}"/>
                  </a:ext>
                </a:extLst>
              </p:cNvPr>
              <p:cNvGrpSpPr/>
              <p:nvPr/>
            </p:nvGrpSpPr>
            <p:grpSpPr>
              <a:xfrm>
                <a:off x="8335846" y="3592140"/>
                <a:ext cx="1509402" cy="112986"/>
                <a:chOff x="8335846" y="3496504"/>
                <a:chExt cx="1509402" cy="208625"/>
              </a:xfrm>
            </p:grpSpPr>
            <p:cxnSp>
              <p:nvCxnSpPr>
                <p:cNvPr id="54" name="Straight Connector 53">
                  <a:extLst>
                    <a:ext uri="{FF2B5EF4-FFF2-40B4-BE49-F238E27FC236}">
                      <a16:creationId xmlns:a16="http://schemas.microsoft.com/office/drawing/2014/main" id="{2EC5FF38-6339-4622-9F80-B1FD5D7DAF8A}"/>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F03DFD5-DB55-4A40-9412-5171EF8D1835}"/>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4710521-9101-48D4-90EE-618C4FDE2EF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CBB89D8-D9DB-4D62-8272-8D713528E36F}"/>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B6CD139-D39D-4878-9E28-BE0C2BD8C6E2}"/>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4A0DD67-A763-48FD-A81D-8F04147AB311}"/>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2CEBA28-FAC1-4C37-B381-EAB4830EBCE2}"/>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1FEE2D7-34CB-46DC-B3D8-70A182BA7CB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62" name="Group 61">
              <a:extLst>
                <a:ext uri="{FF2B5EF4-FFF2-40B4-BE49-F238E27FC236}">
                  <a16:creationId xmlns:a16="http://schemas.microsoft.com/office/drawing/2014/main" id="{269E9AA7-0CA8-482A-999E-DCB9FD2B890B}"/>
                </a:ext>
              </a:extLst>
            </p:cNvPr>
            <p:cNvGrpSpPr/>
            <p:nvPr/>
          </p:nvGrpSpPr>
          <p:grpSpPr>
            <a:xfrm>
              <a:off x="5884446" y="3723729"/>
              <a:ext cx="1450614" cy="147000"/>
              <a:chOff x="8120217" y="3558128"/>
              <a:chExt cx="1940664" cy="147000"/>
            </a:xfrm>
          </p:grpSpPr>
          <p:cxnSp>
            <p:nvCxnSpPr>
              <p:cNvPr id="63" name="Straight Connector 62">
                <a:extLst>
                  <a:ext uri="{FF2B5EF4-FFF2-40B4-BE49-F238E27FC236}">
                    <a16:creationId xmlns:a16="http://schemas.microsoft.com/office/drawing/2014/main" id="{91AFD085-E71F-4890-99A1-521333659CB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EB1AE87-2B7B-44E9-BF9F-8CCF029CD1DD}"/>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4C0965D2-43FB-4D0F-81E7-FA62C2F0C0D3}"/>
                  </a:ext>
                </a:extLst>
              </p:cNvPr>
              <p:cNvGrpSpPr/>
              <p:nvPr/>
            </p:nvGrpSpPr>
            <p:grpSpPr>
              <a:xfrm>
                <a:off x="8335846" y="3593752"/>
                <a:ext cx="1509402" cy="111376"/>
                <a:chOff x="8335846" y="3499477"/>
                <a:chExt cx="1509402" cy="205652"/>
              </a:xfrm>
            </p:grpSpPr>
            <p:cxnSp>
              <p:nvCxnSpPr>
                <p:cNvPr id="67" name="Straight Connector 66">
                  <a:extLst>
                    <a:ext uri="{FF2B5EF4-FFF2-40B4-BE49-F238E27FC236}">
                      <a16:creationId xmlns:a16="http://schemas.microsoft.com/office/drawing/2014/main" id="{EC94363D-8C74-40A0-BFCB-17F1AD4F0698}"/>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A890D25-18AF-44F6-9B6F-D4F4487FF2C3}"/>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138C371-61A1-42C9-B4A2-79F976A960C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4EF16B2-A7B8-470E-9C44-CDF47811A560}"/>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FA23ABB0-200B-48EE-A948-E4F8F37FB747}"/>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6385DD5-FF34-4167-BBD4-00747FF75FC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7FC391A-47BA-4E02-8135-A6E71A404ACC}"/>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BD4B48A-796E-4BBD-B449-EA0E46FBC60F}"/>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76" name="Group 75">
              <a:extLst>
                <a:ext uri="{FF2B5EF4-FFF2-40B4-BE49-F238E27FC236}">
                  <a16:creationId xmlns:a16="http://schemas.microsoft.com/office/drawing/2014/main" id="{F8B8793F-DC9E-4FC7-AD81-64D579C99EDC}"/>
                </a:ext>
              </a:extLst>
            </p:cNvPr>
            <p:cNvGrpSpPr/>
            <p:nvPr/>
          </p:nvGrpSpPr>
          <p:grpSpPr>
            <a:xfrm>
              <a:off x="5884446" y="4063323"/>
              <a:ext cx="1450614" cy="147002"/>
              <a:chOff x="8120217" y="3558128"/>
              <a:chExt cx="1940664" cy="147002"/>
            </a:xfrm>
          </p:grpSpPr>
          <p:cxnSp>
            <p:nvCxnSpPr>
              <p:cNvPr id="82" name="Straight Connector 81">
                <a:extLst>
                  <a:ext uri="{FF2B5EF4-FFF2-40B4-BE49-F238E27FC236}">
                    <a16:creationId xmlns:a16="http://schemas.microsoft.com/office/drawing/2014/main" id="{491D9C4E-1A37-4B3D-B6C5-63A81C2A777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289FCC8D-A8D9-4D95-AA3D-2EFCC67F6C29}"/>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A9BFA321-5756-42FA-874C-3A83531A87B3}"/>
                  </a:ext>
                </a:extLst>
              </p:cNvPr>
              <p:cNvGrpSpPr/>
              <p:nvPr/>
            </p:nvGrpSpPr>
            <p:grpSpPr>
              <a:xfrm>
                <a:off x="8335846" y="3595364"/>
                <a:ext cx="1509402" cy="109766"/>
                <a:chOff x="8335846" y="3502450"/>
                <a:chExt cx="1509402" cy="202679"/>
              </a:xfrm>
            </p:grpSpPr>
            <p:cxnSp>
              <p:nvCxnSpPr>
                <p:cNvPr id="85" name="Straight Connector 84">
                  <a:extLst>
                    <a:ext uri="{FF2B5EF4-FFF2-40B4-BE49-F238E27FC236}">
                      <a16:creationId xmlns:a16="http://schemas.microsoft.com/office/drawing/2014/main" id="{65AD5B74-1B00-45C4-B604-AAA31870CB40}"/>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C850950-BA30-47D6-9490-154EC1104819}"/>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92F841C-1B25-438E-9FF8-005F5F97D41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C7ACCF32-A9CE-483B-95B1-4F68EBFC981D}"/>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4FB3800-9155-4E5F-AF1E-F3128455126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602CA657-BE4B-4048-9C8A-8BB682F42557}"/>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9F36F5E-8B54-4B75-BCF9-C1D53DF4BE74}"/>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D904617-8559-4E41-BC9D-3E4881C0D03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5" name="Group 104">
              <a:extLst>
                <a:ext uri="{FF2B5EF4-FFF2-40B4-BE49-F238E27FC236}">
                  <a16:creationId xmlns:a16="http://schemas.microsoft.com/office/drawing/2014/main" id="{4264AE4F-C5AC-4148-B274-D99ABD4D60D6}"/>
                </a:ext>
              </a:extLst>
            </p:cNvPr>
            <p:cNvGrpSpPr/>
            <p:nvPr/>
          </p:nvGrpSpPr>
          <p:grpSpPr>
            <a:xfrm>
              <a:off x="5884446" y="4402917"/>
              <a:ext cx="1450614" cy="147002"/>
              <a:chOff x="8120217" y="3558128"/>
              <a:chExt cx="1940664" cy="147002"/>
            </a:xfrm>
          </p:grpSpPr>
          <p:cxnSp>
            <p:nvCxnSpPr>
              <p:cNvPr id="106" name="Straight Connector 105">
                <a:extLst>
                  <a:ext uri="{FF2B5EF4-FFF2-40B4-BE49-F238E27FC236}">
                    <a16:creationId xmlns:a16="http://schemas.microsoft.com/office/drawing/2014/main" id="{BEFF23A2-946C-4BAD-8E6B-7812762ACDD5}"/>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F9B64E9A-3596-4F19-9B91-6E0E6F82DF0F}"/>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8" name="Group 107">
                <a:extLst>
                  <a:ext uri="{FF2B5EF4-FFF2-40B4-BE49-F238E27FC236}">
                    <a16:creationId xmlns:a16="http://schemas.microsoft.com/office/drawing/2014/main" id="{AEF420FF-3ED7-4F4B-848D-720ED8C39485}"/>
                  </a:ext>
                </a:extLst>
              </p:cNvPr>
              <p:cNvGrpSpPr/>
              <p:nvPr/>
            </p:nvGrpSpPr>
            <p:grpSpPr>
              <a:xfrm>
                <a:off x="8335846" y="3595364"/>
                <a:ext cx="1509402" cy="109766"/>
                <a:chOff x="8335846" y="3502450"/>
                <a:chExt cx="1509402" cy="202679"/>
              </a:xfrm>
            </p:grpSpPr>
            <p:cxnSp>
              <p:nvCxnSpPr>
                <p:cNvPr id="112" name="Straight Connector 111">
                  <a:extLst>
                    <a:ext uri="{FF2B5EF4-FFF2-40B4-BE49-F238E27FC236}">
                      <a16:creationId xmlns:a16="http://schemas.microsoft.com/office/drawing/2014/main" id="{D6AF544E-ADDF-4260-8FBC-56810DB4448D}"/>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C9177729-9337-4D34-946B-DFE4481F5E4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8B5F39E7-EF92-481F-B897-34DA903E2595}"/>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73BDB3AA-CDE0-4C62-B51C-DC1F3A0E5CC8}"/>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67783E9-C504-4723-9867-5BFA3F01AFD6}"/>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48A591B9-6BAE-442B-9699-3B4856913C0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8AEBBB1-E1D2-423E-8C80-D660D7BF9FC7}"/>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82DBB156-D4D6-4F2B-BB8D-63740E75D9C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sp>
        <p:nvSpPr>
          <p:cNvPr id="136" name="Rectangle 135">
            <a:extLst>
              <a:ext uri="{FF2B5EF4-FFF2-40B4-BE49-F238E27FC236}">
                <a16:creationId xmlns:a16="http://schemas.microsoft.com/office/drawing/2014/main" id="{B876C16E-02E3-49C5-B773-9B262EC0EB00}"/>
              </a:ext>
            </a:extLst>
          </p:cNvPr>
          <p:cNvSpPr/>
          <p:nvPr/>
        </p:nvSpPr>
        <p:spPr bwMode="auto">
          <a:xfrm>
            <a:off x="3090561" y="2809595"/>
            <a:ext cx="2078488" cy="3201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7" name="Rectangle 146">
            <a:extLst>
              <a:ext uri="{FF2B5EF4-FFF2-40B4-BE49-F238E27FC236}">
                <a16:creationId xmlns:a16="http://schemas.microsoft.com/office/drawing/2014/main" id="{AF6BECDC-1136-474D-AD57-07C750BD7A6D}"/>
              </a:ext>
            </a:extLst>
          </p:cNvPr>
          <p:cNvSpPr/>
          <p:nvPr/>
        </p:nvSpPr>
        <p:spPr bwMode="auto">
          <a:xfrm>
            <a:off x="3090561" y="3511931"/>
            <a:ext cx="2078488" cy="3292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8" name="Rectangle 147">
            <a:extLst>
              <a:ext uri="{FF2B5EF4-FFF2-40B4-BE49-F238E27FC236}">
                <a16:creationId xmlns:a16="http://schemas.microsoft.com/office/drawing/2014/main" id="{781F9281-CBE0-4766-9CEB-2F25D7221217}"/>
              </a:ext>
            </a:extLst>
          </p:cNvPr>
          <p:cNvSpPr/>
          <p:nvPr/>
        </p:nvSpPr>
        <p:spPr bwMode="auto">
          <a:xfrm>
            <a:off x="3090561" y="3867686"/>
            <a:ext cx="2078488" cy="3292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9" name="Rectangle 148">
            <a:extLst>
              <a:ext uri="{FF2B5EF4-FFF2-40B4-BE49-F238E27FC236}">
                <a16:creationId xmlns:a16="http://schemas.microsoft.com/office/drawing/2014/main" id="{446FD518-64A8-443E-85DA-D36BBF1E57EC}"/>
              </a:ext>
            </a:extLst>
          </p:cNvPr>
          <p:cNvSpPr/>
          <p:nvPr/>
        </p:nvSpPr>
        <p:spPr bwMode="auto">
          <a:xfrm>
            <a:off x="3090561" y="4223443"/>
            <a:ext cx="2078488" cy="3292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50" name="Rectangle 149">
            <a:extLst>
              <a:ext uri="{FF2B5EF4-FFF2-40B4-BE49-F238E27FC236}">
                <a16:creationId xmlns:a16="http://schemas.microsoft.com/office/drawing/2014/main" id="{76003EBD-BBD0-43A8-ACD9-097C9F3C2F52}"/>
              </a:ext>
            </a:extLst>
          </p:cNvPr>
          <p:cNvSpPr/>
          <p:nvPr/>
        </p:nvSpPr>
        <p:spPr bwMode="auto">
          <a:xfrm>
            <a:off x="3090561" y="3156174"/>
            <a:ext cx="2078488" cy="3292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33" name="Rectangle 32">
            <a:extLst>
              <a:ext uri="{FF2B5EF4-FFF2-40B4-BE49-F238E27FC236}">
                <a16:creationId xmlns:a16="http://schemas.microsoft.com/office/drawing/2014/main" id="{E85050E8-530B-48B8-8D30-6B4189AAC40C}"/>
              </a:ext>
            </a:extLst>
          </p:cNvPr>
          <p:cNvSpPr/>
          <p:nvPr/>
        </p:nvSpPr>
        <p:spPr bwMode="auto">
          <a:xfrm>
            <a:off x="3085136" y="2268209"/>
            <a:ext cx="2211626" cy="346521"/>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42" name="Rectangle 41">
            <a:extLst>
              <a:ext uri="{FF2B5EF4-FFF2-40B4-BE49-F238E27FC236}">
                <a16:creationId xmlns:a16="http://schemas.microsoft.com/office/drawing/2014/main" id="{8DFBE1EA-D672-4BA2-8AC5-8F9258F9AE8E}"/>
              </a:ext>
            </a:extLst>
          </p:cNvPr>
          <p:cNvSpPr/>
          <p:nvPr/>
        </p:nvSpPr>
        <p:spPr bwMode="auto">
          <a:xfrm>
            <a:off x="5577549" y="2268209"/>
            <a:ext cx="2410247" cy="346521"/>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29" name="Rectangle 28">
            <a:extLst>
              <a:ext uri="{FF2B5EF4-FFF2-40B4-BE49-F238E27FC236}">
                <a16:creationId xmlns:a16="http://schemas.microsoft.com/office/drawing/2014/main" id="{22EE7413-F083-4FA4-B233-0BE9A60054A1}"/>
              </a:ext>
            </a:extLst>
          </p:cNvPr>
          <p:cNvSpPr/>
          <p:nvPr/>
        </p:nvSpPr>
        <p:spPr bwMode="auto">
          <a:xfrm>
            <a:off x="736344" y="2268209"/>
            <a:ext cx="2068005" cy="346521"/>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110" y="2767743"/>
            <a:ext cx="323873" cy="2410248"/>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6C1DA2B4-1C0E-4041-B2C8-AE1DBE888000}"/>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81" name="Rectangle 80">
            <a:extLst>
              <a:ext uri="{FF2B5EF4-FFF2-40B4-BE49-F238E27FC236}">
                <a16:creationId xmlns:a16="http://schemas.microsoft.com/office/drawing/2014/main" id="{5843B82D-D9A4-4766-8C2A-684A866EB0F0}"/>
              </a:ext>
            </a:extLst>
          </p:cNvPr>
          <p:cNvSpPr/>
          <p:nvPr/>
        </p:nvSpPr>
        <p:spPr bwMode="auto">
          <a:xfrm>
            <a:off x="11309461" y="2353971"/>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90" name="Rectangle 89">
            <a:extLst>
              <a:ext uri="{FF2B5EF4-FFF2-40B4-BE49-F238E27FC236}">
                <a16:creationId xmlns:a16="http://schemas.microsoft.com/office/drawing/2014/main" id="{9E12CE79-1D28-42FF-A8D2-F17C5397AD4B}"/>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91" name="Rectangle 90">
            <a:extLst>
              <a:ext uri="{FF2B5EF4-FFF2-40B4-BE49-F238E27FC236}">
                <a16:creationId xmlns:a16="http://schemas.microsoft.com/office/drawing/2014/main" id="{2C0B2D7F-DABA-4CF5-986F-41239206EBA7}"/>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123" name="Rectangle 122">
            <a:extLst>
              <a:ext uri="{FF2B5EF4-FFF2-40B4-BE49-F238E27FC236}">
                <a16:creationId xmlns:a16="http://schemas.microsoft.com/office/drawing/2014/main" id="{C138F34D-E681-4EC2-A776-620ACB5B2ADA}"/>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5%</a:t>
            </a:r>
          </a:p>
        </p:txBody>
      </p:sp>
      <p:sp>
        <p:nvSpPr>
          <p:cNvPr id="137" name="Rectangle 136">
            <a:extLst>
              <a:ext uri="{FF2B5EF4-FFF2-40B4-BE49-F238E27FC236}">
                <a16:creationId xmlns:a16="http://schemas.microsoft.com/office/drawing/2014/main" id="{C2BBE4FC-909C-4345-B6B7-CD98E0800549}"/>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138" name="Rectangle 137">
            <a:extLst>
              <a:ext uri="{FF2B5EF4-FFF2-40B4-BE49-F238E27FC236}">
                <a16:creationId xmlns:a16="http://schemas.microsoft.com/office/drawing/2014/main" id="{E5DC31E9-1B38-490E-97B1-396F5BC8BD37}"/>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65%</a:t>
            </a:r>
          </a:p>
        </p:txBody>
      </p:sp>
      <p:sp>
        <p:nvSpPr>
          <p:cNvPr id="139" name="Rectangle 138">
            <a:extLst>
              <a:ext uri="{FF2B5EF4-FFF2-40B4-BE49-F238E27FC236}">
                <a16:creationId xmlns:a16="http://schemas.microsoft.com/office/drawing/2014/main" id="{38AE8513-E5E7-4164-8B0A-DCBE47A37897}"/>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95%</a:t>
            </a:r>
          </a:p>
        </p:txBody>
      </p:sp>
      <p:sp>
        <p:nvSpPr>
          <p:cNvPr id="140" name="Rectangle 139">
            <a:extLst>
              <a:ext uri="{FF2B5EF4-FFF2-40B4-BE49-F238E27FC236}">
                <a16:creationId xmlns:a16="http://schemas.microsoft.com/office/drawing/2014/main" id="{B6105E7D-98D4-444D-AAC0-1B90A43BA286}"/>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5%</a:t>
            </a:r>
          </a:p>
        </p:txBody>
      </p:sp>
      <p:sp>
        <p:nvSpPr>
          <p:cNvPr id="141" name="Rectangle 140">
            <a:extLst>
              <a:ext uri="{FF2B5EF4-FFF2-40B4-BE49-F238E27FC236}">
                <a16:creationId xmlns:a16="http://schemas.microsoft.com/office/drawing/2014/main" id="{35207BB3-4EC0-47BD-9F49-6F6AC0CE2C82}"/>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10%</a:t>
            </a:r>
          </a:p>
        </p:txBody>
      </p:sp>
      <p:sp>
        <p:nvSpPr>
          <p:cNvPr id="142" name="Rectangle 141">
            <a:extLst>
              <a:ext uri="{FF2B5EF4-FFF2-40B4-BE49-F238E27FC236}">
                <a16:creationId xmlns:a16="http://schemas.microsoft.com/office/drawing/2014/main" id="{A5FBACE0-802F-4F71-94F2-248DEFE1A4CA}"/>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5%</a:t>
            </a:r>
          </a:p>
        </p:txBody>
      </p:sp>
      <p:sp>
        <p:nvSpPr>
          <p:cNvPr id="143" name="Rectangle 142">
            <a:extLst>
              <a:ext uri="{FF2B5EF4-FFF2-40B4-BE49-F238E27FC236}">
                <a16:creationId xmlns:a16="http://schemas.microsoft.com/office/drawing/2014/main" id="{2EE1EEEC-9147-48AC-AA51-F7D7C757720A}"/>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0%</a:t>
            </a:r>
          </a:p>
        </p:txBody>
      </p:sp>
      <p:sp>
        <p:nvSpPr>
          <p:cNvPr id="144" name="Rectangle 143">
            <a:extLst>
              <a:ext uri="{FF2B5EF4-FFF2-40B4-BE49-F238E27FC236}">
                <a16:creationId xmlns:a16="http://schemas.microsoft.com/office/drawing/2014/main" id="{715BD311-5C47-4D16-84A4-CDE3875B2E28}"/>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45" name="Rectangle 144">
            <a:extLst>
              <a:ext uri="{FF2B5EF4-FFF2-40B4-BE49-F238E27FC236}">
                <a16:creationId xmlns:a16="http://schemas.microsoft.com/office/drawing/2014/main" id="{5FCC3BB9-011E-43E2-8A6D-CF0B434AEC47}"/>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146" name="Rectangle 145">
            <a:extLst>
              <a:ext uri="{FF2B5EF4-FFF2-40B4-BE49-F238E27FC236}">
                <a16:creationId xmlns:a16="http://schemas.microsoft.com/office/drawing/2014/main" id="{2E0AC568-B569-4102-91A1-BD4739EF7142}"/>
              </a:ext>
            </a:extLst>
          </p:cNvPr>
          <p:cNvSpPr/>
          <p:nvPr/>
        </p:nvSpPr>
        <p:spPr bwMode="auto">
          <a:xfrm>
            <a:off x="9571192" y="3749303"/>
            <a:ext cx="653145" cy="4589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15%</a:t>
            </a:r>
          </a:p>
        </p:txBody>
      </p:sp>
      <p:grpSp>
        <p:nvGrpSpPr>
          <p:cNvPr id="26" name="Group 25">
            <a:extLst>
              <a:ext uri="{FF2B5EF4-FFF2-40B4-BE49-F238E27FC236}">
                <a16:creationId xmlns:a16="http://schemas.microsoft.com/office/drawing/2014/main" id="{630C095D-36FC-4EBB-8DEE-D3469ACDD9BD}"/>
              </a:ext>
            </a:extLst>
          </p:cNvPr>
          <p:cNvGrpSpPr/>
          <p:nvPr/>
        </p:nvGrpSpPr>
        <p:grpSpPr>
          <a:xfrm>
            <a:off x="589045" y="5680087"/>
            <a:ext cx="8659839" cy="667278"/>
            <a:chOff x="837631" y="5844617"/>
            <a:chExt cx="9792001" cy="667372"/>
          </a:xfrm>
        </p:grpSpPr>
        <p:cxnSp>
          <p:nvCxnSpPr>
            <p:cNvPr id="27" name="Connector: Elbow 26">
              <a:extLst>
                <a:ext uri="{FF2B5EF4-FFF2-40B4-BE49-F238E27FC236}">
                  <a16:creationId xmlns:a16="http://schemas.microsoft.com/office/drawing/2014/main" id="{D6DBBF17-7678-4E03-A750-D716BF7D3406}"/>
                </a:ext>
              </a:extLst>
            </p:cNvPr>
            <p:cNvCxnSpPr>
              <a:cxnSpLocks/>
            </p:cNvCxnSpPr>
            <p:nvPr/>
          </p:nvCxnSpPr>
          <p:spPr>
            <a:xfrm rot="5400000">
              <a:off x="5727282" y="954966"/>
              <a:ext cx="12700" cy="9792001"/>
            </a:xfrm>
            <a:prstGeom prst="bentConnector3">
              <a:avLst>
                <a:gd name="adj1" fmla="val 2170835"/>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29C9708C-5222-4249-BB52-52E83A8D83AC}"/>
                </a:ext>
              </a:extLst>
            </p:cNvPr>
            <p:cNvSpPr/>
            <p:nvPr/>
          </p:nvSpPr>
          <p:spPr bwMode="auto">
            <a:xfrm>
              <a:off x="4719049" y="6221910"/>
              <a:ext cx="2029169" cy="290079"/>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Iterate</a:t>
              </a:r>
            </a:p>
          </p:txBody>
        </p:sp>
      </p:grpSp>
      <p:sp>
        <p:nvSpPr>
          <p:cNvPr id="121" name="Title 2">
            <a:extLst>
              <a:ext uri="{FF2B5EF4-FFF2-40B4-BE49-F238E27FC236}">
                <a16:creationId xmlns:a16="http://schemas.microsoft.com/office/drawing/2014/main" id="{D98C01AE-6997-4978-8653-72449A6C28F4}"/>
              </a:ext>
            </a:extLst>
          </p:cNvPr>
          <p:cNvSpPr txBox="1">
            <a:spLocks/>
          </p:cNvSpPr>
          <p:nvPr/>
        </p:nvSpPr>
        <p:spPr>
          <a:xfrm>
            <a:off x="589044" y="457622"/>
            <a:ext cx="11016957" cy="1107839"/>
          </a:xfrm>
          <a:prstGeom prst="rect">
            <a:avLst/>
          </a:prstGeom>
        </p:spPr>
        <p:txBody>
          <a:bodyPr vert="horz" wrap="square" lIns="0" tIns="164569" rIns="0" bIns="0" rtlCol="0" anchor="t">
            <a:noAutofit/>
          </a:bodyPr>
          <a:lst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725" b="0" i="0" u="none" strike="noStrike" kern="1200" cap="none" spc="-147" normalizeH="0" baseline="0" noProof="0" dirty="0">
                <a:ln w="3175">
                  <a:noFill/>
                </a:ln>
                <a:solidFill>
                  <a:srgbClr val="000000"/>
                </a:solidFill>
                <a:effectLst/>
                <a:uLnTx/>
                <a:uFillTx/>
                <a:latin typeface="Segoe UI Semibold"/>
                <a:ea typeface="+mn-ea"/>
                <a:cs typeface="Segoe UI" pitchFamily="34" charset="0"/>
              </a:rPr>
              <a:t>Model creation is typically a time consuming process</a:t>
            </a:r>
          </a:p>
        </p:txBody>
      </p:sp>
      <p:sp>
        <p:nvSpPr>
          <p:cNvPr id="98" name="Isosceles Triangle 97">
            <a:extLst>
              <a:ext uri="{FF2B5EF4-FFF2-40B4-BE49-F238E27FC236}">
                <a16:creationId xmlns:a16="http://schemas.microsoft.com/office/drawing/2014/main" id="{FE4ADEB3-BA1A-4527-97B6-E7A5905F8282}"/>
              </a:ext>
            </a:extLst>
          </p:cNvPr>
          <p:cNvSpPr/>
          <p:nvPr/>
        </p:nvSpPr>
        <p:spPr bwMode="auto">
          <a:xfrm>
            <a:off x="6293842" y="4119124"/>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Isosceles Triangle 110">
            <a:extLst>
              <a:ext uri="{FF2B5EF4-FFF2-40B4-BE49-F238E27FC236}">
                <a16:creationId xmlns:a16="http://schemas.microsoft.com/office/drawing/2014/main" id="{DC995B4C-717D-4215-9C84-59A63A08436E}"/>
              </a:ext>
            </a:extLst>
          </p:cNvPr>
          <p:cNvSpPr/>
          <p:nvPr/>
        </p:nvSpPr>
        <p:spPr bwMode="auto">
          <a:xfrm>
            <a:off x="6460526" y="3779917"/>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Isosceles Triangle 123">
            <a:extLst>
              <a:ext uri="{FF2B5EF4-FFF2-40B4-BE49-F238E27FC236}">
                <a16:creationId xmlns:a16="http://schemas.microsoft.com/office/drawing/2014/main" id="{D97260E6-C543-4A04-8701-4A7AD6348720}"/>
              </a:ext>
            </a:extLst>
          </p:cNvPr>
          <p:cNvSpPr/>
          <p:nvPr/>
        </p:nvSpPr>
        <p:spPr bwMode="auto">
          <a:xfrm>
            <a:off x="6943997" y="3101504"/>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Isosceles Triangle 124">
            <a:extLst>
              <a:ext uri="{FF2B5EF4-FFF2-40B4-BE49-F238E27FC236}">
                <a16:creationId xmlns:a16="http://schemas.microsoft.com/office/drawing/2014/main" id="{084B5AF6-26A2-4842-A41A-6E0C87018759}"/>
              </a:ext>
            </a:extLst>
          </p:cNvPr>
          <p:cNvSpPr/>
          <p:nvPr/>
        </p:nvSpPr>
        <p:spPr bwMode="auto">
          <a:xfrm>
            <a:off x="7103798" y="3440710"/>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Rectangle 163">
            <a:extLst>
              <a:ext uri="{FF2B5EF4-FFF2-40B4-BE49-F238E27FC236}">
                <a16:creationId xmlns:a16="http://schemas.microsoft.com/office/drawing/2014/main" id="{7ADB0596-0969-46D3-8F50-F5A45D799A8E}"/>
              </a:ext>
            </a:extLst>
          </p:cNvPr>
          <p:cNvSpPr/>
          <p:nvPr/>
        </p:nvSpPr>
        <p:spPr bwMode="auto">
          <a:xfrm>
            <a:off x="736983" y="4229034"/>
            <a:ext cx="1859308" cy="2991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1" name="Rectangle 170">
            <a:extLst>
              <a:ext uri="{FF2B5EF4-FFF2-40B4-BE49-F238E27FC236}">
                <a16:creationId xmlns:a16="http://schemas.microsoft.com/office/drawing/2014/main" id="{FA033DC2-8489-4D03-B39C-76377D071DF5}"/>
              </a:ext>
            </a:extLst>
          </p:cNvPr>
          <p:cNvSpPr/>
          <p:nvPr/>
        </p:nvSpPr>
        <p:spPr bwMode="auto">
          <a:xfrm>
            <a:off x="736983" y="3179358"/>
            <a:ext cx="1859308" cy="2991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3" name="Rectangle 172">
            <a:extLst>
              <a:ext uri="{FF2B5EF4-FFF2-40B4-BE49-F238E27FC236}">
                <a16:creationId xmlns:a16="http://schemas.microsoft.com/office/drawing/2014/main" id="{7465687A-7138-457A-AD69-9EA44E77B92B}"/>
              </a:ext>
            </a:extLst>
          </p:cNvPr>
          <p:cNvSpPr/>
          <p:nvPr/>
        </p:nvSpPr>
        <p:spPr bwMode="auto">
          <a:xfrm>
            <a:off x="736983" y="2829465"/>
            <a:ext cx="1859308" cy="2991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4" name="Rectangle 173">
            <a:extLst>
              <a:ext uri="{FF2B5EF4-FFF2-40B4-BE49-F238E27FC236}">
                <a16:creationId xmlns:a16="http://schemas.microsoft.com/office/drawing/2014/main" id="{3ECF9070-C95C-4AEE-9B8E-522305BBBDAB}"/>
              </a:ext>
            </a:extLst>
          </p:cNvPr>
          <p:cNvSpPr/>
          <p:nvPr/>
        </p:nvSpPr>
        <p:spPr bwMode="auto">
          <a:xfrm>
            <a:off x="736983" y="3529250"/>
            <a:ext cx="1859308" cy="2991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5" name="Rectangle 174">
            <a:extLst>
              <a:ext uri="{FF2B5EF4-FFF2-40B4-BE49-F238E27FC236}">
                <a16:creationId xmlns:a16="http://schemas.microsoft.com/office/drawing/2014/main" id="{AEFA5C18-DBD6-420E-8D38-357F8C70808D}"/>
              </a:ext>
            </a:extLst>
          </p:cNvPr>
          <p:cNvSpPr/>
          <p:nvPr/>
        </p:nvSpPr>
        <p:spPr bwMode="auto">
          <a:xfrm>
            <a:off x="736983" y="3879142"/>
            <a:ext cx="1859308" cy="2991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54856"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20" name="Isosceles Triangle 119">
            <a:extLst>
              <a:ext uri="{FF2B5EF4-FFF2-40B4-BE49-F238E27FC236}">
                <a16:creationId xmlns:a16="http://schemas.microsoft.com/office/drawing/2014/main" id="{064EFD16-9865-43CE-AAC0-7320880D3E2A}"/>
              </a:ext>
            </a:extLst>
          </p:cNvPr>
          <p:cNvSpPr/>
          <p:nvPr/>
        </p:nvSpPr>
        <p:spPr bwMode="auto">
          <a:xfrm>
            <a:off x="6779836" y="4458329"/>
            <a:ext cx="137141" cy="9142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88250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afterEffect">
                                  <p:stCondLst>
                                    <p:cond delay="0"/>
                                  </p:stCondLst>
                                  <p:childTnLst>
                                    <p:animMotion origin="layout" path="M 1.04167E-6 -2.59259E-6 L 0.14284 -0.10347 " pathEditMode="relative" rAng="0" ptsTypes="AA">
                                      <p:cBhvr>
                                        <p:cTn id="6" dur="150" fill="hold"/>
                                        <p:tgtEl>
                                          <p:spTgt spid="80"/>
                                        </p:tgtEl>
                                        <p:attrNameLst>
                                          <p:attrName>ppt_x</p:attrName>
                                          <p:attrName>ppt_y</p:attrName>
                                        </p:attrNameLst>
                                      </p:cBhvr>
                                      <p:rCtr x="7135" y="-5185"/>
                                    </p:animMotion>
                                  </p:childTnLst>
                                </p:cTn>
                              </p:par>
                              <p:par>
                                <p:cTn id="7" presetID="12" presetClass="entr" presetSubtype="8" fill="hold" grpId="1" nodeType="withEffect">
                                  <p:stCondLst>
                                    <p:cond delay="100"/>
                                  </p:stCondLst>
                                  <p:childTnLst>
                                    <p:set>
                                      <p:cBhvr>
                                        <p:cTn id="8" dur="1" fill="hold">
                                          <p:stCondLst>
                                            <p:cond delay="0"/>
                                          </p:stCondLst>
                                        </p:cTn>
                                        <p:tgtEl>
                                          <p:spTgt spid="90"/>
                                        </p:tgtEl>
                                        <p:attrNameLst>
                                          <p:attrName>style.visibility</p:attrName>
                                        </p:attrNameLst>
                                      </p:cBhvr>
                                      <p:to>
                                        <p:strVal val="visible"/>
                                      </p:to>
                                    </p:set>
                                    <p:anim calcmode="lin" valueType="num">
                                      <p:cBhvr additive="base">
                                        <p:cTn id="9" dur="80"/>
                                        <p:tgtEl>
                                          <p:spTgt spid="90"/>
                                        </p:tgtEl>
                                        <p:attrNameLst>
                                          <p:attrName>ppt_x</p:attrName>
                                        </p:attrNameLst>
                                      </p:cBhvr>
                                      <p:tavLst>
                                        <p:tav tm="0">
                                          <p:val>
                                            <p:strVal val="#ppt_x-#ppt_w*1.125000"/>
                                          </p:val>
                                        </p:tav>
                                        <p:tav tm="100000">
                                          <p:val>
                                            <p:strVal val="#ppt_x"/>
                                          </p:val>
                                        </p:tav>
                                      </p:tavLst>
                                    </p:anim>
                                    <p:animEffect transition="in" filter="wipe(right)">
                                      <p:cBhvr>
                                        <p:cTn id="10" dur="80"/>
                                        <p:tgtEl>
                                          <p:spTgt spid="90"/>
                                        </p:tgtEl>
                                      </p:cBhvr>
                                    </p:animEffect>
                                  </p:childTnLst>
                                </p:cTn>
                              </p:par>
                              <p:par>
                                <p:cTn id="11" presetID="10" presetClass="exit" presetSubtype="0" fill="hold" grpId="1" nodeType="withEffect">
                                  <p:stCondLst>
                                    <p:cond delay="100"/>
                                  </p:stCondLst>
                                  <p:childTnLst>
                                    <p:animEffect transition="out" filter="fade">
                                      <p:cBhvr>
                                        <p:cTn id="12" dur="150"/>
                                        <p:tgtEl>
                                          <p:spTgt spid="136"/>
                                        </p:tgtEl>
                                      </p:cBhvr>
                                    </p:animEffect>
                                    <p:set>
                                      <p:cBhvr>
                                        <p:cTn id="13" dur="1" fill="hold">
                                          <p:stCondLst>
                                            <p:cond delay="149"/>
                                          </p:stCondLst>
                                        </p:cTn>
                                        <p:tgtEl>
                                          <p:spTgt spid="136"/>
                                        </p:tgtEl>
                                        <p:attrNameLst>
                                          <p:attrName>style.visibility</p:attrName>
                                        </p:attrNameLst>
                                      </p:cBhvr>
                                      <p:to>
                                        <p:strVal val="hidden"/>
                                      </p:to>
                                    </p:set>
                                  </p:childTnLst>
                                </p:cTn>
                              </p:par>
                              <p:par>
                                <p:cTn id="14" presetID="10" presetClass="entr" presetSubtype="0" fill="hold" grpId="0" nodeType="withEffect">
                                  <p:stCondLst>
                                    <p:cond delay="100"/>
                                  </p:stCondLst>
                                  <p:childTnLst>
                                    <p:set>
                                      <p:cBhvr>
                                        <p:cTn id="15" dur="1" fill="hold">
                                          <p:stCondLst>
                                            <p:cond delay="0"/>
                                          </p:stCondLst>
                                        </p:cTn>
                                        <p:tgtEl>
                                          <p:spTgt spid="147"/>
                                        </p:tgtEl>
                                        <p:attrNameLst>
                                          <p:attrName>style.visibility</p:attrName>
                                        </p:attrNameLst>
                                      </p:cBhvr>
                                      <p:to>
                                        <p:strVal val="visible"/>
                                      </p:to>
                                    </p:set>
                                    <p:animEffect transition="in" filter="fade">
                                      <p:cBhvr>
                                        <p:cTn id="16" dur="150"/>
                                        <p:tgtEl>
                                          <p:spTgt spid="147"/>
                                        </p:tgtEl>
                                      </p:cBhvr>
                                    </p:animEffect>
                                  </p:childTnLst>
                                </p:cTn>
                              </p:par>
                              <p:par>
                                <p:cTn id="17" presetID="42" presetClass="path" presetSubtype="0" accel="50000" decel="50000" fill="hold" grpId="0" nodeType="withEffect">
                                  <p:stCondLst>
                                    <p:cond delay="100"/>
                                  </p:stCondLst>
                                  <p:childTnLst>
                                    <p:animMotion origin="layout" path="M 1.04167E-6 -2.59259E-6 L 0.14284 -2.59259E-6 " pathEditMode="relative" rAng="0" ptsTypes="AA">
                                      <p:cBhvr>
                                        <p:cTn id="18" dur="150" fill="hold"/>
                                        <p:tgtEl>
                                          <p:spTgt spid="90"/>
                                        </p:tgtEl>
                                        <p:attrNameLst>
                                          <p:attrName>ppt_x</p:attrName>
                                          <p:attrName>ppt_y</p:attrName>
                                        </p:attrNameLst>
                                      </p:cBhvr>
                                      <p:rCtr x="7135" y="0"/>
                                    </p:animMotion>
                                  </p:childTnLst>
                                </p:cTn>
                              </p:par>
                              <p:par>
                                <p:cTn id="19" presetID="22" presetClass="entr" presetSubtype="1" fill="hold" grpId="0" nodeType="withEffect">
                                  <p:stCondLst>
                                    <p:cond delay="100"/>
                                  </p:stCondLst>
                                  <p:childTnLst>
                                    <p:set>
                                      <p:cBhvr>
                                        <p:cTn id="20" dur="1" fill="hold">
                                          <p:stCondLst>
                                            <p:cond delay="0"/>
                                          </p:stCondLst>
                                        </p:cTn>
                                        <p:tgtEl>
                                          <p:spTgt spid="175"/>
                                        </p:tgtEl>
                                        <p:attrNameLst>
                                          <p:attrName>style.visibility</p:attrName>
                                        </p:attrNameLst>
                                      </p:cBhvr>
                                      <p:to>
                                        <p:strVal val="visible"/>
                                      </p:to>
                                    </p:set>
                                    <p:animEffect transition="in" filter="wipe(up)">
                                      <p:cBhvr>
                                        <p:cTn id="21" dur="150"/>
                                        <p:tgtEl>
                                          <p:spTgt spid="175"/>
                                        </p:tgtEl>
                                      </p:cBhvr>
                                    </p:animEffect>
                                  </p:childTnLst>
                                </p:cTn>
                              </p:par>
                              <p:par>
                                <p:cTn id="22" presetID="22" presetClass="entr" presetSubtype="1" fill="hold" grpId="0" nodeType="withEffect">
                                  <p:stCondLst>
                                    <p:cond delay="100"/>
                                  </p:stCondLst>
                                  <p:childTnLst>
                                    <p:set>
                                      <p:cBhvr>
                                        <p:cTn id="23" dur="1" fill="hold">
                                          <p:stCondLst>
                                            <p:cond delay="0"/>
                                          </p:stCondLst>
                                        </p:cTn>
                                        <p:tgtEl>
                                          <p:spTgt spid="164"/>
                                        </p:tgtEl>
                                        <p:attrNameLst>
                                          <p:attrName>style.visibility</p:attrName>
                                        </p:attrNameLst>
                                      </p:cBhvr>
                                      <p:to>
                                        <p:strVal val="visible"/>
                                      </p:to>
                                    </p:set>
                                    <p:animEffect transition="in" filter="wipe(up)">
                                      <p:cBhvr>
                                        <p:cTn id="24" dur="150"/>
                                        <p:tgtEl>
                                          <p:spTgt spid="164"/>
                                        </p:tgtEl>
                                      </p:cBhvr>
                                    </p:animEffect>
                                  </p:childTnLst>
                                </p:cTn>
                              </p:par>
                              <p:par>
                                <p:cTn id="25" presetID="22" presetClass="exit" presetSubtype="1" fill="hold" grpId="0" nodeType="withEffect">
                                  <p:stCondLst>
                                    <p:cond delay="100"/>
                                  </p:stCondLst>
                                  <p:childTnLst>
                                    <p:animEffect transition="out" filter="wipe(up)">
                                      <p:cBhvr>
                                        <p:cTn id="26" dur="150"/>
                                        <p:tgtEl>
                                          <p:spTgt spid="173"/>
                                        </p:tgtEl>
                                      </p:cBhvr>
                                    </p:animEffect>
                                    <p:set>
                                      <p:cBhvr>
                                        <p:cTn id="27" dur="1" fill="hold">
                                          <p:stCondLst>
                                            <p:cond delay="149"/>
                                          </p:stCondLst>
                                        </p:cTn>
                                        <p:tgtEl>
                                          <p:spTgt spid="173"/>
                                        </p:tgtEl>
                                        <p:attrNameLst>
                                          <p:attrName>style.visibility</p:attrName>
                                        </p:attrNameLst>
                                      </p:cBhvr>
                                      <p:to>
                                        <p:strVal val="hidden"/>
                                      </p:to>
                                    </p:set>
                                  </p:childTnLst>
                                </p:cTn>
                              </p:par>
                              <p:par>
                                <p:cTn id="28" presetID="12" presetClass="entr" presetSubtype="8" fill="hold" grpId="1" nodeType="withEffect">
                                  <p:stCondLst>
                                    <p:cond delay="200"/>
                                  </p:stCondLst>
                                  <p:childTnLst>
                                    <p:set>
                                      <p:cBhvr>
                                        <p:cTn id="29" dur="1" fill="hold">
                                          <p:stCondLst>
                                            <p:cond delay="0"/>
                                          </p:stCondLst>
                                        </p:cTn>
                                        <p:tgtEl>
                                          <p:spTgt spid="123"/>
                                        </p:tgtEl>
                                        <p:attrNameLst>
                                          <p:attrName>style.visibility</p:attrName>
                                        </p:attrNameLst>
                                      </p:cBhvr>
                                      <p:to>
                                        <p:strVal val="visible"/>
                                      </p:to>
                                    </p:set>
                                    <p:anim calcmode="lin" valueType="num">
                                      <p:cBhvr additive="base">
                                        <p:cTn id="30" dur="80"/>
                                        <p:tgtEl>
                                          <p:spTgt spid="123"/>
                                        </p:tgtEl>
                                        <p:attrNameLst>
                                          <p:attrName>ppt_x</p:attrName>
                                        </p:attrNameLst>
                                      </p:cBhvr>
                                      <p:tavLst>
                                        <p:tav tm="0">
                                          <p:val>
                                            <p:strVal val="#ppt_x-#ppt_w*1.125000"/>
                                          </p:val>
                                        </p:tav>
                                        <p:tav tm="100000">
                                          <p:val>
                                            <p:strVal val="#ppt_x"/>
                                          </p:val>
                                        </p:tav>
                                      </p:tavLst>
                                    </p:anim>
                                    <p:animEffect transition="in" filter="wipe(right)">
                                      <p:cBhvr>
                                        <p:cTn id="31" dur="80"/>
                                        <p:tgtEl>
                                          <p:spTgt spid="123"/>
                                        </p:tgtEl>
                                      </p:cBhvr>
                                    </p:animEffect>
                                  </p:childTnLst>
                                </p:cTn>
                              </p:par>
                              <p:par>
                                <p:cTn id="32" presetID="10" presetClass="exit" presetSubtype="0" fill="hold" grpId="5" nodeType="withEffect">
                                  <p:stCondLst>
                                    <p:cond delay="200"/>
                                  </p:stCondLst>
                                  <p:childTnLst>
                                    <p:animEffect transition="out" filter="fade">
                                      <p:cBhvr>
                                        <p:cTn id="33" dur="150"/>
                                        <p:tgtEl>
                                          <p:spTgt spid="147"/>
                                        </p:tgtEl>
                                      </p:cBhvr>
                                    </p:animEffect>
                                    <p:set>
                                      <p:cBhvr>
                                        <p:cTn id="34" dur="1" fill="hold">
                                          <p:stCondLst>
                                            <p:cond delay="149"/>
                                          </p:stCondLst>
                                        </p:cTn>
                                        <p:tgtEl>
                                          <p:spTgt spid="147"/>
                                        </p:tgtEl>
                                        <p:attrNameLst>
                                          <p:attrName>style.visibility</p:attrName>
                                        </p:attrNameLst>
                                      </p:cBhvr>
                                      <p:to>
                                        <p:strVal val="hidden"/>
                                      </p:to>
                                    </p:set>
                                  </p:childTnLst>
                                </p:cTn>
                              </p:par>
                              <p:par>
                                <p:cTn id="35" presetID="10" presetClass="entr" presetSubtype="0" fill="hold" grpId="0" nodeType="withEffect">
                                  <p:stCondLst>
                                    <p:cond delay="200"/>
                                  </p:stCondLst>
                                  <p:childTnLst>
                                    <p:set>
                                      <p:cBhvr>
                                        <p:cTn id="36" dur="1" fill="hold">
                                          <p:stCondLst>
                                            <p:cond delay="0"/>
                                          </p:stCondLst>
                                        </p:cTn>
                                        <p:tgtEl>
                                          <p:spTgt spid="150"/>
                                        </p:tgtEl>
                                        <p:attrNameLst>
                                          <p:attrName>style.visibility</p:attrName>
                                        </p:attrNameLst>
                                      </p:cBhvr>
                                      <p:to>
                                        <p:strVal val="visible"/>
                                      </p:to>
                                    </p:set>
                                    <p:animEffect transition="in" filter="fade">
                                      <p:cBhvr>
                                        <p:cTn id="37" dur="150"/>
                                        <p:tgtEl>
                                          <p:spTgt spid="150"/>
                                        </p:tgtEl>
                                      </p:cBhvr>
                                    </p:animEffect>
                                  </p:childTnLst>
                                </p:cTn>
                              </p:par>
                              <p:par>
                                <p:cTn id="38" presetID="42" presetClass="path" presetSubtype="0" accel="50000" decel="50000" fill="hold" grpId="0" nodeType="withEffect">
                                  <p:stCondLst>
                                    <p:cond delay="200"/>
                                  </p:stCondLst>
                                  <p:childTnLst>
                                    <p:animMotion origin="layout" path="M 1.04167E-6 -2.59259E-6 L 0.1431 0.10139 " pathEditMode="relative" rAng="0" ptsTypes="AA">
                                      <p:cBhvr>
                                        <p:cTn id="39" dur="150" fill="hold"/>
                                        <p:tgtEl>
                                          <p:spTgt spid="123"/>
                                        </p:tgtEl>
                                        <p:attrNameLst>
                                          <p:attrName>ppt_x</p:attrName>
                                          <p:attrName>ppt_y</p:attrName>
                                        </p:attrNameLst>
                                      </p:cBhvr>
                                      <p:rCtr x="7148" y="5069"/>
                                    </p:animMotion>
                                  </p:childTnLst>
                                </p:cTn>
                              </p:par>
                              <p:par>
                                <p:cTn id="40" presetID="22" presetClass="exit" presetSubtype="4" fill="hold" grpId="1" nodeType="withEffect">
                                  <p:stCondLst>
                                    <p:cond delay="200"/>
                                  </p:stCondLst>
                                  <p:childTnLst>
                                    <p:animEffect transition="out" filter="wipe(down)">
                                      <p:cBhvr>
                                        <p:cTn id="41" dur="150"/>
                                        <p:tgtEl>
                                          <p:spTgt spid="164"/>
                                        </p:tgtEl>
                                      </p:cBhvr>
                                    </p:animEffect>
                                    <p:set>
                                      <p:cBhvr>
                                        <p:cTn id="42" dur="1" fill="hold">
                                          <p:stCondLst>
                                            <p:cond delay="149"/>
                                          </p:stCondLst>
                                        </p:cTn>
                                        <p:tgtEl>
                                          <p:spTgt spid="164"/>
                                        </p:tgtEl>
                                        <p:attrNameLst>
                                          <p:attrName>style.visibility</p:attrName>
                                        </p:attrNameLst>
                                      </p:cBhvr>
                                      <p:to>
                                        <p:strVal val="hidden"/>
                                      </p:to>
                                    </p:set>
                                  </p:childTnLst>
                                </p:cTn>
                              </p:par>
                              <p:par>
                                <p:cTn id="43" presetID="12" presetClass="entr" presetSubtype="8" fill="hold" grpId="1" nodeType="withEffect">
                                  <p:stCondLst>
                                    <p:cond delay="300"/>
                                  </p:stCondLst>
                                  <p:childTnLst>
                                    <p:set>
                                      <p:cBhvr>
                                        <p:cTn id="44" dur="1" fill="hold">
                                          <p:stCondLst>
                                            <p:cond delay="0"/>
                                          </p:stCondLst>
                                        </p:cTn>
                                        <p:tgtEl>
                                          <p:spTgt spid="91"/>
                                        </p:tgtEl>
                                        <p:attrNameLst>
                                          <p:attrName>style.visibility</p:attrName>
                                        </p:attrNameLst>
                                      </p:cBhvr>
                                      <p:to>
                                        <p:strVal val="visible"/>
                                      </p:to>
                                    </p:set>
                                    <p:anim calcmode="lin" valueType="num">
                                      <p:cBhvr additive="base">
                                        <p:cTn id="45" dur="80"/>
                                        <p:tgtEl>
                                          <p:spTgt spid="91"/>
                                        </p:tgtEl>
                                        <p:attrNameLst>
                                          <p:attrName>ppt_x</p:attrName>
                                        </p:attrNameLst>
                                      </p:cBhvr>
                                      <p:tavLst>
                                        <p:tav tm="0">
                                          <p:val>
                                            <p:strVal val="#ppt_x-#ppt_w*1.125000"/>
                                          </p:val>
                                        </p:tav>
                                        <p:tav tm="100000">
                                          <p:val>
                                            <p:strVal val="#ppt_x"/>
                                          </p:val>
                                        </p:tav>
                                      </p:tavLst>
                                    </p:anim>
                                    <p:animEffect transition="in" filter="wipe(right)">
                                      <p:cBhvr>
                                        <p:cTn id="46" dur="80"/>
                                        <p:tgtEl>
                                          <p:spTgt spid="91"/>
                                        </p:tgtEl>
                                      </p:cBhvr>
                                    </p:animEffect>
                                  </p:childTnLst>
                                </p:cTn>
                              </p:par>
                              <p:par>
                                <p:cTn id="47" presetID="10" presetClass="exit" presetSubtype="0" fill="hold" grpId="5" nodeType="withEffect">
                                  <p:stCondLst>
                                    <p:cond delay="300"/>
                                  </p:stCondLst>
                                  <p:childTnLst>
                                    <p:animEffect transition="out" filter="fade">
                                      <p:cBhvr>
                                        <p:cTn id="48" dur="150"/>
                                        <p:tgtEl>
                                          <p:spTgt spid="150"/>
                                        </p:tgtEl>
                                      </p:cBhvr>
                                    </p:animEffect>
                                    <p:set>
                                      <p:cBhvr>
                                        <p:cTn id="49" dur="1" fill="hold">
                                          <p:stCondLst>
                                            <p:cond delay="149"/>
                                          </p:stCondLst>
                                        </p:cTn>
                                        <p:tgtEl>
                                          <p:spTgt spid="150"/>
                                        </p:tgtEl>
                                        <p:attrNameLst>
                                          <p:attrName>style.visibility</p:attrName>
                                        </p:attrNameLst>
                                      </p:cBhvr>
                                      <p:to>
                                        <p:strVal val="hidden"/>
                                      </p:to>
                                    </p:set>
                                  </p:childTnLst>
                                </p:cTn>
                              </p:par>
                              <p:par>
                                <p:cTn id="50" presetID="10" presetClass="entr" presetSubtype="0" fill="hold" grpId="0" nodeType="withEffect">
                                  <p:stCondLst>
                                    <p:cond delay="300"/>
                                  </p:stCondLst>
                                  <p:childTnLst>
                                    <p:set>
                                      <p:cBhvr>
                                        <p:cTn id="51" dur="1" fill="hold">
                                          <p:stCondLst>
                                            <p:cond delay="0"/>
                                          </p:stCondLst>
                                        </p:cTn>
                                        <p:tgtEl>
                                          <p:spTgt spid="148"/>
                                        </p:tgtEl>
                                        <p:attrNameLst>
                                          <p:attrName>style.visibility</p:attrName>
                                        </p:attrNameLst>
                                      </p:cBhvr>
                                      <p:to>
                                        <p:strVal val="visible"/>
                                      </p:to>
                                    </p:set>
                                    <p:animEffect transition="in" filter="fade">
                                      <p:cBhvr>
                                        <p:cTn id="52" dur="150"/>
                                        <p:tgtEl>
                                          <p:spTgt spid="148"/>
                                        </p:tgtEl>
                                      </p:cBhvr>
                                    </p:animEffect>
                                  </p:childTnLst>
                                </p:cTn>
                              </p:par>
                              <p:par>
                                <p:cTn id="53" presetID="42" presetClass="path" presetSubtype="0" accel="50000" decel="50000" fill="hold" grpId="0" nodeType="withEffect">
                                  <p:stCondLst>
                                    <p:cond delay="300"/>
                                  </p:stCondLst>
                                  <p:childTnLst>
                                    <p:animMotion origin="layout" path="M 1.04167E-6 -2.59259E-6 L 0.14219 0.20301 " pathEditMode="relative" rAng="0" ptsTypes="AA">
                                      <p:cBhvr>
                                        <p:cTn id="54" dur="150" fill="hold"/>
                                        <p:tgtEl>
                                          <p:spTgt spid="91"/>
                                        </p:tgtEl>
                                        <p:attrNameLst>
                                          <p:attrName>ppt_x</p:attrName>
                                          <p:attrName>ppt_y</p:attrName>
                                        </p:attrNameLst>
                                      </p:cBhvr>
                                      <p:rCtr x="7109" y="10139"/>
                                    </p:animMotion>
                                  </p:childTnLst>
                                </p:cTn>
                              </p:par>
                              <p:par>
                                <p:cTn id="55" presetID="22" presetClass="entr" presetSubtype="4" fill="hold" grpId="1" nodeType="withEffect">
                                  <p:stCondLst>
                                    <p:cond delay="300"/>
                                  </p:stCondLst>
                                  <p:childTnLst>
                                    <p:set>
                                      <p:cBhvr>
                                        <p:cTn id="56" dur="1" fill="hold">
                                          <p:stCondLst>
                                            <p:cond delay="0"/>
                                          </p:stCondLst>
                                        </p:cTn>
                                        <p:tgtEl>
                                          <p:spTgt spid="173"/>
                                        </p:tgtEl>
                                        <p:attrNameLst>
                                          <p:attrName>style.visibility</p:attrName>
                                        </p:attrNameLst>
                                      </p:cBhvr>
                                      <p:to>
                                        <p:strVal val="visible"/>
                                      </p:to>
                                    </p:set>
                                    <p:animEffect transition="in" filter="wipe(down)">
                                      <p:cBhvr>
                                        <p:cTn id="57" dur="150"/>
                                        <p:tgtEl>
                                          <p:spTgt spid="173"/>
                                        </p:tgtEl>
                                      </p:cBhvr>
                                    </p:animEffect>
                                  </p:childTnLst>
                                </p:cTn>
                              </p:par>
                              <p:par>
                                <p:cTn id="58" presetID="12" presetClass="entr" presetSubtype="8" fill="hold" grpId="1" nodeType="withEffect">
                                  <p:stCondLst>
                                    <p:cond delay="400"/>
                                  </p:stCondLst>
                                  <p:childTnLst>
                                    <p:set>
                                      <p:cBhvr>
                                        <p:cTn id="59" dur="1" fill="hold">
                                          <p:stCondLst>
                                            <p:cond delay="0"/>
                                          </p:stCondLst>
                                        </p:cTn>
                                        <p:tgtEl>
                                          <p:spTgt spid="137"/>
                                        </p:tgtEl>
                                        <p:attrNameLst>
                                          <p:attrName>style.visibility</p:attrName>
                                        </p:attrNameLst>
                                      </p:cBhvr>
                                      <p:to>
                                        <p:strVal val="visible"/>
                                      </p:to>
                                    </p:set>
                                    <p:anim calcmode="lin" valueType="num">
                                      <p:cBhvr additive="base">
                                        <p:cTn id="60" dur="80"/>
                                        <p:tgtEl>
                                          <p:spTgt spid="137"/>
                                        </p:tgtEl>
                                        <p:attrNameLst>
                                          <p:attrName>ppt_x</p:attrName>
                                        </p:attrNameLst>
                                      </p:cBhvr>
                                      <p:tavLst>
                                        <p:tav tm="0">
                                          <p:val>
                                            <p:strVal val="#ppt_x-#ppt_w*1.125000"/>
                                          </p:val>
                                        </p:tav>
                                        <p:tav tm="100000">
                                          <p:val>
                                            <p:strVal val="#ppt_x"/>
                                          </p:val>
                                        </p:tav>
                                      </p:tavLst>
                                    </p:anim>
                                    <p:animEffect transition="in" filter="wipe(right)">
                                      <p:cBhvr>
                                        <p:cTn id="61" dur="80"/>
                                        <p:tgtEl>
                                          <p:spTgt spid="137"/>
                                        </p:tgtEl>
                                      </p:cBhvr>
                                    </p:animEffect>
                                  </p:childTnLst>
                                </p:cTn>
                              </p:par>
                              <p:par>
                                <p:cTn id="62" presetID="10" presetClass="exit" presetSubtype="0" fill="hold" grpId="3" nodeType="withEffect">
                                  <p:stCondLst>
                                    <p:cond delay="400"/>
                                  </p:stCondLst>
                                  <p:childTnLst>
                                    <p:animEffect transition="out" filter="fade">
                                      <p:cBhvr>
                                        <p:cTn id="63" dur="150"/>
                                        <p:tgtEl>
                                          <p:spTgt spid="148"/>
                                        </p:tgtEl>
                                      </p:cBhvr>
                                    </p:animEffect>
                                    <p:set>
                                      <p:cBhvr>
                                        <p:cTn id="64" dur="1" fill="hold">
                                          <p:stCondLst>
                                            <p:cond delay="149"/>
                                          </p:stCondLst>
                                        </p:cTn>
                                        <p:tgtEl>
                                          <p:spTgt spid="148"/>
                                        </p:tgtEl>
                                        <p:attrNameLst>
                                          <p:attrName>style.visibility</p:attrName>
                                        </p:attrNameLst>
                                      </p:cBhvr>
                                      <p:to>
                                        <p:strVal val="hidden"/>
                                      </p:to>
                                    </p:set>
                                  </p:childTnLst>
                                </p:cTn>
                              </p:par>
                              <p:par>
                                <p:cTn id="65" presetID="10" presetClass="entr" presetSubtype="0" fill="hold" grpId="1" nodeType="withEffect">
                                  <p:stCondLst>
                                    <p:cond delay="400"/>
                                  </p:stCondLst>
                                  <p:childTnLst>
                                    <p:set>
                                      <p:cBhvr>
                                        <p:cTn id="66" dur="1" fill="hold">
                                          <p:stCondLst>
                                            <p:cond delay="0"/>
                                          </p:stCondLst>
                                        </p:cTn>
                                        <p:tgtEl>
                                          <p:spTgt spid="147"/>
                                        </p:tgtEl>
                                        <p:attrNameLst>
                                          <p:attrName>style.visibility</p:attrName>
                                        </p:attrNameLst>
                                      </p:cBhvr>
                                      <p:to>
                                        <p:strVal val="visible"/>
                                      </p:to>
                                    </p:set>
                                    <p:animEffect transition="in" filter="fade">
                                      <p:cBhvr>
                                        <p:cTn id="67" dur="150"/>
                                        <p:tgtEl>
                                          <p:spTgt spid="147"/>
                                        </p:tgtEl>
                                      </p:cBhvr>
                                    </p:animEffect>
                                  </p:childTnLst>
                                </p:cTn>
                              </p:par>
                              <p:par>
                                <p:cTn id="68" presetID="42" presetClass="path" presetSubtype="0" accel="50000" decel="50000" fill="hold" grpId="0" nodeType="withEffect">
                                  <p:stCondLst>
                                    <p:cond delay="400"/>
                                  </p:stCondLst>
                                  <p:childTnLst>
                                    <p:animMotion origin="layout" path="M 1.04167E-6 -2.59259E-6 L 0.07161 -0.2037 " pathEditMode="relative" rAng="0" ptsTypes="AA">
                                      <p:cBhvr>
                                        <p:cTn id="69" dur="150" fill="hold"/>
                                        <p:tgtEl>
                                          <p:spTgt spid="137"/>
                                        </p:tgtEl>
                                        <p:attrNameLst>
                                          <p:attrName>ppt_x</p:attrName>
                                          <p:attrName>ppt_y</p:attrName>
                                        </p:attrNameLst>
                                      </p:cBhvr>
                                      <p:rCtr x="3581" y="-10185"/>
                                    </p:animMotion>
                                  </p:childTnLst>
                                </p:cTn>
                              </p:par>
                              <p:par>
                                <p:cTn id="70" presetID="22" presetClass="exit" presetSubtype="1" fill="hold" grpId="0" nodeType="withEffect">
                                  <p:stCondLst>
                                    <p:cond delay="400"/>
                                  </p:stCondLst>
                                  <p:childTnLst>
                                    <p:animEffect transition="out" filter="wipe(up)">
                                      <p:cBhvr>
                                        <p:cTn id="71" dur="150"/>
                                        <p:tgtEl>
                                          <p:spTgt spid="171"/>
                                        </p:tgtEl>
                                      </p:cBhvr>
                                    </p:animEffect>
                                    <p:set>
                                      <p:cBhvr>
                                        <p:cTn id="72" dur="1" fill="hold">
                                          <p:stCondLst>
                                            <p:cond delay="149"/>
                                          </p:stCondLst>
                                        </p:cTn>
                                        <p:tgtEl>
                                          <p:spTgt spid="171"/>
                                        </p:tgtEl>
                                        <p:attrNameLst>
                                          <p:attrName>style.visibility</p:attrName>
                                        </p:attrNameLst>
                                      </p:cBhvr>
                                      <p:to>
                                        <p:strVal val="hidden"/>
                                      </p:to>
                                    </p:set>
                                  </p:childTnLst>
                                </p:cTn>
                              </p:par>
                              <p:par>
                                <p:cTn id="73" presetID="12" presetClass="entr" presetSubtype="8" fill="hold" grpId="1" nodeType="withEffect">
                                  <p:stCondLst>
                                    <p:cond delay="500"/>
                                  </p:stCondLst>
                                  <p:childTnLst>
                                    <p:set>
                                      <p:cBhvr>
                                        <p:cTn id="74" dur="1" fill="hold">
                                          <p:stCondLst>
                                            <p:cond delay="0"/>
                                          </p:stCondLst>
                                        </p:cTn>
                                        <p:tgtEl>
                                          <p:spTgt spid="138"/>
                                        </p:tgtEl>
                                        <p:attrNameLst>
                                          <p:attrName>style.visibility</p:attrName>
                                        </p:attrNameLst>
                                      </p:cBhvr>
                                      <p:to>
                                        <p:strVal val="visible"/>
                                      </p:to>
                                    </p:set>
                                    <p:anim calcmode="lin" valueType="num">
                                      <p:cBhvr additive="base">
                                        <p:cTn id="75" dur="80"/>
                                        <p:tgtEl>
                                          <p:spTgt spid="138"/>
                                        </p:tgtEl>
                                        <p:attrNameLst>
                                          <p:attrName>ppt_x</p:attrName>
                                        </p:attrNameLst>
                                      </p:cBhvr>
                                      <p:tavLst>
                                        <p:tav tm="0">
                                          <p:val>
                                            <p:strVal val="#ppt_x-#ppt_w*1.125000"/>
                                          </p:val>
                                        </p:tav>
                                        <p:tav tm="100000">
                                          <p:val>
                                            <p:strVal val="#ppt_x"/>
                                          </p:val>
                                        </p:tav>
                                      </p:tavLst>
                                    </p:anim>
                                    <p:animEffect transition="in" filter="wipe(right)">
                                      <p:cBhvr>
                                        <p:cTn id="76" dur="80"/>
                                        <p:tgtEl>
                                          <p:spTgt spid="138"/>
                                        </p:tgtEl>
                                      </p:cBhvr>
                                    </p:animEffect>
                                  </p:childTnLst>
                                </p:cTn>
                              </p:par>
                              <p:par>
                                <p:cTn id="77" presetID="10" presetClass="exit" presetSubtype="0" fill="hold" grpId="3" nodeType="withEffect">
                                  <p:stCondLst>
                                    <p:cond delay="500"/>
                                  </p:stCondLst>
                                  <p:childTnLst>
                                    <p:animEffect transition="out" filter="fade">
                                      <p:cBhvr>
                                        <p:cTn id="78" dur="150"/>
                                        <p:tgtEl>
                                          <p:spTgt spid="147"/>
                                        </p:tgtEl>
                                      </p:cBhvr>
                                    </p:animEffect>
                                    <p:set>
                                      <p:cBhvr>
                                        <p:cTn id="79" dur="1" fill="hold">
                                          <p:stCondLst>
                                            <p:cond delay="149"/>
                                          </p:stCondLst>
                                        </p:cTn>
                                        <p:tgtEl>
                                          <p:spTgt spid="147"/>
                                        </p:tgtEl>
                                        <p:attrNameLst>
                                          <p:attrName>style.visibility</p:attrName>
                                        </p:attrNameLst>
                                      </p:cBhvr>
                                      <p:to>
                                        <p:strVal val="hidden"/>
                                      </p:to>
                                    </p:set>
                                  </p:childTnLst>
                                </p:cTn>
                              </p:par>
                              <p:par>
                                <p:cTn id="80" presetID="10" presetClass="entr" presetSubtype="0" fill="hold" grpId="0" nodeType="withEffect">
                                  <p:stCondLst>
                                    <p:cond delay="500"/>
                                  </p:stCondLst>
                                  <p:childTnLst>
                                    <p:set>
                                      <p:cBhvr>
                                        <p:cTn id="81" dur="1" fill="hold">
                                          <p:stCondLst>
                                            <p:cond delay="0"/>
                                          </p:stCondLst>
                                        </p:cTn>
                                        <p:tgtEl>
                                          <p:spTgt spid="149"/>
                                        </p:tgtEl>
                                        <p:attrNameLst>
                                          <p:attrName>style.visibility</p:attrName>
                                        </p:attrNameLst>
                                      </p:cBhvr>
                                      <p:to>
                                        <p:strVal val="visible"/>
                                      </p:to>
                                    </p:set>
                                    <p:animEffect transition="in" filter="fade">
                                      <p:cBhvr>
                                        <p:cTn id="82" dur="150"/>
                                        <p:tgtEl>
                                          <p:spTgt spid="149"/>
                                        </p:tgtEl>
                                      </p:cBhvr>
                                    </p:animEffect>
                                  </p:childTnLst>
                                </p:cTn>
                              </p:par>
                              <p:par>
                                <p:cTn id="83" presetID="42" presetClass="path" presetSubtype="0" accel="50000" decel="50000" fill="hold" grpId="0" nodeType="withEffect">
                                  <p:stCondLst>
                                    <p:cond delay="500"/>
                                  </p:stCondLst>
                                  <p:childTnLst>
                                    <p:animMotion origin="layout" path="M 1.04167E-6 -2.59259E-6 L 0.07161 -0.10185 " pathEditMode="relative" rAng="0" ptsTypes="AA">
                                      <p:cBhvr>
                                        <p:cTn id="84" dur="150" fill="hold"/>
                                        <p:tgtEl>
                                          <p:spTgt spid="138"/>
                                        </p:tgtEl>
                                        <p:attrNameLst>
                                          <p:attrName>ppt_x</p:attrName>
                                          <p:attrName>ppt_y</p:attrName>
                                        </p:attrNameLst>
                                      </p:cBhvr>
                                      <p:rCtr x="3581" y="-5093"/>
                                    </p:animMotion>
                                  </p:childTnLst>
                                </p:cTn>
                              </p:par>
                              <p:par>
                                <p:cTn id="85" presetID="22" presetClass="entr" presetSubtype="1" fill="hold" grpId="2" nodeType="withEffect">
                                  <p:stCondLst>
                                    <p:cond delay="500"/>
                                  </p:stCondLst>
                                  <p:childTnLst>
                                    <p:set>
                                      <p:cBhvr>
                                        <p:cTn id="86" dur="1" fill="hold">
                                          <p:stCondLst>
                                            <p:cond delay="0"/>
                                          </p:stCondLst>
                                        </p:cTn>
                                        <p:tgtEl>
                                          <p:spTgt spid="164"/>
                                        </p:tgtEl>
                                        <p:attrNameLst>
                                          <p:attrName>style.visibility</p:attrName>
                                        </p:attrNameLst>
                                      </p:cBhvr>
                                      <p:to>
                                        <p:strVal val="visible"/>
                                      </p:to>
                                    </p:set>
                                    <p:animEffect transition="in" filter="wipe(up)">
                                      <p:cBhvr>
                                        <p:cTn id="87" dur="150"/>
                                        <p:tgtEl>
                                          <p:spTgt spid="164"/>
                                        </p:tgtEl>
                                      </p:cBhvr>
                                    </p:animEffect>
                                  </p:childTnLst>
                                </p:cTn>
                              </p:par>
                              <p:par>
                                <p:cTn id="88" presetID="12" presetClass="entr" presetSubtype="8" fill="hold" grpId="1" nodeType="withEffect">
                                  <p:stCondLst>
                                    <p:cond delay="600"/>
                                  </p:stCondLst>
                                  <p:childTnLst>
                                    <p:set>
                                      <p:cBhvr>
                                        <p:cTn id="89" dur="1" fill="hold">
                                          <p:stCondLst>
                                            <p:cond delay="0"/>
                                          </p:stCondLst>
                                        </p:cTn>
                                        <p:tgtEl>
                                          <p:spTgt spid="139"/>
                                        </p:tgtEl>
                                        <p:attrNameLst>
                                          <p:attrName>style.visibility</p:attrName>
                                        </p:attrNameLst>
                                      </p:cBhvr>
                                      <p:to>
                                        <p:strVal val="visible"/>
                                      </p:to>
                                    </p:set>
                                    <p:anim calcmode="lin" valueType="num">
                                      <p:cBhvr additive="base">
                                        <p:cTn id="90" dur="80"/>
                                        <p:tgtEl>
                                          <p:spTgt spid="139"/>
                                        </p:tgtEl>
                                        <p:attrNameLst>
                                          <p:attrName>ppt_x</p:attrName>
                                        </p:attrNameLst>
                                      </p:cBhvr>
                                      <p:tavLst>
                                        <p:tav tm="0">
                                          <p:val>
                                            <p:strVal val="#ppt_x-#ppt_w*1.125000"/>
                                          </p:val>
                                        </p:tav>
                                        <p:tav tm="100000">
                                          <p:val>
                                            <p:strVal val="#ppt_x"/>
                                          </p:val>
                                        </p:tav>
                                      </p:tavLst>
                                    </p:anim>
                                    <p:animEffect transition="in" filter="wipe(right)">
                                      <p:cBhvr>
                                        <p:cTn id="91" dur="80"/>
                                        <p:tgtEl>
                                          <p:spTgt spid="139"/>
                                        </p:tgtEl>
                                      </p:cBhvr>
                                    </p:animEffect>
                                  </p:childTnLst>
                                </p:cTn>
                              </p:par>
                              <p:par>
                                <p:cTn id="92" presetID="10" presetClass="exit" presetSubtype="0" fill="hold" grpId="3" nodeType="withEffect">
                                  <p:stCondLst>
                                    <p:cond delay="600"/>
                                  </p:stCondLst>
                                  <p:childTnLst>
                                    <p:animEffect transition="out" filter="fade">
                                      <p:cBhvr>
                                        <p:cTn id="93" dur="150"/>
                                        <p:tgtEl>
                                          <p:spTgt spid="149"/>
                                        </p:tgtEl>
                                      </p:cBhvr>
                                    </p:animEffect>
                                    <p:set>
                                      <p:cBhvr>
                                        <p:cTn id="94" dur="1" fill="hold">
                                          <p:stCondLst>
                                            <p:cond delay="149"/>
                                          </p:stCondLst>
                                        </p:cTn>
                                        <p:tgtEl>
                                          <p:spTgt spid="149"/>
                                        </p:tgtEl>
                                        <p:attrNameLst>
                                          <p:attrName>style.visibility</p:attrName>
                                        </p:attrNameLst>
                                      </p:cBhvr>
                                      <p:to>
                                        <p:strVal val="hidden"/>
                                      </p:to>
                                    </p:set>
                                  </p:childTnLst>
                                </p:cTn>
                              </p:par>
                              <p:par>
                                <p:cTn id="95" presetID="10" presetClass="entr" presetSubtype="0" fill="hold" grpId="0" nodeType="withEffect">
                                  <p:stCondLst>
                                    <p:cond delay="600"/>
                                  </p:stCondLst>
                                  <p:childTnLst>
                                    <p:set>
                                      <p:cBhvr>
                                        <p:cTn id="96" dur="1" fill="hold">
                                          <p:stCondLst>
                                            <p:cond delay="0"/>
                                          </p:stCondLst>
                                        </p:cTn>
                                        <p:tgtEl>
                                          <p:spTgt spid="136"/>
                                        </p:tgtEl>
                                        <p:attrNameLst>
                                          <p:attrName>style.visibility</p:attrName>
                                        </p:attrNameLst>
                                      </p:cBhvr>
                                      <p:to>
                                        <p:strVal val="visible"/>
                                      </p:to>
                                    </p:set>
                                    <p:animEffect transition="in" filter="fade">
                                      <p:cBhvr>
                                        <p:cTn id="97" dur="150"/>
                                        <p:tgtEl>
                                          <p:spTgt spid="136"/>
                                        </p:tgtEl>
                                      </p:cBhvr>
                                    </p:animEffect>
                                  </p:childTnLst>
                                </p:cTn>
                              </p:par>
                              <p:par>
                                <p:cTn id="98" presetID="42" presetClass="path" presetSubtype="0" accel="50000" decel="50000" fill="hold" grpId="0" nodeType="withEffect">
                                  <p:stCondLst>
                                    <p:cond delay="600"/>
                                  </p:stCondLst>
                                  <p:childTnLst>
                                    <p:animMotion origin="layout" path="M 1.04167E-6 -2.59259E-6 L 0.07135 -0.00023 " pathEditMode="relative" rAng="0" ptsTypes="AA">
                                      <p:cBhvr>
                                        <p:cTn id="99" dur="150" fill="hold"/>
                                        <p:tgtEl>
                                          <p:spTgt spid="139"/>
                                        </p:tgtEl>
                                        <p:attrNameLst>
                                          <p:attrName>ppt_x</p:attrName>
                                          <p:attrName>ppt_y</p:attrName>
                                        </p:attrNameLst>
                                      </p:cBhvr>
                                      <p:rCtr x="3568" y="-23"/>
                                    </p:animMotion>
                                  </p:childTnLst>
                                </p:cTn>
                              </p:par>
                              <p:par>
                                <p:cTn id="100" presetID="22" presetClass="entr" presetSubtype="4" fill="hold" grpId="1" nodeType="withEffect">
                                  <p:stCondLst>
                                    <p:cond delay="600"/>
                                  </p:stCondLst>
                                  <p:childTnLst>
                                    <p:set>
                                      <p:cBhvr>
                                        <p:cTn id="101" dur="1" fill="hold">
                                          <p:stCondLst>
                                            <p:cond delay="0"/>
                                          </p:stCondLst>
                                        </p:cTn>
                                        <p:tgtEl>
                                          <p:spTgt spid="171"/>
                                        </p:tgtEl>
                                        <p:attrNameLst>
                                          <p:attrName>style.visibility</p:attrName>
                                        </p:attrNameLst>
                                      </p:cBhvr>
                                      <p:to>
                                        <p:strVal val="visible"/>
                                      </p:to>
                                    </p:set>
                                    <p:animEffect transition="in" filter="wipe(down)">
                                      <p:cBhvr>
                                        <p:cTn id="102" dur="150"/>
                                        <p:tgtEl>
                                          <p:spTgt spid="171"/>
                                        </p:tgtEl>
                                      </p:cBhvr>
                                    </p:animEffect>
                                  </p:childTnLst>
                                </p:cTn>
                              </p:par>
                              <p:par>
                                <p:cTn id="103" presetID="22" presetClass="exit" presetSubtype="1" fill="hold" grpId="2" nodeType="withEffect">
                                  <p:stCondLst>
                                    <p:cond delay="600"/>
                                  </p:stCondLst>
                                  <p:childTnLst>
                                    <p:animEffect transition="out" filter="wipe(up)">
                                      <p:cBhvr>
                                        <p:cTn id="104" dur="150"/>
                                        <p:tgtEl>
                                          <p:spTgt spid="173"/>
                                        </p:tgtEl>
                                      </p:cBhvr>
                                    </p:animEffect>
                                    <p:set>
                                      <p:cBhvr>
                                        <p:cTn id="105" dur="1" fill="hold">
                                          <p:stCondLst>
                                            <p:cond delay="149"/>
                                          </p:stCondLst>
                                        </p:cTn>
                                        <p:tgtEl>
                                          <p:spTgt spid="173"/>
                                        </p:tgtEl>
                                        <p:attrNameLst>
                                          <p:attrName>style.visibility</p:attrName>
                                        </p:attrNameLst>
                                      </p:cBhvr>
                                      <p:to>
                                        <p:strVal val="hidden"/>
                                      </p:to>
                                    </p:set>
                                  </p:childTnLst>
                                </p:cTn>
                              </p:par>
                              <p:par>
                                <p:cTn id="106" presetID="12" presetClass="entr" presetSubtype="8" fill="hold" grpId="1" nodeType="withEffect">
                                  <p:stCondLst>
                                    <p:cond delay="700"/>
                                  </p:stCondLst>
                                  <p:childTnLst>
                                    <p:set>
                                      <p:cBhvr>
                                        <p:cTn id="107" dur="1" fill="hold">
                                          <p:stCondLst>
                                            <p:cond delay="0"/>
                                          </p:stCondLst>
                                        </p:cTn>
                                        <p:tgtEl>
                                          <p:spTgt spid="140"/>
                                        </p:tgtEl>
                                        <p:attrNameLst>
                                          <p:attrName>style.visibility</p:attrName>
                                        </p:attrNameLst>
                                      </p:cBhvr>
                                      <p:to>
                                        <p:strVal val="visible"/>
                                      </p:to>
                                    </p:set>
                                    <p:anim calcmode="lin" valueType="num">
                                      <p:cBhvr additive="base">
                                        <p:cTn id="108" dur="80"/>
                                        <p:tgtEl>
                                          <p:spTgt spid="140"/>
                                        </p:tgtEl>
                                        <p:attrNameLst>
                                          <p:attrName>ppt_x</p:attrName>
                                        </p:attrNameLst>
                                      </p:cBhvr>
                                      <p:tavLst>
                                        <p:tav tm="0">
                                          <p:val>
                                            <p:strVal val="#ppt_x-#ppt_w*1.125000"/>
                                          </p:val>
                                        </p:tav>
                                        <p:tav tm="100000">
                                          <p:val>
                                            <p:strVal val="#ppt_x"/>
                                          </p:val>
                                        </p:tav>
                                      </p:tavLst>
                                    </p:anim>
                                    <p:animEffect transition="in" filter="wipe(right)">
                                      <p:cBhvr>
                                        <p:cTn id="109" dur="80"/>
                                        <p:tgtEl>
                                          <p:spTgt spid="140"/>
                                        </p:tgtEl>
                                      </p:cBhvr>
                                    </p:animEffect>
                                  </p:childTnLst>
                                </p:cTn>
                              </p:par>
                              <p:par>
                                <p:cTn id="110" presetID="10" presetClass="exit" presetSubtype="0" fill="hold" grpId="2" nodeType="withEffect">
                                  <p:stCondLst>
                                    <p:cond delay="700"/>
                                  </p:stCondLst>
                                  <p:childTnLst>
                                    <p:animEffect transition="out" filter="fade">
                                      <p:cBhvr>
                                        <p:cTn id="111" dur="150"/>
                                        <p:tgtEl>
                                          <p:spTgt spid="136"/>
                                        </p:tgtEl>
                                      </p:cBhvr>
                                    </p:animEffect>
                                    <p:set>
                                      <p:cBhvr>
                                        <p:cTn id="112" dur="1" fill="hold">
                                          <p:stCondLst>
                                            <p:cond delay="149"/>
                                          </p:stCondLst>
                                        </p:cTn>
                                        <p:tgtEl>
                                          <p:spTgt spid="136"/>
                                        </p:tgtEl>
                                        <p:attrNameLst>
                                          <p:attrName>style.visibility</p:attrName>
                                        </p:attrNameLst>
                                      </p:cBhvr>
                                      <p:to>
                                        <p:strVal val="hidden"/>
                                      </p:to>
                                    </p:set>
                                  </p:childTnLst>
                                </p:cTn>
                              </p:par>
                              <p:par>
                                <p:cTn id="113" presetID="10" presetClass="entr" presetSubtype="0" fill="hold" grpId="1" nodeType="withEffect">
                                  <p:stCondLst>
                                    <p:cond delay="700"/>
                                  </p:stCondLst>
                                  <p:childTnLst>
                                    <p:set>
                                      <p:cBhvr>
                                        <p:cTn id="114" dur="1" fill="hold">
                                          <p:stCondLst>
                                            <p:cond delay="0"/>
                                          </p:stCondLst>
                                        </p:cTn>
                                        <p:tgtEl>
                                          <p:spTgt spid="150"/>
                                        </p:tgtEl>
                                        <p:attrNameLst>
                                          <p:attrName>style.visibility</p:attrName>
                                        </p:attrNameLst>
                                      </p:cBhvr>
                                      <p:to>
                                        <p:strVal val="visible"/>
                                      </p:to>
                                    </p:set>
                                    <p:animEffect transition="in" filter="fade">
                                      <p:cBhvr>
                                        <p:cTn id="115" dur="150"/>
                                        <p:tgtEl>
                                          <p:spTgt spid="150"/>
                                        </p:tgtEl>
                                      </p:cBhvr>
                                    </p:animEffect>
                                  </p:childTnLst>
                                </p:cTn>
                              </p:par>
                              <p:par>
                                <p:cTn id="116" presetID="42" presetClass="path" presetSubtype="0" accel="50000" decel="50000" fill="hold" grpId="0" nodeType="withEffect">
                                  <p:stCondLst>
                                    <p:cond delay="700"/>
                                  </p:stCondLst>
                                  <p:childTnLst>
                                    <p:animMotion origin="layout" path="M 1.04167E-6 -2.59259E-6 L 0.07174 0.10185 " pathEditMode="relative" rAng="0" ptsTypes="AA">
                                      <p:cBhvr>
                                        <p:cTn id="117" dur="150" fill="hold"/>
                                        <p:tgtEl>
                                          <p:spTgt spid="140"/>
                                        </p:tgtEl>
                                        <p:attrNameLst>
                                          <p:attrName>ppt_x</p:attrName>
                                          <p:attrName>ppt_y</p:attrName>
                                        </p:attrNameLst>
                                      </p:cBhvr>
                                      <p:rCtr x="3581" y="5093"/>
                                    </p:animMotion>
                                  </p:childTnLst>
                                </p:cTn>
                              </p:par>
                              <p:par>
                                <p:cTn id="118" presetID="22" presetClass="exit" presetSubtype="4" fill="hold" grpId="1" nodeType="withEffect">
                                  <p:stCondLst>
                                    <p:cond delay="700"/>
                                  </p:stCondLst>
                                  <p:childTnLst>
                                    <p:animEffect transition="out" filter="wipe(down)">
                                      <p:cBhvr>
                                        <p:cTn id="119" dur="150"/>
                                        <p:tgtEl>
                                          <p:spTgt spid="175"/>
                                        </p:tgtEl>
                                      </p:cBhvr>
                                    </p:animEffect>
                                    <p:set>
                                      <p:cBhvr>
                                        <p:cTn id="120" dur="1" fill="hold">
                                          <p:stCondLst>
                                            <p:cond delay="149"/>
                                          </p:stCondLst>
                                        </p:cTn>
                                        <p:tgtEl>
                                          <p:spTgt spid="175"/>
                                        </p:tgtEl>
                                        <p:attrNameLst>
                                          <p:attrName>style.visibility</p:attrName>
                                        </p:attrNameLst>
                                      </p:cBhvr>
                                      <p:to>
                                        <p:strVal val="hidden"/>
                                      </p:to>
                                    </p:set>
                                  </p:childTnLst>
                                </p:cTn>
                              </p:par>
                              <p:par>
                                <p:cTn id="121" presetID="22" presetClass="exit" presetSubtype="4" fill="hold" grpId="3" nodeType="withEffect">
                                  <p:stCondLst>
                                    <p:cond delay="700"/>
                                  </p:stCondLst>
                                  <p:childTnLst>
                                    <p:animEffect transition="out" filter="wipe(down)">
                                      <p:cBhvr>
                                        <p:cTn id="122" dur="150"/>
                                        <p:tgtEl>
                                          <p:spTgt spid="164"/>
                                        </p:tgtEl>
                                      </p:cBhvr>
                                    </p:animEffect>
                                    <p:set>
                                      <p:cBhvr>
                                        <p:cTn id="123" dur="1" fill="hold">
                                          <p:stCondLst>
                                            <p:cond delay="149"/>
                                          </p:stCondLst>
                                        </p:cTn>
                                        <p:tgtEl>
                                          <p:spTgt spid="164"/>
                                        </p:tgtEl>
                                        <p:attrNameLst>
                                          <p:attrName>style.visibility</p:attrName>
                                        </p:attrNameLst>
                                      </p:cBhvr>
                                      <p:to>
                                        <p:strVal val="hidden"/>
                                      </p:to>
                                    </p:set>
                                  </p:childTnLst>
                                </p:cTn>
                              </p:par>
                              <p:par>
                                <p:cTn id="124" presetID="22" presetClass="exit" presetSubtype="4" fill="hold" grpId="0" nodeType="withEffect">
                                  <p:stCondLst>
                                    <p:cond delay="700"/>
                                  </p:stCondLst>
                                  <p:childTnLst>
                                    <p:animEffect transition="out" filter="wipe(down)">
                                      <p:cBhvr>
                                        <p:cTn id="125" dur="150"/>
                                        <p:tgtEl>
                                          <p:spTgt spid="174"/>
                                        </p:tgtEl>
                                      </p:cBhvr>
                                    </p:animEffect>
                                    <p:set>
                                      <p:cBhvr>
                                        <p:cTn id="126" dur="1" fill="hold">
                                          <p:stCondLst>
                                            <p:cond delay="149"/>
                                          </p:stCondLst>
                                        </p:cTn>
                                        <p:tgtEl>
                                          <p:spTgt spid="174"/>
                                        </p:tgtEl>
                                        <p:attrNameLst>
                                          <p:attrName>style.visibility</p:attrName>
                                        </p:attrNameLst>
                                      </p:cBhvr>
                                      <p:to>
                                        <p:strVal val="hidden"/>
                                      </p:to>
                                    </p:set>
                                  </p:childTnLst>
                                </p:cTn>
                              </p:par>
                              <p:par>
                                <p:cTn id="127" presetID="12" presetClass="entr" presetSubtype="8" fill="hold" grpId="1" nodeType="withEffect">
                                  <p:stCondLst>
                                    <p:cond delay="800"/>
                                  </p:stCondLst>
                                  <p:childTnLst>
                                    <p:set>
                                      <p:cBhvr>
                                        <p:cTn id="128" dur="1" fill="hold">
                                          <p:stCondLst>
                                            <p:cond delay="0"/>
                                          </p:stCondLst>
                                        </p:cTn>
                                        <p:tgtEl>
                                          <p:spTgt spid="141"/>
                                        </p:tgtEl>
                                        <p:attrNameLst>
                                          <p:attrName>style.visibility</p:attrName>
                                        </p:attrNameLst>
                                      </p:cBhvr>
                                      <p:to>
                                        <p:strVal val="visible"/>
                                      </p:to>
                                    </p:set>
                                    <p:anim calcmode="lin" valueType="num">
                                      <p:cBhvr additive="base">
                                        <p:cTn id="129" dur="80"/>
                                        <p:tgtEl>
                                          <p:spTgt spid="141"/>
                                        </p:tgtEl>
                                        <p:attrNameLst>
                                          <p:attrName>ppt_x</p:attrName>
                                        </p:attrNameLst>
                                      </p:cBhvr>
                                      <p:tavLst>
                                        <p:tav tm="0">
                                          <p:val>
                                            <p:strVal val="#ppt_x-#ppt_w*1.125000"/>
                                          </p:val>
                                        </p:tav>
                                        <p:tav tm="100000">
                                          <p:val>
                                            <p:strVal val="#ppt_x"/>
                                          </p:val>
                                        </p:tav>
                                      </p:tavLst>
                                    </p:anim>
                                    <p:animEffect transition="in" filter="wipe(right)">
                                      <p:cBhvr>
                                        <p:cTn id="130" dur="80"/>
                                        <p:tgtEl>
                                          <p:spTgt spid="141"/>
                                        </p:tgtEl>
                                      </p:cBhvr>
                                    </p:animEffect>
                                  </p:childTnLst>
                                </p:cTn>
                              </p:par>
                              <p:par>
                                <p:cTn id="131" presetID="10" presetClass="exit" presetSubtype="0" fill="hold" grpId="3" nodeType="withEffect">
                                  <p:stCondLst>
                                    <p:cond delay="800"/>
                                  </p:stCondLst>
                                  <p:childTnLst>
                                    <p:animEffect transition="out" filter="fade">
                                      <p:cBhvr>
                                        <p:cTn id="132" dur="150"/>
                                        <p:tgtEl>
                                          <p:spTgt spid="150"/>
                                        </p:tgtEl>
                                      </p:cBhvr>
                                    </p:animEffect>
                                    <p:set>
                                      <p:cBhvr>
                                        <p:cTn id="133" dur="1" fill="hold">
                                          <p:stCondLst>
                                            <p:cond delay="149"/>
                                          </p:stCondLst>
                                        </p:cTn>
                                        <p:tgtEl>
                                          <p:spTgt spid="150"/>
                                        </p:tgtEl>
                                        <p:attrNameLst>
                                          <p:attrName>style.visibility</p:attrName>
                                        </p:attrNameLst>
                                      </p:cBhvr>
                                      <p:to>
                                        <p:strVal val="hidden"/>
                                      </p:to>
                                    </p:set>
                                  </p:childTnLst>
                                </p:cTn>
                              </p:par>
                              <p:par>
                                <p:cTn id="134" presetID="10" presetClass="entr" presetSubtype="0" fill="hold" grpId="1" nodeType="withEffect">
                                  <p:stCondLst>
                                    <p:cond delay="800"/>
                                  </p:stCondLst>
                                  <p:childTnLst>
                                    <p:set>
                                      <p:cBhvr>
                                        <p:cTn id="135" dur="1" fill="hold">
                                          <p:stCondLst>
                                            <p:cond delay="0"/>
                                          </p:stCondLst>
                                        </p:cTn>
                                        <p:tgtEl>
                                          <p:spTgt spid="149"/>
                                        </p:tgtEl>
                                        <p:attrNameLst>
                                          <p:attrName>style.visibility</p:attrName>
                                        </p:attrNameLst>
                                      </p:cBhvr>
                                      <p:to>
                                        <p:strVal val="visible"/>
                                      </p:to>
                                    </p:set>
                                    <p:animEffect transition="in" filter="fade">
                                      <p:cBhvr>
                                        <p:cTn id="136" dur="150"/>
                                        <p:tgtEl>
                                          <p:spTgt spid="149"/>
                                        </p:tgtEl>
                                      </p:cBhvr>
                                    </p:animEffect>
                                  </p:childTnLst>
                                </p:cTn>
                              </p:par>
                              <p:par>
                                <p:cTn id="137" presetID="42" presetClass="path" presetSubtype="0" accel="50000" decel="50000" fill="hold" grpId="0" nodeType="withEffect">
                                  <p:stCondLst>
                                    <p:cond delay="800"/>
                                  </p:stCondLst>
                                  <p:childTnLst>
                                    <p:animMotion origin="layout" path="M 1.04167E-6 -2.59259E-6 L 0.07161 0.20278 " pathEditMode="relative" rAng="0" ptsTypes="AA">
                                      <p:cBhvr>
                                        <p:cTn id="138" dur="150" fill="hold"/>
                                        <p:tgtEl>
                                          <p:spTgt spid="141"/>
                                        </p:tgtEl>
                                        <p:attrNameLst>
                                          <p:attrName>ppt_x</p:attrName>
                                          <p:attrName>ppt_y</p:attrName>
                                        </p:attrNameLst>
                                      </p:cBhvr>
                                      <p:rCtr x="3581" y="10139"/>
                                    </p:animMotion>
                                  </p:childTnLst>
                                </p:cTn>
                              </p:par>
                              <p:par>
                                <p:cTn id="139" presetID="12" presetClass="entr" presetSubtype="4" fill="hold" grpId="1" nodeType="withEffect">
                                  <p:stCondLst>
                                    <p:cond delay="900"/>
                                  </p:stCondLst>
                                  <p:childTnLst>
                                    <p:set>
                                      <p:cBhvr>
                                        <p:cTn id="140" dur="1" fill="hold">
                                          <p:stCondLst>
                                            <p:cond delay="0"/>
                                          </p:stCondLst>
                                        </p:cTn>
                                        <p:tgtEl>
                                          <p:spTgt spid="142"/>
                                        </p:tgtEl>
                                        <p:attrNameLst>
                                          <p:attrName>style.visibility</p:attrName>
                                        </p:attrNameLst>
                                      </p:cBhvr>
                                      <p:to>
                                        <p:strVal val="visible"/>
                                      </p:to>
                                    </p:set>
                                    <p:anim calcmode="lin" valueType="num">
                                      <p:cBhvr additive="base">
                                        <p:cTn id="141" dur="80"/>
                                        <p:tgtEl>
                                          <p:spTgt spid="142"/>
                                        </p:tgtEl>
                                        <p:attrNameLst>
                                          <p:attrName>ppt_y</p:attrName>
                                        </p:attrNameLst>
                                      </p:cBhvr>
                                      <p:tavLst>
                                        <p:tav tm="0">
                                          <p:val>
                                            <p:strVal val="#ppt_y+#ppt_h*1.125000"/>
                                          </p:val>
                                        </p:tav>
                                        <p:tav tm="100000">
                                          <p:val>
                                            <p:strVal val="#ppt_y"/>
                                          </p:val>
                                        </p:tav>
                                      </p:tavLst>
                                    </p:anim>
                                    <p:animEffect transition="in" filter="wipe(up)">
                                      <p:cBhvr>
                                        <p:cTn id="142" dur="80"/>
                                        <p:tgtEl>
                                          <p:spTgt spid="142"/>
                                        </p:tgtEl>
                                      </p:cBhvr>
                                    </p:animEffect>
                                  </p:childTnLst>
                                </p:cTn>
                              </p:par>
                              <p:par>
                                <p:cTn id="143" presetID="10" presetClass="exit" presetSubtype="0" fill="hold" grpId="4" nodeType="withEffect">
                                  <p:stCondLst>
                                    <p:cond delay="900"/>
                                  </p:stCondLst>
                                  <p:childTnLst>
                                    <p:animEffect transition="out" filter="fade">
                                      <p:cBhvr>
                                        <p:cTn id="144" dur="150"/>
                                        <p:tgtEl>
                                          <p:spTgt spid="149"/>
                                        </p:tgtEl>
                                      </p:cBhvr>
                                    </p:animEffect>
                                    <p:set>
                                      <p:cBhvr>
                                        <p:cTn id="145" dur="1" fill="hold">
                                          <p:stCondLst>
                                            <p:cond delay="149"/>
                                          </p:stCondLst>
                                        </p:cTn>
                                        <p:tgtEl>
                                          <p:spTgt spid="149"/>
                                        </p:tgtEl>
                                        <p:attrNameLst>
                                          <p:attrName>style.visibility</p:attrName>
                                        </p:attrNameLst>
                                      </p:cBhvr>
                                      <p:to>
                                        <p:strVal val="hidden"/>
                                      </p:to>
                                    </p:set>
                                  </p:childTnLst>
                                </p:cTn>
                              </p:par>
                              <p:par>
                                <p:cTn id="146" presetID="10" presetClass="entr" presetSubtype="0" fill="hold" grpId="2" nodeType="withEffect">
                                  <p:stCondLst>
                                    <p:cond delay="900"/>
                                  </p:stCondLst>
                                  <p:childTnLst>
                                    <p:set>
                                      <p:cBhvr>
                                        <p:cTn id="147" dur="1" fill="hold">
                                          <p:stCondLst>
                                            <p:cond delay="0"/>
                                          </p:stCondLst>
                                        </p:cTn>
                                        <p:tgtEl>
                                          <p:spTgt spid="147"/>
                                        </p:tgtEl>
                                        <p:attrNameLst>
                                          <p:attrName>style.visibility</p:attrName>
                                        </p:attrNameLst>
                                      </p:cBhvr>
                                      <p:to>
                                        <p:strVal val="visible"/>
                                      </p:to>
                                    </p:set>
                                    <p:animEffect transition="in" filter="fade">
                                      <p:cBhvr>
                                        <p:cTn id="148" dur="150"/>
                                        <p:tgtEl>
                                          <p:spTgt spid="147"/>
                                        </p:tgtEl>
                                      </p:cBhvr>
                                    </p:animEffect>
                                  </p:childTnLst>
                                </p:cTn>
                              </p:par>
                              <p:par>
                                <p:cTn id="149" presetID="42" presetClass="path" presetSubtype="0" accel="50000" decel="50000" fill="hold" grpId="0" nodeType="withEffect">
                                  <p:stCondLst>
                                    <p:cond delay="900"/>
                                  </p:stCondLst>
                                  <p:childTnLst>
                                    <p:animMotion origin="layout" path="M 1.04167E-6 -2.59259E-6 L 0.00026 -0.20486 " pathEditMode="relative" rAng="0" ptsTypes="AA">
                                      <p:cBhvr>
                                        <p:cTn id="150" dur="150" fill="hold"/>
                                        <p:tgtEl>
                                          <p:spTgt spid="142"/>
                                        </p:tgtEl>
                                        <p:attrNameLst>
                                          <p:attrName>ppt_x</p:attrName>
                                          <p:attrName>ppt_y</p:attrName>
                                        </p:attrNameLst>
                                      </p:cBhvr>
                                      <p:rCtr x="13" y="-10255"/>
                                    </p:animMotion>
                                  </p:childTnLst>
                                </p:cTn>
                              </p:par>
                              <p:par>
                                <p:cTn id="151" presetID="22" presetClass="entr" presetSubtype="1" fill="hold" grpId="2" nodeType="withEffect">
                                  <p:stCondLst>
                                    <p:cond delay="900"/>
                                  </p:stCondLst>
                                  <p:childTnLst>
                                    <p:set>
                                      <p:cBhvr>
                                        <p:cTn id="152" dur="1" fill="hold">
                                          <p:stCondLst>
                                            <p:cond delay="0"/>
                                          </p:stCondLst>
                                        </p:cTn>
                                        <p:tgtEl>
                                          <p:spTgt spid="175"/>
                                        </p:tgtEl>
                                        <p:attrNameLst>
                                          <p:attrName>style.visibility</p:attrName>
                                        </p:attrNameLst>
                                      </p:cBhvr>
                                      <p:to>
                                        <p:strVal val="visible"/>
                                      </p:to>
                                    </p:set>
                                    <p:animEffect transition="in" filter="wipe(up)">
                                      <p:cBhvr>
                                        <p:cTn id="153" dur="150"/>
                                        <p:tgtEl>
                                          <p:spTgt spid="175"/>
                                        </p:tgtEl>
                                      </p:cBhvr>
                                    </p:animEffect>
                                  </p:childTnLst>
                                </p:cTn>
                              </p:par>
                              <p:par>
                                <p:cTn id="154" presetID="22" presetClass="entr" presetSubtype="1" fill="hold" grpId="1" nodeType="withEffect">
                                  <p:stCondLst>
                                    <p:cond delay="900"/>
                                  </p:stCondLst>
                                  <p:childTnLst>
                                    <p:set>
                                      <p:cBhvr>
                                        <p:cTn id="155" dur="1" fill="hold">
                                          <p:stCondLst>
                                            <p:cond delay="0"/>
                                          </p:stCondLst>
                                        </p:cTn>
                                        <p:tgtEl>
                                          <p:spTgt spid="174"/>
                                        </p:tgtEl>
                                        <p:attrNameLst>
                                          <p:attrName>style.visibility</p:attrName>
                                        </p:attrNameLst>
                                      </p:cBhvr>
                                      <p:to>
                                        <p:strVal val="visible"/>
                                      </p:to>
                                    </p:set>
                                    <p:animEffect transition="in" filter="wipe(up)">
                                      <p:cBhvr>
                                        <p:cTn id="156" dur="150"/>
                                        <p:tgtEl>
                                          <p:spTgt spid="174"/>
                                        </p:tgtEl>
                                      </p:cBhvr>
                                    </p:animEffect>
                                  </p:childTnLst>
                                </p:cTn>
                              </p:par>
                              <p:par>
                                <p:cTn id="157" presetID="22" presetClass="entr" presetSubtype="4" fill="hold" grpId="3" nodeType="withEffect">
                                  <p:stCondLst>
                                    <p:cond delay="900"/>
                                  </p:stCondLst>
                                  <p:childTnLst>
                                    <p:set>
                                      <p:cBhvr>
                                        <p:cTn id="158" dur="1" fill="hold">
                                          <p:stCondLst>
                                            <p:cond delay="0"/>
                                          </p:stCondLst>
                                        </p:cTn>
                                        <p:tgtEl>
                                          <p:spTgt spid="173"/>
                                        </p:tgtEl>
                                        <p:attrNameLst>
                                          <p:attrName>style.visibility</p:attrName>
                                        </p:attrNameLst>
                                      </p:cBhvr>
                                      <p:to>
                                        <p:strVal val="visible"/>
                                      </p:to>
                                    </p:set>
                                    <p:animEffect transition="in" filter="wipe(down)">
                                      <p:cBhvr>
                                        <p:cTn id="159" dur="150"/>
                                        <p:tgtEl>
                                          <p:spTgt spid="173"/>
                                        </p:tgtEl>
                                      </p:cBhvr>
                                    </p:animEffect>
                                  </p:childTnLst>
                                </p:cTn>
                              </p:par>
                              <p:par>
                                <p:cTn id="160" presetID="12" presetClass="entr" presetSubtype="4" fill="hold" grpId="1" nodeType="withEffect">
                                  <p:stCondLst>
                                    <p:cond delay="1000"/>
                                  </p:stCondLst>
                                  <p:childTnLst>
                                    <p:set>
                                      <p:cBhvr>
                                        <p:cTn id="161" dur="1" fill="hold">
                                          <p:stCondLst>
                                            <p:cond delay="0"/>
                                          </p:stCondLst>
                                        </p:cTn>
                                        <p:tgtEl>
                                          <p:spTgt spid="143"/>
                                        </p:tgtEl>
                                        <p:attrNameLst>
                                          <p:attrName>style.visibility</p:attrName>
                                        </p:attrNameLst>
                                      </p:cBhvr>
                                      <p:to>
                                        <p:strVal val="visible"/>
                                      </p:to>
                                    </p:set>
                                    <p:anim calcmode="lin" valueType="num">
                                      <p:cBhvr additive="base">
                                        <p:cTn id="162" dur="80"/>
                                        <p:tgtEl>
                                          <p:spTgt spid="143"/>
                                        </p:tgtEl>
                                        <p:attrNameLst>
                                          <p:attrName>ppt_y</p:attrName>
                                        </p:attrNameLst>
                                      </p:cBhvr>
                                      <p:tavLst>
                                        <p:tav tm="0">
                                          <p:val>
                                            <p:strVal val="#ppt_y+#ppt_h*1.125000"/>
                                          </p:val>
                                        </p:tav>
                                        <p:tav tm="100000">
                                          <p:val>
                                            <p:strVal val="#ppt_y"/>
                                          </p:val>
                                        </p:tav>
                                      </p:tavLst>
                                    </p:anim>
                                    <p:animEffect transition="in" filter="wipe(up)">
                                      <p:cBhvr>
                                        <p:cTn id="163" dur="80"/>
                                        <p:tgtEl>
                                          <p:spTgt spid="143"/>
                                        </p:tgtEl>
                                      </p:cBhvr>
                                    </p:animEffect>
                                  </p:childTnLst>
                                </p:cTn>
                              </p:par>
                              <p:par>
                                <p:cTn id="164" presetID="10" presetClass="exit" presetSubtype="0" fill="hold" grpId="4" nodeType="withEffect">
                                  <p:stCondLst>
                                    <p:cond delay="1000"/>
                                  </p:stCondLst>
                                  <p:childTnLst>
                                    <p:animEffect transition="out" filter="fade">
                                      <p:cBhvr>
                                        <p:cTn id="165" dur="150"/>
                                        <p:tgtEl>
                                          <p:spTgt spid="147"/>
                                        </p:tgtEl>
                                      </p:cBhvr>
                                    </p:animEffect>
                                    <p:set>
                                      <p:cBhvr>
                                        <p:cTn id="166" dur="1" fill="hold">
                                          <p:stCondLst>
                                            <p:cond delay="149"/>
                                          </p:stCondLst>
                                        </p:cTn>
                                        <p:tgtEl>
                                          <p:spTgt spid="147"/>
                                        </p:tgtEl>
                                        <p:attrNameLst>
                                          <p:attrName>style.visibility</p:attrName>
                                        </p:attrNameLst>
                                      </p:cBhvr>
                                      <p:to>
                                        <p:strVal val="hidden"/>
                                      </p:to>
                                    </p:set>
                                  </p:childTnLst>
                                </p:cTn>
                              </p:par>
                              <p:par>
                                <p:cTn id="167" presetID="10" presetClass="entr" presetSubtype="0" fill="hold" grpId="2" nodeType="withEffect">
                                  <p:stCondLst>
                                    <p:cond delay="1000"/>
                                  </p:stCondLst>
                                  <p:childTnLst>
                                    <p:set>
                                      <p:cBhvr>
                                        <p:cTn id="168" dur="1" fill="hold">
                                          <p:stCondLst>
                                            <p:cond delay="0"/>
                                          </p:stCondLst>
                                        </p:cTn>
                                        <p:tgtEl>
                                          <p:spTgt spid="148"/>
                                        </p:tgtEl>
                                        <p:attrNameLst>
                                          <p:attrName>style.visibility</p:attrName>
                                        </p:attrNameLst>
                                      </p:cBhvr>
                                      <p:to>
                                        <p:strVal val="visible"/>
                                      </p:to>
                                    </p:set>
                                    <p:animEffect transition="in" filter="fade">
                                      <p:cBhvr>
                                        <p:cTn id="169" dur="150"/>
                                        <p:tgtEl>
                                          <p:spTgt spid="148"/>
                                        </p:tgtEl>
                                      </p:cBhvr>
                                    </p:animEffect>
                                  </p:childTnLst>
                                </p:cTn>
                              </p:par>
                              <p:par>
                                <p:cTn id="170" presetID="42" presetClass="path" presetSubtype="0" accel="50000" decel="50000" fill="hold" grpId="0" nodeType="withEffect">
                                  <p:stCondLst>
                                    <p:cond delay="1000"/>
                                  </p:stCondLst>
                                  <p:childTnLst>
                                    <p:animMotion origin="layout" path="M 1.04167E-6 -2.59259E-6 L 1.04167E-6 -0.10208 " pathEditMode="relative" rAng="0" ptsTypes="AA">
                                      <p:cBhvr>
                                        <p:cTn id="171" dur="150" fill="hold"/>
                                        <p:tgtEl>
                                          <p:spTgt spid="143"/>
                                        </p:tgtEl>
                                        <p:attrNameLst>
                                          <p:attrName>ppt_x</p:attrName>
                                          <p:attrName>ppt_y</p:attrName>
                                        </p:attrNameLst>
                                      </p:cBhvr>
                                      <p:rCtr x="0" y="-5116"/>
                                    </p:animMotion>
                                  </p:childTnLst>
                                </p:cTn>
                              </p:par>
                              <p:par>
                                <p:cTn id="172" presetID="22" presetClass="entr" presetSubtype="1" fill="hold" grpId="4" nodeType="withEffect">
                                  <p:stCondLst>
                                    <p:cond delay="1000"/>
                                  </p:stCondLst>
                                  <p:childTnLst>
                                    <p:set>
                                      <p:cBhvr>
                                        <p:cTn id="173" dur="1" fill="hold">
                                          <p:stCondLst>
                                            <p:cond delay="0"/>
                                          </p:stCondLst>
                                        </p:cTn>
                                        <p:tgtEl>
                                          <p:spTgt spid="164"/>
                                        </p:tgtEl>
                                        <p:attrNameLst>
                                          <p:attrName>style.visibility</p:attrName>
                                        </p:attrNameLst>
                                      </p:cBhvr>
                                      <p:to>
                                        <p:strVal val="visible"/>
                                      </p:to>
                                    </p:set>
                                    <p:animEffect transition="in" filter="wipe(up)">
                                      <p:cBhvr>
                                        <p:cTn id="174" dur="150"/>
                                        <p:tgtEl>
                                          <p:spTgt spid="164"/>
                                        </p:tgtEl>
                                      </p:cBhvr>
                                    </p:animEffect>
                                  </p:childTnLst>
                                </p:cTn>
                              </p:par>
                              <p:par>
                                <p:cTn id="175" presetID="12" presetClass="entr" presetSubtype="1" fill="hold" grpId="1" nodeType="withEffect">
                                  <p:stCondLst>
                                    <p:cond delay="1100"/>
                                  </p:stCondLst>
                                  <p:childTnLst>
                                    <p:set>
                                      <p:cBhvr>
                                        <p:cTn id="176" dur="1" fill="hold">
                                          <p:stCondLst>
                                            <p:cond delay="0"/>
                                          </p:stCondLst>
                                        </p:cTn>
                                        <p:tgtEl>
                                          <p:spTgt spid="145"/>
                                        </p:tgtEl>
                                        <p:attrNameLst>
                                          <p:attrName>style.visibility</p:attrName>
                                        </p:attrNameLst>
                                      </p:cBhvr>
                                      <p:to>
                                        <p:strVal val="visible"/>
                                      </p:to>
                                    </p:set>
                                    <p:anim calcmode="lin" valueType="num">
                                      <p:cBhvr additive="base">
                                        <p:cTn id="177" dur="80"/>
                                        <p:tgtEl>
                                          <p:spTgt spid="145"/>
                                        </p:tgtEl>
                                        <p:attrNameLst>
                                          <p:attrName>ppt_y</p:attrName>
                                        </p:attrNameLst>
                                      </p:cBhvr>
                                      <p:tavLst>
                                        <p:tav tm="0">
                                          <p:val>
                                            <p:strVal val="#ppt_y-#ppt_h*1.125000"/>
                                          </p:val>
                                        </p:tav>
                                        <p:tav tm="100000">
                                          <p:val>
                                            <p:strVal val="#ppt_y"/>
                                          </p:val>
                                        </p:tav>
                                      </p:tavLst>
                                    </p:anim>
                                    <p:animEffect transition="in" filter="wipe(down)">
                                      <p:cBhvr>
                                        <p:cTn id="178" dur="80"/>
                                        <p:tgtEl>
                                          <p:spTgt spid="145"/>
                                        </p:tgtEl>
                                      </p:cBhvr>
                                    </p:animEffect>
                                  </p:childTnLst>
                                </p:cTn>
                              </p:par>
                              <p:par>
                                <p:cTn id="179" presetID="10" presetClass="entr" presetSubtype="0" fill="hold" grpId="2" nodeType="withEffect">
                                  <p:stCondLst>
                                    <p:cond delay="1100"/>
                                  </p:stCondLst>
                                  <p:childTnLst>
                                    <p:set>
                                      <p:cBhvr>
                                        <p:cTn id="180" dur="1" fill="hold">
                                          <p:stCondLst>
                                            <p:cond delay="0"/>
                                          </p:stCondLst>
                                        </p:cTn>
                                        <p:tgtEl>
                                          <p:spTgt spid="149"/>
                                        </p:tgtEl>
                                        <p:attrNameLst>
                                          <p:attrName>style.visibility</p:attrName>
                                        </p:attrNameLst>
                                      </p:cBhvr>
                                      <p:to>
                                        <p:strVal val="visible"/>
                                      </p:to>
                                    </p:set>
                                    <p:animEffect transition="in" filter="fade">
                                      <p:cBhvr>
                                        <p:cTn id="181" dur="150"/>
                                        <p:tgtEl>
                                          <p:spTgt spid="149"/>
                                        </p:tgtEl>
                                      </p:cBhvr>
                                    </p:animEffect>
                                  </p:childTnLst>
                                </p:cTn>
                              </p:par>
                              <p:par>
                                <p:cTn id="182" presetID="10" presetClass="exit" presetSubtype="0" fill="hold" grpId="4" nodeType="withEffect">
                                  <p:stCondLst>
                                    <p:cond delay="1100"/>
                                  </p:stCondLst>
                                  <p:childTnLst>
                                    <p:animEffect transition="out" filter="fade">
                                      <p:cBhvr>
                                        <p:cTn id="183" dur="150"/>
                                        <p:tgtEl>
                                          <p:spTgt spid="148"/>
                                        </p:tgtEl>
                                      </p:cBhvr>
                                    </p:animEffect>
                                    <p:set>
                                      <p:cBhvr>
                                        <p:cTn id="184" dur="1" fill="hold">
                                          <p:stCondLst>
                                            <p:cond delay="149"/>
                                          </p:stCondLst>
                                        </p:cTn>
                                        <p:tgtEl>
                                          <p:spTgt spid="148"/>
                                        </p:tgtEl>
                                        <p:attrNameLst>
                                          <p:attrName>style.visibility</p:attrName>
                                        </p:attrNameLst>
                                      </p:cBhvr>
                                      <p:to>
                                        <p:strVal val="hidden"/>
                                      </p:to>
                                    </p:set>
                                  </p:childTnLst>
                                </p:cTn>
                              </p:par>
                              <p:par>
                                <p:cTn id="185" presetID="42" presetClass="path" presetSubtype="0" accel="50000" decel="50000" fill="hold" grpId="0" nodeType="withEffect">
                                  <p:stCondLst>
                                    <p:cond delay="1100"/>
                                  </p:stCondLst>
                                  <p:childTnLst>
                                    <p:animMotion origin="layout" path="M 1.04167E-6 -2.59259E-6 L -0.00026 0.10047 " pathEditMode="relative" rAng="0" ptsTypes="AA">
                                      <p:cBhvr>
                                        <p:cTn id="186" dur="150" fill="hold"/>
                                        <p:tgtEl>
                                          <p:spTgt spid="145"/>
                                        </p:tgtEl>
                                        <p:attrNameLst>
                                          <p:attrName>ppt_x</p:attrName>
                                          <p:attrName>ppt_y</p:attrName>
                                        </p:attrNameLst>
                                      </p:cBhvr>
                                      <p:rCtr x="-13" y="5023"/>
                                    </p:animMotion>
                                  </p:childTnLst>
                                </p:cTn>
                              </p:par>
                              <p:par>
                                <p:cTn id="187" presetID="22" presetClass="exit" presetSubtype="1" fill="hold" grpId="4" nodeType="withEffect">
                                  <p:stCondLst>
                                    <p:cond delay="1100"/>
                                  </p:stCondLst>
                                  <p:childTnLst>
                                    <p:animEffect transition="out" filter="wipe(up)">
                                      <p:cBhvr>
                                        <p:cTn id="188" dur="150"/>
                                        <p:tgtEl>
                                          <p:spTgt spid="173"/>
                                        </p:tgtEl>
                                      </p:cBhvr>
                                    </p:animEffect>
                                    <p:set>
                                      <p:cBhvr>
                                        <p:cTn id="189" dur="1" fill="hold">
                                          <p:stCondLst>
                                            <p:cond delay="149"/>
                                          </p:stCondLst>
                                        </p:cTn>
                                        <p:tgtEl>
                                          <p:spTgt spid="173"/>
                                        </p:tgtEl>
                                        <p:attrNameLst>
                                          <p:attrName>style.visibility</p:attrName>
                                        </p:attrNameLst>
                                      </p:cBhvr>
                                      <p:to>
                                        <p:strVal val="hidden"/>
                                      </p:to>
                                    </p:set>
                                  </p:childTnLst>
                                </p:cTn>
                              </p:par>
                              <p:par>
                                <p:cTn id="190" presetID="22" presetClass="exit" presetSubtype="1" fill="hold" grpId="2" nodeType="withEffect">
                                  <p:stCondLst>
                                    <p:cond delay="1100"/>
                                  </p:stCondLst>
                                  <p:childTnLst>
                                    <p:animEffect transition="out" filter="wipe(up)">
                                      <p:cBhvr>
                                        <p:cTn id="191" dur="150"/>
                                        <p:tgtEl>
                                          <p:spTgt spid="171"/>
                                        </p:tgtEl>
                                      </p:cBhvr>
                                    </p:animEffect>
                                    <p:set>
                                      <p:cBhvr>
                                        <p:cTn id="192" dur="1" fill="hold">
                                          <p:stCondLst>
                                            <p:cond delay="149"/>
                                          </p:stCondLst>
                                        </p:cTn>
                                        <p:tgtEl>
                                          <p:spTgt spid="171"/>
                                        </p:tgtEl>
                                        <p:attrNameLst>
                                          <p:attrName>style.visibility</p:attrName>
                                        </p:attrNameLst>
                                      </p:cBhvr>
                                      <p:to>
                                        <p:strVal val="hidden"/>
                                      </p:to>
                                    </p:set>
                                  </p:childTnLst>
                                </p:cTn>
                              </p:par>
                              <p:par>
                                <p:cTn id="193" presetID="22" presetClass="exit" presetSubtype="1" fill="hold" grpId="2" nodeType="withEffect">
                                  <p:stCondLst>
                                    <p:cond delay="1100"/>
                                  </p:stCondLst>
                                  <p:childTnLst>
                                    <p:animEffect transition="out" filter="wipe(up)">
                                      <p:cBhvr>
                                        <p:cTn id="194" dur="150"/>
                                        <p:tgtEl>
                                          <p:spTgt spid="174"/>
                                        </p:tgtEl>
                                      </p:cBhvr>
                                    </p:animEffect>
                                    <p:set>
                                      <p:cBhvr>
                                        <p:cTn id="195" dur="1" fill="hold">
                                          <p:stCondLst>
                                            <p:cond delay="149"/>
                                          </p:stCondLst>
                                        </p:cTn>
                                        <p:tgtEl>
                                          <p:spTgt spid="174"/>
                                        </p:tgtEl>
                                        <p:attrNameLst>
                                          <p:attrName>style.visibility</p:attrName>
                                        </p:attrNameLst>
                                      </p:cBhvr>
                                      <p:to>
                                        <p:strVal val="hidden"/>
                                      </p:to>
                                    </p:set>
                                  </p:childTnLst>
                                </p:cTn>
                              </p:par>
                              <p:par>
                                <p:cTn id="196" presetID="12" presetClass="entr" presetSubtype="1" fill="hold" grpId="1" nodeType="withEffect">
                                  <p:stCondLst>
                                    <p:cond delay="1200"/>
                                  </p:stCondLst>
                                  <p:childTnLst>
                                    <p:set>
                                      <p:cBhvr>
                                        <p:cTn id="197" dur="1" fill="hold">
                                          <p:stCondLst>
                                            <p:cond delay="0"/>
                                          </p:stCondLst>
                                        </p:cTn>
                                        <p:tgtEl>
                                          <p:spTgt spid="146"/>
                                        </p:tgtEl>
                                        <p:attrNameLst>
                                          <p:attrName>style.visibility</p:attrName>
                                        </p:attrNameLst>
                                      </p:cBhvr>
                                      <p:to>
                                        <p:strVal val="visible"/>
                                      </p:to>
                                    </p:set>
                                    <p:anim calcmode="lin" valueType="num">
                                      <p:cBhvr additive="base">
                                        <p:cTn id="198" dur="80"/>
                                        <p:tgtEl>
                                          <p:spTgt spid="146"/>
                                        </p:tgtEl>
                                        <p:attrNameLst>
                                          <p:attrName>ppt_y</p:attrName>
                                        </p:attrNameLst>
                                      </p:cBhvr>
                                      <p:tavLst>
                                        <p:tav tm="0">
                                          <p:val>
                                            <p:strVal val="#ppt_y-#ppt_h*1.125000"/>
                                          </p:val>
                                        </p:tav>
                                        <p:tav tm="100000">
                                          <p:val>
                                            <p:strVal val="#ppt_y"/>
                                          </p:val>
                                        </p:tav>
                                      </p:tavLst>
                                    </p:anim>
                                    <p:animEffect transition="in" filter="wipe(down)">
                                      <p:cBhvr>
                                        <p:cTn id="199" dur="80"/>
                                        <p:tgtEl>
                                          <p:spTgt spid="146"/>
                                        </p:tgtEl>
                                      </p:cBhvr>
                                    </p:animEffect>
                                  </p:childTnLst>
                                </p:cTn>
                              </p:par>
                              <p:par>
                                <p:cTn id="200" presetID="10" presetClass="exit" presetSubtype="0" fill="hold" grpId="5" nodeType="withEffect">
                                  <p:stCondLst>
                                    <p:cond delay="1200"/>
                                  </p:stCondLst>
                                  <p:childTnLst>
                                    <p:animEffect transition="out" filter="fade">
                                      <p:cBhvr>
                                        <p:cTn id="201" dur="150"/>
                                        <p:tgtEl>
                                          <p:spTgt spid="149"/>
                                        </p:tgtEl>
                                      </p:cBhvr>
                                    </p:animEffect>
                                    <p:set>
                                      <p:cBhvr>
                                        <p:cTn id="202" dur="1" fill="hold">
                                          <p:stCondLst>
                                            <p:cond delay="149"/>
                                          </p:stCondLst>
                                        </p:cTn>
                                        <p:tgtEl>
                                          <p:spTgt spid="149"/>
                                        </p:tgtEl>
                                        <p:attrNameLst>
                                          <p:attrName>style.visibility</p:attrName>
                                        </p:attrNameLst>
                                      </p:cBhvr>
                                      <p:to>
                                        <p:strVal val="hidden"/>
                                      </p:to>
                                    </p:set>
                                  </p:childTnLst>
                                </p:cTn>
                              </p:par>
                              <p:par>
                                <p:cTn id="203" presetID="10" presetClass="entr" presetSubtype="0" fill="hold" grpId="2" nodeType="withEffect">
                                  <p:stCondLst>
                                    <p:cond delay="1200"/>
                                  </p:stCondLst>
                                  <p:childTnLst>
                                    <p:set>
                                      <p:cBhvr>
                                        <p:cTn id="204" dur="1" fill="hold">
                                          <p:stCondLst>
                                            <p:cond delay="0"/>
                                          </p:stCondLst>
                                        </p:cTn>
                                        <p:tgtEl>
                                          <p:spTgt spid="150"/>
                                        </p:tgtEl>
                                        <p:attrNameLst>
                                          <p:attrName>style.visibility</p:attrName>
                                        </p:attrNameLst>
                                      </p:cBhvr>
                                      <p:to>
                                        <p:strVal val="visible"/>
                                      </p:to>
                                    </p:set>
                                    <p:animEffect transition="in" filter="fade">
                                      <p:cBhvr>
                                        <p:cTn id="205" dur="150"/>
                                        <p:tgtEl>
                                          <p:spTgt spid="150"/>
                                        </p:tgtEl>
                                      </p:cBhvr>
                                    </p:animEffect>
                                  </p:childTnLst>
                                </p:cTn>
                              </p:par>
                              <p:par>
                                <p:cTn id="206" presetID="42" presetClass="path" presetSubtype="0" accel="50000" decel="50000" fill="hold" grpId="0" nodeType="withEffect">
                                  <p:stCondLst>
                                    <p:cond delay="1200"/>
                                  </p:stCondLst>
                                  <p:childTnLst>
                                    <p:animMotion origin="layout" path="M 1.04167E-6 -2.59259E-6 L -0.00013 0.20139 " pathEditMode="relative" rAng="0" ptsTypes="AA">
                                      <p:cBhvr>
                                        <p:cTn id="207" dur="150" fill="hold"/>
                                        <p:tgtEl>
                                          <p:spTgt spid="146"/>
                                        </p:tgtEl>
                                        <p:attrNameLst>
                                          <p:attrName>ppt_x</p:attrName>
                                          <p:attrName>ppt_y</p:attrName>
                                        </p:attrNameLst>
                                      </p:cBhvr>
                                      <p:rCtr x="-13" y="10069"/>
                                    </p:animMotion>
                                  </p:childTnLst>
                                </p:cTn>
                              </p:par>
                              <p:par>
                                <p:cTn id="208" presetID="22" presetClass="entr" presetSubtype="4" fill="hold" grpId="3" nodeType="withEffect">
                                  <p:stCondLst>
                                    <p:cond delay="1250"/>
                                  </p:stCondLst>
                                  <p:childTnLst>
                                    <p:set>
                                      <p:cBhvr>
                                        <p:cTn id="209" dur="1" fill="hold">
                                          <p:stCondLst>
                                            <p:cond delay="0"/>
                                          </p:stCondLst>
                                        </p:cTn>
                                        <p:tgtEl>
                                          <p:spTgt spid="174"/>
                                        </p:tgtEl>
                                        <p:attrNameLst>
                                          <p:attrName>style.visibility</p:attrName>
                                        </p:attrNameLst>
                                      </p:cBhvr>
                                      <p:to>
                                        <p:strVal val="visible"/>
                                      </p:to>
                                    </p:set>
                                    <p:animEffect transition="in" filter="wipe(down)">
                                      <p:cBhvr>
                                        <p:cTn id="210" dur="150"/>
                                        <p:tgtEl>
                                          <p:spTgt spid="174"/>
                                        </p:tgtEl>
                                      </p:cBhvr>
                                    </p:animEffect>
                                  </p:childTnLst>
                                </p:cTn>
                              </p:par>
                              <p:par>
                                <p:cTn id="211" presetID="12" presetClass="entr" presetSubtype="8" fill="hold" grpId="0" nodeType="withEffect">
                                  <p:stCondLst>
                                    <p:cond delay="1300"/>
                                  </p:stCondLst>
                                  <p:childTnLst>
                                    <p:set>
                                      <p:cBhvr>
                                        <p:cTn id="212" dur="1" fill="hold">
                                          <p:stCondLst>
                                            <p:cond delay="0"/>
                                          </p:stCondLst>
                                        </p:cTn>
                                        <p:tgtEl>
                                          <p:spTgt spid="144"/>
                                        </p:tgtEl>
                                        <p:attrNameLst>
                                          <p:attrName>style.visibility</p:attrName>
                                        </p:attrNameLst>
                                      </p:cBhvr>
                                      <p:to>
                                        <p:strVal val="visible"/>
                                      </p:to>
                                    </p:set>
                                    <p:anim calcmode="lin" valueType="num">
                                      <p:cBhvr additive="base">
                                        <p:cTn id="213" dur="80"/>
                                        <p:tgtEl>
                                          <p:spTgt spid="144"/>
                                        </p:tgtEl>
                                        <p:attrNameLst>
                                          <p:attrName>ppt_x</p:attrName>
                                        </p:attrNameLst>
                                      </p:cBhvr>
                                      <p:tavLst>
                                        <p:tav tm="0">
                                          <p:val>
                                            <p:strVal val="#ppt_x-#ppt_w*1.125000"/>
                                          </p:val>
                                        </p:tav>
                                        <p:tav tm="100000">
                                          <p:val>
                                            <p:strVal val="#ppt_x"/>
                                          </p:val>
                                        </p:tav>
                                      </p:tavLst>
                                    </p:anim>
                                    <p:animEffect transition="in" filter="wipe(right)">
                                      <p:cBhvr>
                                        <p:cTn id="214" dur="80"/>
                                        <p:tgtEl>
                                          <p:spTgt spid="144"/>
                                        </p:tgtEl>
                                      </p:cBhvr>
                                    </p:animEffect>
                                  </p:childTnLst>
                                </p:cTn>
                              </p:par>
                              <p:par>
                                <p:cTn id="215" presetID="10" presetClass="exit" presetSubtype="0" fill="hold" grpId="4" nodeType="withEffect">
                                  <p:stCondLst>
                                    <p:cond delay="1300"/>
                                  </p:stCondLst>
                                  <p:childTnLst>
                                    <p:animEffect transition="out" filter="fade">
                                      <p:cBhvr>
                                        <p:cTn id="216" dur="150"/>
                                        <p:tgtEl>
                                          <p:spTgt spid="150"/>
                                        </p:tgtEl>
                                      </p:cBhvr>
                                    </p:animEffect>
                                    <p:set>
                                      <p:cBhvr>
                                        <p:cTn id="217" dur="1" fill="hold">
                                          <p:stCondLst>
                                            <p:cond delay="149"/>
                                          </p:stCondLst>
                                        </p:cTn>
                                        <p:tgtEl>
                                          <p:spTgt spid="150"/>
                                        </p:tgtEl>
                                        <p:attrNameLst>
                                          <p:attrName>style.visibility</p:attrName>
                                        </p:attrNameLst>
                                      </p:cBhvr>
                                      <p:to>
                                        <p:strVal val="hidden"/>
                                      </p:to>
                                    </p:set>
                                  </p:childTnLst>
                                </p:cTn>
                              </p:par>
                              <p:par>
                                <p:cTn id="218" presetID="10" presetClass="entr" presetSubtype="0" fill="hold" grpId="1" nodeType="withEffect">
                                  <p:stCondLst>
                                    <p:cond delay="1400"/>
                                  </p:stCondLst>
                                  <p:childTnLst>
                                    <p:set>
                                      <p:cBhvr>
                                        <p:cTn id="219" dur="1" fill="hold">
                                          <p:stCondLst>
                                            <p:cond delay="0"/>
                                          </p:stCondLst>
                                        </p:cTn>
                                        <p:tgtEl>
                                          <p:spTgt spid="148"/>
                                        </p:tgtEl>
                                        <p:attrNameLst>
                                          <p:attrName>style.visibility</p:attrName>
                                        </p:attrNameLst>
                                      </p:cBhvr>
                                      <p:to>
                                        <p:strVal val="visible"/>
                                      </p:to>
                                    </p:set>
                                    <p:animEffect transition="in" filter="fade">
                                      <p:cBhvr>
                                        <p:cTn id="220" dur="150"/>
                                        <p:tgtEl>
                                          <p:spTgt spid="148"/>
                                        </p:tgtEl>
                                      </p:cBhvr>
                                    </p:animEffect>
                                  </p:childTnLst>
                                </p:cTn>
                              </p:par>
                              <p:par>
                                <p:cTn id="221" presetID="0" presetClass="path" presetSubtype="0" accel="3226" decel="3226" fill="hold" grpId="0" nodeType="withEffect">
                                  <p:stCondLst>
                                    <p:cond delay="0"/>
                                  </p:stCondLst>
                                  <p:childTnLst>
                                    <p:animMotion origin="layout" path="M -0.00013 0.00046 L -0.05299 0.00046 L -0.02656 0.00046 L -0.07904 0.00046 L 0.01328 0.00046 " pathEditMode="relative" ptsTypes="AAAAA">
                                      <p:cBhvr>
                                        <p:cTn id="222" dur="1550" fill="hold"/>
                                        <p:tgtEl>
                                          <p:spTgt spid="124"/>
                                        </p:tgtEl>
                                        <p:attrNameLst>
                                          <p:attrName>ppt_x</p:attrName>
                                          <p:attrName>ppt_y</p:attrName>
                                        </p:attrNameLst>
                                      </p:cBhvr>
                                    </p:animMotion>
                                  </p:childTnLst>
                                </p:cTn>
                              </p:par>
                              <p:par>
                                <p:cTn id="223" presetID="0" presetClass="path" presetSubtype="0" accel="3226" decel="3226" fill="hold" grpId="0" nodeType="withEffect">
                                  <p:stCondLst>
                                    <p:cond delay="0"/>
                                  </p:stCondLst>
                                  <p:childTnLst>
                                    <p:animMotion origin="layout" path="M -1.25E-6 0.00047 L -0.06601 0.00047 L -0.0263 0.00047 L -0.10573 0.00047 L -0.03945 0.00047 L -0.06601 0.00047 " pathEditMode="relative" ptsTypes="AAAAAA">
                                      <p:cBhvr>
                                        <p:cTn id="224" dur="1550" fill="hold"/>
                                        <p:tgtEl>
                                          <p:spTgt spid="125"/>
                                        </p:tgtEl>
                                        <p:attrNameLst>
                                          <p:attrName>ppt_x</p:attrName>
                                          <p:attrName>ppt_y</p:attrName>
                                        </p:attrNameLst>
                                      </p:cBhvr>
                                    </p:animMotion>
                                  </p:childTnLst>
                                </p:cTn>
                              </p:par>
                              <p:par>
                                <p:cTn id="225" presetID="0" presetClass="path" presetSubtype="0" accel="3226" decel="3226" fill="hold" grpId="0" nodeType="withEffect">
                                  <p:stCondLst>
                                    <p:cond delay="0"/>
                                  </p:stCondLst>
                                  <p:childTnLst>
                                    <p:animMotion origin="layout" path="M 3.125E-6 0.00046 L -0.02657 0.00046 L 0.0401 0.00046 L 0.01341 0.00046 L 0.05299 0.00046 L -0.01328 0.00046 " pathEditMode="relative" ptsTypes="AAAAAA">
                                      <p:cBhvr>
                                        <p:cTn id="226" dur="1550" fill="hold"/>
                                        <p:tgtEl>
                                          <p:spTgt spid="111"/>
                                        </p:tgtEl>
                                        <p:attrNameLst>
                                          <p:attrName>ppt_x</p:attrName>
                                          <p:attrName>ppt_y</p:attrName>
                                        </p:attrNameLst>
                                      </p:cBhvr>
                                    </p:animMotion>
                                  </p:childTnLst>
                                </p:cTn>
                              </p:par>
                              <p:par>
                                <p:cTn id="227" presetID="0" presetClass="path" presetSubtype="0" accel="3226" decel="3226" fill="hold" grpId="0" nodeType="withEffect">
                                  <p:stCondLst>
                                    <p:cond delay="0"/>
                                  </p:stCondLst>
                                  <p:childTnLst>
                                    <p:animMotion origin="layout" path="M 5E-6 0.00092 L 0.01355 0.00092 L -0.02578 0.00092 L 0.03985 0.00092 L 0.0668 0.00092 L 0.05313 0.00092 " pathEditMode="relative" ptsTypes="AAAAAA">
                                      <p:cBhvr>
                                        <p:cTn id="228" dur="1550" fill="hold"/>
                                        <p:tgtEl>
                                          <p:spTgt spid="98"/>
                                        </p:tgtEl>
                                        <p:attrNameLst>
                                          <p:attrName>ppt_x</p:attrName>
                                          <p:attrName>ppt_y</p:attrName>
                                        </p:attrNameLst>
                                      </p:cBhvr>
                                    </p:animMotion>
                                  </p:childTnLst>
                                </p:cTn>
                              </p:par>
                              <p:par>
                                <p:cTn id="229" presetID="0" presetClass="path" presetSubtype="0" accel="3226" decel="3226" fill="hold" grpId="0" nodeType="withEffect">
                                  <p:stCondLst>
                                    <p:cond delay="0"/>
                                  </p:stCondLst>
                                  <p:childTnLst>
                                    <p:animMotion origin="layout" path="M -0.00013 0.00047 L 0.0263 0.00047 L -0.01289 0.00047 L 0.03997 0.00047 L -0.05274 0.00047 L -0.02682 0.00047 " pathEditMode="relative" ptsTypes="AAAAAA">
                                      <p:cBhvr>
                                        <p:cTn id="230" dur="1550" fill="hold"/>
                                        <p:tgtEl>
                                          <p:spTgt spid="120"/>
                                        </p:tgtEl>
                                        <p:attrNameLst>
                                          <p:attrName>ppt_x</p:attrName>
                                          <p:attrName>ppt_y</p:attrName>
                                        </p:attrNameLst>
                                      </p:cBhvr>
                                    </p:animMotion>
                                  </p:childTnLst>
                                </p:cTn>
                              </p:par>
                            </p:childTnLst>
                          </p:cTn>
                        </p:par>
                        <p:par>
                          <p:cTn id="231" fill="hold">
                            <p:stCondLst>
                              <p:cond delay="1550"/>
                            </p:stCondLst>
                            <p:childTnLst>
                              <p:par>
                                <p:cTn id="232" presetID="1" presetClass="emph" presetSubtype="2" fill="hold" nodeType="afterEffect">
                                  <p:stCondLst>
                                    <p:cond delay="500"/>
                                  </p:stCondLst>
                                  <p:childTnLst>
                                    <p:animClr clrSpc="rgb" dir="cw">
                                      <p:cBhvr>
                                        <p:cTn id="233" dur="500" fill="hold"/>
                                        <p:tgtEl>
                                          <p:spTgt spid="139"/>
                                        </p:tgtEl>
                                        <p:attrNameLst>
                                          <p:attrName>fillcolor</p:attrName>
                                        </p:attrNameLst>
                                      </p:cBhvr>
                                      <p:to>
                                        <a:srgbClr val="50E6FF"/>
                                      </p:to>
                                    </p:animClr>
                                    <p:set>
                                      <p:cBhvr>
                                        <p:cTn id="234" dur="500" fill="hold"/>
                                        <p:tgtEl>
                                          <p:spTgt spid="139"/>
                                        </p:tgtEl>
                                        <p:attrNameLst>
                                          <p:attrName>fill.type</p:attrName>
                                        </p:attrNameLst>
                                      </p:cBhvr>
                                      <p:to>
                                        <p:strVal val="solid"/>
                                      </p:to>
                                    </p:set>
                                    <p:set>
                                      <p:cBhvr>
                                        <p:cTn id="235" dur="500" fill="hold"/>
                                        <p:tgtEl>
                                          <p:spTgt spid="139"/>
                                        </p:tgtEl>
                                        <p:attrNameLst>
                                          <p:attrName>fill.on</p:attrName>
                                        </p:attrNameLst>
                                      </p:cBhvr>
                                      <p:to>
                                        <p:strVal val="true"/>
                                      </p:to>
                                    </p:set>
                                  </p:childTnLst>
                                </p:cTn>
                              </p:par>
                              <p:par>
                                <p:cTn id="236" presetID="3" presetClass="emph" presetSubtype="2" fill="hold" grpId="2" nodeType="withEffect">
                                  <p:stCondLst>
                                    <p:cond delay="500"/>
                                  </p:stCondLst>
                                  <p:childTnLst>
                                    <p:animClr clrSpc="rgb" dir="cw">
                                      <p:cBhvr override="childStyle">
                                        <p:cTn id="237" dur="500" fill="hold"/>
                                        <p:tgtEl>
                                          <p:spTgt spid="139"/>
                                        </p:tgtEl>
                                        <p:attrNameLst>
                                          <p:attrName>style.color</p:attrName>
                                        </p:attrNameLst>
                                      </p:cBhvr>
                                      <p:to>
                                        <a:srgbClr val="0000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6" grpId="1" animBg="1"/>
      <p:bldP spid="136" grpId="2" animBg="1"/>
      <p:bldP spid="147" grpId="0" animBg="1"/>
      <p:bldP spid="147" grpId="1" animBg="1"/>
      <p:bldP spid="147" grpId="2" animBg="1"/>
      <p:bldP spid="147" grpId="3" animBg="1"/>
      <p:bldP spid="147" grpId="4" animBg="1"/>
      <p:bldP spid="147" grpId="5" animBg="1"/>
      <p:bldP spid="148" grpId="0" animBg="1"/>
      <p:bldP spid="148" grpId="1" animBg="1"/>
      <p:bldP spid="148" grpId="2" animBg="1"/>
      <p:bldP spid="148" grpId="3" animBg="1"/>
      <p:bldP spid="148" grpId="4" animBg="1"/>
      <p:bldP spid="149" grpId="0" animBg="1"/>
      <p:bldP spid="149" grpId="1" animBg="1"/>
      <p:bldP spid="149" grpId="2" animBg="1"/>
      <p:bldP spid="149" grpId="3" animBg="1"/>
      <p:bldP spid="149" grpId="4" animBg="1"/>
      <p:bldP spid="149" grpId="5" animBg="1"/>
      <p:bldP spid="150" grpId="0" animBg="1"/>
      <p:bldP spid="150" grpId="1" animBg="1"/>
      <p:bldP spid="150" grpId="2" animBg="1"/>
      <p:bldP spid="150" grpId="3" animBg="1"/>
      <p:bldP spid="150" grpId="4" animBg="1"/>
      <p:bldP spid="150" grpId="5" animBg="1"/>
      <p:bldP spid="80" grpId="0" animBg="1"/>
      <p:bldP spid="90" grpId="0" animBg="1"/>
      <p:bldP spid="90" grpId="1" animBg="1"/>
      <p:bldP spid="91" grpId="0" animBg="1"/>
      <p:bldP spid="91" grpId="1" animBg="1"/>
      <p:bldP spid="123" grpId="0" animBg="1"/>
      <p:bldP spid="123" grpId="1" animBg="1"/>
      <p:bldP spid="137" grpId="0" animBg="1"/>
      <p:bldP spid="137" grpId="1" animBg="1"/>
      <p:bldP spid="138" grpId="0" animBg="1"/>
      <p:bldP spid="138" grpId="1" animBg="1"/>
      <p:bldP spid="139" grpId="0" animBg="1"/>
      <p:bldP spid="139" grpId="1" animBg="1"/>
      <p:bldP spid="139" grpId="2" animBg="1"/>
      <p:bldP spid="140" grpId="0" animBg="1"/>
      <p:bldP spid="140" grpId="1" animBg="1"/>
      <p:bldP spid="141" grpId="0" animBg="1"/>
      <p:bldP spid="141" grpId="1" animBg="1"/>
      <p:bldP spid="142" grpId="0" animBg="1"/>
      <p:bldP spid="142" grpId="1" animBg="1"/>
      <p:bldP spid="143" grpId="0" animBg="1"/>
      <p:bldP spid="143" grpId="1" animBg="1"/>
      <p:bldP spid="144" grpId="0" animBg="1"/>
      <p:bldP spid="145" grpId="0" animBg="1"/>
      <p:bldP spid="145" grpId="1" animBg="1"/>
      <p:bldP spid="146" grpId="0" animBg="1"/>
      <p:bldP spid="146" grpId="1" animBg="1"/>
      <p:bldP spid="98" grpId="0" animBg="1"/>
      <p:bldP spid="111" grpId="0" animBg="1"/>
      <p:bldP spid="124" grpId="0" animBg="1"/>
      <p:bldP spid="125" grpId="0" animBg="1"/>
      <p:bldP spid="164" grpId="0" animBg="1"/>
      <p:bldP spid="164" grpId="1" animBg="1"/>
      <p:bldP spid="164" grpId="2" animBg="1"/>
      <p:bldP spid="164" grpId="3" animBg="1"/>
      <p:bldP spid="164" grpId="4" animBg="1"/>
      <p:bldP spid="171" grpId="0" animBg="1"/>
      <p:bldP spid="171" grpId="1" animBg="1"/>
      <p:bldP spid="171" grpId="2" animBg="1"/>
      <p:bldP spid="173" grpId="0" animBg="1"/>
      <p:bldP spid="173" grpId="1" animBg="1"/>
      <p:bldP spid="173" grpId="2" animBg="1"/>
      <p:bldP spid="173" grpId="3" animBg="1"/>
      <p:bldP spid="173" grpId="4" animBg="1"/>
      <p:bldP spid="174" grpId="0" animBg="1"/>
      <p:bldP spid="174" grpId="1" animBg="1"/>
      <p:bldP spid="174" grpId="2" animBg="1"/>
      <p:bldP spid="174" grpId="3" animBg="1"/>
      <p:bldP spid="175" grpId="0" animBg="1"/>
      <p:bldP spid="175" grpId="1" animBg="1"/>
      <p:bldP spid="175" grpId="2" animBg="1"/>
      <p:bldP spid="120"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C4C1EBAD-99B4-4706-8B9B-A388FD36E136}"/>
              </a:ext>
            </a:extLst>
          </p:cNvPr>
          <p:cNvSpPr/>
          <p:nvPr/>
        </p:nvSpPr>
        <p:spPr bwMode="auto">
          <a:xfrm>
            <a:off x="9954125" y="3698684"/>
            <a:ext cx="627901" cy="2397758"/>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6850986F-25EF-462E-AFE9-B47AC9F7A7CB}"/>
              </a:ext>
            </a:extLst>
          </p:cNvPr>
          <p:cNvGrpSpPr/>
          <p:nvPr/>
        </p:nvGrpSpPr>
        <p:grpSpPr>
          <a:xfrm>
            <a:off x="3463387" y="2889406"/>
            <a:ext cx="4654028" cy="3207380"/>
            <a:chOff x="3768656" y="2736507"/>
            <a:chExt cx="4654688" cy="3207835"/>
          </a:xfrm>
        </p:grpSpPr>
        <p:sp>
          <p:nvSpPr>
            <p:cNvPr id="54" name="Rectangle 53">
              <a:extLst>
                <a:ext uri="{FF2B5EF4-FFF2-40B4-BE49-F238E27FC236}">
                  <a16:creationId xmlns:a16="http://schemas.microsoft.com/office/drawing/2014/main" id="{2F280D36-48C5-447B-B202-4C95CFA079B5}"/>
                </a:ext>
              </a:extLst>
            </p:cNvPr>
            <p:cNvSpPr/>
            <p:nvPr/>
          </p:nvSpPr>
          <p:spPr bwMode="auto">
            <a:xfrm>
              <a:off x="7638318"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911B5D77-C0C2-4145-BD1A-23C098262C5A}"/>
                </a:ext>
              </a:extLst>
            </p:cNvPr>
            <p:cNvSpPr/>
            <p:nvPr/>
          </p:nvSpPr>
          <p:spPr bwMode="auto">
            <a:xfrm>
              <a:off x="3768656"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46F07090-D3E6-4F22-840A-A1A7876F0CB0}"/>
                </a:ext>
              </a:extLst>
            </p:cNvPr>
            <p:cNvSpPr/>
            <p:nvPr/>
          </p:nvSpPr>
          <p:spPr bwMode="auto">
            <a:xfrm>
              <a:off x="3768656"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151BDBBC-CBDB-454C-86CB-D40DD7A8FCAE}"/>
                </a:ext>
              </a:extLst>
            </p:cNvPr>
            <p:cNvSpPr/>
            <p:nvPr/>
          </p:nvSpPr>
          <p:spPr bwMode="auto">
            <a:xfrm>
              <a:off x="3768656"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729D55AD-1FD2-44DE-A533-2064B590377F}"/>
                </a:ext>
              </a:extLst>
            </p:cNvPr>
            <p:cNvSpPr/>
            <p:nvPr/>
          </p:nvSpPr>
          <p:spPr bwMode="auto">
            <a:xfrm>
              <a:off x="3768656"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46646093-E38D-416A-A6FB-7A79E33EF466}"/>
                </a:ext>
              </a:extLst>
            </p:cNvPr>
            <p:cNvSpPr/>
            <p:nvPr/>
          </p:nvSpPr>
          <p:spPr bwMode="auto">
            <a:xfrm>
              <a:off x="3768656"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2AD37EB6-3E23-4256-AC82-87CD99253BA7}"/>
                </a:ext>
              </a:extLst>
            </p:cNvPr>
            <p:cNvSpPr/>
            <p:nvPr/>
          </p:nvSpPr>
          <p:spPr bwMode="auto">
            <a:xfrm>
              <a:off x="4736071"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51E1F55E-0711-4784-B8DB-762D99B7512C}"/>
                </a:ext>
              </a:extLst>
            </p:cNvPr>
            <p:cNvSpPr/>
            <p:nvPr/>
          </p:nvSpPr>
          <p:spPr bwMode="auto">
            <a:xfrm>
              <a:off x="4736071"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216754CB-9E46-4C69-9476-B1D1F92DEC53}"/>
                </a:ext>
              </a:extLst>
            </p:cNvPr>
            <p:cNvSpPr/>
            <p:nvPr/>
          </p:nvSpPr>
          <p:spPr bwMode="auto">
            <a:xfrm>
              <a:off x="4736071"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83BE506A-5DAA-4185-95F5-34E93169B513}"/>
                </a:ext>
              </a:extLst>
            </p:cNvPr>
            <p:cNvSpPr/>
            <p:nvPr/>
          </p:nvSpPr>
          <p:spPr bwMode="auto">
            <a:xfrm>
              <a:off x="4736071"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FB0E5C7B-D9FC-46F4-9BC4-F675B3D147F1}"/>
                </a:ext>
              </a:extLst>
            </p:cNvPr>
            <p:cNvSpPr/>
            <p:nvPr/>
          </p:nvSpPr>
          <p:spPr bwMode="auto">
            <a:xfrm>
              <a:off x="4736071"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122F9112-C498-41E6-B942-83CE8CDB695B}"/>
                </a:ext>
              </a:extLst>
            </p:cNvPr>
            <p:cNvSpPr/>
            <p:nvPr/>
          </p:nvSpPr>
          <p:spPr bwMode="auto">
            <a:xfrm>
              <a:off x="5703486"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9284BF3E-7D38-4F0E-8CE7-187DB72A64A6}"/>
                </a:ext>
              </a:extLst>
            </p:cNvPr>
            <p:cNvSpPr/>
            <p:nvPr/>
          </p:nvSpPr>
          <p:spPr bwMode="auto">
            <a:xfrm>
              <a:off x="5703486"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33CA47B7-CC0F-4BC6-B542-2B5E008C7CDD}"/>
                </a:ext>
              </a:extLst>
            </p:cNvPr>
            <p:cNvSpPr/>
            <p:nvPr/>
          </p:nvSpPr>
          <p:spPr bwMode="auto">
            <a:xfrm>
              <a:off x="5703486"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9D39ECB3-6E34-4CC1-BA3B-3381CCD0D7B2}"/>
                </a:ext>
              </a:extLst>
            </p:cNvPr>
            <p:cNvSpPr/>
            <p:nvPr/>
          </p:nvSpPr>
          <p:spPr bwMode="auto">
            <a:xfrm>
              <a:off x="5703486"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577A7A81-C685-4E8A-ACC7-BB0CCB1B8BC8}"/>
                </a:ext>
              </a:extLst>
            </p:cNvPr>
            <p:cNvSpPr/>
            <p:nvPr/>
          </p:nvSpPr>
          <p:spPr bwMode="auto">
            <a:xfrm>
              <a:off x="5703486"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85AB8895-B7EE-4D06-85DD-C090D731E57B}"/>
                </a:ext>
              </a:extLst>
            </p:cNvPr>
            <p:cNvSpPr/>
            <p:nvPr/>
          </p:nvSpPr>
          <p:spPr bwMode="auto">
            <a:xfrm>
              <a:off x="6670901"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F8C7BCEA-2BBE-4C8C-AB56-2ED6CAE5D49D}"/>
                </a:ext>
              </a:extLst>
            </p:cNvPr>
            <p:cNvSpPr/>
            <p:nvPr/>
          </p:nvSpPr>
          <p:spPr bwMode="auto">
            <a:xfrm>
              <a:off x="6670901"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3F7D14D3-6831-4949-9821-E1AECEEFC079}"/>
                </a:ext>
              </a:extLst>
            </p:cNvPr>
            <p:cNvSpPr/>
            <p:nvPr/>
          </p:nvSpPr>
          <p:spPr bwMode="auto">
            <a:xfrm>
              <a:off x="6670901" y="4085734"/>
              <a:ext cx="785026" cy="508572"/>
            </a:xfrm>
            <a:prstGeom prst="rect">
              <a:avLst/>
            </a:prstGeom>
            <a:solidFill>
              <a:schemeClr val="bg2"/>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652576AB-3056-454D-9838-42C062584668}"/>
                </a:ext>
              </a:extLst>
            </p:cNvPr>
            <p:cNvSpPr/>
            <p:nvPr/>
          </p:nvSpPr>
          <p:spPr bwMode="auto">
            <a:xfrm>
              <a:off x="6670901"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AFD01C8B-464C-45EE-88E6-3BE6CDBFE865}"/>
                </a:ext>
              </a:extLst>
            </p:cNvPr>
            <p:cNvSpPr/>
            <p:nvPr/>
          </p:nvSpPr>
          <p:spPr bwMode="auto">
            <a:xfrm>
              <a:off x="6670901"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A04224F8-EF3B-4190-9FA6-1AD26DC0CB6C}"/>
                </a:ext>
              </a:extLst>
            </p:cNvPr>
            <p:cNvSpPr/>
            <p:nvPr/>
          </p:nvSpPr>
          <p:spPr bwMode="auto">
            <a:xfrm>
              <a:off x="7638318"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69DD1ED9-5170-4CD2-A03F-FFE54E0B6EB4}"/>
                </a:ext>
              </a:extLst>
            </p:cNvPr>
            <p:cNvSpPr/>
            <p:nvPr/>
          </p:nvSpPr>
          <p:spPr bwMode="auto">
            <a:xfrm>
              <a:off x="7638318"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958144E3-5EE1-4ACA-857B-25FAB64D3CE8}"/>
                </a:ext>
              </a:extLst>
            </p:cNvPr>
            <p:cNvSpPr/>
            <p:nvPr/>
          </p:nvSpPr>
          <p:spPr bwMode="auto">
            <a:xfrm>
              <a:off x="7638318"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68435E11-A669-4147-9B5B-702060863759}"/>
                </a:ext>
              </a:extLst>
            </p:cNvPr>
            <p:cNvSpPr/>
            <p:nvPr/>
          </p:nvSpPr>
          <p:spPr bwMode="auto">
            <a:xfrm>
              <a:off x="7638318"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2" name="Rectangle 91">
            <a:extLst>
              <a:ext uri="{FF2B5EF4-FFF2-40B4-BE49-F238E27FC236}">
                <a16:creationId xmlns:a16="http://schemas.microsoft.com/office/drawing/2014/main" id="{76F03795-B707-4403-8A51-C424E70CB4DB}"/>
              </a:ext>
            </a:extLst>
          </p:cNvPr>
          <p:cNvSpPr/>
          <p:nvPr/>
        </p:nvSpPr>
        <p:spPr bwMode="auto">
          <a:xfrm>
            <a:off x="7332499" y="5588285"/>
            <a:ext cx="784915" cy="508500"/>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Rectangle 205">
            <a:extLst>
              <a:ext uri="{FF2B5EF4-FFF2-40B4-BE49-F238E27FC236}">
                <a16:creationId xmlns:a16="http://schemas.microsoft.com/office/drawing/2014/main" id="{8D4B9434-C667-4D5C-9D51-409FE8A78B2D}"/>
              </a:ext>
            </a:extLst>
          </p:cNvPr>
          <p:cNvSpPr/>
          <p:nvPr/>
        </p:nvSpPr>
        <p:spPr bwMode="auto">
          <a:xfrm>
            <a:off x="3463386" y="5588285"/>
            <a:ext cx="784915" cy="508500"/>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Rectangle 206">
            <a:extLst>
              <a:ext uri="{FF2B5EF4-FFF2-40B4-BE49-F238E27FC236}">
                <a16:creationId xmlns:a16="http://schemas.microsoft.com/office/drawing/2014/main" id="{87158868-88E1-4F87-9176-674B6F20E510}"/>
              </a:ext>
            </a:extLst>
          </p:cNvPr>
          <p:cNvSpPr/>
          <p:nvPr/>
        </p:nvSpPr>
        <p:spPr bwMode="auto">
          <a:xfrm>
            <a:off x="4430663" y="2889404"/>
            <a:ext cx="784915" cy="508500"/>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Rectangle 207">
            <a:extLst>
              <a:ext uri="{FF2B5EF4-FFF2-40B4-BE49-F238E27FC236}">
                <a16:creationId xmlns:a16="http://schemas.microsoft.com/office/drawing/2014/main" id="{E7D7F2FF-0BE7-4CDA-B98A-490AD764A8AB}"/>
              </a:ext>
            </a:extLst>
          </p:cNvPr>
          <p:cNvSpPr/>
          <p:nvPr/>
        </p:nvSpPr>
        <p:spPr bwMode="auto">
          <a:xfrm>
            <a:off x="4430663" y="4914000"/>
            <a:ext cx="784915" cy="508500"/>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Rectangle 208">
            <a:extLst>
              <a:ext uri="{FF2B5EF4-FFF2-40B4-BE49-F238E27FC236}">
                <a16:creationId xmlns:a16="http://schemas.microsoft.com/office/drawing/2014/main" id="{A01BB4A5-07ED-4097-8C35-52BD90A6CE81}"/>
              </a:ext>
            </a:extLst>
          </p:cNvPr>
          <p:cNvSpPr/>
          <p:nvPr/>
        </p:nvSpPr>
        <p:spPr bwMode="auto">
          <a:xfrm>
            <a:off x="6365219" y="4238440"/>
            <a:ext cx="784915" cy="508500"/>
          </a:xfrm>
          <a:prstGeom prst="rect">
            <a:avLst/>
          </a:prstGeom>
          <a:solidFill>
            <a:srgbClr val="B8D0E2"/>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Rectangle 209">
            <a:extLst>
              <a:ext uri="{FF2B5EF4-FFF2-40B4-BE49-F238E27FC236}">
                <a16:creationId xmlns:a16="http://schemas.microsoft.com/office/drawing/2014/main" id="{170AB3A0-9CA8-4E81-B798-5DA14A42FEDC}"/>
              </a:ext>
            </a:extLst>
          </p:cNvPr>
          <p:cNvSpPr/>
          <p:nvPr/>
        </p:nvSpPr>
        <p:spPr bwMode="auto">
          <a:xfrm>
            <a:off x="7332499" y="3563922"/>
            <a:ext cx="784915" cy="508500"/>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Rectangle 146">
            <a:extLst>
              <a:ext uri="{FF2B5EF4-FFF2-40B4-BE49-F238E27FC236}">
                <a16:creationId xmlns:a16="http://schemas.microsoft.com/office/drawing/2014/main" id="{8802926F-928E-4C99-BCA6-C50A340B4827}"/>
              </a:ext>
            </a:extLst>
          </p:cNvPr>
          <p:cNvSpPr/>
          <p:nvPr/>
        </p:nvSpPr>
        <p:spPr>
          <a:xfrm>
            <a:off x="521474" y="3648099"/>
            <a:ext cx="1595404" cy="3120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13" rtlCol="0" anchor="t">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Enter data</a:t>
            </a:r>
          </a:p>
        </p:txBody>
      </p:sp>
      <p:sp>
        <p:nvSpPr>
          <p:cNvPr id="148" name="Rectangle 147">
            <a:extLst>
              <a:ext uri="{FF2B5EF4-FFF2-40B4-BE49-F238E27FC236}">
                <a16:creationId xmlns:a16="http://schemas.microsoft.com/office/drawing/2014/main" id="{C8B504DD-81B2-4C36-98A7-1A6BE77AB9CC}"/>
              </a:ext>
            </a:extLst>
          </p:cNvPr>
          <p:cNvSpPr/>
          <p:nvPr/>
        </p:nvSpPr>
        <p:spPr>
          <a:xfrm>
            <a:off x="513744" y="4655322"/>
            <a:ext cx="1610864" cy="3120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13"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Define goals</a:t>
            </a:r>
          </a:p>
        </p:txBody>
      </p:sp>
      <p:sp>
        <p:nvSpPr>
          <p:cNvPr id="149" name="Rectangle 148">
            <a:extLst>
              <a:ext uri="{FF2B5EF4-FFF2-40B4-BE49-F238E27FC236}">
                <a16:creationId xmlns:a16="http://schemas.microsoft.com/office/drawing/2014/main" id="{C858710D-2E37-4079-A01B-AC799219DA2A}"/>
              </a:ext>
            </a:extLst>
          </p:cNvPr>
          <p:cNvSpPr/>
          <p:nvPr/>
        </p:nvSpPr>
        <p:spPr>
          <a:xfrm>
            <a:off x="513744" y="5667288"/>
            <a:ext cx="1610864" cy="3068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13"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Apply constraints</a:t>
            </a:r>
          </a:p>
        </p:txBody>
      </p:sp>
      <p:sp>
        <p:nvSpPr>
          <p:cNvPr id="18" name="Rectangle 17">
            <a:extLst>
              <a:ext uri="{FF2B5EF4-FFF2-40B4-BE49-F238E27FC236}">
                <a16:creationId xmlns:a16="http://schemas.microsoft.com/office/drawing/2014/main" id="{E3CB927C-248B-41A1-AFD0-3C4D3735AD94}"/>
              </a:ext>
            </a:extLst>
          </p:cNvPr>
          <p:cNvSpPr/>
          <p:nvPr/>
        </p:nvSpPr>
        <p:spPr bwMode="auto">
          <a:xfrm>
            <a:off x="9119212" y="2084886"/>
            <a:ext cx="2297722" cy="406208"/>
          </a:xfrm>
          <a:prstGeom prst="rect">
            <a:avLst/>
          </a:prstGeom>
          <a:solidFill>
            <a:schemeClr val="bg1"/>
          </a:solidFill>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Output</a:t>
            </a:r>
          </a:p>
        </p:txBody>
      </p:sp>
      <p:sp>
        <p:nvSpPr>
          <p:cNvPr id="64" name="Title 2"/>
          <p:cNvSpPr>
            <a:spLocks noGrp="1"/>
          </p:cNvSpPr>
          <p:nvPr>
            <p:ph type="title"/>
          </p:nvPr>
        </p:nvSpPr>
        <p:spPr/>
        <p:txBody>
          <a:bodyPr/>
          <a:lstStyle/>
          <a:p>
            <a:r>
              <a:rPr lang="en-US" dirty="0"/>
              <a:t>Automated Machine Learning accelerates </a:t>
            </a:r>
            <a:br>
              <a:rPr lang="en-US" dirty="0"/>
            </a:br>
            <a:r>
              <a:rPr lang="en-US" dirty="0"/>
              <a:t>model development </a:t>
            </a:r>
            <a:br>
              <a:rPr lang="en-US" dirty="0"/>
            </a:br>
            <a:endParaRPr lang="en-US" dirty="0"/>
          </a:p>
        </p:txBody>
      </p:sp>
      <p:sp>
        <p:nvSpPr>
          <p:cNvPr id="150" name="Rectangle 149">
            <a:extLst>
              <a:ext uri="{FF2B5EF4-FFF2-40B4-BE49-F238E27FC236}">
                <a16:creationId xmlns:a16="http://schemas.microsoft.com/office/drawing/2014/main" id="{59D6A392-230C-4B26-9F20-B4A0E248B97E}"/>
              </a:ext>
            </a:extLst>
          </p:cNvPr>
          <p:cNvSpPr/>
          <p:nvPr/>
        </p:nvSpPr>
        <p:spPr>
          <a:xfrm>
            <a:off x="166913" y="2088737"/>
            <a:ext cx="2297722" cy="406208"/>
          </a:xfrm>
          <a:prstGeom prst="rect">
            <a:avLst/>
          </a:prstGeom>
          <a:noFill/>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Input</a:t>
            </a:r>
          </a:p>
        </p:txBody>
      </p:sp>
      <p:sp>
        <p:nvSpPr>
          <p:cNvPr id="32" name="Isosceles Triangle 31">
            <a:extLst>
              <a:ext uri="{FF2B5EF4-FFF2-40B4-BE49-F238E27FC236}">
                <a16:creationId xmlns:a16="http://schemas.microsoft.com/office/drawing/2014/main" id="{A8E8B731-2F28-4A34-834B-B2F0FBC2414D}"/>
              </a:ext>
            </a:extLst>
          </p:cNvPr>
          <p:cNvSpPr/>
          <p:nvPr/>
        </p:nvSpPr>
        <p:spPr>
          <a:xfrm rot="5400000">
            <a:off x="1825941" y="4445690"/>
            <a:ext cx="2099680" cy="318046"/>
          </a:xfrm>
          <a:custGeom>
            <a:avLst/>
            <a:gdLst>
              <a:gd name="connsiteX0" fmla="*/ 0 w 3934939"/>
              <a:gd name="connsiteY0" fmla="*/ 384890 h 384890"/>
              <a:gd name="connsiteX1" fmla="*/ 1967470 w 3934939"/>
              <a:gd name="connsiteY1" fmla="*/ 0 h 384890"/>
              <a:gd name="connsiteX2" fmla="*/ 3934939 w 3934939"/>
              <a:gd name="connsiteY2" fmla="*/ 384890 h 384890"/>
              <a:gd name="connsiteX3" fmla="*/ 0 w 3934939"/>
              <a:gd name="connsiteY3" fmla="*/ 384890 h 384890"/>
              <a:gd name="connsiteX0" fmla="*/ 0 w 3934939"/>
              <a:gd name="connsiteY0" fmla="*/ 384890 h 469590"/>
              <a:gd name="connsiteX1" fmla="*/ 1967470 w 3934939"/>
              <a:gd name="connsiteY1" fmla="*/ 0 h 469590"/>
              <a:gd name="connsiteX2" fmla="*/ 3934939 w 3934939"/>
              <a:gd name="connsiteY2" fmla="*/ 384890 h 469590"/>
              <a:gd name="connsiteX3" fmla="*/ 2070893 w 3934939"/>
              <a:gd name="connsiteY3" fmla="*/ 469590 h 469590"/>
              <a:gd name="connsiteX4" fmla="*/ 0 w 3934939"/>
              <a:gd name="connsiteY4" fmla="*/ 384890 h 469590"/>
              <a:gd name="connsiteX0" fmla="*/ 2070893 w 3934939"/>
              <a:gd name="connsiteY0" fmla="*/ 469590 h 561030"/>
              <a:gd name="connsiteX1" fmla="*/ 0 w 3934939"/>
              <a:gd name="connsiteY1" fmla="*/ 384890 h 561030"/>
              <a:gd name="connsiteX2" fmla="*/ 1967470 w 3934939"/>
              <a:gd name="connsiteY2" fmla="*/ 0 h 561030"/>
              <a:gd name="connsiteX3" fmla="*/ 3934939 w 3934939"/>
              <a:gd name="connsiteY3" fmla="*/ 384890 h 561030"/>
              <a:gd name="connsiteX4" fmla="*/ 2162333 w 3934939"/>
              <a:gd name="connsiteY4" fmla="*/ 561030 h 561030"/>
              <a:gd name="connsiteX0" fmla="*/ 0 w 3934939"/>
              <a:gd name="connsiteY0" fmla="*/ 384890 h 561030"/>
              <a:gd name="connsiteX1" fmla="*/ 1967470 w 3934939"/>
              <a:gd name="connsiteY1" fmla="*/ 0 h 561030"/>
              <a:gd name="connsiteX2" fmla="*/ 3934939 w 3934939"/>
              <a:gd name="connsiteY2" fmla="*/ 384890 h 561030"/>
              <a:gd name="connsiteX3" fmla="*/ 2162333 w 3934939"/>
              <a:gd name="connsiteY3" fmla="*/ 561030 h 561030"/>
              <a:gd name="connsiteX0" fmla="*/ 0 w 3934939"/>
              <a:gd name="connsiteY0" fmla="*/ 384890 h 384890"/>
              <a:gd name="connsiteX1" fmla="*/ 1967470 w 3934939"/>
              <a:gd name="connsiteY1" fmla="*/ 0 h 384890"/>
              <a:gd name="connsiteX2" fmla="*/ 3934939 w 3934939"/>
              <a:gd name="connsiteY2" fmla="*/ 384890 h 384890"/>
            </a:gdLst>
            <a:ahLst/>
            <a:cxnLst>
              <a:cxn ang="0">
                <a:pos x="connsiteX0" y="connsiteY0"/>
              </a:cxn>
              <a:cxn ang="0">
                <a:pos x="connsiteX1" y="connsiteY1"/>
              </a:cxn>
              <a:cxn ang="0">
                <a:pos x="connsiteX2" y="connsiteY2"/>
              </a:cxn>
            </a:cxnLst>
            <a:rect l="l" t="t" r="r" b="b"/>
            <a:pathLst>
              <a:path w="3934939" h="384890">
                <a:moveTo>
                  <a:pt x="0" y="384890"/>
                </a:moveTo>
                <a:lnTo>
                  <a:pt x="1967470" y="0"/>
                </a:lnTo>
                <a:lnTo>
                  <a:pt x="3934939" y="384890"/>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1" name="Isosceles Triangle 70">
            <a:extLst>
              <a:ext uri="{FF2B5EF4-FFF2-40B4-BE49-F238E27FC236}">
                <a16:creationId xmlns:a16="http://schemas.microsoft.com/office/drawing/2014/main" id="{974664E9-2BCA-4C60-950C-8E23DBE06A88}"/>
              </a:ext>
            </a:extLst>
          </p:cNvPr>
          <p:cNvSpPr/>
          <p:nvPr/>
        </p:nvSpPr>
        <p:spPr>
          <a:xfrm rot="5400000">
            <a:off x="7839578" y="4483812"/>
            <a:ext cx="2099682" cy="266375"/>
          </a:xfrm>
          <a:custGeom>
            <a:avLst/>
            <a:gdLst>
              <a:gd name="connsiteX0" fmla="*/ 0 w 3934939"/>
              <a:gd name="connsiteY0" fmla="*/ 322358 h 322358"/>
              <a:gd name="connsiteX1" fmla="*/ 1967470 w 3934939"/>
              <a:gd name="connsiteY1" fmla="*/ 0 h 322358"/>
              <a:gd name="connsiteX2" fmla="*/ 3934939 w 3934939"/>
              <a:gd name="connsiteY2" fmla="*/ 322358 h 322358"/>
              <a:gd name="connsiteX3" fmla="*/ 0 w 3934939"/>
              <a:gd name="connsiteY3" fmla="*/ 322358 h 322358"/>
              <a:gd name="connsiteX0" fmla="*/ 0 w 3934939"/>
              <a:gd name="connsiteY0" fmla="*/ 322358 h 631863"/>
              <a:gd name="connsiteX1" fmla="*/ 1967470 w 3934939"/>
              <a:gd name="connsiteY1" fmla="*/ 0 h 631863"/>
              <a:gd name="connsiteX2" fmla="*/ 3934939 w 3934939"/>
              <a:gd name="connsiteY2" fmla="*/ 322358 h 631863"/>
              <a:gd name="connsiteX3" fmla="*/ 2029576 w 3934939"/>
              <a:gd name="connsiteY3" fmla="*/ 631863 h 631863"/>
              <a:gd name="connsiteX4" fmla="*/ 0 w 3934939"/>
              <a:gd name="connsiteY4" fmla="*/ 322358 h 631863"/>
              <a:gd name="connsiteX0" fmla="*/ 2029576 w 3934939"/>
              <a:gd name="connsiteY0" fmla="*/ 631863 h 723303"/>
              <a:gd name="connsiteX1" fmla="*/ 0 w 3934939"/>
              <a:gd name="connsiteY1" fmla="*/ 322358 h 723303"/>
              <a:gd name="connsiteX2" fmla="*/ 1967470 w 3934939"/>
              <a:gd name="connsiteY2" fmla="*/ 0 h 723303"/>
              <a:gd name="connsiteX3" fmla="*/ 3934939 w 3934939"/>
              <a:gd name="connsiteY3" fmla="*/ 322358 h 723303"/>
              <a:gd name="connsiteX4" fmla="*/ 2121016 w 3934939"/>
              <a:gd name="connsiteY4" fmla="*/ 723303 h 723303"/>
              <a:gd name="connsiteX0" fmla="*/ 0 w 3934939"/>
              <a:gd name="connsiteY0" fmla="*/ 322358 h 723303"/>
              <a:gd name="connsiteX1" fmla="*/ 1967470 w 3934939"/>
              <a:gd name="connsiteY1" fmla="*/ 0 h 723303"/>
              <a:gd name="connsiteX2" fmla="*/ 3934939 w 3934939"/>
              <a:gd name="connsiteY2" fmla="*/ 322358 h 723303"/>
              <a:gd name="connsiteX3" fmla="*/ 2121016 w 3934939"/>
              <a:gd name="connsiteY3" fmla="*/ 723303 h 723303"/>
              <a:gd name="connsiteX0" fmla="*/ 0 w 3934939"/>
              <a:gd name="connsiteY0" fmla="*/ 322358 h 322358"/>
              <a:gd name="connsiteX1" fmla="*/ 1967470 w 3934939"/>
              <a:gd name="connsiteY1" fmla="*/ 0 h 322358"/>
              <a:gd name="connsiteX2" fmla="*/ 3934939 w 3934939"/>
              <a:gd name="connsiteY2" fmla="*/ 322358 h 322358"/>
            </a:gdLst>
            <a:ahLst/>
            <a:cxnLst>
              <a:cxn ang="0">
                <a:pos x="connsiteX0" y="connsiteY0"/>
              </a:cxn>
              <a:cxn ang="0">
                <a:pos x="connsiteX1" y="connsiteY1"/>
              </a:cxn>
              <a:cxn ang="0">
                <a:pos x="connsiteX2" y="connsiteY2"/>
              </a:cxn>
            </a:cxnLst>
            <a:rect l="l" t="t" r="r" b="b"/>
            <a:pathLst>
              <a:path w="3934939" h="322358">
                <a:moveTo>
                  <a:pt x="0" y="322358"/>
                </a:moveTo>
                <a:lnTo>
                  <a:pt x="1967470" y="0"/>
                </a:lnTo>
                <a:lnTo>
                  <a:pt x="3934939" y="322358"/>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3F453347-C82D-4EA0-B4DF-408A2100FEBE}"/>
              </a:ext>
            </a:extLst>
          </p:cNvPr>
          <p:cNvSpPr/>
          <p:nvPr/>
        </p:nvSpPr>
        <p:spPr>
          <a:xfrm>
            <a:off x="3165741" y="2084887"/>
            <a:ext cx="5249315" cy="398279"/>
          </a:xfrm>
          <a:prstGeom prst="rect">
            <a:avLst/>
          </a:prstGeom>
          <a:solidFill>
            <a:schemeClr val="bg1"/>
          </a:solidFill>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Intelligently test multiple models in parallel</a:t>
            </a:r>
          </a:p>
        </p:txBody>
      </p:sp>
      <p:sp>
        <p:nvSpPr>
          <p:cNvPr id="56" name="Rectangle 55">
            <a:extLst>
              <a:ext uri="{FF2B5EF4-FFF2-40B4-BE49-F238E27FC236}">
                <a16:creationId xmlns:a16="http://schemas.microsoft.com/office/drawing/2014/main" id="{346B9977-B3BB-4F82-B05A-89F2C5823D34}"/>
              </a:ext>
            </a:extLst>
          </p:cNvPr>
          <p:cNvSpPr/>
          <p:nvPr/>
        </p:nvSpPr>
        <p:spPr bwMode="auto">
          <a:xfrm>
            <a:off x="3463388" y="5589904"/>
            <a:ext cx="784911" cy="505262"/>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57" name="Rectangle 56">
            <a:extLst>
              <a:ext uri="{FF2B5EF4-FFF2-40B4-BE49-F238E27FC236}">
                <a16:creationId xmlns:a16="http://schemas.microsoft.com/office/drawing/2014/main" id="{9521235A-368A-4639-A773-C6E2F81D58B3}"/>
              </a:ext>
            </a:extLst>
          </p:cNvPr>
          <p:cNvSpPr/>
          <p:nvPr/>
        </p:nvSpPr>
        <p:spPr bwMode="auto">
          <a:xfrm>
            <a:off x="4430665" y="2891023"/>
            <a:ext cx="784911" cy="505262"/>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58" name="Rectangle 57">
            <a:extLst>
              <a:ext uri="{FF2B5EF4-FFF2-40B4-BE49-F238E27FC236}">
                <a16:creationId xmlns:a16="http://schemas.microsoft.com/office/drawing/2014/main" id="{675C0FA6-2D64-4834-A491-6EF039ACEEC8}"/>
              </a:ext>
            </a:extLst>
          </p:cNvPr>
          <p:cNvSpPr/>
          <p:nvPr/>
        </p:nvSpPr>
        <p:spPr bwMode="auto">
          <a:xfrm>
            <a:off x="4430665" y="4915619"/>
            <a:ext cx="784911" cy="505262"/>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2" name="Rectangle 61">
            <a:extLst>
              <a:ext uri="{FF2B5EF4-FFF2-40B4-BE49-F238E27FC236}">
                <a16:creationId xmlns:a16="http://schemas.microsoft.com/office/drawing/2014/main" id="{5EF08468-D16A-4ED4-8701-7980A78BDED0}"/>
              </a:ext>
            </a:extLst>
          </p:cNvPr>
          <p:cNvSpPr/>
          <p:nvPr/>
        </p:nvSpPr>
        <p:spPr bwMode="auto">
          <a:xfrm>
            <a:off x="6365221" y="4240059"/>
            <a:ext cx="784911" cy="505262"/>
          </a:xfrm>
          <a:prstGeom prst="rect">
            <a:avLst/>
          </a:prstGeom>
          <a:solidFill>
            <a:srgbClr val="8ABADF"/>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3" name="Rectangle 62">
            <a:extLst>
              <a:ext uri="{FF2B5EF4-FFF2-40B4-BE49-F238E27FC236}">
                <a16:creationId xmlns:a16="http://schemas.microsoft.com/office/drawing/2014/main" id="{B432A898-81C5-4603-BFAF-4B2E5F642B1A}"/>
              </a:ext>
            </a:extLst>
          </p:cNvPr>
          <p:cNvSpPr/>
          <p:nvPr/>
        </p:nvSpPr>
        <p:spPr bwMode="auto">
          <a:xfrm>
            <a:off x="7332501" y="3565541"/>
            <a:ext cx="784911" cy="505262"/>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5" name="Rectangle 64">
            <a:extLst>
              <a:ext uri="{FF2B5EF4-FFF2-40B4-BE49-F238E27FC236}">
                <a16:creationId xmlns:a16="http://schemas.microsoft.com/office/drawing/2014/main" id="{59CC870D-04DB-4F1E-9745-CCDD2D891D77}"/>
              </a:ext>
            </a:extLst>
          </p:cNvPr>
          <p:cNvSpPr/>
          <p:nvPr/>
        </p:nvSpPr>
        <p:spPr bwMode="auto">
          <a:xfrm>
            <a:off x="7332499" y="5588285"/>
            <a:ext cx="784911" cy="505262"/>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9" name="Rectangle 68">
            <a:extLst>
              <a:ext uri="{FF2B5EF4-FFF2-40B4-BE49-F238E27FC236}">
                <a16:creationId xmlns:a16="http://schemas.microsoft.com/office/drawing/2014/main" id="{B56BE929-4E78-4328-9FCD-06D03936F734}"/>
              </a:ext>
            </a:extLst>
          </p:cNvPr>
          <p:cNvSpPr/>
          <p:nvPr/>
        </p:nvSpPr>
        <p:spPr bwMode="auto">
          <a:xfrm>
            <a:off x="9951880" y="3572488"/>
            <a:ext cx="632390" cy="2523955"/>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9" name="Group 20">
            <a:extLst>
              <a:ext uri="{FF2B5EF4-FFF2-40B4-BE49-F238E27FC236}">
                <a16:creationId xmlns:a16="http://schemas.microsoft.com/office/drawing/2014/main" id="{4EB75E30-B3D2-4C3B-A35B-9B27FF1C15BB}"/>
              </a:ext>
            </a:extLst>
          </p:cNvPr>
          <p:cNvGrpSpPr>
            <a:grpSpLocks noChangeAspect="1"/>
          </p:cNvGrpSpPr>
          <p:nvPr/>
        </p:nvGrpSpPr>
        <p:grpSpPr bwMode="auto">
          <a:xfrm>
            <a:off x="1069988" y="3186030"/>
            <a:ext cx="498376" cy="436254"/>
            <a:chOff x="3764" y="3313"/>
            <a:chExt cx="353" cy="309"/>
          </a:xfrm>
          <a:noFill/>
        </p:grpSpPr>
        <p:sp>
          <p:nvSpPr>
            <p:cNvPr id="110" name="Freeform 21">
              <a:extLst>
                <a:ext uri="{FF2B5EF4-FFF2-40B4-BE49-F238E27FC236}">
                  <a16:creationId xmlns:a16="http://schemas.microsoft.com/office/drawing/2014/main" id="{BD1FEC2F-B3EF-4D54-A4F0-54A076AB7B40}"/>
                </a:ext>
              </a:extLst>
            </p:cNvPr>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1" name="Freeform 22">
              <a:extLst>
                <a:ext uri="{FF2B5EF4-FFF2-40B4-BE49-F238E27FC236}">
                  <a16:creationId xmlns:a16="http://schemas.microsoft.com/office/drawing/2014/main" id="{7F63B60E-7DB5-488E-866F-93EFD0A370F2}"/>
                </a:ext>
              </a:extLst>
            </p:cNvPr>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2" name="Freeform 23">
              <a:extLst>
                <a:ext uri="{FF2B5EF4-FFF2-40B4-BE49-F238E27FC236}">
                  <a16:creationId xmlns:a16="http://schemas.microsoft.com/office/drawing/2014/main" id="{57635241-C845-49E4-AB91-802F219852CB}"/>
                </a:ext>
              </a:extLst>
            </p:cNvPr>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Freeform 24">
              <a:extLst>
                <a:ext uri="{FF2B5EF4-FFF2-40B4-BE49-F238E27FC236}">
                  <a16:creationId xmlns:a16="http://schemas.microsoft.com/office/drawing/2014/main" id="{7AC8221E-05C5-44FD-AE36-2F8BEAD0849B}"/>
                </a:ext>
              </a:extLst>
            </p:cNvPr>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4" name="Freeform 25">
              <a:extLst>
                <a:ext uri="{FF2B5EF4-FFF2-40B4-BE49-F238E27FC236}">
                  <a16:creationId xmlns:a16="http://schemas.microsoft.com/office/drawing/2014/main" id="{9949F84B-2E66-4817-B219-AD61CE8ED48F}"/>
                </a:ext>
              </a:extLst>
            </p:cNvPr>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5" name="Freeform 26">
              <a:extLst>
                <a:ext uri="{FF2B5EF4-FFF2-40B4-BE49-F238E27FC236}">
                  <a16:creationId xmlns:a16="http://schemas.microsoft.com/office/drawing/2014/main" id="{0742F126-3B94-4368-A3B6-4552957A4C9E}"/>
                </a:ext>
              </a:extLst>
            </p:cNvPr>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6" name="Freeform 27">
              <a:extLst>
                <a:ext uri="{FF2B5EF4-FFF2-40B4-BE49-F238E27FC236}">
                  <a16:creationId xmlns:a16="http://schemas.microsoft.com/office/drawing/2014/main" id="{1BCE99C9-C0BF-4E7C-AC5C-B51B77D3081F}"/>
                </a:ext>
              </a:extLst>
            </p:cNvPr>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7" name="Freeform 28">
              <a:extLst>
                <a:ext uri="{FF2B5EF4-FFF2-40B4-BE49-F238E27FC236}">
                  <a16:creationId xmlns:a16="http://schemas.microsoft.com/office/drawing/2014/main" id="{398C6C3A-DB5A-4EBA-85EC-2D420F4549E2}"/>
                </a:ext>
              </a:extLst>
            </p:cNvPr>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8" name="Freeform 29">
              <a:extLst>
                <a:ext uri="{FF2B5EF4-FFF2-40B4-BE49-F238E27FC236}">
                  <a16:creationId xmlns:a16="http://schemas.microsoft.com/office/drawing/2014/main" id="{B1B01E7D-6DF1-4886-9B59-7BD5243E3D42}"/>
                </a:ext>
              </a:extLst>
            </p:cNvPr>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9" name="Freeform 30">
              <a:extLst>
                <a:ext uri="{FF2B5EF4-FFF2-40B4-BE49-F238E27FC236}">
                  <a16:creationId xmlns:a16="http://schemas.microsoft.com/office/drawing/2014/main" id="{A56F16CC-423F-4F28-9CC4-6A2300AC7993}"/>
                </a:ext>
              </a:extLst>
            </p:cNvPr>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0" name="Freeform 31">
              <a:extLst>
                <a:ext uri="{FF2B5EF4-FFF2-40B4-BE49-F238E27FC236}">
                  <a16:creationId xmlns:a16="http://schemas.microsoft.com/office/drawing/2014/main" id="{BFDE09ED-D17C-4D80-8907-DDC02A4B1980}"/>
                </a:ext>
              </a:extLst>
            </p:cNvPr>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1" name="Freeform 32">
              <a:extLst>
                <a:ext uri="{FF2B5EF4-FFF2-40B4-BE49-F238E27FC236}">
                  <a16:creationId xmlns:a16="http://schemas.microsoft.com/office/drawing/2014/main" id="{609C7B92-A8DD-4959-8248-CA063018AFC6}"/>
                </a:ext>
              </a:extLst>
            </p:cNvPr>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2" name="Freeform 33">
              <a:extLst>
                <a:ext uri="{FF2B5EF4-FFF2-40B4-BE49-F238E27FC236}">
                  <a16:creationId xmlns:a16="http://schemas.microsoft.com/office/drawing/2014/main" id="{C9DF86B1-D780-4B1F-B717-254F3C2F0BB5}"/>
                </a:ext>
              </a:extLst>
            </p:cNvPr>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 name="Freeform 34">
              <a:extLst>
                <a:ext uri="{FF2B5EF4-FFF2-40B4-BE49-F238E27FC236}">
                  <a16:creationId xmlns:a16="http://schemas.microsoft.com/office/drawing/2014/main" id="{807DD4F0-A770-4045-927B-A19790AA5830}"/>
                </a:ext>
              </a:extLst>
            </p:cNvPr>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 name="Freeform 35">
              <a:extLst>
                <a:ext uri="{FF2B5EF4-FFF2-40B4-BE49-F238E27FC236}">
                  <a16:creationId xmlns:a16="http://schemas.microsoft.com/office/drawing/2014/main" id="{F2EB3B8B-3349-4C49-9DA2-BE2CB6CA5FEF}"/>
                </a:ext>
              </a:extLst>
            </p:cNvPr>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 name="Freeform 36">
              <a:extLst>
                <a:ext uri="{FF2B5EF4-FFF2-40B4-BE49-F238E27FC236}">
                  <a16:creationId xmlns:a16="http://schemas.microsoft.com/office/drawing/2014/main" id="{C3210E19-2877-4D2D-8799-5C996EDB3163}"/>
                </a:ext>
              </a:extLst>
            </p:cNvPr>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6" name="Freeform 37">
              <a:extLst>
                <a:ext uri="{FF2B5EF4-FFF2-40B4-BE49-F238E27FC236}">
                  <a16:creationId xmlns:a16="http://schemas.microsoft.com/office/drawing/2014/main" id="{F44E29D8-3D29-4BAF-8E02-EC2BC5774ED8}"/>
                </a:ext>
              </a:extLst>
            </p:cNvPr>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7" name="Freeform 38">
              <a:extLst>
                <a:ext uri="{FF2B5EF4-FFF2-40B4-BE49-F238E27FC236}">
                  <a16:creationId xmlns:a16="http://schemas.microsoft.com/office/drawing/2014/main" id="{863F6220-B897-446E-91E3-C0B7172FC292}"/>
                </a:ext>
              </a:extLst>
            </p:cNvPr>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54" name="Rectangle 153">
            <a:extLst>
              <a:ext uri="{FF2B5EF4-FFF2-40B4-BE49-F238E27FC236}">
                <a16:creationId xmlns:a16="http://schemas.microsoft.com/office/drawing/2014/main" id="{56F8C412-B3B9-4D8E-96A2-650D8AA38881}"/>
              </a:ext>
            </a:extLst>
          </p:cNvPr>
          <p:cNvSpPr/>
          <p:nvPr/>
        </p:nvSpPr>
        <p:spPr bwMode="auto">
          <a:xfrm>
            <a:off x="3463388" y="5589904"/>
            <a:ext cx="784911" cy="505262"/>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56" name="Rectangle 155">
            <a:extLst>
              <a:ext uri="{FF2B5EF4-FFF2-40B4-BE49-F238E27FC236}">
                <a16:creationId xmlns:a16="http://schemas.microsoft.com/office/drawing/2014/main" id="{B1BD5EB7-7D25-4A2E-9890-4D22892EA68F}"/>
              </a:ext>
            </a:extLst>
          </p:cNvPr>
          <p:cNvSpPr/>
          <p:nvPr/>
        </p:nvSpPr>
        <p:spPr bwMode="auto">
          <a:xfrm>
            <a:off x="4430665" y="4915619"/>
            <a:ext cx="784911" cy="505262"/>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60" name="Rectangle 159">
            <a:extLst>
              <a:ext uri="{FF2B5EF4-FFF2-40B4-BE49-F238E27FC236}">
                <a16:creationId xmlns:a16="http://schemas.microsoft.com/office/drawing/2014/main" id="{52810F27-F6D4-44ED-A959-4307288B0F0F}"/>
              </a:ext>
            </a:extLst>
          </p:cNvPr>
          <p:cNvSpPr/>
          <p:nvPr/>
        </p:nvSpPr>
        <p:spPr bwMode="auto">
          <a:xfrm>
            <a:off x="6365221" y="4240059"/>
            <a:ext cx="784911" cy="505262"/>
          </a:xfrm>
          <a:prstGeom prst="rect">
            <a:avLst/>
          </a:prstGeom>
          <a:solidFill>
            <a:srgbClr val="5CA4DB"/>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61" name="Rectangle 160">
            <a:extLst>
              <a:ext uri="{FF2B5EF4-FFF2-40B4-BE49-F238E27FC236}">
                <a16:creationId xmlns:a16="http://schemas.microsoft.com/office/drawing/2014/main" id="{3DFD0CFB-7493-447A-9739-F92717140711}"/>
              </a:ext>
            </a:extLst>
          </p:cNvPr>
          <p:cNvSpPr/>
          <p:nvPr/>
        </p:nvSpPr>
        <p:spPr bwMode="auto">
          <a:xfrm>
            <a:off x="7332501" y="3565541"/>
            <a:ext cx="784911" cy="505262"/>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62" name="Rectangle 161">
            <a:extLst>
              <a:ext uri="{FF2B5EF4-FFF2-40B4-BE49-F238E27FC236}">
                <a16:creationId xmlns:a16="http://schemas.microsoft.com/office/drawing/2014/main" id="{0B7E7B3B-A7D6-4B9E-9B43-CAA1A8D42874}"/>
              </a:ext>
            </a:extLst>
          </p:cNvPr>
          <p:cNvSpPr/>
          <p:nvPr/>
        </p:nvSpPr>
        <p:spPr bwMode="auto">
          <a:xfrm>
            <a:off x="7332499" y="5588285"/>
            <a:ext cx="784911" cy="505262"/>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78" name="Rectangle 177">
            <a:extLst>
              <a:ext uri="{FF2B5EF4-FFF2-40B4-BE49-F238E27FC236}">
                <a16:creationId xmlns:a16="http://schemas.microsoft.com/office/drawing/2014/main" id="{69F286C7-A72E-4B19-BECC-2AD322B91A55}"/>
              </a:ext>
            </a:extLst>
          </p:cNvPr>
          <p:cNvSpPr/>
          <p:nvPr/>
        </p:nvSpPr>
        <p:spPr bwMode="auto">
          <a:xfrm>
            <a:off x="4430665" y="4915619"/>
            <a:ext cx="784911" cy="505262"/>
          </a:xfrm>
          <a:prstGeom prst="rect">
            <a:avLst/>
          </a:prstGeom>
          <a:solidFill>
            <a:srgbClr val="2E8E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82" name="Rectangle 181">
            <a:extLst>
              <a:ext uri="{FF2B5EF4-FFF2-40B4-BE49-F238E27FC236}">
                <a16:creationId xmlns:a16="http://schemas.microsoft.com/office/drawing/2014/main" id="{F6960B95-9AED-453D-8147-4BE64D2AA752}"/>
              </a:ext>
            </a:extLst>
          </p:cNvPr>
          <p:cNvSpPr/>
          <p:nvPr/>
        </p:nvSpPr>
        <p:spPr bwMode="auto">
          <a:xfrm>
            <a:off x="6365221" y="4240059"/>
            <a:ext cx="784911" cy="505262"/>
          </a:xfrm>
          <a:prstGeom prst="rect">
            <a:avLst/>
          </a:prstGeom>
          <a:solidFill>
            <a:srgbClr val="2E8ED8"/>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83" name="Rectangle 182">
            <a:extLst>
              <a:ext uri="{FF2B5EF4-FFF2-40B4-BE49-F238E27FC236}">
                <a16:creationId xmlns:a16="http://schemas.microsoft.com/office/drawing/2014/main" id="{5E1D3D7E-AE78-461B-8984-8550F13D2CAC}"/>
              </a:ext>
            </a:extLst>
          </p:cNvPr>
          <p:cNvSpPr/>
          <p:nvPr/>
        </p:nvSpPr>
        <p:spPr bwMode="auto">
          <a:xfrm>
            <a:off x="7332501" y="3565541"/>
            <a:ext cx="784911" cy="505262"/>
          </a:xfrm>
          <a:prstGeom prst="rect">
            <a:avLst/>
          </a:prstGeom>
          <a:solidFill>
            <a:srgbClr val="2E8E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84" name="Rectangle 183">
            <a:extLst>
              <a:ext uri="{FF2B5EF4-FFF2-40B4-BE49-F238E27FC236}">
                <a16:creationId xmlns:a16="http://schemas.microsoft.com/office/drawing/2014/main" id="{7AB63D05-2235-48E1-AC5A-5332C75C07D7}"/>
              </a:ext>
            </a:extLst>
          </p:cNvPr>
          <p:cNvSpPr/>
          <p:nvPr/>
        </p:nvSpPr>
        <p:spPr bwMode="auto">
          <a:xfrm>
            <a:off x="7332499" y="5588285"/>
            <a:ext cx="784911" cy="505262"/>
          </a:xfrm>
          <a:prstGeom prst="rect">
            <a:avLst/>
          </a:prstGeom>
          <a:solidFill>
            <a:srgbClr val="2E8E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95" name="Rectangle 194">
            <a:extLst>
              <a:ext uri="{FF2B5EF4-FFF2-40B4-BE49-F238E27FC236}">
                <a16:creationId xmlns:a16="http://schemas.microsoft.com/office/drawing/2014/main" id="{195437A0-E144-4350-B464-A76A69AAF11F}"/>
              </a:ext>
            </a:extLst>
          </p:cNvPr>
          <p:cNvSpPr/>
          <p:nvPr/>
        </p:nvSpPr>
        <p:spPr bwMode="auto">
          <a:xfrm>
            <a:off x="6365221" y="4240059"/>
            <a:ext cx="784911" cy="505262"/>
          </a:xfrm>
          <a:prstGeom prst="rect">
            <a:avLst/>
          </a:prstGeom>
          <a:solidFill>
            <a:schemeClr val="tx2"/>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95%</a:t>
            </a:r>
          </a:p>
        </p:txBody>
      </p:sp>
      <p:sp>
        <p:nvSpPr>
          <p:cNvPr id="196" name="Freeform 5">
            <a:extLst>
              <a:ext uri="{FF2B5EF4-FFF2-40B4-BE49-F238E27FC236}">
                <a16:creationId xmlns:a16="http://schemas.microsoft.com/office/drawing/2014/main" id="{DF9FDED0-2500-4374-B5B2-ED86C9D5D9D3}"/>
              </a:ext>
            </a:extLst>
          </p:cNvPr>
          <p:cNvSpPr>
            <a:spLocks noEditPoints="1"/>
          </p:cNvSpPr>
          <p:nvPr/>
        </p:nvSpPr>
        <p:spPr bwMode="auto">
          <a:xfrm>
            <a:off x="10044550" y="2859269"/>
            <a:ext cx="440106" cy="264778"/>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9" name="Rectangle 198">
            <a:extLst>
              <a:ext uri="{FF2B5EF4-FFF2-40B4-BE49-F238E27FC236}">
                <a16:creationId xmlns:a16="http://schemas.microsoft.com/office/drawing/2014/main" id="{22602F01-A6AD-4809-AE58-134198AE5A95}"/>
              </a:ext>
            </a:extLst>
          </p:cNvPr>
          <p:cNvSpPr/>
          <p:nvPr/>
        </p:nvSpPr>
        <p:spPr bwMode="auto">
          <a:xfrm>
            <a:off x="9828898" y="6107656"/>
            <a:ext cx="878351" cy="9026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E9A9F4A2-34D2-4122-B219-A325533A8008}"/>
              </a:ext>
            </a:extLst>
          </p:cNvPr>
          <p:cNvSpPr txBox="1"/>
          <p:nvPr/>
        </p:nvSpPr>
        <p:spPr>
          <a:xfrm>
            <a:off x="9308967" y="3168468"/>
            <a:ext cx="1918212" cy="3120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en-US"/>
            </a:defPPr>
            <a:lvl1pPr algn="ctr">
              <a:defRPr sz="1400">
                <a:solidFill>
                  <a:schemeClr val="accent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Optimized model</a:t>
            </a:r>
          </a:p>
        </p:txBody>
      </p:sp>
      <p:sp>
        <p:nvSpPr>
          <p:cNvPr id="197" name="Rectangle 196">
            <a:extLst>
              <a:ext uri="{FF2B5EF4-FFF2-40B4-BE49-F238E27FC236}">
                <a16:creationId xmlns:a16="http://schemas.microsoft.com/office/drawing/2014/main" id="{A85EB74B-FDD2-45CB-A236-74C66623A549}"/>
              </a:ext>
            </a:extLst>
          </p:cNvPr>
          <p:cNvSpPr/>
          <p:nvPr/>
        </p:nvSpPr>
        <p:spPr bwMode="auto">
          <a:xfrm>
            <a:off x="6508810" y="4341679"/>
            <a:ext cx="497733" cy="302023"/>
          </a:xfrm>
          <a:prstGeom prst="rect">
            <a:avLst/>
          </a:prstGeom>
          <a:no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95%</a:t>
            </a:r>
          </a:p>
        </p:txBody>
      </p:sp>
      <p:grpSp>
        <p:nvGrpSpPr>
          <p:cNvPr id="212" name="Group 211">
            <a:extLst>
              <a:ext uri="{FF2B5EF4-FFF2-40B4-BE49-F238E27FC236}">
                <a16:creationId xmlns:a16="http://schemas.microsoft.com/office/drawing/2014/main" id="{49DE720E-16FD-4BAD-BC4A-AB88F4C6E793}"/>
              </a:ext>
            </a:extLst>
          </p:cNvPr>
          <p:cNvGrpSpPr/>
          <p:nvPr/>
        </p:nvGrpSpPr>
        <p:grpSpPr>
          <a:xfrm>
            <a:off x="1131402" y="4210192"/>
            <a:ext cx="375548" cy="424666"/>
            <a:chOff x="9005455" y="6149108"/>
            <a:chExt cx="1115925" cy="1261885"/>
          </a:xfrm>
          <a:noFill/>
        </p:grpSpPr>
        <p:sp>
          <p:nvSpPr>
            <p:cNvPr id="213" name="Freeform 938">
              <a:extLst>
                <a:ext uri="{FF2B5EF4-FFF2-40B4-BE49-F238E27FC236}">
                  <a16:creationId xmlns:a16="http://schemas.microsoft.com/office/drawing/2014/main" id="{E6153D3D-A39E-4FF3-9DD7-BF527CAF6B4A}"/>
                </a:ext>
              </a:extLst>
            </p:cNvPr>
            <p:cNvSpPr/>
            <p:nvPr/>
          </p:nvSpPr>
          <p:spPr>
            <a:xfrm>
              <a:off x="9005455" y="6282459"/>
              <a:ext cx="555625" cy="1123950"/>
            </a:xfrm>
            <a:custGeom>
              <a:avLst/>
              <a:gdLst>
                <a:gd name="connsiteX0" fmla="*/ 555625 w 555625"/>
                <a:gd name="connsiteY0" fmla="*/ 1123950 h 1123950"/>
                <a:gd name="connsiteX1" fmla="*/ 0 w 555625"/>
                <a:gd name="connsiteY1" fmla="*/ 1123950 h 1123950"/>
                <a:gd name="connsiteX2" fmla="*/ 0 w 555625"/>
                <a:gd name="connsiteY2" fmla="*/ 0 h 1123950"/>
                <a:gd name="connsiteX3" fmla="*/ 219075 w 555625"/>
                <a:gd name="connsiteY3" fmla="*/ 0 h 1123950"/>
              </a:gdLst>
              <a:ahLst/>
              <a:cxnLst>
                <a:cxn ang="0">
                  <a:pos x="connsiteX0" y="connsiteY0"/>
                </a:cxn>
                <a:cxn ang="0">
                  <a:pos x="connsiteX1" y="connsiteY1"/>
                </a:cxn>
                <a:cxn ang="0">
                  <a:pos x="connsiteX2" y="connsiteY2"/>
                </a:cxn>
                <a:cxn ang="0">
                  <a:pos x="connsiteX3" y="connsiteY3"/>
                </a:cxn>
              </a:cxnLst>
              <a:rect l="l" t="t" r="r" b="b"/>
              <a:pathLst>
                <a:path w="555625" h="1123950">
                  <a:moveTo>
                    <a:pt x="555625" y="1123950"/>
                  </a:moveTo>
                  <a:lnTo>
                    <a:pt x="0" y="1123950"/>
                  </a:lnTo>
                  <a:lnTo>
                    <a:pt x="0" y="0"/>
                  </a:lnTo>
                  <a:lnTo>
                    <a:pt x="219075" y="0"/>
                  </a:lnTo>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4" name="Freeform 939">
              <a:extLst>
                <a:ext uri="{FF2B5EF4-FFF2-40B4-BE49-F238E27FC236}">
                  <a16:creationId xmlns:a16="http://schemas.microsoft.com/office/drawing/2014/main" id="{F26CC79B-EF9A-47A6-80E3-4A5AE6DBC57A}"/>
                </a:ext>
              </a:extLst>
            </p:cNvPr>
            <p:cNvSpPr/>
            <p:nvPr/>
          </p:nvSpPr>
          <p:spPr>
            <a:xfrm>
              <a:off x="9707130" y="6282459"/>
              <a:ext cx="215900" cy="485775"/>
            </a:xfrm>
            <a:custGeom>
              <a:avLst/>
              <a:gdLst>
                <a:gd name="connsiteX0" fmla="*/ 0 w 215900"/>
                <a:gd name="connsiteY0" fmla="*/ 0 h 485775"/>
                <a:gd name="connsiteX1" fmla="*/ 215900 w 215900"/>
                <a:gd name="connsiteY1" fmla="*/ 0 h 485775"/>
                <a:gd name="connsiteX2" fmla="*/ 215900 w 215900"/>
                <a:gd name="connsiteY2" fmla="*/ 485775 h 485775"/>
              </a:gdLst>
              <a:ahLst/>
              <a:cxnLst>
                <a:cxn ang="0">
                  <a:pos x="connsiteX0" y="connsiteY0"/>
                </a:cxn>
                <a:cxn ang="0">
                  <a:pos x="connsiteX1" y="connsiteY1"/>
                </a:cxn>
                <a:cxn ang="0">
                  <a:pos x="connsiteX2" y="connsiteY2"/>
                </a:cxn>
              </a:cxnLst>
              <a:rect l="l" t="t" r="r" b="b"/>
              <a:pathLst>
                <a:path w="215900" h="485775">
                  <a:moveTo>
                    <a:pt x="0" y="0"/>
                  </a:moveTo>
                  <a:lnTo>
                    <a:pt x="215900" y="0"/>
                  </a:lnTo>
                  <a:lnTo>
                    <a:pt x="215900" y="485775"/>
                  </a:lnTo>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5" name="Freeform 940">
              <a:extLst>
                <a:ext uri="{FF2B5EF4-FFF2-40B4-BE49-F238E27FC236}">
                  <a16:creationId xmlns:a16="http://schemas.microsoft.com/office/drawing/2014/main" id="{B00F6E1D-6062-4D94-B78A-CD286D3C86D9}"/>
                </a:ext>
              </a:extLst>
            </p:cNvPr>
            <p:cNvSpPr/>
            <p:nvPr/>
          </p:nvSpPr>
          <p:spPr>
            <a:xfrm>
              <a:off x="9221355" y="6149108"/>
              <a:ext cx="482600" cy="190500"/>
            </a:xfrm>
            <a:custGeom>
              <a:avLst/>
              <a:gdLst>
                <a:gd name="connsiteX0" fmla="*/ 142875 w 482600"/>
                <a:gd name="connsiteY0" fmla="*/ 0 h 190500"/>
                <a:gd name="connsiteX1" fmla="*/ 339725 w 482600"/>
                <a:gd name="connsiteY1" fmla="*/ 0 h 190500"/>
                <a:gd name="connsiteX2" fmla="*/ 339725 w 482600"/>
                <a:gd name="connsiteY2" fmla="*/ 47625 h 190500"/>
                <a:gd name="connsiteX3" fmla="*/ 482600 w 482600"/>
                <a:gd name="connsiteY3" fmla="*/ 47625 h 190500"/>
                <a:gd name="connsiteX4" fmla="*/ 482600 w 482600"/>
                <a:gd name="connsiteY4" fmla="*/ 190500 h 190500"/>
                <a:gd name="connsiteX5" fmla="*/ 0 w 482600"/>
                <a:gd name="connsiteY5" fmla="*/ 190500 h 190500"/>
                <a:gd name="connsiteX6" fmla="*/ 0 w 482600"/>
                <a:gd name="connsiteY6" fmla="*/ 47625 h 190500"/>
                <a:gd name="connsiteX7" fmla="*/ 142875 w 482600"/>
                <a:gd name="connsiteY7" fmla="*/ 476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600" h="190500">
                  <a:moveTo>
                    <a:pt x="142875" y="0"/>
                  </a:moveTo>
                  <a:lnTo>
                    <a:pt x="339725" y="0"/>
                  </a:lnTo>
                  <a:lnTo>
                    <a:pt x="339725" y="47625"/>
                  </a:lnTo>
                  <a:lnTo>
                    <a:pt x="482600" y="47625"/>
                  </a:lnTo>
                  <a:lnTo>
                    <a:pt x="482600" y="190500"/>
                  </a:lnTo>
                  <a:lnTo>
                    <a:pt x="0" y="190500"/>
                  </a:lnTo>
                  <a:lnTo>
                    <a:pt x="0" y="47625"/>
                  </a:lnTo>
                  <a:lnTo>
                    <a:pt x="142875" y="47625"/>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6" name="Freeform 941">
              <a:extLst>
                <a:ext uri="{FF2B5EF4-FFF2-40B4-BE49-F238E27FC236}">
                  <a16:creationId xmlns:a16="http://schemas.microsoft.com/office/drawing/2014/main" id="{17392C07-5E2D-4739-A4F2-D9DF08D5495D}"/>
                </a:ext>
              </a:extLst>
            </p:cNvPr>
            <p:cNvSpPr/>
            <p:nvPr/>
          </p:nvSpPr>
          <p:spPr bwMode="auto">
            <a:xfrm>
              <a:off x="9671568" y="7021832"/>
              <a:ext cx="333569" cy="212271"/>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7" name="Oval 216">
              <a:extLst>
                <a:ext uri="{FF2B5EF4-FFF2-40B4-BE49-F238E27FC236}">
                  <a16:creationId xmlns:a16="http://schemas.microsoft.com/office/drawing/2014/main" id="{25A47A8E-8060-42E3-A4D3-7A039E09BDC7}"/>
                </a:ext>
              </a:extLst>
            </p:cNvPr>
            <p:cNvSpPr/>
            <p:nvPr/>
          </p:nvSpPr>
          <p:spPr bwMode="auto">
            <a:xfrm>
              <a:off x="9555323" y="6844938"/>
              <a:ext cx="566057" cy="566055"/>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18" name="Group 10">
            <a:extLst>
              <a:ext uri="{FF2B5EF4-FFF2-40B4-BE49-F238E27FC236}">
                <a16:creationId xmlns:a16="http://schemas.microsoft.com/office/drawing/2014/main" id="{830091A3-D67E-42AD-A0B0-88B8CF8365E6}"/>
              </a:ext>
            </a:extLst>
          </p:cNvPr>
          <p:cNvGrpSpPr>
            <a:grpSpLocks noChangeAspect="1"/>
          </p:cNvGrpSpPr>
          <p:nvPr/>
        </p:nvGrpSpPr>
        <p:grpSpPr bwMode="auto">
          <a:xfrm>
            <a:off x="1133148" y="5275402"/>
            <a:ext cx="372058" cy="368826"/>
            <a:chOff x="2536" y="833"/>
            <a:chExt cx="2764" cy="2740"/>
          </a:xfrm>
          <a:noFill/>
        </p:grpSpPr>
        <p:sp>
          <p:nvSpPr>
            <p:cNvPr id="219" name="Freeform 11">
              <a:extLst>
                <a:ext uri="{FF2B5EF4-FFF2-40B4-BE49-F238E27FC236}">
                  <a16:creationId xmlns:a16="http://schemas.microsoft.com/office/drawing/2014/main" id="{E4CB3829-6B57-4320-B2A5-02C096E3EBF1}"/>
                </a:ext>
              </a:extLst>
            </p:cNvPr>
            <p:cNvSpPr>
              <a:spLocks noEditPoints="1"/>
            </p:cNvSpPr>
            <p:nvPr/>
          </p:nvSpPr>
          <p:spPr bwMode="auto">
            <a:xfrm>
              <a:off x="2536" y="833"/>
              <a:ext cx="2739" cy="2740"/>
            </a:xfrm>
            <a:custGeom>
              <a:avLst/>
              <a:gdLst>
                <a:gd name="T0" fmla="*/ 292 w 2739"/>
                <a:gd name="T1" fmla="*/ 1639 h 2740"/>
                <a:gd name="T2" fmla="*/ 1100 w 2739"/>
                <a:gd name="T3" fmla="*/ 1639 h 2740"/>
                <a:gd name="T4" fmla="*/ 1100 w 2739"/>
                <a:gd name="T5" fmla="*/ 2448 h 2740"/>
                <a:gd name="T6" fmla="*/ 1100 w 2739"/>
                <a:gd name="T7" fmla="*/ 1639 h 2740"/>
                <a:gd name="T8" fmla="*/ 0 w 2739"/>
                <a:gd name="T9" fmla="*/ 2740 h 2740"/>
                <a:gd name="T10" fmla="*/ 1639 w 2739"/>
                <a:gd name="T11" fmla="*/ 291 h 2740"/>
                <a:gd name="T12" fmla="*/ 1639 w 2739"/>
                <a:gd name="T13" fmla="*/ 1100 h 2740"/>
                <a:gd name="T14" fmla="*/ 2447 w 2739"/>
                <a:gd name="T15" fmla="*/ 1100 h 2740"/>
                <a:gd name="T16" fmla="*/ 2739 w 2739"/>
                <a:gd name="T17" fmla="*/ 0 h 2740"/>
                <a:gd name="T18" fmla="*/ 1639 w 2739"/>
                <a:gd name="T19" fmla="*/ 110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9" h="2740">
                  <a:moveTo>
                    <a:pt x="292" y="1639"/>
                  </a:moveTo>
                  <a:lnTo>
                    <a:pt x="1100" y="1639"/>
                  </a:lnTo>
                  <a:lnTo>
                    <a:pt x="1100" y="2448"/>
                  </a:lnTo>
                  <a:moveTo>
                    <a:pt x="1100" y="1639"/>
                  </a:moveTo>
                  <a:lnTo>
                    <a:pt x="0" y="2740"/>
                  </a:lnTo>
                  <a:moveTo>
                    <a:pt x="1639" y="291"/>
                  </a:moveTo>
                  <a:lnTo>
                    <a:pt x="1639" y="1100"/>
                  </a:lnTo>
                  <a:lnTo>
                    <a:pt x="2447" y="1100"/>
                  </a:lnTo>
                  <a:moveTo>
                    <a:pt x="2739" y="0"/>
                  </a:moveTo>
                  <a:lnTo>
                    <a:pt x="1639" y="1100"/>
                  </a:lnTo>
                </a:path>
              </a:pathLst>
            </a:custGeom>
            <a:grpFill/>
            <a:ln w="12700" cap="flat">
              <a:solidFill>
                <a:schemeClr val="tx2"/>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0" name="Freeform 12">
              <a:extLst>
                <a:ext uri="{FF2B5EF4-FFF2-40B4-BE49-F238E27FC236}">
                  <a16:creationId xmlns:a16="http://schemas.microsoft.com/office/drawing/2014/main" id="{72B9D2CD-B1E1-4394-A96E-E2E15CE45E8D}"/>
                </a:ext>
              </a:extLst>
            </p:cNvPr>
            <p:cNvSpPr>
              <a:spLocks noEditPoints="1"/>
            </p:cNvSpPr>
            <p:nvPr/>
          </p:nvSpPr>
          <p:spPr bwMode="auto">
            <a:xfrm>
              <a:off x="2561" y="833"/>
              <a:ext cx="2739" cy="2740"/>
            </a:xfrm>
            <a:custGeom>
              <a:avLst/>
              <a:gdLst>
                <a:gd name="T0" fmla="*/ 1638 w 2739"/>
                <a:gd name="T1" fmla="*/ 2448 h 2740"/>
                <a:gd name="T2" fmla="*/ 1638 w 2739"/>
                <a:gd name="T3" fmla="*/ 1639 h 2740"/>
                <a:gd name="T4" fmla="*/ 2446 w 2739"/>
                <a:gd name="T5" fmla="*/ 1639 h 2740"/>
                <a:gd name="T6" fmla="*/ 2739 w 2739"/>
                <a:gd name="T7" fmla="*/ 2740 h 2740"/>
                <a:gd name="T8" fmla="*/ 1638 w 2739"/>
                <a:gd name="T9" fmla="*/ 1639 h 2740"/>
                <a:gd name="T10" fmla="*/ 291 w 2739"/>
                <a:gd name="T11" fmla="*/ 1100 h 2740"/>
                <a:gd name="T12" fmla="*/ 1099 w 2739"/>
                <a:gd name="T13" fmla="*/ 1100 h 2740"/>
                <a:gd name="T14" fmla="*/ 1099 w 2739"/>
                <a:gd name="T15" fmla="*/ 291 h 2740"/>
                <a:gd name="T16" fmla="*/ 1099 w 2739"/>
                <a:gd name="T17" fmla="*/ 1100 h 2740"/>
                <a:gd name="T18" fmla="*/ 0 w 2739"/>
                <a:gd name="T19" fmla="*/ 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9" h="2740">
                  <a:moveTo>
                    <a:pt x="1638" y="2448"/>
                  </a:moveTo>
                  <a:lnTo>
                    <a:pt x="1638" y="1639"/>
                  </a:lnTo>
                  <a:lnTo>
                    <a:pt x="2446" y="1639"/>
                  </a:lnTo>
                  <a:moveTo>
                    <a:pt x="2739" y="2740"/>
                  </a:moveTo>
                  <a:lnTo>
                    <a:pt x="1638" y="1639"/>
                  </a:lnTo>
                  <a:moveTo>
                    <a:pt x="291" y="1100"/>
                  </a:moveTo>
                  <a:lnTo>
                    <a:pt x="1099" y="1100"/>
                  </a:lnTo>
                  <a:lnTo>
                    <a:pt x="1099" y="291"/>
                  </a:lnTo>
                  <a:moveTo>
                    <a:pt x="1099" y="1100"/>
                  </a:moveTo>
                  <a:lnTo>
                    <a:pt x="0" y="0"/>
                  </a:lnTo>
                </a:path>
              </a:pathLst>
            </a:custGeom>
            <a:grpFill/>
            <a:ln w="12700" cap="flat">
              <a:solidFill>
                <a:schemeClr val="tx2"/>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93" name="Group 92">
            <a:extLst>
              <a:ext uri="{FF2B5EF4-FFF2-40B4-BE49-F238E27FC236}">
                <a16:creationId xmlns:a16="http://schemas.microsoft.com/office/drawing/2014/main" id="{FD316AA3-19A9-42FA-8AAB-F3758407BD09}"/>
              </a:ext>
            </a:extLst>
          </p:cNvPr>
          <p:cNvGrpSpPr/>
          <p:nvPr/>
        </p:nvGrpSpPr>
        <p:grpSpPr>
          <a:xfrm>
            <a:off x="9265595" y="2506770"/>
            <a:ext cx="2391412" cy="3241281"/>
            <a:chOff x="9571688" y="2353818"/>
            <a:chExt cx="2391751" cy="3241740"/>
          </a:xfrm>
          <a:solidFill>
            <a:schemeClr val="tx2"/>
          </a:solidFill>
        </p:grpSpPr>
        <p:grpSp>
          <p:nvGrpSpPr>
            <p:cNvPr id="94" name="Group 93">
              <a:extLst>
                <a:ext uri="{FF2B5EF4-FFF2-40B4-BE49-F238E27FC236}">
                  <a16:creationId xmlns:a16="http://schemas.microsoft.com/office/drawing/2014/main" id="{977C835F-68EE-4491-9370-AD6B93543529}"/>
                </a:ext>
              </a:extLst>
            </p:cNvPr>
            <p:cNvGrpSpPr/>
            <p:nvPr/>
          </p:nvGrpSpPr>
          <p:grpSpPr>
            <a:xfrm>
              <a:off x="11310201" y="2353818"/>
              <a:ext cx="653238" cy="3241740"/>
              <a:chOff x="12076928" y="2353818"/>
              <a:chExt cx="653238" cy="3241740"/>
            </a:xfrm>
            <a:grpFill/>
          </p:grpSpPr>
          <p:sp>
            <p:nvSpPr>
              <p:cNvPr id="107" name="Rectangle 106">
                <a:extLst>
                  <a:ext uri="{FF2B5EF4-FFF2-40B4-BE49-F238E27FC236}">
                    <a16:creationId xmlns:a16="http://schemas.microsoft.com/office/drawing/2014/main" id="{019D642A-52B1-41AF-B289-568D576B1625}"/>
                  </a:ext>
                </a:extLst>
              </p:cNvPr>
              <p:cNvSpPr/>
              <p:nvPr/>
            </p:nvSpPr>
            <p:spPr bwMode="auto">
              <a:xfrm>
                <a:off x="12076928" y="235381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8" name="Rectangle 107">
                <a:extLst>
                  <a:ext uri="{FF2B5EF4-FFF2-40B4-BE49-F238E27FC236}">
                    <a16:creationId xmlns:a16="http://schemas.microsoft.com/office/drawing/2014/main" id="{C22FF296-1C13-424A-877D-765717B945FD}"/>
                  </a:ext>
                </a:extLst>
              </p:cNvPr>
              <p:cNvSpPr/>
              <p:nvPr/>
            </p:nvSpPr>
            <p:spPr bwMode="auto">
              <a:xfrm>
                <a:off x="12076928" y="3049506"/>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28" name="Rectangle 127">
                <a:extLst>
                  <a:ext uri="{FF2B5EF4-FFF2-40B4-BE49-F238E27FC236}">
                    <a16:creationId xmlns:a16="http://schemas.microsoft.com/office/drawing/2014/main" id="{24498DD1-3C59-4026-90A6-E26C2E5BFD1C}"/>
                  </a:ext>
                </a:extLst>
              </p:cNvPr>
              <p:cNvSpPr/>
              <p:nvPr/>
            </p:nvSpPr>
            <p:spPr bwMode="auto">
              <a:xfrm>
                <a:off x="12076928" y="3745193"/>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29" name="Rectangle 128">
                <a:extLst>
                  <a:ext uri="{FF2B5EF4-FFF2-40B4-BE49-F238E27FC236}">
                    <a16:creationId xmlns:a16="http://schemas.microsoft.com/office/drawing/2014/main" id="{DFA15762-E962-4C98-A7F3-FCA2BC38D0D0}"/>
                  </a:ext>
                </a:extLst>
              </p:cNvPr>
              <p:cNvSpPr/>
              <p:nvPr/>
            </p:nvSpPr>
            <p:spPr bwMode="auto">
              <a:xfrm>
                <a:off x="12076928" y="4440881"/>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30" name="Rectangle 129">
                <a:extLst>
                  <a:ext uri="{FF2B5EF4-FFF2-40B4-BE49-F238E27FC236}">
                    <a16:creationId xmlns:a16="http://schemas.microsoft.com/office/drawing/2014/main" id="{340D374C-A398-48E7-9830-A0FCC1E94E77}"/>
                  </a:ext>
                </a:extLst>
              </p:cNvPr>
              <p:cNvSpPr/>
              <p:nvPr/>
            </p:nvSpPr>
            <p:spPr bwMode="auto">
              <a:xfrm>
                <a:off x="12076928" y="513656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nvGrpSpPr>
            <p:cNvPr id="95" name="Group 94">
              <a:extLst>
                <a:ext uri="{FF2B5EF4-FFF2-40B4-BE49-F238E27FC236}">
                  <a16:creationId xmlns:a16="http://schemas.microsoft.com/office/drawing/2014/main" id="{07B89E3D-C38A-4B20-B033-852F0FD39555}"/>
                </a:ext>
              </a:extLst>
            </p:cNvPr>
            <p:cNvGrpSpPr/>
            <p:nvPr/>
          </p:nvGrpSpPr>
          <p:grpSpPr>
            <a:xfrm>
              <a:off x="10440944" y="2353818"/>
              <a:ext cx="653238" cy="3241740"/>
              <a:chOff x="12076928" y="2353818"/>
              <a:chExt cx="653238" cy="3241740"/>
            </a:xfrm>
            <a:grpFill/>
          </p:grpSpPr>
          <p:sp>
            <p:nvSpPr>
              <p:cNvPr id="102" name="Rectangle 101">
                <a:extLst>
                  <a:ext uri="{FF2B5EF4-FFF2-40B4-BE49-F238E27FC236}">
                    <a16:creationId xmlns:a16="http://schemas.microsoft.com/office/drawing/2014/main" id="{C1D3738B-9C16-41D8-A676-3993C5351106}"/>
                  </a:ext>
                </a:extLst>
              </p:cNvPr>
              <p:cNvSpPr/>
              <p:nvPr/>
            </p:nvSpPr>
            <p:spPr bwMode="auto">
              <a:xfrm>
                <a:off x="12076928" y="235381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3" name="Rectangle 102">
                <a:extLst>
                  <a:ext uri="{FF2B5EF4-FFF2-40B4-BE49-F238E27FC236}">
                    <a16:creationId xmlns:a16="http://schemas.microsoft.com/office/drawing/2014/main" id="{B1A7BF7F-84E6-40B6-A7EC-29EA87D247DC}"/>
                  </a:ext>
                </a:extLst>
              </p:cNvPr>
              <p:cNvSpPr/>
              <p:nvPr/>
            </p:nvSpPr>
            <p:spPr bwMode="auto">
              <a:xfrm>
                <a:off x="12076928" y="3049506"/>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4" name="Rectangle 103">
                <a:extLst>
                  <a:ext uri="{FF2B5EF4-FFF2-40B4-BE49-F238E27FC236}">
                    <a16:creationId xmlns:a16="http://schemas.microsoft.com/office/drawing/2014/main" id="{9273ABB3-4EA8-4BF1-9A20-E110EC58AB5C}"/>
                  </a:ext>
                </a:extLst>
              </p:cNvPr>
              <p:cNvSpPr/>
              <p:nvPr/>
            </p:nvSpPr>
            <p:spPr bwMode="auto">
              <a:xfrm>
                <a:off x="12076928" y="3745193"/>
                <a:ext cx="653238" cy="4589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5" name="Rectangle 104">
                <a:extLst>
                  <a:ext uri="{FF2B5EF4-FFF2-40B4-BE49-F238E27FC236}">
                    <a16:creationId xmlns:a16="http://schemas.microsoft.com/office/drawing/2014/main" id="{CAEC7D98-1785-4AA8-ACBA-2803A5D92604}"/>
                  </a:ext>
                </a:extLst>
              </p:cNvPr>
              <p:cNvSpPr/>
              <p:nvPr/>
            </p:nvSpPr>
            <p:spPr bwMode="auto">
              <a:xfrm>
                <a:off x="12076928" y="4440881"/>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6" name="Rectangle 105">
                <a:extLst>
                  <a:ext uri="{FF2B5EF4-FFF2-40B4-BE49-F238E27FC236}">
                    <a16:creationId xmlns:a16="http://schemas.microsoft.com/office/drawing/2014/main" id="{27582DD6-E929-4B0D-A601-1A9083C5F771}"/>
                  </a:ext>
                </a:extLst>
              </p:cNvPr>
              <p:cNvSpPr/>
              <p:nvPr/>
            </p:nvSpPr>
            <p:spPr bwMode="auto">
              <a:xfrm>
                <a:off x="12076928" y="513656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nvGrpSpPr>
            <p:cNvPr id="96" name="Group 95">
              <a:extLst>
                <a:ext uri="{FF2B5EF4-FFF2-40B4-BE49-F238E27FC236}">
                  <a16:creationId xmlns:a16="http://schemas.microsoft.com/office/drawing/2014/main" id="{F192391C-0131-4AD8-988A-96634C4F150E}"/>
                </a:ext>
              </a:extLst>
            </p:cNvPr>
            <p:cNvGrpSpPr/>
            <p:nvPr/>
          </p:nvGrpSpPr>
          <p:grpSpPr>
            <a:xfrm>
              <a:off x="9571688" y="2353818"/>
              <a:ext cx="653238" cy="3241740"/>
              <a:chOff x="12076928" y="2353818"/>
              <a:chExt cx="653238" cy="3241740"/>
            </a:xfrm>
            <a:grpFill/>
          </p:grpSpPr>
          <p:sp>
            <p:nvSpPr>
              <p:cNvPr id="97" name="Rectangle 96">
                <a:extLst>
                  <a:ext uri="{FF2B5EF4-FFF2-40B4-BE49-F238E27FC236}">
                    <a16:creationId xmlns:a16="http://schemas.microsoft.com/office/drawing/2014/main" id="{6B4F7ED2-6589-4C79-B565-4958E6ECE145}"/>
                  </a:ext>
                </a:extLst>
              </p:cNvPr>
              <p:cNvSpPr/>
              <p:nvPr/>
            </p:nvSpPr>
            <p:spPr bwMode="auto">
              <a:xfrm>
                <a:off x="12076928" y="235381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98" name="Rectangle 97">
                <a:extLst>
                  <a:ext uri="{FF2B5EF4-FFF2-40B4-BE49-F238E27FC236}">
                    <a16:creationId xmlns:a16="http://schemas.microsoft.com/office/drawing/2014/main" id="{527FA763-23A7-49C7-B1ED-B12087F71970}"/>
                  </a:ext>
                </a:extLst>
              </p:cNvPr>
              <p:cNvSpPr/>
              <p:nvPr/>
            </p:nvSpPr>
            <p:spPr bwMode="auto">
              <a:xfrm>
                <a:off x="12076928" y="3049506"/>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99" name="Rectangle 98">
                <a:extLst>
                  <a:ext uri="{FF2B5EF4-FFF2-40B4-BE49-F238E27FC236}">
                    <a16:creationId xmlns:a16="http://schemas.microsoft.com/office/drawing/2014/main" id="{1FA201D8-95C4-4E67-972E-68C9431637B3}"/>
                  </a:ext>
                </a:extLst>
              </p:cNvPr>
              <p:cNvSpPr/>
              <p:nvPr/>
            </p:nvSpPr>
            <p:spPr bwMode="auto">
              <a:xfrm>
                <a:off x="12076928" y="3745193"/>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0" name="Rectangle 99">
                <a:extLst>
                  <a:ext uri="{FF2B5EF4-FFF2-40B4-BE49-F238E27FC236}">
                    <a16:creationId xmlns:a16="http://schemas.microsoft.com/office/drawing/2014/main" id="{813107D5-145B-4F26-90D8-591D95FFBF2C}"/>
                  </a:ext>
                </a:extLst>
              </p:cNvPr>
              <p:cNvSpPr/>
              <p:nvPr/>
            </p:nvSpPr>
            <p:spPr bwMode="auto">
              <a:xfrm>
                <a:off x="12076928" y="4440881"/>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1" name="Rectangle 100">
                <a:extLst>
                  <a:ext uri="{FF2B5EF4-FFF2-40B4-BE49-F238E27FC236}">
                    <a16:creationId xmlns:a16="http://schemas.microsoft.com/office/drawing/2014/main" id="{ED195665-23B6-4D98-A84B-5BF1D2F02772}"/>
                  </a:ext>
                </a:extLst>
              </p:cNvPr>
              <p:cNvSpPr/>
              <p:nvPr/>
            </p:nvSpPr>
            <p:spPr bwMode="auto">
              <a:xfrm>
                <a:off x="12076928" y="513656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sp>
        <p:nvSpPr>
          <p:cNvPr id="155" name="Freeform: Shape 154">
            <a:extLst>
              <a:ext uri="{FF2B5EF4-FFF2-40B4-BE49-F238E27FC236}">
                <a16:creationId xmlns:a16="http://schemas.microsoft.com/office/drawing/2014/main" id="{EF783045-44B2-41D9-B7F6-6239D9773C13}"/>
              </a:ext>
            </a:extLst>
          </p:cNvPr>
          <p:cNvSpPr/>
          <p:nvPr/>
        </p:nvSpPr>
        <p:spPr bwMode="auto">
          <a:xfrm>
            <a:off x="9265595" y="2506770"/>
            <a:ext cx="2391412" cy="3241281"/>
          </a:xfrm>
          <a:custGeom>
            <a:avLst/>
            <a:gdLst>
              <a:gd name="connsiteX0" fmla="*/ 1738513 w 2391751"/>
              <a:gd name="connsiteY0" fmla="*/ 2782750 h 3241740"/>
              <a:gd name="connsiteX1" fmla="*/ 2391751 w 2391751"/>
              <a:gd name="connsiteY1" fmla="*/ 2782750 h 3241740"/>
              <a:gd name="connsiteX2" fmla="*/ 2391751 w 2391751"/>
              <a:gd name="connsiteY2" fmla="*/ 3241740 h 3241740"/>
              <a:gd name="connsiteX3" fmla="*/ 1738513 w 2391751"/>
              <a:gd name="connsiteY3" fmla="*/ 3241740 h 3241740"/>
              <a:gd name="connsiteX4" fmla="*/ 869256 w 2391751"/>
              <a:gd name="connsiteY4" fmla="*/ 2782750 h 3241740"/>
              <a:gd name="connsiteX5" fmla="*/ 1522494 w 2391751"/>
              <a:gd name="connsiteY5" fmla="*/ 2782750 h 3241740"/>
              <a:gd name="connsiteX6" fmla="*/ 1522494 w 2391751"/>
              <a:gd name="connsiteY6" fmla="*/ 3241740 h 3241740"/>
              <a:gd name="connsiteX7" fmla="*/ 869256 w 2391751"/>
              <a:gd name="connsiteY7" fmla="*/ 3241740 h 3241740"/>
              <a:gd name="connsiteX8" fmla="*/ 0 w 2391751"/>
              <a:gd name="connsiteY8" fmla="*/ 2782750 h 3241740"/>
              <a:gd name="connsiteX9" fmla="*/ 653238 w 2391751"/>
              <a:gd name="connsiteY9" fmla="*/ 2782750 h 3241740"/>
              <a:gd name="connsiteX10" fmla="*/ 653238 w 2391751"/>
              <a:gd name="connsiteY10" fmla="*/ 3241740 h 3241740"/>
              <a:gd name="connsiteX11" fmla="*/ 0 w 2391751"/>
              <a:gd name="connsiteY11" fmla="*/ 3241740 h 3241740"/>
              <a:gd name="connsiteX12" fmla="*/ 1738513 w 2391751"/>
              <a:gd name="connsiteY12" fmla="*/ 2087063 h 3241740"/>
              <a:gd name="connsiteX13" fmla="*/ 2391751 w 2391751"/>
              <a:gd name="connsiteY13" fmla="*/ 2087063 h 3241740"/>
              <a:gd name="connsiteX14" fmla="*/ 2391751 w 2391751"/>
              <a:gd name="connsiteY14" fmla="*/ 2546053 h 3241740"/>
              <a:gd name="connsiteX15" fmla="*/ 1738513 w 2391751"/>
              <a:gd name="connsiteY15" fmla="*/ 2546053 h 3241740"/>
              <a:gd name="connsiteX16" fmla="*/ 869256 w 2391751"/>
              <a:gd name="connsiteY16" fmla="*/ 2087063 h 3241740"/>
              <a:gd name="connsiteX17" fmla="*/ 1522494 w 2391751"/>
              <a:gd name="connsiteY17" fmla="*/ 2087063 h 3241740"/>
              <a:gd name="connsiteX18" fmla="*/ 1522494 w 2391751"/>
              <a:gd name="connsiteY18" fmla="*/ 2546053 h 3241740"/>
              <a:gd name="connsiteX19" fmla="*/ 869256 w 2391751"/>
              <a:gd name="connsiteY19" fmla="*/ 2546053 h 3241740"/>
              <a:gd name="connsiteX20" fmla="*/ 0 w 2391751"/>
              <a:gd name="connsiteY20" fmla="*/ 2087063 h 3241740"/>
              <a:gd name="connsiteX21" fmla="*/ 653238 w 2391751"/>
              <a:gd name="connsiteY21" fmla="*/ 2087063 h 3241740"/>
              <a:gd name="connsiteX22" fmla="*/ 653238 w 2391751"/>
              <a:gd name="connsiteY22" fmla="*/ 2546053 h 3241740"/>
              <a:gd name="connsiteX23" fmla="*/ 0 w 2391751"/>
              <a:gd name="connsiteY23" fmla="*/ 2546053 h 3241740"/>
              <a:gd name="connsiteX24" fmla="*/ 1738513 w 2391751"/>
              <a:gd name="connsiteY24" fmla="*/ 1391375 h 3241740"/>
              <a:gd name="connsiteX25" fmla="*/ 2391751 w 2391751"/>
              <a:gd name="connsiteY25" fmla="*/ 1391375 h 3241740"/>
              <a:gd name="connsiteX26" fmla="*/ 2391751 w 2391751"/>
              <a:gd name="connsiteY26" fmla="*/ 1850365 h 3241740"/>
              <a:gd name="connsiteX27" fmla="*/ 1738513 w 2391751"/>
              <a:gd name="connsiteY27" fmla="*/ 1850365 h 3241740"/>
              <a:gd name="connsiteX28" fmla="*/ 869256 w 2391751"/>
              <a:gd name="connsiteY28" fmla="*/ 1391375 h 3241740"/>
              <a:gd name="connsiteX29" fmla="*/ 1522494 w 2391751"/>
              <a:gd name="connsiteY29" fmla="*/ 1391375 h 3241740"/>
              <a:gd name="connsiteX30" fmla="*/ 1522494 w 2391751"/>
              <a:gd name="connsiteY30" fmla="*/ 1850365 h 3241740"/>
              <a:gd name="connsiteX31" fmla="*/ 869256 w 2391751"/>
              <a:gd name="connsiteY31" fmla="*/ 1850365 h 3241740"/>
              <a:gd name="connsiteX32" fmla="*/ 0 w 2391751"/>
              <a:gd name="connsiteY32" fmla="*/ 1391375 h 3241740"/>
              <a:gd name="connsiteX33" fmla="*/ 653238 w 2391751"/>
              <a:gd name="connsiteY33" fmla="*/ 1391375 h 3241740"/>
              <a:gd name="connsiteX34" fmla="*/ 653238 w 2391751"/>
              <a:gd name="connsiteY34" fmla="*/ 1850365 h 3241740"/>
              <a:gd name="connsiteX35" fmla="*/ 0 w 2391751"/>
              <a:gd name="connsiteY35" fmla="*/ 1850365 h 3241740"/>
              <a:gd name="connsiteX36" fmla="*/ 1738513 w 2391751"/>
              <a:gd name="connsiteY36" fmla="*/ 695688 h 3241740"/>
              <a:gd name="connsiteX37" fmla="*/ 2391751 w 2391751"/>
              <a:gd name="connsiteY37" fmla="*/ 695688 h 3241740"/>
              <a:gd name="connsiteX38" fmla="*/ 2391751 w 2391751"/>
              <a:gd name="connsiteY38" fmla="*/ 1154678 h 3241740"/>
              <a:gd name="connsiteX39" fmla="*/ 1738513 w 2391751"/>
              <a:gd name="connsiteY39" fmla="*/ 1154678 h 3241740"/>
              <a:gd name="connsiteX40" fmla="*/ 869256 w 2391751"/>
              <a:gd name="connsiteY40" fmla="*/ 695688 h 3241740"/>
              <a:gd name="connsiteX41" fmla="*/ 1522494 w 2391751"/>
              <a:gd name="connsiteY41" fmla="*/ 695688 h 3241740"/>
              <a:gd name="connsiteX42" fmla="*/ 1522494 w 2391751"/>
              <a:gd name="connsiteY42" fmla="*/ 1154678 h 3241740"/>
              <a:gd name="connsiteX43" fmla="*/ 869256 w 2391751"/>
              <a:gd name="connsiteY43" fmla="*/ 1154678 h 3241740"/>
              <a:gd name="connsiteX44" fmla="*/ 0 w 2391751"/>
              <a:gd name="connsiteY44" fmla="*/ 695688 h 3241740"/>
              <a:gd name="connsiteX45" fmla="*/ 653238 w 2391751"/>
              <a:gd name="connsiteY45" fmla="*/ 695688 h 3241740"/>
              <a:gd name="connsiteX46" fmla="*/ 653238 w 2391751"/>
              <a:gd name="connsiteY46" fmla="*/ 1154678 h 3241740"/>
              <a:gd name="connsiteX47" fmla="*/ 0 w 2391751"/>
              <a:gd name="connsiteY47" fmla="*/ 1154678 h 3241740"/>
              <a:gd name="connsiteX48" fmla="*/ 1738513 w 2391751"/>
              <a:gd name="connsiteY48" fmla="*/ 0 h 3241740"/>
              <a:gd name="connsiteX49" fmla="*/ 2391751 w 2391751"/>
              <a:gd name="connsiteY49" fmla="*/ 0 h 3241740"/>
              <a:gd name="connsiteX50" fmla="*/ 2391751 w 2391751"/>
              <a:gd name="connsiteY50" fmla="*/ 458990 h 3241740"/>
              <a:gd name="connsiteX51" fmla="*/ 1738513 w 2391751"/>
              <a:gd name="connsiteY51" fmla="*/ 458990 h 3241740"/>
              <a:gd name="connsiteX52" fmla="*/ 869256 w 2391751"/>
              <a:gd name="connsiteY52" fmla="*/ 0 h 3241740"/>
              <a:gd name="connsiteX53" fmla="*/ 1522494 w 2391751"/>
              <a:gd name="connsiteY53" fmla="*/ 0 h 3241740"/>
              <a:gd name="connsiteX54" fmla="*/ 1522494 w 2391751"/>
              <a:gd name="connsiteY54" fmla="*/ 458990 h 3241740"/>
              <a:gd name="connsiteX55" fmla="*/ 869256 w 2391751"/>
              <a:gd name="connsiteY55" fmla="*/ 458990 h 3241740"/>
              <a:gd name="connsiteX56" fmla="*/ 0 w 2391751"/>
              <a:gd name="connsiteY56" fmla="*/ 0 h 3241740"/>
              <a:gd name="connsiteX57" fmla="*/ 653238 w 2391751"/>
              <a:gd name="connsiteY57" fmla="*/ 0 h 3241740"/>
              <a:gd name="connsiteX58" fmla="*/ 653238 w 2391751"/>
              <a:gd name="connsiteY58" fmla="*/ 458990 h 3241740"/>
              <a:gd name="connsiteX59" fmla="*/ 0 w 2391751"/>
              <a:gd name="connsiteY59" fmla="*/ 458990 h 324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391751" h="3241740">
                <a:moveTo>
                  <a:pt x="1738513" y="2782750"/>
                </a:moveTo>
                <a:lnTo>
                  <a:pt x="2391751" y="2782750"/>
                </a:lnTo>
                <a:lnTo>
                  <a:pt x="2391751" y="3241740"/>
                </a:lnTo>
                <a:lnTo>
                  <a:pt x="1738513" y="3241740"/>
                </a:lnTo>
                <a:close/>
                <a:moveTo>
                  <a:pt x="869256" y="2782750"/>
                </a:moveTo>
                <a:lnTo>
                  <a:pt x="1522494" y="2782750"/>
                </a:lnTo>
                <a:lnTo>
                  <a:pt x="1522494" y="3241740"/>
                </a:lnTo>
                <a:lnTo>
                  <a:pt x="869256" y="3241740"/>
                </a:lnTo>
                <a:close/>
                <a:moveTo>
                  <a:pt x="0" y="2782750"/>
                </a:moveTo>
                <a:lnTo>
                  <a:pt x="653238" y="2782750"/>
                </a:lnTo>
                <a:lnTo>
                  <a:pt x="653238" y="3241740"/>
                </a:lnTo>
                <a:lnTo>
                  <a:pt x="0" y="3241740"/>
                </a:lnTo>
                <a:close/>
                <a:moveTo>
                  <a:pt x="1738513" y="2087063"/>
                </a:moveTo>
                <a:lnTo>
                  <a:pt x="2391751" y="2087063"/>
                </a:lnTo>
                <a:lnTo>
                  <a:pt x="2391751" y="2546053"/>
                </a:lnTo>
                <a:lnTo>
                  <a:pt x="1738513" y="2546053"/>
                </a:lnTo>
                <a:close/>
                <a:moveTo>
                  <a:pt x="869256" y="2087063"/>
                </a:moveTo>
                <a:lnTo>
                  <a:pt x="1522494" y="2087063"/>
                </a:lnTo>
                <a:lnTo>
                  <a:pt x="1522494" y="2546053"/>
                </a:lnTo>
                <a:lnTo>
                  <a:pt x="869256" y="2546053"/>
                </a:lnTo>
                <a:close/>
                <a:moveTo>
                  <a:pt x="0" y="2087063"/>
                </a:moveTo>
                <a:lnTo>
                  <a:pt x="653238" y="2087063"/>
                </a:lnTo>
                <a:lnTo>
                  <a:pt x="653238" y="2546053"/>
                </a:lnTo>
                <a:lnTo>
                  <a:pt x="0" y="2546053"/>
                </a:lnTo>
                <a:close/>
                <a:moveTo>
                  <a:pt x="1738513" y="1391375"/>
                </a:moveTo>
                <a:lnTo>
                  <a:pt x="2391751" y="1391375"/>
                </a:lnTo>
                <a:lnTo>
                  <a:pt x="2391751" y="1850365"/>
                </a:lnTo>
                <a:lnTo>
                  <a:pt x="1738513" y="1850365"/>
                </a:lnTo>
                <a:close/>
                <a:moveTo>
                  <a:pt x="869256" y="1391375"/>
                </a:moveTo>
                <a:lnTo>
                  <a:pt x="1522494" y="1391375"/>
                </a:lnTo>
                <a:lnTo>
                  <a:pt x="1522494" y="1850365"/>
                </a:lnTo>
                <a:lnTo>
                  <a:pt x="869256" y="1850365"/>
                </a:lnTo>
                <a:close/>
                <a:moveTo>
                  <a:pt x="0" y="1391375"/>
                </a:moveTo>
                <a:lnTo>
                  <a:pt x="653238" y="1391375"/>
                </a:lnTo>
                <a:lnTo>
                  <a:pt x="653238" y="1850365"/>
                </a:lnTo>
                <a:lnTo>
                  <a:pt x="0" y="1850365"/>
                </a:lnTo>
                <a:close/>
                <a:moveTo>
                  <a:pt x="1738513" y="695688"/>
                </a:moveTo>
                <a:lnTo>
                  <a:pt x="2391751" y="695688"/>
                </a:lnTo>
                <a:lnTo>
                  <a:pt x="2391751" y="1154678"/>
                </a:lnTo>
                <a:lnTo>
                  <a:pt x="1738513" y="1154678"/>
                </a:lnTo>
                <a:close/>
                <a:moveTo>
                  <a:pt x="869256" y="695688"/>
                </a:moveTo>
                <a:lnTo>
                  <a:pt x="1522494" y="695688"/>
                </a:lnTo>
                <a:lnTo>
                  <a:pt x="1522494" y="1154678"/>
                </a:lnTo>
                <a:lnTo>
                  <a:pt x="869256" y="1154678"/>
                </a:lnTo>
                <a:close/>
                <a:moveTo>
                  <a:pt x="0" y="695688"/>
                </a:moveTo>
                <a:lnTo>
                  <a:pt x="653238" y="695688"/>
                </a:lnTo>
                <a:lnTo>
                  <a:pt x="653238" y="1154678"/>
                </a:lnTo>
                <a:lnTo>
                  <a:pt x="0" y="1154678"/>
                </a:lnTo>
                <a:close/>
                <a:moveTo>
                  <a:pt x="1738513" y="0"/>
                </a:moveTo>
                <a:lnTo>
                  <a:pt x="2391751" y="0"/>
                </a:lnTo>
                <a:lnTo>
                  <a:pt x="2391751" y="458990"/>
                </a:lnTo>
                <a:lnTo>
                  <a:pt x="1738513" y="458990"/>
                </a:lnTo>
                <a:close/>
                <a:moveTo>
                  <a:pt x="869256" y="0"/>
                </a:moveTo>
                <a:lnTo>
                  <a:pt x="1522494" y="0"/>
                </a:lnTo>
                <a:lnTo>
                  <a:pt x="1522494" y="458990"/>
                </a:lnTo>
                <a:lnTo>
                  <a:pt x="869256" y="458990"/>
                </a:lnTo>
                <a:close/>
                <a:moveTo>
                  <a:pt x="0" y="0"/>
                </a:moveTo>
                <a:lnTo>
                  <a:pt x="653238" y="0"/>
                </a:lnTo>
                <a:lnTo>
                  <a:pt x="653238" y="458990"/>
                </a:lnTo>
                <a:lnTo>
                  <a:pt x="0" y="45899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Tree>
    <p:extLst>
      <p:ext uri="{BB962C8B-B14F-4D97-AF65-F5344CB8AC3E}">
        <p14:creationId xmlns:p14="http://schemas.microsoft.com/office/powerpoint/2010/main" val="3329509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500"/>
                                  </p:stCondLst>
                                  <p:childTnLst>
                                    <p:animEffect transition="out" filter="fade">
                                      <p:cBhvr>
                                        <p:cTn id="6" dur="500"/>
                                        <p:tgtEl>
                                          <p:spTgt spid="93"/>
                                        </p:tgtEl>
                                      </p:cBhvr>
                                    </p:animEffect>
                                    <p:set>
                                      <p:cBhvr>
                                        <p:cTn id="7" dur="1" fill="hold">
                                          <p:stCondLst>
                                            <p:cond delay="499"/>
                                          </p:stCondLst>
                                        </p:cTn>
                                        <p:tgtEl>
                                          <p:spTgt spid="93"/>
                                        </p:tgtEl>
                                        <p:attrNameLst>
                                          <p:attrName>style.visibility</p:attrName>
                                        </p:attrNameLst>
                                      </p:cBhvr>
                                      <p:to>
                                        <p:strVal val="hidden"/>
                                      </p:to>
                                    </p:set>
                                  </p:childTnLst>
                                </p:cTn>
                              </p:par>
                              <p:par>
                                <p:cTn id="8" presetID="10" presetClass="entr" presetSubtype="0" fill="hold" grpId="2" nodeType="withEffect">
                                  <p:stCondLst>
                                    <p:cond delay="500"/>
                                  </p:stCondLst>
                                  <p:childTnLst>
                                    <p:set>
                                      <p:cBhvr>
                                        <p:cTn id="9" dur="1" fill="hold">
                                          <p:stCondLst>
                                            <p:cond delay="0"/>
                                          </p:stCondLst>
                                        </p:cTn>
                                        <p:tgtEl>
                                          <p:spTgt spid="155"/>
                                        </p:tgtEl>
                                        <p:attrNameLst>
                                          <p:attrName>style.visibility</p:attrName>
                                        </p:attrNameLst>
                                      </p:cBhvr>
                                      <p:to>
                                        <p:strVal val="visible"/>
                                      </p:to>
                                    </p:set>
                                    <p:animEffect transition="in" filter="fade">
                                      <p:cBhvr>
                                        <p:cTn id="10" dur="500"/>
                                        <p:tgtEl>
                                          <p:spTgt spid="155"/>
                                        </p:tgtEl>
                                      </p:cBhvr>
                                    </p:animEffect>
                                  </p:childTnLst>
                                </p:cTn>
                              </p:par>
                            </p:childTnLst>
                          </p:cTn>
                        </p:par>
                        <p:par>
                          <p:cTn id="11" fill="hold">
                            <p:stCondLst>
                              <p:cond delay="1000"/>
                            </p:stCondLst>
                            <p:childTnLst>
                              <p:par>
                                <p:cTn id="12" presetID="42" presetClass="path" presetSubtype="0" accel="50000" decel="50000" fill="hold" grpId="0" nodeType="afterEffect">
                                  <p:stCondLst>
                                    <p:cond delay="0"/>
                                  </p:stCondLst>
                                  <p:childTnLst>
                                    <p:animMotion origin="layout" path="M -2.91667E-6 3.7037E-7 L -0.38307 0.05301 " pathEditMode="relative" rAng="0" ptsTypes="AA">
                                      <p:cBhvr>
                                        <p:cTn id="13" dur="1500" fill="hold"/>
                                        <p:tgtEl>
                                          <p:spTgt spid="155"/>
                                        </p:tgtEl>
                                        <p:attrNameLst>
                                          <p:attrName>ppt_x</p:attrName>
                                          <p:attrName>ppt_y</p:attrName>
                                        </p:attrNameLst>
                                      </p:cBhvr>
                                      <p:rCtr x="-19154" y="2639"/>
                                    </p:animMotion>
                                  </p:childTnLst>
                                </p:cTn>
                              </p:par>
                              <p:par>
                                <p:cTn id="14" presetID="10" presetClass="exit" presetSubtype="0" fill="hold" grpId="1" nodeType="withEffect">
                                  <p:stCondLst>
                                    <p:cond delay="1000"/>
                                  </p:stCondLst>
                                  <p:childTnLst>
                                    <p:animEffect transition="out" filter="fade">
                                      <p:cBhvr>
                                        <p:cTn id="15" dur="500"/>
                                        <p:tgtEl>
                                          <p:spTgt spid="155"/>
                                        </p:tgtEl>
                                      </p:cBhvr>
                                    </p:animEffect>
                                    <p:set>
                                      <p:cBhvr>
                                        <p:cTn id="16" dur="1" fill="hold">
                                          <p:stCondLst>
                                            <p:cond delay="499"/>
                                          </p:stCondLst>
                                        </p:cTn>
                                        <p:tgtEl>
                                          <p:spTgt spid="155"/>
                                        </p:tgtEl>
                                        <p:attrNameLst>
                                          <p:attrName>style.visibility</p:attrName>
                                        </p:attrNameLst>
                                      </p:cBhvr>
                                      <p:to>
                                        <p:strVal val="hidden"/>
                                      </p:to>
                                    </p:set>
                                  </p:childTnLst>
                                </p:cTn>
                              </p:par>
                              <p:par>
                                <p:cTn id="17" presetID="6" presetClass="emph" presetSubtype="0" fill="hold" grpId="3" nodeType="withEffect">
                                  <p:stCondLst>
                                    <p:cond delay="250"/>
                                  </p:stCondLst>
                                  <p:childTnLst>
                                    <p:animScale>
                                      <p:cBhvr>
                                        <p:cTn id="18" dur="1250" fill="hold"/>
                                        <p:tgtEl>
                                          <p:spTgt spid="155"/>
                                        </p:tgtEl>
                                      </p:cBhvr>
                                      <p:by x="115000" y="100000"/>
                                    </p:animScale>
                                  </p:childTnLst>
                                </p:cTn>
                              </p:par>
                              <p:par>
                                <p:cTn id="19" presetID="10" presetClass="entr" presetSubtype="0" fill="hold" grpId="0" nodeType="withEffect">
                                  <p:stCondLst>
                                    <p:cond delay="75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750"/>
                                        <p:tgtEl>
                                          <p:spTgt spid="18"/>
                                        </p:tgtEl>
                                      </p:cBhvr>
                                    </p:animEffect>
                                  </p:childTnLst>
                                </p:cTn>
                              </p:par>
                              <p:par>
                                <p:cTn id="22" presetID="10" presetClass="entr" presetSubtype="0" fill="hold" grpId="0" nodeType="withEffect">
                                  <p:stCondLst>
                                    <p:cond delay="750"/>
                                  </p:stCondLst>
                                  <p:childTnLst>
                                    <p:set>
                                      <p:cBhvr>
                                        <p:cTn id="23" dur="1" fill="hold">
                                          <p:stCondLst>
                                            <p:cond delay="0"/>
                                          </p:stCondLst>
                                        </p:cTn>
                                        <p:tgtEl>
                                          <p:spTgt spid="196"/>
                                        </p:tgtEl>
                                        <p:attrNameLst>
                                          <p:attrName>style.visibility</p:attrName>
                                        </p:attrNameLst>
                                      </p:cBhvr>
                                      <p:to>
                                        <p:strVal val="visible"/>
                                      </p:to>
                                    </p:set>
                                    <p:animEffect transition="in" filter="fade">
                                      <p:cBhvr>
                                        <p:cTn id="24" dur="750"/>
                                        <p:tgtEl>
                                          <p:spTgt spid="196"/>
                                        </p:tgtEl>
                                      </p:cBhvr>
                                    </p:animEffect>
                                  </p:childTnLst>
                                </p:cTn>
                              </p:par>
                              <p:par>
                                <p:cTn id="25" presetID="10" presetClass="entr" presetSubtype="0" fill="hold" grpId="0" nodeType="withEffect">
                                  <p:stCondLst>
                                    <p:cond delay="75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750"/>
                                        <p:tgtEl>
                                          <p:spTgt spid="5"/>
                                        </p:tgtEl>
                                      </p:cBhvr>
                                    </p:animEffect>
                                  </p:childTnLst>
                                </p:cTn>
                              </p:par>
                              <p:par>
                                <p:cTn id="28" presetID="10" presetClass="entr" presetSubtype="0" fill="hold" grpId="0" nodeType="withEffect">
                                  <p:stCondLst>
                                    <p:cond delay="750"/>
                                  </p:stCondLst>
                                  <p:childTnLst>
                                    <p:set>
                                      <p:cBhvr>
                                        <p:cTn id="29" dur="1" fill="hold">
                                          <p:stCondLst>
                                            <p:cond delay="0"/>
                                          </p:stCondLst>
                                        </p:cTn>
                                        <p:tgtEl>
                                          <p:spTgt spid="69"/>
                                        </p:tgtEl>
                                        <p:attrNameLst>
                                          <p:attrName>style.visibility</p:attrName>
                                        </p:attrNameLst>
                                      </p:cBhvr>
                                      <p:to>
                                        <p:strVal val="visible"/>
                                      </p:to>
                                    </p:set>
                                    <p:animEffect transition="in" filter="fade">
                                      <p:cBhvr>
                                        <p:cTn id="30" dur="750"/>
                                        <p:tgtEl>
                                          <p:spTgt spid="69"/>
                                        </p:tgtEl>
                                      </p:cBhvr>
                                    </p:animEffect>
                                  </p:childTnLst>
                                </p:cTn>
                              </p:par>
                              <p:par>
                                <p:cTn id="31" presetID="10" presetClass="entr" presetSubtype="0" fill="hold" nodeType="withEffect">
                                  <p:stCondLst>
                                    <p:cond delay="750"/>
                                  </p:stCondLst>
                                  <p:childTnLst>
                                    <p:set>
                                      <p:cBhvr>
                                        <p:cTn id="32" dur="1" fill="hold">
                                          <p:stCondLst>
                                            <p:cond delay="0"/>
                                          </p:stCondLst>
                                        </p:cTn>
                                        <p:tgtEl>
                                          <p:spTgt spid="2"/>
                                        </p:tgtEl>
                                        <p:attrNameLst>
                                          <p:attrName>style.visibility</p:attrName>
                                        </p:attrNameLst>
                                      </p:cBhvr>
                                      <p:to>
                                        <p:strVal val="visible"/>
                                      </p:to>
                                    </p:set>
                                    <p:animEffect transition="in" filter="fade">
                                      <p:cBhvr>
                                        <p:cTn id="33" dur="750"/>
                                        <p:tgtEl>
                                          <p:spTgt spid="2"/>
                                        </p:tgtEl>
                                      </p:cBhvr>
                                    </p:animEffect>
                                  </p:childTnLst>
                                </p:cTn>
                              </p:par>
                              <p:par>
                                <p:cTn id="34" presetID="10" presetClass="entr" presetSubtype="0" fill="hold" grpId="0" nodeType="withEffect">
                                  <p:stCondLst>
                                    <p:cond delay="750"/>
                                  </p:stCondLst>
                                  <p:childTnLst>
                                    <p:set>
                                      <p:cBhvr>
                                        <p:cTn id="35" dur="1" fill="hold">
                                          <p:stCondLst>
                                            <p:cond delay="0"/>
                                          </p:stCondLst>
                                        </p:cTn>
                                        <p:tgtEl>
                                          <p:spTgt spid="147"/>
                                        </p:tgtEl>
                                        <p:attrNameLst>
                                          <p:attrName>style.visibility</p:attrName>
                                        </p:attrNameLst>
                                      </p:cBhvr>
                                      <p:to>
                                        <p:strVal val="visible"/>
                                      </p:to>
                                    </p:set>
                                    <p:animEffect transition="in" filter="fade">
                                      <p:cBhvr>
                                        <p:cTn id="36" dur="750"/>
                                        <p:tgtEl>
                                          <p:spTgt spid="147"/>
                                        </p:tgtEl>
                                      </p:cBhvr>
                                    </p:animEffect>
                                  </p:childTnLst>
                                </p:cTn>
                              </p:par>
                              <p:par>
                                <p:cTn id="37" presetID="10" presetClass="entr" presetSubtype="0" fill="hold" grpId="0" nodeType="withEffect">
                                  <p:stCondLst>
                                    <p:cond delay="750"/>
                                  </p:stCondLst>
                                  <p:childTnLst>
                                    <p:set>
                                      <p:cBhvr>
                                        <p:cTn id="38" dur="1" fill="hold">
                                          <p:stCondLst>
                                            <p:cond delay="0"/>
                                          </p:stCondLst>
                                        </p:cTn>
                                        <p:tgtEl>
                                          <p:spTgt spid="148"/>
                                        </p:tgtEl>
                                        <p:attrNameLst>
                                          <p:attrName>style.visibility</p:attrName>
                                        </p:attrNameLst>
                                      </p:cBhvr>
                                      <p:to>
                                        <p:strVal val="visible"/>
                                      </p:to>
                                    </p:set>
                                    <p:animEffect transition="in" filter="fade">
                                      <p:cBhvr>
                                        <p:cTn id="39" dur="750"/>
                                        <p:tgtEl>
                                          <p:spTgt spid="148"/>
                                        </p:tgtEl>
                                      </p:cBhvr>
                                    </p:animEffect>
                                  </p:childTnLst>
                                </p:cTn>
                              </p:par>
                              <p:par>
                                <p:cTn id="40" presetID="10" presetClass="entr" presetSubtype="0" fill="hold" grpId="0" nodeType="withEffect">
                                  <p:stCondLst>
                                    <p:cond delay="750"/>
                                  </p:stCondLst>
                                  <p:childTnLst>
                                    <p:set>
                                      <p:cBhvr>
                                        <p:cTn id="41" dur="1" fill="hold">
                                          <p:stCondLst>
                                            <p:cond delay="0"/>
                                          </p:stCondLst>
                                        </p:cTn>
                                        <p:tgtEl>
                                          <p:spTgt spid="149"/>
                                        </p:tgtEl>
                                        <p:attrNameLst>
                                          <p:attrName>style.visibility</p:attrName>
                                        </p:attrNameLst>
                                      </p:cBhvr>
                                      <p:to>
                                        <p:strVal val="visible"/>
                                      </p:to>
                                    </p:set>
                                    <p:animEffect transition="in" filter="fade">
                                      <p:cBhvr>
                                        <p:cTn id="42" dur="750"/>
                                        <p:tgtEl>
                                          <p:spTgt spid="149"/>
                                        </p:tgtEl>
                                      </p:cBhvr>
                                    </p:animEffect>
                                  </p:childTnLst>
                                </p:cTn>
                              </p:par>
                              <p:par>
                                <p:cTn id="43" presetID="10" presetClass="entr" presetSubtype="0" fill="hold" grpId="0" nodeType="withEffect">
                                  <p:stCondLst>
                                    <p:cond delay="750"/>
                                  </p:stCondLst>
                                  <p:childTnLst>
                                    <p:set>
                                      <p:cBhvr>
                                        <p:cTn id="44" dur="1" fill="hold">
                                          <p:stCondLst>
                                            <p:cond delay="0"/>
                                          </p:stCondLst>
                                        </p:cTn>
                                        <p:tgtEl>
                                          <p:spTgt spid="150"/>
                                        </p:tgtEl>
                                        <p:attrNameLst>
                                          <p:attrName>style.visibility</p:attrName>
                                        </p:attrNameLst>
                                      </p:cBhvr>
                                      <p:to>
                                        <p:strVal val="visible"/>
                                      </p:to>
                                    </p:set>
                                    <p:animEffect transition="in" filter="fade">
                                      <p:cBhvr>
                                        <p:cTn id="45" dur="750"/>
                                        <p:tgtEl>
                                          <p:spTgt spid="150"/>
                                        </p:tgtEl>
                                      </p:cBhvr>
                                    </p:animEffect>
                                  </p:childTnLst>
                                </p:cTn>
                              </p:par>
                              <p:par>
                                <p:cTn id="46" presetID="10" presetClass="entr" presetSubtype="0" fill="hold" grpId="0" nodeType="withEffect">
                                  <p:stCondLst>
                                    <p:cond delay="750"/>
                                  </p:stCondLst>
                                  <p:childTnLst>
                                    <p:set>
                                      <p:cBhvr>
                                        <p:cTn id="47" dur="1" fill="hold">
                                          <p:stCondLst>
                                            <p:cond delay="0"/>
                                          </p:stCondLst>
                                        </p:cTn>
                                        <p:tgtEl>
                                          <p:spTgt spid="32"/>
                                        </p:tgtEl>
                                        <p:attrNameLst>
                                          <p:attrName>style.visibility</p:attrName>
                                        </p:attrNameLst>
                                      </p:cBhvr>
                                      <p:to>
                                        <p:strVal val="visible"/>
                                      </p:to>
                                    </p:set>
                                    <p:animEffect transition="in" filter="fade">
                                      <p:cBhvr>
                                        <p:cTn id="48" dur="750"/>
                                        <p:tgtEl>
                                          <p:spTgt spid="32"/>
                                        </p:tgtEl>
                                      </p:cBhvr>
                                    </p:animEffect>
                                  </p:childTnLst>
                                </p:cTn>
                              </p:par>
                              <p:par>
                                <p:cTn id="49" presetID="10" presetClass="entr" presetSubtype="0" fill="hold" nodeType="withEffect">
                                  <p:stCondLst>
                                    <p:cond delay="750"/>
                                  </p:stCondLst>
                                  <p:childTnLst>
                                    <p:set>
                                      <p:cBhvr>
                                        <p:cTn id="50" dur="1" fill="hold">
                                          <p:stCondLst>
                                            <p:cond delay="0"/>
                                          </p:stCondLst>
                                        </p:cTn>
                                        <p:tgtEl>
                                          <p:spTgt spid="109"/>
                                        </p:tgtEl>
                                        <p:attrNameLst>
                                          <p:attrName>style.visibility</p:attrName>
                                        </p:attrNameLst>
                                      </p:cBhvr>
                                      <p:to>
                                        <p:strVal val="visible"/>
                                      </p:to>
                                    </p:set>
                                    <p:animEffect transition="in" filter="fade">
                                      <p:cBhvr>
                                        <p:cTn id="51" dur="750"/>
                                        <p:tgtEl>
                                          <p:spTgt spid="109"/>
                                        </p:tgtEl>
                                      </p:cBhvr>
                                    </p:animEffect>
                                  </p:childTnLst>
                                </p:cTn>
                              </p:par>
                              <p:par>
                                <p:cTn id="52" presetID="10" presetClass="entr" presetSubtype="0" fill="hold" nodeType="withEffect">
                                  <p:stCondLst>
                                    <p:cond delay="750"/>
                                  </p:stCondLst>
                                  <p:childTnLst>
                                    <p:set>
                                      <p:cBhvr>
                                        <p:cTn id="53" dur="1" fill="hold">
                                          <p:stCondLst>
                                            <p:cond delay="0"/>
                                          </p:stCondLst>
                                        </p:cTn>
                                        <p:tgtEl>
                                          <p:spTgt spid="212"/>
                                        </p:tgtEl>
                                        <p:attrNameLst>
                                          <p:attrName>style.visibility</p:attrName>
                                        </p:attrNameLst>
                                      </p:cBhvr>
                                      <p:to>
                                        <p:strVal val="visible"/>
                                      </p:to>
                                    </p:set>
                                    <p:animEffect transition="in" filter="fade">
                                      <p:cBhvr>
                                        <p:cTn id="54" dur="750"/>
                                        <p:tgtEl>
                                          <p:spTgt spid="212"/>
                                        </p:tgtEl>
                                      </p:cBhvr>
                                    </p:animEffect>
                                  </p:childTnLst>
                                </p:cTn>
                              </p:par>
                              <p:par>
                                <p:cTn id="55" presetID="10" presetClass="entr" presetSubtype="0" fill="hold" grpId="0" nodeType="withEffect">
                                  <p:stCondLst>
                                    <p:cond delay="750"/>
                                  </p:stCondLst>
                                  <p:childTnLst>
                                    <p:set>
                                      <p:cBhvr>
                                        <p:cTn id="56" dur="1" fill="hold">
                                          <p:stCondLst>
                                            <p:cond delay="0"/>
                                          </p:stCondLst>
                                        </p:cTn>
                                        <p:tgtEl>
                                          <p:spTgt spid="71"/>
                                        </p:tgtEl>
                                        <p:attrNameLst>
                                          <p:attrName>style.visibility</p:attrName>
                                        </p:attrNameLst>
                                      </p:cBhvr>
                                      <p:to>
                                        <p:strVal val="visible"/>
                                      </p:to>
                                    </p:set>
                                    <p:animEffect transition="in" filter="fade">
                                      <p:cBhvr>
                                        <p:cTn id="57" dur="750"/>
                                        <p:tgtEl>
                                          <p:spTgt spid="71"/>
                                        </p:tgtEl>
                                      </p:cBhvr>
                                    </p:animEffect>
                                  </p:childTnLst>
                                </p:cTn>
                              </p:par>
                              <p:par>
                                <p:cTn id="58" presetID="10" presetClass="entr" presetSubtype="0" fill="hold" nodeType="withEffect">
                                  <p:stCondLst>
                                    <p:cond delay="750"/>
                                  </p:stCondLst>
                                  <p:childTnLst>
                                    <p:set>
                                      <p:cBhvr>
                                        <p:cTn id="59" dur="1" fill="hold">
                                          <p:stCondLst>
                                            <p:cond delay="0"/>
                                          </p:stCondLst>
                                        </p:cTn>
                                        <p:tgtEl>
                                          <p:spTgt spid="218"/>
                                        </p:tgtEl>
                                        <p:attrNameLst>
                                          <p:attrName>style.visibility</p:attrName>
                                        </p:attrNameLst>
                                      </p:cBhvr>
                                      <p:to>
                                        <p:strVal val="visible"/>
                                      </p:to>
                                    </p:set>
                                    <p:animEffect transition="in" filter="fade">
                                      <p:cBhvr>
                                        <p:cTn id="60" dur="750"/>
                                        <p:tgtEl>
                                          <p:spTgt spid="218"/>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250"/>
                                  </p:stCondLst>
                                  <p:childTnLst>
                                    <p:set>
                                      <p:cBhvr>
                                        <p:cTn id="64" dur="1" fill="hold">
                                          <p:stCondLst>
                                            <p:cond delay="0"/>
                                          </p:stCondLst>
                                        </p:cTn>
                                        <p:tgtEl>
                                          <p:spTgt spid="206"/>
                                        </p:tgtEl>
                                        <p:attrNameLst>
                                          <p:attrName>style.visibility</p:attrName>
                                        </p:attrNameLst>
                                      </p:cBhvr>
                                      <p:to>
                                        <p:strVal val="visible"/>
                                      </p:to>
                                    </p:set>
                                    <p:animEffect transition="in" filter="fade">
                                      <p:cBhvr>
                                        <p:cTn id="65" dur="500"/>
                                        <p:tgtEl>
                                          <p:spTgt spid="206"/>
                                        </p:tgtEl>
                                      </p:cBhvr>
                                    </p:animEffect>
                                  </p:childTnLst>
                                </p:cTn>
                              </p:par>
                              <p:par>
                                <p:cTn id="66" presetID="10" presetClass="entr" presetSubtype="0" fill="hold" grpId="0" nodeType="withEffect">
                                  <p:stCondLst>
                                    <p:cond delay="250"/>
                                  </p:stCondLst>
                                  <p:childTnLst>
                                    <p:set>
                                      <p:cBhvr>
                                        <p:cTn id="67" dur="1" fill="hold">
                                          <p:stCondLst>
                                            <p:cond delay="0"/>
                                          </p:stCondLst>
                                        </p:cTn>
                                        <p:tgtEl>
                                          <p:spTgt spid="3"/>
                                        </p:tgtEl>
                                        <p:attrNameLst>
                                          <p:attrName>style.visibility</p:attrName>
                                        </p:attrNameLst>
                                      </p:cBhvr>
                                      <p:to>
                                        <p:strVal val="visible"/>
                                      </p:to>
                                    </p:set>
                                    <p:animEffect transition="in" filter="fade">
                                      <p:cBhvr>
                                        <p:cTn id="68" dur="750"/>
                                        <p:tgtEl>
                                          <p:spTgt spid="3"/>
                                        </p:tgtEl>
                                      </p:cBhvr>
                                    </p:animEffect>
                                  </p:childTnLst>
                                </p:cTn>
                              </p:par>
                              <p:par>
                                <p:cTn id="69" presetID="10" presetClass="entr" presetSubtype="0" fill="hold" grpId="0" nodeType="withEffect">
                                  <p:stCondLst>
                                    <p:cond delay="500"/>
                                  </p:stCondLst>
                                  <p:childTnLst>
                                    <p:set>
                                      <p:cBhvr>
                                        <p:cTn id="70" dur="1" fill="hold">
                                          <p:stCondLst>
                                            <p:cond delay="0"/>
                                          </p:stCondLst>
                                        </p:cTn>
                                        <p:tgtEl>
                                          <p:spTgt spid="207"/>
                                        </p:tgtEl>
                                        <p:attrNameLst>
                                          <p:attrName>style.visibility</p:attrName>
                                        </p:attrNameLst>
                                      </p:cBhvr>
                                      <p:to>
                                        <p:strVal val="visible"/>
                                      </p:to>
                                    </p:set>
                                    <p:animEffect transition="in" filter="fade">
                                      <p:cBhvr>
                                        <p:cTn id="71" dur="750"/>
                                        <p:tgtEl>
                                          <p:spTgt spid="207"/>
                                        </p:tgtEl>
                                      </p:cBhvr>
                                    </p:animEffect>
                                  </p:childTnLst>
                                </p:cTn>
                              </p:par>
                              <p:par>
                                <p:cTn id="72" presetID="10" presetClass="entr" presetSubtype="0" fill="hold" grpId="0" nodeType="withEffect">
                                  <p:stCondLst>
                                    <p:cond delay="250"/>
                                  </p:stCondLst>
                                  <p:childTnLst>
                                    <p:set>
                                      <p:cBhvr>
                                        <p:cTn id="73" dur="1" fill="hold">
                                          <p:stCondLst>
                                            <p:cond delay="0"/>
                                          </p:stCondLst>
                                        </p:cTn>
                                        <p:tgtEl>
                                          <p:spTgt spid="208"/>
                                        </p:tgtEl>
                                        <p:attrNameLst>
                                          <p:attrName>style.visibility</p:attrName>
                                        </p:attrNameLst>
                                      </p:cBhvr>
                                      <p:to>
                                        <p:strVal val="visible"/>
                                      </p:to>
                                    </p:set>
                                    <p:animEffect transition="in" filter="fade">
                                      <p:cBhvr>
                                        <p:cTn id="74" dur="750"/>
                                        <p:tgtEl>
                                          <p:spTgt spid="208"/>
                                        </p:tgtEl>
                                      </p:cBhvr>
                                    </p:animEffect>
                                  </p:childTnLst>
                                </p:cTn>
                              </p:par>
                              <p:par>
                                <p:cTn id="75" presetID="10" presetClass="entr" presetSubtype="0" fill="hold" grpId="0" nodeType="withEffect">
                                  <p:stCondLst>
                                    <p:cond delay="500"/>
                                  </p:stCondLst>
                                  <p:childTnLst>
                                    <p:set>
                                      <p:cBhvr>
                                        <p:cTn id="76" dur="1" fill="hold">
                                          <p:stCondLst>
                                            <p:cond delay="0"/>
                                          </p:stCondLst>
                                        </p:cTn>
                                        <p:tgtEl>
                                          <p:spTgt spid="209"/>
                                        </p:tgtEl>
                                        <p:attrNameLst>
                                          <p:attrName>style.visibility</p:attrName>
                                        </p:attrNameLst>
                                      </p:cBhvr>
                                      <p:to>
                                        <p:strVal val="visible"/>
                                      </p:to>
                                    </p:set>
                                    <p:animEffect transition="in" filter="fade">
                                      <p:cBhvr>
                                        <p:cTn id="77" dur="750"/>
                                        <p:tgtEl>
                                          <p:spTgt spid="209"/>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210"/>
                                        </p:tgtEl>
                                        <p:attrNameLst>
                                          <p:attrName>style.visibility</p:attrName>
                                        </p:attrNameLst>
                                      </p:cBhvr>
                                      <p:to>
                                        <p:strVal val="visible"/>
                                      </p:to>
                                    </p:set>
                                    <p:animEffect transition="in" filter="fade">
                                      <p:cBhvr>
                                        <p:cTn id="80" dur="500"/>
                                        <p:tgtEl>
                                          <p:spTgt spid="210"/>
                                        </p:tgtEl>
                                      </p:cBhvr>
                                    </p:animEffect>
                                  </p:childTnLst>
                                </p:cTn>
                              </p:par>
                              <p:par>
                                <p:cTn id="81" presetID="10" presetClass="entr" presetSubtype="0" fill="hold" grpId="0" nodeType="withEffect">
                                  <p:stCondLst>
                                    <p:cond delay="250"/>
                                  </p:stCondLst>
                                  <p:childTnLst>
                                    <p:set>
                                      <p:cBhvr>
                                        <p:cTn id="82" dur="1" fill="hold">
                                          <p:stCondLst>
                                            <p:cond delay="0"/>
                                          </p:stCondLst>
                                        </p:cTn>
                                        <p:tgtEl>
                                          <p:spTgt spid="92"/>
                                        </p:tgtEl>
                                        <p:attrNameLst>
                                          <p:attrName>style.visibility</p:attrName>
                                        </p:attrNameLst>
                                      </p:cBhvr>
                                      <p:to>
                                        <p:strVal val="visible"/>
                                      </p:to>
                                    </p:set>
                                    <p:animEffect transition="in" filter="fade">
                                      <p:cBhvr>
                                        <p:cTn id="83" dur="650"/>
                                        <p:tgtEl>
                                          <p:spTgt spid="92"/>
                                        </p:tgtEl>
                                      </p:cBhvr>
                                    </p:animEffect>
                                  </p:childTnLst>
                                </p:cTn>
                              </p:par>
                              <p:par>
                                <p:cTn id="84" presetID="10" presetClass="entr" presetSubtype="0" fill="hold" grpId="0" nodeType="withEffect">
                                  <p:stCondLst>
                                    <p:cond delay="750"/>
                                  </p:stCondLst>
                                  <p:childTnLst>
                                    <p:set>
                                      <p:cBhvr>
                                        <p:cTn id="85" dur="1" fill="hold">
                                          <p:stCondLst>
                                            <p:cond delay="0"/>
                                          </p:stCondLst>
                                        </p:cTn>
                                        <p:tgtEl>
                                          <p:spTgt spid="56"/>
                                        </p:tgtEl>
                                        <p:attrNameLst>
                                          <p:attrName>style.visibility</p:attrName>
                                        </p:attrNameLst>
                                      </p:cBhvr>
                                      <p:to>
                                        <p:strVal val="visible"/>
                                      </p:to>
                                    </p:set>
                                    <p:animEffect transition="in" filter="fade">
                                      <p:cBhvr>
                                        <p:cTn id="86" dur="500"/>
                                        <p:tgtEl>
                                          <p:spTgt spid="56"/>
                                        </p:tgtEl>
                                      </p:cBhvr>
                                    </p:animEffect>
                                  </p:childTnLst>
                                </p:cTn>
                              </p:par>
                              <p:par>
                                <p:cTn id="87" presetID="10" presetClass="entr" presetSubtype="0" fill="hold" grpId="0" nodeType="withEffect">
                                  <p:stCondLst>
                                    <p:cond delay="1250"/>
                                  </p:stCondLst>
                                  <p:childTnLst>
                                    <p:set>
                                      <p:cBhvr>
                                        <p:cTn id="88" dur="1" fill="hold">
                                          <p:stCondLst>
                                            <p:cond delay="0"/>
                                          </p:stCondLst>
                                        </p:cTn>
                                        <p:tgtEl>
                                          <p:spTgt spid="57"/>
                                        </p:tgtEl>
                                        <p:attrNameLst>
                                          <p:attrName>style.visibility</p:attrName>
                                        </p:attrNameLst>
                                      </p:cBhvr>
                                      <p:to>
                                        <p:strVal val="visible"/>
                                      </p:to>
                                    </p:set>
                                    <p:animEffect transition="in" filter="fade">
                                      <p:cBhvr>
                                        <p:cTn id="89" dur="750"/>
                                        <p:tgtEl>
                                          <p:spTgt spid="57"/>
                                        </p:tgtEl>
                                      </p:cBhvr>
                                    </p:animEffect>
                                  </p:childTnLst>
                                </p:cTn>
                              </p:par>
                              <p:par>
                                <p:cTn id="90" presetID="10" presetClass="entr" presetSubtype="0" fill="hold" grpId="0" nodeType="withEffect">
                                  <p:stCondLst>
                                    <p:cond delay="1000"/>
                                  </p:stCondLst>
                                  <p:childTnLst>
                                    <p:set>
                                      <p:cBhvr>
                                        <p:cTn id="91" dur="1" fill="hold">
                                          <p:stCondLst>
                                            <p:cond delay="0"/>
                                          </p:stCondLst>
                                        </p:cTn>
                                        <p:tgtEl>
                                          <p:spTgt spid="58"/>
                                        </p:tgtEl>
                                        <p:attrNameLst>
                                          <p:attrName>style.visibility</p:attrName>
                                        </p:attrNameLst>
                                      </p:cBhvr>
                                      <p:to>
                                        <p:strVal val="visible"/>
                                      </p:to>
                                    </p:set>
                                    <p:animEffect transition="in" filter="fade">
                                      <p:cBhvr>
                                        <p:cTn id="92" dur="750"/>
                                        <p:tgtEl>
                                          <p:spTgt spid="58"/>
                                        </p:tgtEl>
                                      </p:cBhvr>
                                    </p:animEffect>
                                  </p:childTnLst>
                                </p:cTn>
                              </p:par>
                              <p:par>
                                <p:cTn id="93" presetID="10" presetClass="entr" presetSubtype="0" fill="hold" grpId="0" nodeType="withEffect">
                                  <p:stCondLst>
                                    <p:cond delay="1250"/>
                                  </p:stCondLst>
                                  <p:childTnLst>
                                    <p:set>
                                      <p:cBhvr>
                                        <p:cTn id="94" dur="1" fill="hold">
                                          <p:stCondLst>
                                            <p:cond delay="0"/>
                                          </p:stCondLst>
                                        </p:cTn>
                                        <p:tgtEl>
                                          <p:spTgt spid="62"/>
                                        </p:tgtEl>
                                        <p:attrNameLst>
                                          <p:attrName>style.visibility</p:attrName>
                                        </p:attrNameLst>
                                      </p:cBhvr>
                                      <p:to>
                                        <p:strVal val="visible"/>
                                      </p:to>
                                    </p:set>
                                    <p:animEffect transition="in" filter="fade">
                                      <p:cBhvr>
                                        <p:cTn id="95" dur="750"/>
                                        <p:tgtEl>
                                          <p:spTgt spid="62"/>
                                        </p:tgtEl>
                                      </p:cBhvr>
                                    </p:animEffect>
                                  </p:childTnLst>
                                </p:cTn>
                              </p:par>
                              <p:par>
                                <p:cTn id="96" presetID="10" presetClass="entr" presetSubtype="0" fill="hold" grpId="0" nodeType="withEffect">
                                  <p:stCondLst>
                                    <p:cond delay="500"/>
                                  </p:stCondLst>
                                  <p:childTnLst>
                                    <p:set>
                                      <p:cBhvr>
                                        <p:cTn id="97" dur="1" fill="hold">
                                          <p:stCondLst>
                                            <p:cond delay="0"/>
                                          </p:stCondLst>
                                        </p:cTn>
                                        <p:tgtEl>
                                          <p:spTgt spid="63"/>
                                        </p:tgtEl>
                                        <p:attrNameLst>
                                          <p:attrName>style.visibility</p:attrName>
                                        </p:attrNameLst>
                                      </p:cBhvr>
                                      <p:to>
                                        <p:strVal val="visible"/>
                                      </p:to>
                                    </p:set>
                                    <p:animEffect transition="in" filter="fade">
                                      <p:cBhvr>
                                        <p:cTn id="98" dur="500"/>
                                        <p:tgtEl>
                                          <p:spTgt spid="63"/>
                                        </p:tgtEl>
                                      </p:cBhvr>
                                    </p:animEffect>
                                  </p:childTnLst>
                                </p:cTn>
                              </p:par>
                              <p:par>
                                <p:cTn id="99" presetID="10" presetClass="entr" presetSubtype="0" fill="hold" grpId="0" nodeType="withEffect">
                                  <p:stCondLst>
                                    <p:cond delay="650"/>
                                  </p:stCondLst>
                                  <p:childTnLst>
                                    <p:set>
                                      <p:cBhvr>
                                        <p:cTn id="100" dur="1" fill="hold">
                                          <p:stCondLst>
                                            <p:cond delay="0"/>
                                          </p:stCondLst>
                                        </p:cTn>
                                        <p:tgtEl>
                                          <p:spTgt spid="65"/>
                                        </p:tgtEl>
                                        <p:attrNameLst>
                                          <p:attrName>style.visibility</p:attrName>
                                        </p:attrNameLst>
                                      </p:cBhvr>
                                      <p:to>
                                        <p:strVal val="visible"/>
                                      </p:to>
                                    </p:set>
                                    <p:animEffect transition="in" filter="fade">
                                      <p:cBhvr>
                                        <p:cTn id="101" dur="650"/>
                                        <p:tgtEl>
                                          <p:spTgt spid="65"/>
                                        </p:tgtEl>
                                      </p:cBhvr>
                                    </p:animEffect>
                                  </p:childTnLst>
                                </p:cTn>
                              </p:par>
                              <p:par>
                                <p:cTn id="102" presetID="10" presetClass="entr" presetSubtype="0" fill="hold" grpId="0" nodeType="withEffect">
                                  <p:stCondLst>
                                    <p:cond delay="1250"/>
                                  </p:stCondLst>
                                  <p:childTnLst>
                                    <p:set>
                                      <p:cBhvr>
                                        <p:cTn id="103" dur="1" fill="hold">
                                          <p:stCondLst>
                                            <p:cond delay="0"/>
                                          </p:stCondLst>
                                        </p:cTn>
                                        <p:tgtEl>
                                          <p:spTgt spid="154"/>
                                        </p:tgtEl>
                                        <p:attrNameLst>
                                          <p:attrName>style.visibility</p:attrName>
                                        </p:attrNameLst>
                                      </p:cBhvr>
                                      <p:to>
                                        <p:strVal val="visible"/>
                                      </p:to>
                                    </p:set>
                                    <p:animEffect transition="in" filter="fade">
                                      <p:cBhvr>
                                        <p:cTn id="104" dur="500"/>
                                        <p:tgtEl>
                                          <p:spTgt spid="154"/>
                                        </p:tgtEl>
                                      </p:cBhvr>
                                    </p:animEffect>
                                  </p:childTnLst>
                                </p:cTn>
                              </p:par>
                              <p:par>
                                <p:cTn id="105" presetID="10" presetClass="entr" presetSubtype="0" fill="hold" grpId="0" nodeType="withEffect">
                                  <p:stCondLst>
                                    <p:cond delay="1750"/>
                                  </p:stCondLst>
                                  <p:childTnLst>
                                    <p:set>
                                      <p:cBhvr>
                                        <p:cTn id="106" dur="1" fill="hold">
                                          <p:stCondLst>
                                            <p:cond delay="0"/>
                                          </p:stCondLst>
                                        </p:cTn>
                                        <p:tgtEl>
                                          <p:spTgt spid="156"/>
                                        </p:tgtEl>
                                        <p:attrNameLst>
                                          <p:attrName>style.visibility</p:attrName>
                                        </p:attrNameLst>
                                      </p:cBhvr>
                                      <p:to>
                                        <p:strVal val="visible"/>
                                      </p:to>
                                    </p:set>
                                    <p:animEffect transition="in" filter="fade">
                                      <p:cBhvr>
                                        <p:cTn id="107" dur="750"/>
                                        <p:tgtEl>
                                          <p:spTgt spid="156"/>
                                        </p:tgtEl>
                                      </p:cBhvr>
                                    </p:animEffect>
                                  </p:childTnLst>
                                </p:cTn>
                              </p:par>
                              <p:par>
                                <p:cTn id="108" presetID="10" presetClass="entr" presetSubtype="0" fill="hold" grpId="0" nodeType="withEffect">
                                  <p:stCondLst>
                                    <p:cond delay="2000"/>
                                  </p:stCondLst>
                                  <p:childTnLst>
                                    <p:set>
                                      <p:cBhvr>
                                        <p:cTn id="109" dur="1" fill="hold">
                                          <p:stCondLst>
                                            <p:cond delay="0"/>
                                          </p:stCondLst>
                                        </p:cTn>
                                        <p:tgtEl>
                                          <p:spTgt spid="160"/>
                                        </p:tgtEl>
                                        <p:attrNameLst>
                                          <p:attrName>style.visibility</p:attrName>
                                        </p:attrNameLst>
                                      </p:cBhvr>
                                      <p:to>
                                        <p:strVal val="visible"/>
                                      </p:to>
                                    </p:set>
                                    <p:animEffect transition="in" filter="fade">
                                      <p:cBhvr>
                                        <p:cTn id="110" dur="750"/>
                                        <p:tgtEl>
                                          <p:spTgt spid="160"/>
                                        </p:tgtEl>
                                      </p:cBhvr>
                                    </p:animEffect>
                                  </p:childTnLst>
                                </p:cTn>
                              </p:par>
                              <p:par>
                                <p:cTn id="111" presetID="10" presetClass="entr" presetSubtype="0" fill="hold" grpId="0" nodeType="withEffect">
                                  <p:stCondLst>
                                    <p:cond delay="1000"/>
                                  </p:stCondLst>
                                  <p:childTnLst>
                                    <p:set>
                                      <p:cBhvr>
                                        <p:cTn id="112" dur="1" fill="hold">
                                          <p:stCondLst>
                                            <p:cond delay="0"/>
                                          </p:stCondLst>
                                        </p:cTn>
                                        <p:tgtEl>
                                          <p:spTgt spid="161"/>
                                        </p:tgtEl>
                                        <p:attrNameLst>
                                          <p:attrName>style.visibility</p:attrName>
                                        </p:attrNameLst>
                                      </p:cBhvr>
                                      <p:to>
                                        <p:strVal val="visible"/>
                                      </p:to>
                                    </p:set>
                                    <p:animEffect transition="in" filter="fade">
                                      <p:cBhvr>
                                        <p:cTn id="113" dur="500"/>
                                        <p:tgtEl>
                                          <p:spTgt spid="161"/>
                                        </p:tgtEl>
                                      </p:cBhvr>
                                    </p:animEffect>
                                  </p:childTnLst>
                                </p:cTn>
                              </p:par>
                              <p:par>
                                <p:cTn id="114" presetID="10" presetClass="entr" presetSubtype="0" fill="hold" grpId="0" nodeType="withEffect">
                                  <p:stCondLst>
                                    <p:cond delay="1300"/>
                                  </p:stCondLst>
                                  <p:childTnLst>
                                    <p:set>
                                      <p:cBhvr>
                                        <p:cTn id="115" dur="1" fill="hold">
                                          <p:stCondLst>
                                            <p:cond delay="0"/>
                                          </p:stCondLst>
                                        </p:cTn>
                                        <p:tgtEl>
                                          <p:spTgt spid="162"/>
                                        </p:tgtEl>
                                        <p:attrNameLst>
                                          <p:attrName>style.visibility</p:attrName>
                                        </p:attrNameLst>
                                      </p:cBhvr>
                                      <p:to>
                                        <p:strVal val="visible"/>
                                      </p:to>
                                    </p:set>
                                    <p:animEffect transition="in" filter="fade">
                                      <p:cBhvr>
                                        <p:cTn id="116" dur="650"/>
                                        <p:tgtEl>
                                          <p:spTgt spid="162"/>
                                        </p:tgtEl>
                                      </p:cBhvr>
                                    </p:animEffect>
                                  </p:childTnLst>
                                </p:cTn>
                              </p:par>
                              <p:par>
                                <p:cTn id="117" presetID="10" presetClass="entr" presetSubtype="0" fill="hold" grpId="0" nodeType="withEffect">
                                  <p:stCondLst>
                                    <p:cond delay="2500"/>
                                  </p:stCondLst>
                                  <p:childTnLst>
                                    <p:set>
                                      <p:cBhvr>
                                        <p:cTn id="118" dur="1" fill="hold">
                                          <p:stCondLst>
                                            <p:cond delay="0"/>
                                          </p:stCondLst>
                                        </p:cTn>
                                        <p:tgtEl>
                                          <p:spTgt spid="178"/>
                                        </p:tgtEl>
                                        <p:attrNameLst>
                                          <p:attrName>style.visibility</p:attrName>
                                        </p:attrNameLst>
                                      </p:cBhvr>
                                      <p:to>
                                        <p:strVal val="visible"/>
                                      </p:to>
                                    </p:set>
                                    <p:animEffect transition="in" filter="fade">
                                      <p:cBhvr>
                                        <p:cTn id="119" dur="750"/>
                                        <p:tgtEl>
                                          <p:spTgt spid="178"/>
                                        </p:tgtEl>
                                      </p:cBhvr>
                                    </p:animEffect>
                                  </p:childTnLst>
                                </p:cTn>
                              </p:par>
                              <p:par>
                                <p:cTn id="120" presetID="10" presetClass="entr" presetSubtype="0" fill="hold" grpId="0" nodeType="withEffect">
                                  <p:stCondLst>
                                    <p:cond delay="2750"/>
                                  </p:stCondLst>
                                  <p:childTnLst>
                                    <p:set>
                                      <p:cBhvr>
                                        <p:cTn id="121" dur="1" fill="hold">
                                          <p:stCondLst>
                                            <p:cond delay="0"/>
                                          </p:stCondLst>
                                        </p:cTn>
                                        <p:tgtEl>
                                          <p:spTgt spid="182"/>
                                        </p:tgtEl>
                                        <p:attrNameLst>
                                          <p:attrName>style.visibility</p:attrName>
                                        </p:attrNameLst>
                                      </p:cBhvr>
                                      <p:to>
                                        <p:strVal val="visible"/>
                                      </p:to>
                                    </p:set>
                                    <p:animEffect transition="in" filter="fade">
                                      <p:cBhvr>
                                        <p:cTn id="122" dur="750"/>
                                        <p:tgtEl>
                                          <p:spTgt spid="182"/>
                                        </p:tgtEl>
                                      </p:cBhvr>
                                    </p:animEffect>
                                  </p:childTnLst>
                                </p:cTn>
                              </p:par>
                              <p:par>
                                <p:cTn id="123" presetID="10" presetClass="entr" presetSubtype="0" fill="hold" grpId="0" nodeType="withEffect">
                                  <p:stCondLst>
                                    <p:cond delay="1500"/>
                                  </p:stCondLst>
                                  <p:childTnLst>
                                    <p:set>
                                      <p:cBhvr>
                                        <p:cTn id="124" dur="1" fill="hold">
                                          <p:stCondLst>
                                            <p:cond delay="0"/>
                                          </p:stCondLst>
                                        </p:cTn>
                                        <p:tgtEl>
                                          <p:spTgt spid="183"/>
                                        </p:tgtEl>
                                        <p:attrNameLst>
                                          <p:attrName>style.visibility</p:attrName>
                                        </p:attrNameLst>
                                      </p:cBhvr>
                                      <p:to>
                                        <p:strVal val="visible"/>
                                      </p:to>
                                    </p:set>
                                    <p:animEffect transition="in" filter="fade">
                                      <p:cBhvr>
                                        <p:cTn id="125" dur="500"/>
                                        <p:tgtEl>
                                          <p:spTgt spid="183"/>
                                        </p:tgtEl>
                                      </p:cBhvr>
                                    </p:animEffect>
                                  </p:childTnLst>
                                </p:cTn>
                              </p:par>
                              <p:par>
                                <p:cTn id="126" presetID="10" presetClass="entr" presetSubtype="0" fill="hold" grpId="0" nodeType="withEffect">
                                  <p:stCondLst>
                                    <p:cond delay="1950"/>
                                  </p:stCondLst>
                                  <p:childTnLst>
                                    <p:set>
                                      <p:cBhvr>
                                        <p:cTn id="127" dur="1" fill="hold">
                                          <p:stCondLst>
                                            <p:cond delay="0"/>
                                          </p:stCondLst>
                                        </p:cTn>
                                        <p:tgtEl>
                                          <p:spTgt spid="184"/>
                                        </p:tgtEl>
                                        <p:attrNameLst>
                                          <p:attrName>style.visibility</p:attrName>
                                        </p:attrNameLst>
                                      </p:cBhvr>
                                      <p:to>
                                        <p:strVal val="visible"/>
                                      </p:to>
                                    </p:set>
                                    <p:animEffect transition="in" filter="fade">
                                      <p:cBhvr>
                                        <p:cTn id="128" dur="650"/>
                                        <p:tgtEl>
                                          <p:spTgt spid="184"/>
                                        </p:tgtEl>
                                      </p:cBhvr>
                                    </p:animEffect>
                                  </p:childTnLst>
                                </p:cTn>
                              </p:par>
                              <p:par>
                                <p:cTn id="129" presetID="10" presetClass="entr" presetSubtype="0" fill="hold" grpId="0" nodeType="withEffect">
                                  <p:stCondLst>
                                    <p:cond delay="3500"/>
                                  </p:stCondLst>
                                  <p:childTnLst>
                                    <p:set>
                                      <p:cBhvr>
                                        <p:cTn id="130" dur="1" fill="hold">
                                          <p:stCondLst>
                                            <p:cond delay="0"/>
                                          </p:stCondLst>
                                        </p:cTn>
                                        <p:tgtEl>
                                          <p:spTgt spid="195"/>
                                        </p:tgtEl>
                                        <p:attrNameLst>
                                          <p:attrName>style.visibility</p:attrName>
                                        </p:attrNameLst>
                                      </p:cBhvr>
                                      <p:to>
                                        <p:strVal val="visible"/>
                                      </p:to>
                                    </p:set>
                                    <p:animEffect transition="in" filter="fade">
                                      <p:cBhvr>
                                        <p:cTn id="131" dur="750"/>
                                        <p:tgtEl>
                                          <p:spTgt spid="195"/>
                                        </p:tgtEl>
                                      </p:cBhvr>
                                    </p:animEffect>
                                  </p:childTnLst>
                                </p:cTn>
                              </p:par>
                            </p:childTnLst>
                          </p:cTn>
                        </p:par>
                        <p:par>
                          <p:cTn id="132" fill="hold">
                            <p:stCondLst>
                              <p:cond delay="4250"/>
                            </p:stCondLst>
                            <p:childTnLst>
                              <p:par>
                                <p:cTn id="133" presetID="10" presetClass="entr" presetSubtype="0" fill="hold" grpId="0" nodeType="afterEffect">
                                  <p:stCondLst>
                                    <p:cond delay="500"/>
                                  </p:stCondLst>
                                  <p:childTnLst>
                                    <p:set>
                                      <p:cBhvr>
                                        <p:cTn id="134" dur="1" fill="hold">
                                          <p:stCondLst>
                                            <p:cond delay="0"/>
                                          </p:stCondLst>
                                        </p:cTn>
                                        <p:tgtEl>
                                          <p:spTgt spid="197"/>
                                        </p:tgtEl>
                                        <p:attrNameLst>
                                          <p:attrName>style.visibility</p:attrName>
                                        </p:attrNameLst>
                                      </p:cBhvr>
                                      <p:to>
                                        <p:strVal val="visible"/>
                                      </p:to>
                                    </p:set>
                                    <p:animEffect transition="in" filter="fade">
                                      <p:cBhvr>
                                        <p:cTn id="135" dur="500"/>
                                        <p:tgtEl>
                                          <p:spTgt spid="197"/>
                                        </p:tgtEl>
                                      </p:cBhvr>
                                    </p:animEffect>
                                  </p:childTnLst>
                                </p:cTn>
                              </p:par>
                              <p:par>
                                <p:cTn id="136" presetID="1" presetClass="emph" presetSubtype="2" fill="hold" nodeType="withEffect">
                                  <p:stCondLst>
                                    <p:cond delay="500"/>
                                  </p:stCondLst>
                                  <p:childTnLst>
                                    <p:animClr clrSpc="rgb" dir="cw">
                                      <p:cBhvr>
                                        <p:cTn id="137" dur="500" fill="hold"/>
                                        <p:tgtEl>
                                          <p:spTgt spid="195"/>
                                        </p:tgtEl>
                                        <p:attrNameLst>
                                          <p:attrName>fillcolor</p:attrName>
                                        </p:attrNameLst>
                                      </p:cBhvr>
                                      <p:to>
                                        <a:srgbClr val="50E6FF"/>
                                      </p:to>
                                    </p:animClr>
                                    <p:set>
                                      <p:cBhvr>
                                        <p:cTn id="138" dur="500" fill="hold"/>
                                        <p:tgtEl>
                                          <p:spTgt spid="195"/>
                                        </p:tgtEl>
                                        <p:attrNameLst>
                                          <p:attrName>fill.type</p:attrName>
                                        </p:attrNameLst>
                                      </p:cBhvr>
                                      <p:to>
                                        <p:strVal val="solid"/>
                                      </p:to>
                                    </p:set>
                                    <p:set>
                                      <p:cBhvr>
                                        <p:cTn id="139" dur="500" fill="hold"/>
                                        <p:tgtEl>
                                          <p:spTgt spid="195"/>
                                        </p:tgtEl>
                                        <p:attrNameLst>
                                          <p:attrName>fill.on</p:attrName>
                                        </p:attrNameLst>
                                      </p:cBhvr>
                                      <p:to>
                                        <p:strVal val="true"/>
                                      </p:to>
                                    </p:set>
                                  </p:childTnLst>
                                </p:cTn>
                              </p:par>
                              <p:par>
                                <p:cTn id="140" presetID="3" presetClass="emph" presetSubtype="2" fill="hold" grpId="1" nodeType="withEffect">
                                  <p:stCondLst>
                                    <p:cond delay="500"/>
                                  </p:stCondLst>
                                  <p:childTnLst>
                                    <p:animClr clrSpc="rgb" dir="cw">
                                      <p:cBhvr override="childStyle">
                                        <p:cTn id="141" dur="500" fill="hold"/>
                                        <p:tgtEl>
                                          <p:spTgt spid="195"/>
                                        </p:tgtEl>
                                        <p:attrNameLst>
                                          <p:attrName>style.color</p:attrName>
                                        </p:attrNameLst>
                                      </p:cBhvr>
                                      <p:to>
                                        <a:srgbClr val="000000"/>
                                      </p:to>
                                    </p:animClr>
                                  </p:childTnLst>
                                </p:cTn>
                              </p:par>
                              <p:par>
                                <p:cTn id="142" presetID="63" presetClass="path" presetSubtype="0" accel="50000" decel="50000" fill="hold" grpId="1" nodeType="withEffect">
                                  <p:stCondLst>
                                    <p:cond delay="500"/>
                                  </p:stCondLst>
                                  <p:childTnLst>
                                    <p:animMotion origin="layout" path="M 3.125E-6 -3.7037E-7 L 0.28776 -3.7037E-7 " pathEditMode="relative" rAng="0" ptsTypes="AA">
                                      <p:cBhvr>
                                        <p:cTn id="143" dur="1750" fill="hold"/>
                                        <p:tgtEl>
                                          <p:spTgt spid="197"/>
                                        </p:tgtEl>
                                        <p:attrNameLst>
                                          <p:attrName>ppt_x</p:attrName>
                                          <p:attrName>ppt_y</p:attrName>
                                        </p:attrNameLst>
                                      </p:cBhvr>
                                      <p:rCtr x="14388" y="0"/>
                                    </p:animMotion>
                                  </p:childTnLst>
                                </p:cTn>
                              </p:par>
                              <p:par>
                                <p:cTn id="144" presetID="2" presetClass="entr" presetSubtype="4" decel="50000" fill="hold" grpId="0" nodeType="withEffect">
                                  <p:stCondLst>
                                    <p:cond delay="500"/>
                                  </p:stCondLst>
                                  <p:childTnLst>
                                    <p:set>
                                      <p:cBhvr>
                                        <p:cTn id="145" dur="1" fill="hold">
                                          <p:stCondLst>
                                            <p:cond delay="0"/>
                                          </p:stCondLst>
                                        </p:cTn>
                                        <p:tgtEl>
                                          <p:spTgt spid="19"/>
                                        </p:tgtEl>
                                        <p:attrNameLst>
                                          <p:attrName>style.visibility</p:attrName>
                                        </p:attrNameLst>
                                      </p:cBhvr>
                                      <p:to>
                                        <p:strVal val="visible"/>
                                      </p:to>
                                    </p:set>
                                    <p:anim calcmode="lin" valueType="num">
                                      <p:cBhvr additive="base">
                                        <p:cTn id="146" dur="1750" fill="hold"/>
                                        <p:tgtEl>
                                          <p:spTgt spid="19"/>
                                        </p:tgtEl>
                                        <p:attrNameLst>
                                          <p:attrName>ppt_x</p:attrName>
                                        </p:attrNameLst>
                                      </p:cBhvr>
                                      <p:tavLst>
                                        <p:tav tm="0">
                                          <p:val>
                                            <p:strVal val="#ppt_x"/>
                                          </p:val>
                                        </p:tav>
                                        <p:tav tm="100000">
                                          <p:val>
                                            <p:strVal val="#ppt_x"/>
                                          </p:val>
                                        </p:tav>
                                      </p:tavLst>
                                    </p:anim>
                                    <p:anim calcmode="lin" valueType="num">
                                      <p:cBhvr additive="base">
                                        <p:cTn id="147" dur="1750" fill="hold"/>
                                        <p:tgtEl>
                                          <p:spTgt spid="19"/>
                                        </p:tgtEl>
                                        <p:attrNameLst>
                                          <p:attrName>ppt_y</p:attrName>
                                        </p:attrNameLst>
                                      </p:cBhvr>
                                      <p:tavLst>
                                        <p:tav tm="0">
                                          <p:val>
                                            <p:strVal val="1+#ppt_h/2"/>
                                          </p:val>
                                        </p:tav>
                                        <p:tav tm="100000">
                                          <p:val>
                                            <p:strVal val="#ppt_y"/>
                                          </p:val>
                                        </p:tav>
                                      </p:tavLst>
                                    </p:anim>
                                  </p:childTnLst>
                                </p:cTn>
                              </p:par>
                              <p:par>
                                <p:cTn id="148" presetID="3" presetClass="emph" presetSubtype="2" fill="hold" grpId="2" nodeType="withEffect">
                                  <p:stCondLst>
                                    <p:cond delay="1750"/>
                                  </p:stCondLst>
                                  <p:childTnLst>
                                    <p:animClr clrSpc="rgb" dir="cw">
                                      <p:cBhvr override="childStyle">
                                        <p:cTn id="149" dur="500" fill="hold"/>
                                        <p:tgtEl>
                                          <p:spTgt spid="197"/>
                                        </p:tgtEl>
                                        <p:attrNameLst>
                                          <p:attrName>style.color</p:attrName>
                                        </p:attrNameLst>
                                      </p:cBhvr>
                                      <p:to>
                                        <a:srgbClr val="0000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92" grpId="0" animBg="1"/>
      <p:bldP spid="206" grpId="0" animBg="1"/>
      <p:bldP spid="207" grpId="0" animBg="1"/>
      <p:bldP spid="208" grpId="0" animBg="1"/>
      <p:bldP spid="209" grpId="0" animBg="1"/>
      <p:bldP spid="210" grpId="0" animBg="1"/>
      <p:bldP spid="147" grpId="0"/>
      <p:bldP spid="148" grpId="0"/>
      <p:bldP spid="149" grpId="0"/>
      <p:bldP spid="18" grpId="0" animBg="1"/>
      <p:bldP spid="150" grpId="0"/>
      <p:bldP spid="32" grpId="0" animBg="1"/>
      <p:bldP spid="71" grpId="0" animBg="1"/>
      <p:bldP spid="3" grpId="0" animBg="1"/>
      <p:bldP spid="56" grpId="0" animBg="1"/>
      <p:bldP spid="57" grpId="0" animBg="1"/>
      <p:bldP spid="58" grpId="0" animBg="1"/>
      <p:bldP spid="62" grpId="0" animBg="1"/>
      <p:bldP spid="63" grpId="0" animBg="1"/>
      <p:bldP spid="65" grpId="0" animBg="1"/>
      <p:bldP spid="69" grpId="0" animBg="1"/>
      <p:bldP spid="154" grpId="0" animBg="1"/>
      <p:bldP spid="156" grpId="0" animBg="1"/>
      <p:bldP spid="160" grpId="0" animBg="1"/>
      <p:bldP spid="161" grpId="0" animBg="1"/>
      <p:bldP spid="162" grpId="0" animBg="1"/>
      <p:bldP spid="178" grpId="0" animBg="1"/>
      <p:bldP spid="182" grpId="0" animBg="1"/>
      <p:bldP spid="183" grpId="0" animBg="1"/>
      <p:bldP spid="184" grpId="0" animBg="1"/>
      <p:bldP spid="195" grpId="0" animBg="1"/>
      <p:bldP spid="195" grpId="1" animBg="1"/>
      <p:bldP spid="196" grpId="0" animBg="1"/>
      <p:bldP spid="5" grpId="0"/>
      <p:bldP spid="197" grpId="0"/>
      <p:bldP spid="197" grpId="1"/>
      <p:bldP spid="197" grpId="2"/>
      <p:bldP spid="155" grpId="0" animBg="1"/>
      <p:bldP spid="155" grpId="1" animBg="1"/>
      <p:bldP spid="155" grpId="2" animBg="1"/>
      <p:bldP spid="155" grpId="3"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Group 89">
            <a:extLst>
              <a:ext uri="{FF2B5EF4-FFF2-40B4-BE49-F238E27FC236}">
                <a16:creationId xmlns:a16="http://schemas.microsoft.com/office/drawing/2014/main" id="{77FFA27B-0616-42C8-9BA8-A4040D9050D0}"/>
              </a:ext>
            </a:extLst>
          </p:cNvPr>
          <p:cNvGrpSpPr/>
          <p:nvPr/>
        </p:nvGrpSpPr>
        <p:grpSpPr>
          <a:xfrm>
            <a:off x="6604540" y="1636745"/>
            <a:ext cx="5157096" cy="3715568"/>
            <a:chOff x="6604612" y="1636490"/>
            <a:chExt cx="5157828" cy="3716095"/>
          </a:xfrm>
        </p:grpSpPr>
        <p:sp>
          <p:nvSpPr>
            <p:cNvPr id="35" name="Rectangle 34">
              <a:extLst>
                <a:ext uri="{FF2B5EF4-FFF2-40B4-BE49-F238E27FC236}">
                  <a16:creationId xmlns:a16="http://schemas.microsoft.com/office/drawing/2014/main" id="{7CE6DC54-A52A-3445-B256-B1526D653A57}"/>
                </a:ext>
              </a:extLst>
            </p:cNvPr>
            <p:cNvSpPr/>
            <p:nvPr/>
          </p:nvSpPr>
          <p:spPr bwMode="auto">
            <a:xfrm>
              <a:off x="6604612" y="1641749"/>
              <a:ext cx="5157827" cy="443216"/>
            </a:xfrm>
            <a:prstGeom prst="rect">
              <a:avLst/>
            </a:prstGeom>
            <a:solidFill>
              <a:schemeClr val="tx2"/>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C4F2AC0B-FB31-984A-9C37-14D40B5AE21C}"/>
                </a:ext>
              </a:extLst>
            </p:cNvPr>
            <p:cNvSpPr/>
            <p:nvPr/>
          </p:nvSpPr>
          <p:spPr bwMode="auto">
            <a:xfrm>
              <a:off x="6672168" y="1743443"/>
              <a:ext cx="2107397" cy="246256"/>
            </a:xfrm>
            <a:prstGeom prst="rect">
              <a:avLst/>
            </a:prstGeom>
            <a:no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Semibold"/>
                  <a:ea typeface="Segoe UI" pitchFamily="34" charset="0"/>
                  <a:cs typeface="Segoe UI" pitchFamily="34" charset="0"/>
                </a:rPr>
                <a:t>Feature Importance</a:t>
              </a:r>
            </a:p>
          </p:txBody>
        </p:sp>
        <p:sp>
          <p:nvSpPr>
            <p:cNvPr id="37" name="Rectangle 36">
              <a:extLst>
                <a:ext uri="{FF2B5EF4-FFF2-40B4-BE49-F238E27FC236}">
                  <a16:creationId xmlns:a16="http://schemas.microsoft.com/office/drawing/2014/main" id="{BB7430E3-CDE3-434C-A026-10A51B11C6B4}"/>
                </a:ext>
              </a:extLst>
            </p:cNvPr>
            <p:cNvSpPr/>
            <p:nvPr/>
          </p:nvSpPr>
          <p:spPr bwMode="auto">
            <a:xfrm>
              <a:off x="6604613" y="1636490"/>
              <a:ext cx="5157827" cy="3716095"/>
            </a:xfrm>
            <a:prstGeom prst="rect">
              <a:avLst/>
            </a:prstGeom>
            <a:noFill/>
            <a:ln w="19050">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grpSp>
          <p:nvGrpSpPr>
            <p:cNvPr id="31" name="Group 30">
              <a:extLst>
                <a:ext uri="{FF2B5EF4-FFF2-40B4-BE49-F238E27FC236}">
                  <a16:creationId xmlns:a16="http://schemas.microsoft.com/office/drawing/2014/main" id="{3451E7A0-2C2C-40A5-B09C-2FD21A86EF2E}"/>
                </a:ext>
              </a:extLst>
            </p:cNvPr>
            <p:cNvGrpSpPr/>
            <p:nvPr/>
          </p:nvGrpSpPr>
          <p:grpSpPr>
            <a:xfrm>
              <a:off x="6680624" y="3248921"/>
              <a:ext cx="3216020" cy="327903"/>
              <a:chOff x="6680624" y="2604434"/>
              <a:chExt cx="3216020" cy="327903"/>
            </a:xfrm>
          </p:grpSpPr>
          <p:sp>
            <p:nvSpPr>
              <p:cNvPr id="6" name="Rectangle 5">
                <a:extLst>
                  <a:ext uri="{FF2B5EF4-FFF2-40B4-BE49-F238E27FC236}">
                    <a16:creationId xmlns:a16="http://schemas.microsoft.com/office/drawing/2014/main" id="{0B4B8FB9-9E72-A04C-87F0-1BEEDB5F1CF0}"/>
                  </a:ext>
                </a:extLst>
              </p:cNvPr>
              <p:cNvSpPr/>
              <p:nvPr/>
            </p:nvSpPr>
            <p:spPr bwMode="auto">
              <a:xfrm>
                <a:off x="7954005" y="2604434"/>
                <a:ext cx="1942639" cy="3236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8BF1D61B-3F90-4A8C-A8DD-22C91B10684B}"/>
                  </a:ext>
                </a:extLst>
              </p:cNvPr>
              <p:cNvSpPr/>
              <p:nvPr/>
            </p:nvSpPr>
            <p:spPr bwMode="auto">
              <a:xfrm>
                <a:off x="6680624" y="2620264"/>
                <a:ext cx="1200632" cy="312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Mileage</a:t>
                </a:r>
              </a:p>
            </p:txBody>
          </p:sp>
        </p:grpSp>
        <p:grpSp>
          <p:nvGrpSpPr>
            <p:cNvPr id="33" name="Group 32">
              <a:extLst>
                <a:ext uri="{FF2B5EF4-FFF2-40B4-BE49-F238E27FC236}">
                  <a16:creationId xmlns:a16="http://schemas.microsoft.com/office/drawing/2014/main" id="{B6DEDF56-843D-4100-A32B-6CF4CE87EFC6}"/>
                </a:ext>
              </a:extLst>
            </p:cNvPr>
            <p:cNvGrpSpPr/>
            <p:nvPr/>
          </p:nvGrpSpPr>
          <p:grpSpPr>
            <a:xfrm>
              <a:off x="6680624" y="2277789"/>
              <a:ext cx="4477572" cy="332741"/>
              <a:chOff x="6680624" y="3089982"/>
              <a:chExt cx="4477572" cy="332741"/>
            </a:xfrm>
          </p:grpSpPr>
          <p:sp>
            <p:nvSpPr>
              <p:cNvPr id="7" name="Rectangle 6">
                <a:extLst>
                  <a:ext uri="{FF2B5EF4-FFF2-40B4-BE49-F238E27FC236}">
                    <a16:creationId xmlns:a16="http://schemas.microsoft.com/office/drawing/2014/main" id="{2CAF6BB3-E81C-FF4E-B103-3825B9C74266}"/>
                  </a:ext>
                </a:extLst>
              </p:cNvPr>
              <p:cNvSpPr/>
              <p:nvPr/>
            </p:nvSpPr>
            <p:spPr bwMode="auto">
              <a:xfrm>
                <a:off x="7954005" y="3089982"/>
                <a:ext cx="3204191" cy="3236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29E35EAC-663F-43B8-9093-E4525666EDF7}"/>
                  </a:ext>
                </a:extLst>
              </p:cNvPr>
              <p:cNvSpPr/>
              <p:nvPr/>
            </p:nvSpPr>
            <p:spPr bwMode="auto">
              <a:xfrm>
                <a:off x="6680624" y="3110650"/>
                <a:ext cx="1200632" cy="312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Condition</a:t>
                </a:r>
              </a:p>
            </p:txBody>
          </p:sp>
        </p:grpSp>
        <p:grpSp>
          <p:nvGrpSpPr>
            <p:cNvPr id="34" name="Group 33">
              <a:extLst>
                <a:ext uri="{FF2B5EF4-FFF2-40B4-BE49-F238E27FC236}">
                  <a16:creationId xmlns:a16="http://schemas.microsoft.com/office/drawing/2014/main" id="{F19037CB-972B-40E8-BE2D-74E3D20A703D}"/>
                </a:ext>
              </a:extLst>
            </p:cNvPr>
            <p:cNvGrpSpPr/>
            <p:nvPr/>
          </p:nvGrpSpPr>
          <p:grpSpPr>
            <a:xfrm>
              <a:off x="6680623" y="4220053"/>
              <a:ext cx="1750714" cy="337581"/>
              <a:chOff x="6680623" y="3575528"/>
              <a:chExt cx="1750714" cy="337581"/>
            </a:xfrm>
          </p:grpSpPr>
          <p:sp>
            <p:nvSpPr>
              <p:cNvPr id="8" name="Rectangle 7">
                <a:extLst>
                  <a:ext uri="{FF2B5EF4-FFF2-40B4-BE49-F238E27FC236}">
                    <a16:creationId xmlns:a16="http://schemas.microsoft.com/office/drawing/2014/main" id="{8BCDE5FB-5C6D-104D-BD31-47A26E7B995F}"/>
                  </a:ext>
                </a:extLst>
              </p:cNvPr>
              <p:cNvSpPr/>
              <p:nvPr/>
            </p:nvSpPr>
            <p:spPr bwMode="auto">
              <a:xfrm>
                <a:off x="7954005" y="3575528"/>
                <a:ext cx="477332" cy="3236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69" name="Rectangle 68">
                <a:extLst>
                  <a:ext uri="{FF2B5EF4-FFF2-40B4-BE49-F238E27FC236}">
                    <a16:creationId xmlns:a16="http://schemas.microsoft.com/office/drawing/2014/main" id="{E3669193-ADE0-4159-92C8-5CCBBB58542D}"/>
                  </a:ext>
                </a:extLst>
              </p:cNvPr>
              <p:cNvSpPr/>
              <p:nvPr/>
            </p:nvSpPr>
            <p:spPr bwMode="auto">
              <a:xfrm>
                <a:off x="6680623" y="3601036"/>
                <a:ext cx="1200631" cy="312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Car brand</a:t>
                </a:r>
              </a:p>
            </p:txBody>
          </p:sp>
        </p:grpSp>
        <p:grpSp>
          <p:nvGrpSpPr>
            <p:cNvPr id="38" name="Group 37">
              <a:extLst>
                <a:ext uri="{FF2B5EF4-FFF2-40B4-BE49-F238E27FC236}">
                  <a16:creationId xmlns:a16="http://schemas.microsoft.com/office/drawing/2014/main" id="{1D9B18ED-2273-4316-91A1-E48A7E943C9E}"/>
                </a:ext>
              </a:extLst>
            </p:cNvPr>
            <p:cNvGrpSpPr/>
            <p:nvPr/>
          </p:nvGrpSpPr>
          <p:grpSpPr>
            <a:xfrm>
              <a:off x="6680623" y="2763355"/>
              <a:ext cx="4027525" cy="338128"/>
              <a:chOff x="6680623" y="4061078"/>
              <a:chExt cx="4027525" cy="338128"/>
            </a:xfrm>
          </p:grpSpPr>
          <p:sp>
            <p:nvSpPr>
              <p:cNvPr id="9" name="Rectangle 8">
                <a:extLst>
                  <a:ext uri="{FF2B5EF4-FFF2-40B4-BE49-F238E27FC236}">
                    <a16:creationId xmlns:a16="http://schemas.microsoft.com/office/drawing/2014/main" id="{C81FB0AB-33C6-D34B-8371-5D64BD67FF7A}"/>
                  </a:ext>
                </a:extLst>
              </p:cNvPr>
              <p:cNvSpPr/>
              <p:nvPr/>
            </p:nvSpPr>
            <p:spPr bwMode="auto">
              <a:xfrm>
                <a:off x="7954006" y="4061078"/>
                <a:ext cx="2754142" cy="3236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70" name="Rectangle 69">
                <a:extLst>
                  <a:ext uri="{FF2B5EF4-FFF2-40B4-BE49-F238E27FC236}">
                    <a16:creationId xmlns:a16="http://schemas.microsoft.com/office/drawing/2014/main" id="{636BEBCC-A3DD-4127-BC20-89FD50FDDD8F}"/>
                  </a:ext>
                </a:extLst>
              </p:cNvPr>
              <p:cNvSpPr/>
              <p:nvPr/>
            </p:nvSpPr>
            <p:spPr bwMode="auto">
              <a:xfrm>
                <a:off x="6680623" y="4091422"/>
                <a:ext cx="1200633" cy="307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Year of make</a:t>
                </a:r>
              </a:p>
            </p:txBody>
          </p:sp>
        </p:grpSp>
        <p:grpSp>
          <p:nvGrpSpPr>
            <p:cNvPr id="72" name="Group 71">
              <a:extLst>
                <a:ext uri="{FF2B5EF4-FFF2-40B4-BE49-F238E27FC236}">
                  <a16:creationId xmlns:a16="http://schemas.microsoft.com/office/drawing/2014/main" id="{D2D116E5-4A19-4833-856C-A26937BECDBC}"/>
                </a:ext>
              </a:extLst>
            </p:cNvPr>
            <p:cNvGrpSpPr/>
            <p:nvPr/>
          </p:nvGrpSpPr>
          <p:grpSpPr>
            <a:xfrm>
              <a:off x="6680623" y="3734487"/>
              <a:ext cx="3138059" cy="347255"/>
              <a:chOff x="6680623" y="4546624"/>
              <a:chExt cx="3138059" cy="347255"/>
            </a:xfrm>
          </p:grpSpPr>
          <p:sp>
            <p:nvSpPr>
              <p:cNvPr id="10" name="Rectangle 9">
                <a:extLst>
                  <a:ext uri="{FF2B5EF4-FFF2-40B4-BE49-F238E27FC236}">
                    <a16:creationId xmlns:a16="http://schemas.microsoft.com/office/drawing/2014/main" id="{03AAAA7C-2A16-3240-B032-C1C9B80D653D}"/>
                  </a:ext>
                </a:extLst>
              </p:cNvPr>
              <p:cNvSpPr/>
              <p:nvPr/>
            </p:nvSpPr>
            <p:spPr bwMode="auto">
              <a:xfrm>
                <a:off x="7954005" y="4546624"/>
                <a:ext cx="1864677" cy="3236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prstClr val="white"/>
                  </a:solidFill>
                  <a:effectLst/>
                  <a:uLnTx/>
                  <a:uFillTx/>
                  <a:latin typeface="Segoe UI"/>
                  <a:ea typeface="Segoe UI" pitchFamily="34" charset="0"/>
                  <a:cs typeface="Segoe UI" pitchFamily="34" charset="0"/>
                </a:endParaRPr>
              </a:p>
            </p:txBody>
          </p:sp>
          <p:sp>
            <p:nvSpPr>
              <p:cNvPr id="71" name="Rectangle 70">
                <a:extLst>
                  <a:ext uri="{FF2B5EF4-FFF2-40B4-BE49-F238E27FC236}">
                    <a16:creationId xmlns:a16="http://schemas.microsoft.com/office/drawing/2014/main" id="{4B0756D7-8D8E-41C9-8BA3-9EB7526A05F8}"/>
                  </a:ext>
                </a:extLst>
              </p:cNvPr>
              <p:cNvSpPr/>
              <p:nvPr/>
            </p:nvSpPr>
            <p:spPr bwMode="auto">
              <a:xfrm>
                <a:off x="6680623" y="4581806"/>
                <a:ext cx="1200632" cy="312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Regulations</a:t>
                </a:r>
              </a:p>
            </p:txBody>
          </p:sp>
        </p:grpSp>
        <p:sp>
          <p:nvSpPr>
            <p:cNvPr id="79" name="TextBox 78">
              <a:extLst>
                <a:ext uri="{FF2B5EF4-FFF2-40B4-BE49-F238E27FC236}">
                  <a16:creationId xmlns:a16="http://schemas.microsoft.com/office/drawing/2014/main" id="{EFA95154-3688-4146-B1D3-BD3DCC7278A6}"/>
                </a:ext>
              </a:extLst>
            </p:cNvPr>
            <p:cNvSpPr txBox="1"/>
            <p:nvPr/>
          </p:nvSpPr>
          <p:spPr>
            <a:xfrm>
              <a:off x="7725405" y="5025077"/>
              <a:ext cx="228600" cy="166223"/>
            </a:xfrm>
            <a:prstGeom prst="rect">
              <a:avLst/>
            </a:prstGeom>
            <a:noFill/>
          </p:spPr>
          <p:txBody>
            <a:bodyPr wrap="squar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a:ea typeface="+mn-ea"/>
                  <a:cs typeface="+mn-cs"/>
                </a:rPr>
                <a:t>0</a:t>
              </a:r>
            </a:p>
          </p:txBody>
        </p:sp>
        <p:sp>
          <p:nvSpPr>
            <p:cNvPr id="80" name="TextBox 79">
              <a:extLst>
                <a:ext uri="{FF2B5EF4-FFF2-40B4-BE49-F238E27FC236}">
                  <a16:creationId xmlns:a16="http://schemas.microsoft.com/office/drawing/2014/main" id="{BE7EDA76-6178-4795-8635-EDAF9B822F5D}"/>
                </a:ext>
              </a:extLst>
            </p:cNvPr>
            <p:cNvSpPr txBox="1"/>
            <p:nvPr/>
          </p:nvSpPr>
          <p:spPr>
            <a:xfrm>
              <a:off x="11454629" y="5025077"/>
              <a:ext cx="228600" cy="166223"/>
            </a:xfrm>
            <a:prstGeom prst="rect">
              <a:avLst/>
            </a:prstGeom>
            <a:noFill/>
          </p:spPr>
          <p:txBody>
            <a:bodyPr wrap="squar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a:ea typeface="+mn-ea"/>
                  <a:cs typeface="+mn-cs"/>
                </a:rPr>
                <a:t>1</a:t>
              </a:r>
            </a:p>
          </p:txBody>
        </p:sp>
        <p:grpSp>
          <p:nvGrpSpPr>
            <p:cNvPr id="81" name="Group 80">
              <a:extLst>
                <a:ext uri="{FF2B5EF4-FFF2-40B4-BE49-F238E27FC236}">
                  <a16:creationId xmlns:a16="http://schemas.microsoft.com/office/drawing/2014/main" id="{5169AF9C-D2D1-4373-890A-CD7B16D37345}"/>
                </a:ext>
              </a:extLst>
            </p:cNvPr>
            <p:cNvGrpSpPr/>
            <p:nvPr/>
          </p:nvGrpSpPr>
          <p:grpSpPr>
            <a:xfrm>
              <a:off x="7839705" y="4803112"/>
              <a:ext cx="3729224" cy="152601"/>
              <a:chOff x="1678964" y="5129683"/>
              <a:chExt cx="3729224" cy="228600"/>
            </a:xfrm>
          </p:grpSpPr>
          <p:cxnSp>
            <p:nvCxnSpPr>
              <p:cNvPr id="82" name="Straight Connector 81">
                <a:extLst>
                  <a:ext uri="{FF2B5EF4-FFF2-40B4-BE49-F238E27FC236}">
                    <a16:creationId xmlns:a16="http://schemas.microsoft.com/office/drawing/2014/main" id="{34EA78D5-9576-4A32-9038-B25BDEA0FB20}"/>
                  </a:ext>
                </a:extLst>
              </p:cNvPr>
              <p:cNvCxnSpPr>
                <a:cxnSpLocks/>
              </p:cNvCxnSpPr>
              <p:nvPr/>
            </p:nvCxnSpPr>
            <p:spPr>
              <a:xfrm>
                <a:off x="1678964" y="5243983"/>
                <a:ext cx="372922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71AD6DC-F8A0-4296-83C5-E9F9DF2FA5D6}"/>
                  </a:ext>
                </a:extLst>
              </p:cNvPr>
              <p:cNvCxnSpPr/>
              <p:nvPr/>
            </p:nvCxnSpPr>
            <p:spPr>
              <a:xfrm>
                <a:off x="1678964" y="5129683"/>
                <a:ext cx="0" cy="2286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0D3EC87-F410-4A35-AC2F-D7FB0D656142}"/>
                  </a:ext>
                </a:extLst>
              </p:cNvPr>
              <p:cNvCxnSpPr/>
              <p:nvPr/>
            </p:nvCxnSpPr>
            <p:spPr>
              <a:xfrm>
                <a:off x="5408188" y="5129683"/>
                <a:ext cx="0" cy="2286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CB2AEFD-C055-45E8-93C8-9398D321C448}"/>
                  </a:ext>
                </a:extLst>
              </p:cNvPr>
              <p:cNvCxnSpPr/>
              <p:nvPr/>
            </p:nvCxnSpPr>
            <p:spPr>
              <a:xfrm>
                <a:off x="3543576" y="5129683"/>
                <a:ext cx="0" cy="2286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B30D8D8-2C37-4732-9229-9A267EB21836}"/>
                  </a:ext>
                </a:extLst>
              </p:cNvPr>
              <p:cNvCxnSpPr/>
              <p:nvPr/>
            </p:nvCxnSpPr>
            <p:spPr>
              <a:xfrm>
                <a:off x="2611270" y="5149520"/>
                <a:ext cx="0" cy="1889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25561B8-6BB4-4E57-A658-562BA3822A3A}"/>
                  </a:ext>
                </a:extLst>
              </p:cNvPr>
              <p:cNvCxnSpPr/>
              <p:nvPr/>
            </p:nvCxnSpPr>
            <p:spPr>
              <a:xfrm>
                <a:off x="4475882" y="5149520"/>
                <a:ext cx="0" cy="1889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89" name="Group 88">
            <a:extLst>
              <a:ext uri="{FF2B5EF4-FFF2-40B4-BE49-F238E27FC236}">
                <a16:creationId xmlns:a16="http://schemas.microsoft.com/office/drawing/2014/main" id="{76C463A8-BC9C-4771-8076-151B6C10E4E7}"/>
              </a:ext>
            </a:extLst>
          </p:cNvPr>
          <p:cNvGrpSpPr/>
          <p:nvPr/>
        </p:nvGrpSpPr>
        <p:grpSpPr>
          <a:xfrm>
            <a:off x="427205" y="1636745"/>
            <a:ext cx="5157095" cy="3715568"/>
            <a:chOff x="426401" y="1636490"/>
            <a:chExt cx="5157827" cy="3716095"/>
          </a:xfrm>
        </p:grpSpPr>
        <p:sp>
          <p:nvSpPr>
            <p:cNvPr id="32" name="Rectangle 31">
              <a:extLst>
                <a:ext uri="{FF2B5EF4-FFF2-40B4-BE49-F238E27FC236}">
                  <a16:creationId xmlns:a16="http://schemas.microsoft.com/office/drawing/2014/main" id="{8462D6EB-A80C-174A-9844-BC23742E0118}"/>
                </a:ext>
              </a:extLst>
            </p:cNvPr>
            <p:cNvSpPr/>
            <p:nvPr/>
          </p:nvSpPr>
          <p:spPr bwMode="auto">
            <a:xfrm>
              <a:off x="426401" y="1641749"/>
              <a:ext cx="5157826" cy="443216"/>
            </a:xfrm>
            <a:prstGeom prst="rect">
              <a:avLst/>
            </a:prstGeom>
            <a:solidFill>
              <a:schemeClr val="accent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prstClr val="black"/>
                </a:soli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E6F2BDD8-5120-C840-9F94-0DD51405BE6B}"/>
                </a:ext>
              </a:extLst>
            </p:cNvPr>
            <p:cNvSpPr/>
            <p:nvPr/>
          </p:nvSpPr>
          <p:spPr bwMode="auto">
            <a:xfrm>
              <a:off x="493956" y="1743443"/>
              <a:ext cx="2117314" cy="246256"/>
            </a:xfrm>
            <a:prstGeom prst="rect">
              <a:avLst/>
            </a:prstGeom>
            <a:no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Segoe UI" pitchFamily="34" charset="0"/>
                  <a:cs typeface="Segoe UI" pitchFamily="34" charset="0"/>
                </a:rPr>
                <a:t>Feature Importance</a:t>
              </a:r>
            </a:p>
          </p:txBody>
        </p:sp>
        <p:grpSp>
          <p:nvGrpSpPr>
            <p:cNvPr id="30" name="Group 29">
              <a:extLst>
                <a:ext uri="{FF2B5EF4-FFF2-40B4-BE49-F238E27FC236}">
                  <a16:creationId xmlns:a16="http://schemas.microsoft.com/office/drawing/2014/main" id="{2FEAA007-2D02-484D-9A4A-F53590628F96}"/>
                </a:ext>
              </a:extLst>
            </p:cNvPr>
            <p:cNvGrpSpPr/>
            <p:nvPr/>
          </p:nvGrpSpPr>
          <p:grpSpPr>
            <a:xfrm>
              <a:off x="506809" y="2277789"/>
              <a:ext cx="4901378" cy="327903"/>
              <a:chOff x="506809" y="2604434"/>
              <a:chExt cx="4901378" cy="327903"/>
            </a:xfrm>
          </p:grpSpPr>
          <p:sp>
            <p:nvSpPr>
              <p:cNvPr id="19" name="Rectangle 18">
                <a:extLst>
                  <a:ext uri="{FF2B5EF4-FFF2-40B4-BE49-F238E27FC236}">
                    <a16:creationId xmlns:a16="http://schemas.microsoft.com/office/drawing/2014/main" id="{2C81A125-A3B5-984D-8EB1-E8D135AF59B0}"/>
                  </a:ext>
                </a:extLst>
              </p:cNvPr>
              <p:cNvSpPr/>
              <p:nvPr/>
            </p:nvSpPr>
            <p:spPr bwMode="auto">
              <a:xfrm>
                <a:off x="506809" y="2620264"/>
                <a:ext cx="1247967" cy="312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Segoe UI" pitchFamily="34" charset="0"/>
                    <a:cs typeface="Segoe UI Semibold" panose="020B0702040204020203" pitchFamily="34" charset="0"/>
                  </a:rPr>
                  <a:t>Mileage</a:t>
                </a:r>
              </a:p>
            </p:txBody>
          </p:sp>
          <p:sp>
            <p:nvSpPr>
              <p:cNvPr id="13" name="Rectangle 12">
                <a:extLst>
                  <a:ext uri="{FF2B5EF4-FFF2-40B4-BE49-F238E27FC236}">
                    <a16:creationId xmlns:a16="http://schemas.microsoft.com/office/drawing/2014/main" id="{6719AF30-921A-DC47-8944-F282A861E4B6}"/>
                  </a:ext>
                </a:extLst>
              </p:cNvPr>
              <p:cNvSpPr/>
              <p:nvPr/>
            </p:nvSpPr>
            <p:spPr bwMode="auto">
              <a:xfrm>
                <a:off x="1830786" y="2604434"/>
                <a:ext cx="3577401" cy="3236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9" name="Rectangle 38">
              <a:extLst>
                <a:ext uri="{FF2B5EF4-FFF2-40B4-BE49-F238E27FC236}">
                  <a16:creationId xmlns:a16="http://schemas.microsoft.com/office/drawing/2014/main" id="{45862FEB-0919-DE4D-BF02-5C1DC1CC1731}"/>
                </a:ext>
              </a:extLst>
            </p:cNvPr>
            <p:cNvSpPr/>
            <p:nvPr/>
          </p:nvSpPr>
          <p:spPr bwMode="auto">
            <a:xfrm>
              <a:off x="426401" y="1636490"/>
              <a:ext cx="5157827" cy="3716095"/>
            </a:xfrm>
            <a:prstGeom prst="rect">
              <a:avLst/>
            </a:prstGeom>
            <a:noFill/>
            <a:ln w="19050">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TextBox 25">
              <a:extLst>
                <a:ext uri="{FF2B5EF4-FFF2-40B4-BE49-F238E27FC236}">
                  <a16:creationId xmlns:a16="http://schemas.microsoft.com/office/drawing/2014/main" id="{D4C68CB8-B47B-4B58-BF04-1E0729326A24}"/>
                </a:ext>
              </a:extLst>
            </p:cNvPr>
            <p:cNvSpPr txBox="1"/>
            <p:nvPr/>
          </p:nvSpPr>
          <p:spPr>
            <a:xfrm>
              <a:off x="1564664" y="5025077"/>
              <a:ext cx="228600" cy="166223"/>
            </a:xfrm>
            <a:prstGeom prst="rect">
              <a:avLst/>
            </a:prstGeom>
            <a:noFill/>
          </p:spPr>
          <p:txBody>
            <a:bodyPr wrap="squar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a:ea typeface="+mn-ea"/>
                  <a:cs typeface="+mn-cs"/>
                </a:rPr>
                <a:t>0</a:t>
              </a:r>
            </a:p>
          </p:txBody>
        </p:sp>
        <p:sp>
          <p:nvSpPr>
            <p:cNvPr id="42" name="TextBox 41">
              <a:extLst>
                <a:ext uri="{FF2B5EF4-FFF2-40B4-BE49-F238E27FC236}">
                  <a16:creationId xmlns:a16="http://schemas.microsoft.com/office/drawing/2014/main" id="{1703AD90-9E68-4319-9F39-14C7D3E65A54}"/>
                </a:ext>
              </a:extLst>
            </p:cNvPr>
            <p:cNvSpPr txBox="1"/>
            <p:nvPr/>
          </p:nvSpPr>
          <p:spPr>
            <a:xfrm>
              <a:off x="5293888" y="5025077"/>
              <a:ext cx="228600" cy="166223"/>
            </a:xfrm>
            <a:prstGeom prst="rect">
              <a:avLst/>
            </a:prstGeom>
            <a:noFill/>
          </p:spPr>
          <p:txBody>
            <a:bodyPr wrap="squar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a:ea typeface="+mn-ea"/>
                  <a:cs typeface="+mn-cs"/>
                </a:rPr>
                <a:t>1</a:t>
              </a:r>
            </a:p>
          </p:txBody>
        </p:sp>
        <p:grpSp>
          <p:nvGrpSpPr>
            <p:cNvPr id="29" name="Group 28">
              <a:extLst>
                <a:ext uri="{FF2B5EF4-FFF2-40B4-BE49-F238E27FC236}">
                  <a16:creationId xmlns:a16="http://schemas.microsoft.com/office/drawing/2014/main" id="{B27C9428-7800-4959-9804-61FD03C0E049}"/>
                </a:ext>
              </a:extLst>
            </p:cNvPr>
            <p:cNvGrpSpPr/>
            <p:nvPr/>
          </p:nvGrpSpPr>
          <p:grpSpPr>
            <a:xfrm>
              <a:off x="506809" y="3734487"/>
              <a:ext cx="4262749" cy="332741"/>
              <a:chOff x="506809" y="3089982"/>
              <a:chExt cx="4262749" cy="332741"/>
            </a:xfrm>
          </p:grpSpPr>
          <p:sp>
            <p:nvSpPr>
              <p:cNvPr id="14" name="Rectangle 13">
                <a:extLst>
                  <a:ext uri="{FF2B5EF4-FFF2-40B4-BE49-F238E27FC236}">
                    <a16:creationId xmlns:a16="http://schemas.microsoft.com/office/drawing/2014/main" id="{9E661D37-9B2C-A149-9D0B-906EC80961BB}"/>
                  </a:ext>
                </a:extLst>
              </p:cNvPr>
              <p:cNvSpPr/>
              <p:nvPr/>
            </p:nvSpPr>
            <p:spPr bwMode="auto">
              <a:xfrm>
                <a:off x="1830785" y="3089982"/>
                <a:ext cx="2938773" cy="3236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Rectangle 59">
                <a:extLst>
                  <a:ext uri="{FF2B5EF4-FFF2-40B4-BE49-F238E27FC236}">
                    <a16:creationId xmlns:a16="http://schemas.microsoft.com/office/drawing/2014/main" id="{34FB9533-8681-49A7-B7A5-F9145E7C8664}"/>
                  </a:ext>
                </a:extLst>
              </p:cNvPr>
              <p:cNvSpPr/>
              <p:nvPr/>
            </p:nvSpPr>
            <p:spPr bwMode="auto">
              <a:xfrm>
                <a:off x="506809" y="3110650"/>
                <a:ext cx="1247967" cy="312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Segoe UI" pitchFamily="34" charset="0"/>
                    <a:cs typeface="Segoe UI Semibold" panose="020B0702040204020203" pitchFamily="34" charset="0"/>
                  </a:rPr>
                  <a:t>Condition</a:t>
                </a:r>
              </a:p>
            </p:txBody>
          </p:sp>
        </p:grpSp>
        <p:grpSp>
          <p:nvGrpSpPr>
            <p:cNvPr id="28" name="Group 27">
              <a:extLst>
                <a:ext uri="{FF2B5EF4-FFF2-40B4-BE49-F238E27FC236}">
                  <a16:creationId xmlns:a16="http://schemas.microsoft.com/office/drawing/2014/main" id="{8CE2A1DD-1735-4190-B0BC-BB2D5E39F37D}"/>
                </a:ext>
              </a:extLst>
            </p:cNvPr>
            <p:cNvGrpSpPr/>
            <p:nvPr/>
          </p:nvGrpSpPr>
          <p:grpSpPr>
            <a:xfrm>
              <a:off x="506809" y="3248921"/>
              <a:ext cx="4413773" cy="337580"/>
              <a:chOff x="506809" y="3575529"/>
              <a:chExt cx="4413773" cy="337580"/>
            </a:xfrm>
          </p:grpSpPr>
          <p:sp>
            <p:nvSpPr>
              <p:cNvPr id="15" name="Rectangle 14">
                <a:extLst>
                  <a:ext uri="{FF2B5EF4-FFF2-40B4-BE49-F238E27FC236}">
                    <a16:creationId xmlns:a16="http://schemas.microsoft.com/office/drawing/2014/main" id="{8E104472-F268-FB49-B9B5-F5F17C529F59}"/>
                  </a:ext>
                </a:extLst>
              </p:cNvPr>
              <p:cNvSpPr/>
              <p:nvPr/>
            </p:nvSpPr>
            <p:spPr bwMode="auto">
              <a:xfrm>
                <a:off x="1830786" y="3575529"/>
                <a:ext cx="3089796" cy="3236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a:extLst>
                  <a:ext uri="{FF2B5EF4-FFF2-40B4-BE49-F238E27FC236}">
                    <a16:creationId xmlns:a16="http://schemas.microsoft.com/office/drawing/2014/main" id="{5AD396AB-618A-48FF-BBCA-A60C619EE259}"/>
                  </a:ext>
                </a:extLst>
              </p:cNvPr>
              <p:cNvSpPr/>
              <p:nvPr/>
            </p:nvSpPr>
            <p:spPr bwMode="auto">
              <a:xfrm>
                <a:off x="506809" y="3601036"/>
                <a:ext cx="1247967" cy="312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Segoe UI" pitchFamily="34" charset="0"/>
                    <a:cs typeface="Segoe UI Semibold" panose="020B0702040204020203" pitchFamily="34" charset="0"/>
                  </a:rPr>
                  <a:t>Car brand</a:t>
                </a:r>
              </a:p>
            </p:txBody>
          </p:sp>
        </p:grpSp>
        <p:grpSp>
          <p:nvGrpSpPr>
            <p:cNvPr id="27" name="Group 26">
              <a:extLst>
                <a:ext uri="{FF2B5EF4-FFF2-40B4-BE49-F238E27FC236}">
                  <a16:creationId xmlns:a16="http://schemas.microsoft.com/office/drawing/2014/main" id="{1AA5CC27-451F-4E2B-BE09-BFEC3C4D0813}"/>
                </a:ext>
              </a:extLst>
            </p:cNvPr>
            <p:cNvGrpSpPr/>
            <p:nvPr/>
          </p:nvGrpSpPr>
          <p:grpSpPr>
            <a:xfrm>
              <a:off x="506809" y="4220053"/>
              <a:ext cx="3162436" cy="342418"/>
              <a:chOff x="506809" y="4061077"/>
              <a:chExt cx="3162436" cy="342418"/>
            </a:xfrm>
          </p:grpSpPr>
          <p:sp>
            <p:nvSpPr>
              <p:cNvPr id="16" name="Rectangle 15">
                <a:extLst>
                  <a:ext uri="{FF2B5EF4-FFF2-40B4-BE49-F238E27FC236}">
                    <a16:creationId xmlns:a16="http://schemas.microsoft.com/office/drawing/2014/main" id="{44606A3E-9FD1-3744-B5A8-757528D648D0}"/>
                  </a:ext>
                </a:extLst>
              </p:cNvPr>
              <p:cNvSpPr/>
              <p:nvPr/>
            </p:nvSpPr>
            <p:spPr bwMode="auto">
              <a:xfrm>
                <a:off x="1830786" y="4061077"/>
                <a:ext cx="1838459" cy="3236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a:extLst>
                  <a:ext uri="{FF2B5EF4-FFF2-40B4-BE49-F238E27FC236}">
                    <a16:creationId xmlns:a16="http://schemas.microsoft.com/office/drawing/2014/main" id="{7CA1C11B-2CD8-42D1-BF51-2DED06015BD5}"/>
                  </a:ext>
                </a:extLst>
              </p:cNvPr>
              <p:cNvSpPr/>
              <p:nvPr/>
            </p:nvSpPr>
            <p:spPr bwMode="auto">
              <a:xfrm>
                <a:off x="506809" y="4091422"/>
                <a:ext cx="1247967" cy="312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Segoe UI" pitchFamily="34" charset="0"/>
                    <a:cs typeface="Segoe UI Semibold" panose="020B0702040204020203" pitchFamily="34" charset="0"/>
                  </a:rPr>
                  <a:t>Year of make</a:t>
                </a:r>
              </a:p>
            </p:txBody>
          </p:sp>
        </p:grpSp>
        <p:grpSp>
          <p:nvGrpSpPr>
            <p:cNvPr id="24" name="Group 23">
              <a:extLst>
                <a:ext uri="{FF2B5EF4-FFF2-40B4-BE49-F238E27FC236}">
                  <a16:creationId xmlns:a16="http://schemas.microsoft.com/office/drawing/2014/main" id="{6C53B2A9-CDB7-499F-8DD9-AB95AA342B45}"/>
                </a:ext>
              </a:extLst>
            </p:cNvPr>
            <p:cNvGrpSpPr/>
            <p:nvPr/>
          </p:nvGrpSpPr>
          <p:grpSpPr>
            <a:xfrm>
              <a:off x="506809" y="2763355"/>
              <a:ext cx="4755397" cy="347255"/>
              <a:chOff x="506809" y="4546624"/>
              <a:chExt cx="4755397" cy="347255"/>
            </a:xfrm>
          </p:grpSpPr>
          <p:sp>
            <p:nvSpPr>
              <p:cNvPr id="17" name="Rectangle 16">
                <a:extLst>
                  <a:ext uri="{FF2B5EF4-FFF2-40B4-BE49-F238E27FC236}">
                    <a16:creationId xmlns:a16="http://schemas.microsoft.com/office/drawing/2014/main" id="{6CB6C722-B9BC-9547-BB1F-B16C09F13D0F}"/>
                  </a:ext>
                </a:extLst>
              </p:cNvPr>
              <p:cNvSpPr/>
              <p:nvPr/>
            </p:nvSpPr>
            <p:spPr bwMode="auto">
              <a:xfrm>
                <a:off x="1830786" y="4546624"/>
                <a:ext cx="3431420" cy="3236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D76F6002-7F4A-4128-94DE-8580CBE330DF}"/>
                  </a:ext>
                </a:extLst>
              </p:cNvPr>
              <p:cNvSpPr/>
              <p:nvPr/>
            </p:nvSpPr>
            <p:spPr bwMode="auto">
              <a:xfrm>
                <a:off x="506809" y="4581806"/>
                <a:ext cx="1247967" cy="312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marL="0" marR="0" lvl="0" indent="0" algn="r" defTabSz="932293"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Segoe UI" pitchFamily="34" charset="0"/>
                    <a:cs typeface="Segoe UI Semibold" panose="020B0702040204020203" pitchFamily="34" charset="0"/>
                  </a:rPr>
                  <a:t>Regulations</a:t>
                </a:r>
              </a:p>
            </p:txBody>
          </p:sp>
        </p:grpSp>
        <p:grpSp>
          <p:nvGrpSpPr>
            <p:cNvPr id="78" name="Group 77">
              <a:extLst>
                <a:ext uri="{FF2B5EF4-FFF2-40B4-BE49-F238E27FC236}">
                  <a16:creationId xmlns:a16="http://schemas.microsoft.com/office/drawing/2014/main" id="{1EE67698-9E17-47E3-96C7-74BC148B0723}"/>
                </a:ext>
              </a:extLst>
            </p:cNvPr>
            <p:cNvGrpSpPr/>
            <p:nvPr/>
          </p:nvGrpSpPr>
          <p:grpSpPr>
            <a:xfrm>
              <a:off x="1678964" y="4803112"/>
              <a:ext cx="3729224" cy="152601"/>
              <a:chOff x="1678964" y="5129683"/>
              <a:chExt cx="3729224" cy="228600"/>
            </a:xfrm>
          </p:grpSpPr>
          <p:cxnSp>
            <p:nvCxnSpPr>
              <p:cNvPr id="18" name="Straight Connector 17">
                <a:extLst>
                  <a:ext uri="{FF2B5EF4-FFF2-40B4-BE49-F238E27FC236}">
                    <a16:creationId xmlns:a16="http://schemas.microsoft.com/office/drawing/2014/main" id="{BBBC35F0-B517-4C9F-A881-495AD75F324F}"/>
                  </a:ext>
                </a:extLst>
              </p:cNvPr>
              <p:cNvCxnSpPr>
                <a:cxnSpLocks/>
              </p:cNvCxnSpPr>
              <p:nvPr/>
            </p:nvCxnSpPr>
            <p:spPr>
              <a:xfrm>
                <a:off x="1678964" y="5243983"/>
                <a:ext cx="372922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D92FE89-6863-4BEF-8DE7-49D5B5A02659}"/>
                  </a:ext>
                </a:extLst>
              </p:cNvPr>
              <p:cNvCxnSpPr/>
              <p:nvPr/>
            </p:nvCxnSpPr>
            <p:spPr>
              <a:xfrm>
                <a:off x="1678964" y="5129683"/>
                <a:ext cx="0" cy="2286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566E3A1-5709-4806-A811-6FD431CE9FE1}"/>
                  </a:ext>
                </a:extLst>
              </p:cNvPr>
              <p:cNvCxnSpPr/>
              <p:nvPr/>
            </p:nvCxnSpPr>
            <p:spPr>
              <a:xfrm>
                <a:off x="5408188" y="5129683"/>
                <a:ext cx="0" cy="2286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7332AAA-95E8-492B-8A27-2CC74E677F48}"/>
                  </a:ext>
                </a:extLst>
              </p:cNvPr>
              <p:cNvCxnSpPr/>
              <p:nvPr/>
            </p:nvCxnSpPr>
            <p:spPr>
              <a:xfrm>
                <a:off x="3543576" y="5129683"/>
                <a:ext cx="0" cy="2286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90D446A-07D7-441A-82BA-019B4F43BA33}"/>
                  </a:ext>
                </a:extLst>
              </p:cNvPr>
              <p:cNvCxnSpPr/>
              <p:nvPr/>
            </p:nvCxnSpPr>
            <p:spPr>
              <a:xfrm>
                <a:off x="2611270" y="5149520"/>
                <a:ext cx="0" cy="1889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2E0D493-93D3-4C9F-85BD-43E72AD379D0}"/>
                  </a:ext>
                </a:extLst>
              </p:cNvPr>
              <p:cNvCxnSpPr/>
              <p:nvPr/>
            </p:nvCxnSpPr>
            <p:spPr>
              <a:xfrm>
                <a:off x="4475882" y="5149520"/>
                <a:ext cx="0" cy="1889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45" name="Rectangle 44">
            <a:extLst>
              <a:ext uri="{FF2B5EF4-FFF2-40B4-BE49-F238E27FC236}">
                <a16:creationId xmlns:a16="http://schemas.microsoft.com/office/drawing/2014/main" id="{2522E483-CAC3-5346-BF70-11E8C7D2F1D6}"/>
              </a:ext>
            </a:extLst>
          </p:cNvPr>
          <p:cNvSpPr/>
          <p:nvPr/>
        </p:nvSpPr>
        <p:spPr bwMode="auto">
          <a:xfrm>
            <a:off x="4017942" y="1760915"/>
            <a:ext cx="1146947" cy="211209"/>
          </a:xfrm>
          <a:prstGeom prst="rect">
            <a:avLst/>
          </a:prstGeom>
          <a:solidFill>
            <a:schemeClr val="accent1"/>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solidFill>
                  <a:prstClr val="black"/>
                </a:solidFill>
                <a:effectLst/>
                <a:uLnTx/>
                <a:uFillTx/>
                <a:latin typeface="Segoe UI Semibold"/>
                <a:ea typeface="Segoe UI" pitchFamily="34" charset="0"/>
                <a:cs typeface="Segoe UI" pitchFamily="34" charset="0"/>
              </a:rPr>
              <a:t>95%</a:t>
            </a:r>
          </a:p>
        </p:txBody>
      </p:sp>
      <p:sp>
        <p:nvSpPr>
          <p:cNvPr id="46" name="Rectangle 45">
            <a:extLst>
              <a:ext uri="{FF2B5EF4-FFF2-40B4-BE49-F238E27FC236}">
                <a16:creationId xmlns:a16="http://schemas.microsoft.com/office/drawing/2014/main" id="{816BE22D-0BAE-0747-B734-0496F80C9363}"/>
              </a:ext>
            </a:extLst>
          </p:cNvPr>
          <p:cNvSpPr/>
          <p:nvPr/>
        </p:nvSpPr>
        <p:spPr bwMode="auto">
          <a:xfrm>
            <a:off x="4510889" y="1760642"/>
            <a:ext cx="1148114" cy="211209"/>
          </a:xfrm>
          <a:prstGeom prst="rect">
            <a:avLst/>
          </a:prstGeom>
          <a:no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solidFill>
                  <a:prstClr val="black"/>
                </a:solidFill>
                <a:effectLst/>
                <a:uLnTx/>
                <a:uFillTx/>
                <a:latin typeface="Segoe UI Semibold"/>
                <a:ea typeface="Segoe UI" pitchFamily="34" charset="0"/>
                <a:cs typeface="Segoe UI" pitchFamily="34" charset="0"/>
              </a:rPr>
              <a:t>model</a:t>
            </a:r>
          </a:p>
        </p:txBody>
      </p:sp>
      <p:sp>
        <p:nvSpPr>
          <p:cNvPr id="2" name="Title 1">
            <a:extLst>
              <a:ext uri="{FF2B5EF4-FFF2-40B4-BE49-F238E27FC236}">
                <a16:creationId xmlns:a16="http://schemas.microsoft.com/office/drawing/2014/main" id="{578A81E7-9825-4BA3-87D3-030B9AF85035}"/>
              </a:ext>
            </a:extLst>
          </p:cNvPr>
          <p:cNvSpPr>
            <a:spLocks noGrp="1"/>
          </p:cNvSpPr>
          <p:nvPr>
            <p:ph type="title"/>
          </p:nvPr>
        </p:nvSpPr>
        <p:spPr>
          <a:xfrm>
            <a:off x="427204" y="431241"/>
            <a:ext cx="11474412" cy="757914"/>
          </a:xfrm>
        </p:spPr>
        <p:txBody>
          <a:bodyPr/>
          <a:lstStyle/>
          <a:p>
            <a:pPr algn="ctr"/>
            <a:r>
              <a:rPr lang="en-US" dirty="0"/>
              <a:t>Understand the inner workings of ML by analyzing feature importance </a:t>
            </a:r>
          </a:p>
        </p:txBody>
      </p:sp>
      <p:sp>
        <p:nvSpPr>
          <p:cNvPr id="49" name="Rectangle 48">
            <a:extLst>
              <a:ext uri="{FF2B5EF4-FFF2-40B4-BE49-F238E27FC236}">
                <a16:creationId xmlns:a16="http://schemas.microsoft.com/office/drawing/2014/main" id="{DBA7EC58-ACDB-B246-B73C-09B60CADC271}"/>
              </a:ext>
            </a:extLst>
          </p:cNvPr>
          <p:cNvSpPr/>
          <p:nvPr/>
        </p:nvSpPr>
        <p:spPr bwMode="auto">
          <a:xfrm>
            <a:off x="10142533" y="1761190"/>
            <a:ext cx="1257734" cy="211209"/>
          </a:xfrm>
          <a:prstGeom prst="rect">
            <a:avLst/>
          </a:prstGeom>
          <a:no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solidFill>
                  <a:prstClr val="white"/>
                </a:solidFill>
                <a:effectLst/>
                <a:uLnTx/>
                <a:uFillTx/>
                <a:latin typeface="Segoe UI Semibold"/>
                <a:ea typeface="Segoe UI" pitchFamily="34" charset="0"/>
                <a:cs typeface="Segoe UI" pitchFamily="34" charset="0"/>
              </a:rPr>
              <a:t>70%</a:t>
            </a:r>
          </a:p>
        </p:txBody>
      </p:sp>
      <p:sp>
        <p:nvSpPr>
          <p:cNvPr id="50" name="Rectangle 49">
            <a:extLst>
              <a:ext uri="{FF2B5EF4-FFF2-40B4-BE49-F238E27FC236}">
                <a16:creationId xmlns:a16="http://schemas.microsoft.com/office/drawing/2014/main" id="{688D9B25-634C-0845-B625-8E3749910BDA}"/>
              </a:ext>
            </a:extLst>
          </p:cNvPr>
          <p:cNvSpPr/>
          <p:nvPr/>
        </p:nvSpPr>
        <p:spPr bwMode="auto">
          <a:xfrm>
            <a:off x="10733047" y="1760642"/>
            <a:ext cx="1148114" cy="211209"/>
          </a:xfrm>
          <a:prstGeom prst="rect">
            <a:avLst/>
          </a:prstGeom>
          <a:no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solidFill>
                  <a:prstClr val="white"/>
                </a:solidFill>
                <a:effectLst/>
                <a:uLnTx/>
                <a:uFillTx/>
                <a:latin typeface="Segoe UI Semibold"/>
                <a:ea typeface="Segoe UI" pitchFamily="34" charset="0"/>
                <a:cs typeface="Segoe UI" pitchFamily="34" charset="0"/>
              </a:rPr>
              <a:t>model</a:t>
            </a:r>
          </a:p>
        </p:txBody>
      </p:sp>
      <p:sp>
        <p:nvSpPr>
          <p:cNvPr id="3" name="Rectangle 2">
            <a:extLst>
              <a:ext uri="{FF2B5EF4-FFF2-40B4-BE49-F238E27FC236}">
                <a16:creationId xmlns:a16="http://schemas.microsoft.com/office/drawing/2014/main" id="{F4BDAABE-25C4-4FCF-ABD7-49EE5BA23768}"/>
              </a:ext>
            </a:extLst>
          </p:cNvPr>
          <p:cNvSpPr/>
          <p:nvPr/>
        </p:nvSpPr>
        <p:spPr>
          <a:xfrm>
            <a:off x="427207" y="5538078"/>
            <a:ext cx="9910787" cy="374793"/>
          </a:xfrm>
          <a:prstGeom prst="rect">
            <a:avLst/>
          </a:prstGeom>
        </p:spPr>
        <p:txBody>
          <a:bodyPr wrap="square" lIns="0">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Enable model explain-ability for every automated ML iteration, not just the optimal model</a:t>
            </a:r>
          </a:p>
        </p:txBody>
      </p:sp>
    </p:spTree>
    <p:extLst>
      <p:ext uri="{BB962C8B-B14F-4D97-AF65-F5344CB8AC3E}">
        <p14:creationId xmlns:p14="http://schemas.microsoft.com/office/powerpoint/2010/main" val="33019984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8AD2ABB-1A34-2D4F-B02D-4D3702F040B8}"/>
              </a:ext>
            </a:extLst>
          </p:cNvPr>
          <p:cNvSpPr txBox="1">
            <a:spLocks/>
          </p:cNvSpPr>
          <p:nvPr/>
        </p:nvSpPr>
        <p:spPr>
          <a:xfrm>
            <a:off x="1593671" y="3586942"/>
            <a:ext cx="9004658" cy="828148"/>
          </a:xfrm>
          <a:prstGeom prst="rect">
            <a:avLst/>
          </a:prstGeom>
          <a:noFill/>
        </p:spPr>
        <p:txBody>
          <a:bodyPr vert="horz" wrap="square" lIns="0" tIns="0" rIns="0" bIns="0" rtlCol="0" anchor="ctr" anchorCtr="0">
            <a:noAutofit/>
          </a:bodyPr>
          <a:lstStyle>
            <a:lvl1pPr algn="l" defTabSz="932742" rtl="0" eaLnBrk="1" latinLnBrk="0" hangingPunct="1">
              <a:lnSpc>
                <a:spcPct val="90000"/>
              </a:lnSpc>
              <a:spcBef>
                <a:spcPct val="0"/>
              </a:spcBef>
              <a:buNone/>
              <a:defRPr lang="en-US" sz="5400" b="0" kern="1200" cap="none" spc="-150" baseline="0" dirty="0">
                <a:ln w="3175">
                  <a:noFill/>
                </a:ln>
                <a:solidFill>
                  <a:schemeClr val="tx1"/>
                </a:soli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5294" b="0" i="0" u="none" strike="noStrike" kern="1200" cap="none" spc="-147" normalizeH="0" baseline="0" noProof="0" dirty="0">
                <a:ln w="3175">
                  <a:noFill/>
                </a:ln>
                <a:solidFill>
                  <a:prstClr val="white"/>
                </a:solidFill>
                <a:effectLst/>
                <a:uLnTx/>
                <a:uFillTx/>
                <a:latin typeface="Segoe UI Semibold"/>
                <a:ea typeface="+mn-ea"/>
                <a:cs typeface="Segoe UI" pitchFamily="34" charset="0"/>
              </a:rPr>
              <a:t>Managed compute</a:t>
            </a:r>
          </a:p>
        </p:txBody>
      </p:sp>
      <p:grpSp>
        <p:nvGrpSpPr>
          <p:cNvPr id="7" name="Group 8">
            <a:extLst>
              <a:ext uri="{FF2B5EF4-FFF2-40B4-BE49-F238E27FC236}">
                <a16:creationId xmlns:a16="http://schemas.microsoft.com/office/drawing/2014/main" id="{58F1277D-315C-084C-9912-4157B0AB37D8}"/>
              </a:ext>
            </a:extLst>
          </p:cNvPr>
          <p:cNvGrpSpPr>
            <a:grpSpLocks noChangeAspect="1"/>
          </p:cNvGrpSpPr>
          <p:nvPr/>
        </p:nvGrpSpPr>
        <p:grpSpPr bwMode="auto">
          <a:xfrm>
            <a:off x="5410902" y="2315714"/>
            <a:ext cx="1370197" cy="1113286"/>
            <a:chOff x="5458" y="3157"/>
            <a:chExt cx="304" cy="247"/>
          </a:xfrm>
          <a:solidFill>
            <a:schemeClr val="bg2"/>
          </a:solidFill>
        </p:grpSpPr>
        <p:sp>
          <p:nvSpPr>
            <p:cNvPr id="8" name="Freeform 9">
              <a:extLst>
                <a:ext uri="{FF2B5EF4-FFF2-40B4-BE49-F238E27FC236}">
                  <a16:creationId xmlns:a16="http://schemas.microsoft.com/office/drawing/2014/main" id="{6384D536-AF3A-5049-9F2C-280C4E2C56D3}"/>
                </a:ext>
              </a:extLst>
            </p:cNvPr>
            <p:cNvSpPr>
              <a:spLocks noEditPoints="1"/>
            </p:cNvSpPr>
            <p:nvPr/>
          </p:nvSpPr>
          <p:spPr bwMode="auto">
            <a:xfrm>
              <a:off x="5521" y="3157"/>
              <a:ext cx="241" cy="247"/>
            </a:xfrm>
            <a:custGeom>
              <a:avLst/>
              <a:gdLst>
                <a:gd name="T0" fmla="*/ 35 w 334"/>
                <a:gd name="T1" fmla="*/ 160 h 341"/>
                <a:gd name="T2" fmla="*/ 35 w 334"/>
                <a:gd name="T3" fmla="*/ 61 h 341"/>
                <a:gd name="T4" fmla="*/ 60 w 334"/>
                <a:gd name="T5" fmla="*/ 36 h 341"/>
                <a:gd name="T6" fmla="*/ 266 w 334"/>
                <a:gd name="T7" fmla="*/ 36 h 341"/>
                <a:gd name="T8" fmla="*/ 291 w 334"/>
                <a:gd name="T9" fmla="*/ 61 h 341"/>
                <a:gd name="T10" fmla="*/ 291 w 334"/>
                <a:gd name="T11" fmla="*/ 273 h 341"/>
                <a:gd name="T12" fmla="*/ 266 w 334"/>
                <a:gd name="T13" fmla="*/ 298 h 341"/>
                <a:gd name="T14" fmla="*/ 266 w 334"/>
                <a:gd name="T15" fmla="*/ 298 h 341"/>
                <a:gd name="T16" fmla="*/ 84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5 w 334"/>
                <a:gd name="T35" fmla="*/ 0 h 341"/>
                <a:gd name="T36" fmla="*/ 255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5 w 334"/>
                <a:gd name="T59" fmla="*/ 78 h 341"/>
                <a:gd name="T60" fmla="*/ 0 w 334"/>
                <a:gd name="T61" fmla="*/ 78 h 341"/>
                <a:gd name="T62" fmla="*/ 35 w 334"/>
                <a:gd name="T63" fmla="*/ 121 h 341"/>
                <a:gd name="T64" fmla="*/ 0 w 334"/>
                <a:gd name="T65" fmla="*/ 121 h 341"/>
                <a:gd name="T66" fmla="*/ 35 w 334"/>
                <a:gd name="T67" fmla="*/ 163 h 341"/>
                <a:gd name="T68" fmla="*/ 0 w 334"/>
                <a:gd name="T69" fmla="*/ 163 h 341"/>
                <a:gd name="T70" fmla="*/ 121 w 334"/>
                <a:gd name="T71" fmla="*/ 298 h 341"/>
                <a:gd name="T72" fmla="*/ 121 w 334"/>
                <a:gd name="T73" fmla="*/ 341 h 341"/>
                <a:gd name="T74" fmla="*/ 163 w 334"/>
                <a:gd name="T75" fmla="*/ 341 h 341"/>
                <a:gd name="T76" fmla="*/ 163 w 334"/>
                <a:gd name="T77" fmla="*/ 298 h 341"/>
                <a:gd name="T78" fmla="*/ 206 w 334"/>
                <a:gd name="T79" fmla="*/ 298 h 341"/>
                <a:gd name="T80" fmla="*/ 206 w 334"/>
                <a:gd name="T81" fmla="*/ 341 h 341"/>
                <a:gd name="T82" fmla="*/ 255 w 334"/>
                <a:gd name="T83" fmla="*/ 298 h 341"/>
                <a:gd name="T84" fmla="*/ 255 w 334"/>
                <a:gd name="T8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341">
                  <a:moveTo>
                    <a:pt x="35" y="160"/>
                  </a:moveTo>
                  <a:cubicBezTo>
                    <a:pt x="35" y="65"/>
                    <a:pt x="35" y="61"/>
                    <a:pt x="35" y="61"/>
                  </a:cubicBezTo>
                  <a:cubicBezTo>
                    <a:pt x="35" y="45"/>
                    <a:pt x="48" y="36"/>
                    <a:pt x="60" y="36"/>
                  </a:cubicBezTo>
                  <a:cubicBezTo>
                    <a:pt x="266" y="36"/>
                    <a:pt x="266" y="36"/>
                    <a:pt x="266" y="36"/>
                  </a:cubicBezTo>
                  <a:cubicBezTo>
                    <a:pt x="282" y="36"/>
                    <a:pt x="291" y="45"/>
                    <a:pt x="291" y="61"/>
                  </a:cubicBezTo>
                  <a:cubicBezTo>
                    <a:pt x="291" y="273"/>
                    <a:pt x="291" y="273"/>
                    <a:pt x="291" y="273"/>
                  </a:cubicBezTo>
                  <a:cubicBezTo>
                    <a:pt x="291" y="286"/>
                    <a:pt x="282" y="298"/>
                    <a:pt x="266" y="298"/>
                  </a:cubicBezTo>
                  <a:cubicBezTo>
                    <a:pt x="266" y="298"/>
                    <a:pt x="266" y="298"/>
                    <a:pt x="266" y="298"/>
                  </a:cubicBezTo>
                  <a:cubicBezTo>
                    <a:pt x="161" y="298"/>
                    <a:pt x="110" y="298"/>
                    <a:pt x="84" y="298"/>
                  </a:cubicBezTo>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5" y="0"/>
                  </a:moveTo>
                  <a:cubicBezTo>
                    <a:pt x="255" y="36"/>
                    <a:pt x="255" y="36"/>
                    <a:pt x="255"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5" y="78"/>
                  </a:moveTo>
                  <a:cubicBezTo>
                    <a:pt x="0" y="78"/>
                    <a:pt x="0" y="78"/>
                    <a:pt x="0" y="78"/>
                  </a:cubicBezTo>
                  <a:moveTo>
                    <a:pt x="35" y="121"/>
                  </a:moveTo>
                  <a:cubicBezTo>
                    <a:pt x="0" y="121"/>
                    <a:pt x="0" y="121"/>
                    <a:pt x="0" y="121"/>
                  </a:cubicBezTo>
                  <a:moveTo>
                    <a:pt x="35" y="163"/>
                  </a:moveTo>
                  <a:cubicBezTo>
                    <a:pt x="0" y="163"/>
                    <a:pt x="0" y="163"/>
                    <a:pt x="0" y="163"/>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5" y="298"/>
                  </a:moveTo>
                  <a:cubicBezTo>
                    <a:pt x="255" y="341"/>
                    <a:pt x="255" y="341"/>
                    <a:pt x="255" y="341"/>
                  </a:cubicBezTo>
                </a:path>
              </a:pathLst>
            </a:custGeom>
            <a:grpFill/>
            <a:ln w="19050"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marL="0" marR="0" lvl="0" indent="0" algn="l" defTabSz="623113" rtl="0" eaLnBrk="1" fontAlgn="auto" latinLnBrk="0" hangingPunct="1">
                <a:lnSpc>
                  <a:spcPct val="100000"/>
                </a:lnSpc>
                <a:spcBef>
                  <a:spcPts val="0"/>
                </a:spcBef>
                <a:spcAft>
                  <a:spcPts val="0"/>
                </a:spcAft>
                <a:buClrTx/>
                <a:buSzTx/>
                <a:buFontTx/>
                <a:buNone/>
                <a:tabLst/>
                <a:defRPr/>
              </a:pPr>
              <a:endParaRPr kumimoji="0" lang="en-US" sz="6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9" name="Freeform 10">
              <a:extLst>
                <a:ext uri="{FF2B5EF4-FFF2-40B4-BE49-F238E27FC236}">
                  <a16:creationId xmlns:a16="http://schemas.microsoft.com/office/drawing/2014/main" id="{C27C9E8C-CD12-D04D-A90C-F9906851A51F}"/>
                </a:ext>
              </a:extLst>
            </p:cNvPr>
            <p:cNvSpPr>
              <a:spLocks noEditPoints="1"/>
            </p:cNvSpPr>
            <p:nvPr/>
          </p:nvSpPr>
          <p:spPr bwMode="auto">
            <a:xfrm>
              <a:off x="5458" y="3262"/>
              <a:ext cx="138" cy="141"/>
            </a:xfrm>
            <a:custGeom>
              <a:avLst/>
              <a:gdLst>
                <a:gd name="T0" fmla="*/ 153 w 191"/>
                <a:gd name="T1" fmla="*/ 171 h 195"/>
                <a:gd name="T2" fmla="*/ 35 w 191"/>
                <a:gd name="T3" fmla="*/ 171 h 195"/>
                <a:gd name="T4" fmla="*/ 21 w 191"/>
                <a:gd name="T5" fmla="*/ 156 h 195"/>
                <a:gd name="T6" fmla="*/ 21 w 191"/>
                <a:gd name="T7" fmla="*/ 35 h 195"/>
                <a:gd name="T8" fmla="*/ 35 w 191"/>
                <a:gd name="T9" fmla="*/ 20 h 195"/>
                <a:gd name="T10" fmla="*/ 153 w 191"/>
                <a:gd name="T11" fmla="*/ 20 h 195"/>
                <a:gd name="T12" fmla="*/ 167 w 191"/>
                <a:gd name="T13" fmla="*/ 35 h 195"/>
                <a:gd name="T14" fmla="*/ 167 w 191"/>
                <a:gd name="T15" fmla="*/ 156 h 195"/>
                <a:gd name="T16" fmla="*/ 153 w 191"/>
                <a:gd name="T17" fmla="*/ 171 h 195"/>
                <a:gd name="T18" fmla="*/ 45 w 191"/>
                <a:gd name="T19" fmla="*/ 20 h 195"/>
                <a:gd name="T20" fmla="*/ 45 w 191"/>
                <a:gd name="T21" fmla="*/ 0 h 195"/>
                <a:gd name="T22" fmla="*/ 69 w 191"/>
                <a:gd name="T23" fmla="*/ 20 h 195"/>
                <a:gd name="T24" fmla="*/ 69 w 191"/>
                <a:gd name="T25" fmla="*/ 0 h 195"/>
                <a:gd name="T26" fmla="*/ 94 w 191"/>
                <a:gd name="T27" fmla="*/ 0 h 195"/>
                <a:gd name="T28" fmla="*/ 94 w 191"/>
                <a:gd name="T29" fmla="*/ 20 h 195"/>
                <a:gd name="T30" fmla="*/ 118 w 191"/>
                <a:gd name="T31" fmla="*/ 0 h 195"/>
                <a:gd name="T32" fmla="*/ 118 w 191"/>
                <a:gd name="T33" fmla="*/ 20 h 195"/>
                <a:gd name="T34" fmla="*/ 146 w 191"/>
                <a:gd name="T35" fmla="*/ 0 h 195"/>
                <a:gd name="T36" fmla="*/ 146 w 191"/>
                <a:gd name="T37" fmla="*/ 20 h 195"/>
                <a:gd name="T38" fmla="*/ 191 w 191"/>
                <a:gd name="T39" fmla="*/ 45 h 195"/>
                <a:gd name="T40" fmla="*/ 167 w 191"/>
                <a:gd name="T41" fmla="*/ 45 h 195"/>
                <a:gd name="T42" fmla="*/ 191 w 191"/>
                <a:gd name="T43" fmla="*/ 69 h 195"/>
                <a:gd name="T44" fmla="*/ 167 w 191"/>
                <a:gd name="T45" fmla="*/ 69 h 195"/>
                <a:gd name="T46" fmla="*/ 191 w 191"/>
                <a:gd name="T47" fmla="*/ 93 h 195"/>
                <a:gd name="T48" fmla="*/ 167 w 191"/>
                <a:gd name="T49" fmla="*/ 93 h 195"/>
                <a:gd name="T50" fmla="*/ 191 w 191"/>
                <a:gd name="T51" fmla="*/ 122 h 195"/>
                <a:gd name="T52" fmla="*/ 167 w 191"/>
                <a:gd name="T53" fmla="*/ 122 h 195"/>
                <a:gd name="T54" fmla="*/ 191 w 191"/>
                <a:gd name="T55" fmla="*/ 146 h 195"/>
                <a:gd name="T56" fmla="*/ 167 w 191"/>
                <a:gd name="T57" fmla="*/ 146 h 195"/>
                <a:gd name="T58" fmla="*/ 21 w 191"/>
                <a:gd name="T59" fmla="*/ 45 h 195"/>
                <a:gd name="T60" fmla="*/ 0 w 191"/>
                <a:gd name="T61" fmla="*/ 45 h 195"/>
                <a:gd name="T62" fmla="*/ 21 w 191"/>
                <a:gd name="T63" fmla="*/ 69 h 195"/>
                <a:gd name="T64" fmla="*/ 0 w 191"/>
                <a:gd name="T65" fmla="*/ 69 h 195"/>
                <a:gd name="T66" fmla="*/ 21 w 191"/>
                <a:gd name="T67" fmla="*/ 93 h 195"/>
                <a:gd name="T68" fmla="*/ 0 w 191"/>
                <a:gd name="T69" fmla="*/ 93 h 195"/>
                <a:gd name="T70" fmla="*/ 21 w 191"/>
                <a:gd name="T71" fmla="*/ 122 h 195"/>
                <a:gd name="T72" fmla="*/ 0 w 191"/>
                <a:gd name="T73" fmla="*/ 122 h 195"/>
                <a:gd name="T74" fmla="*/ 21 w 191"/>
                <a:gd name="T75" fmla="*/ 146 h 195"/>
                <a:gd name="T76" fmla="*/ 0 w 191"/>
                <a:gd name="T77" fmla="*/ 146 h 195"/>
                <a:gd name="T78" fmla="*/ 45 w 191"/>
                <a:gd name="T79" fmla="*/ 171 h 195"/>
                <a:gd name="T80" fmla="*/ 45 w 191"/>
                <a:gd name="T81" fmla="*/ 195 h 195"/>
                <a:gd name="T82" fmla="*/ 69 w 191"/>
                <a:gd name="T83" fmla="*/ 171 h 195"/>
                <a:gd name="T84" fmla="*/ 69 w 191"/>
                <a:gd name="T85" fmla="*/ 195 h 195"/>
                <a:gd name="T86" fmla="*/ 94 w 191"/>
                <a:gd name="T87" fmla="*/ 195 h 195"/>
                <a:gd name="T88" fmla="*/ 94 w 191"/>
                <a:gd name="T89" fmla="*/ 171 h 195"/>
                <a:gd name="T90" fmla="*/ 118 w 191"/>
                <a:gd name="T91" fmla="*/ 171 h 195"/>
                <a:gd name="T92" fmla="*/ 118 w 191"/>
                <a:gd name="T93" fmla="*/ 195 h 195"/>
                <a:gd name="T94" fmla="*/ 146 w 191"/>
                <a:gd name="T95" fmla="*/ 171 h 195"/>
                <a:gd name="T96" fmla="*/ 146 w 191"/>
                <a:gd name="T9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95">
                  <a:moveTo>
                    <a:pt x="153" y="171"/>
                  </a:moveTo>
                  <a:cubicBezTo>
                    <a:pt x="35" y="171"/>
                    <a:pt x="35" y="171"/>
                    <a:pt x="35" y="171"/>
                  </a:cubicBezTo>
                  <a:cubicBezTo>
                    <a:pt x="28" y="171"/>
                    <a:pt x="21" y="163"/>
                    <a:pt x="21" y="156"/>
                  </a:cubicBezTo>
                  <a:cubicBezTo>
                    <a:pt x="21" y="35"/>
                    <a:pt x="21" y="35"/>
                    <a:pt x="21" y="35"/>
                  </a:cubicBezTo>
                  <a:cubicBezTo>
                    <a:pt x="21" y="26"/>
                    <a:pt x="28" y="20"/>
                    <a:pt x="35" y="20"/>
                  </a:cubicBezTo>
                  <a:cubicBezTo>
                    <a:pt x="153" y="20"/>
                    <a:pt x="153" y="20"/>
                    <a:pt x="153" y="20"/>
                  </a:cubicBezTo>
                  <a:cubicBezTo>
                    <a:pt x="162" y="20"/>
                    <a:pt x="167" y="26"/>
                    <a:pt x="167" y="35"/>
                  </a:cubicBezTo>
                  <a:cubicBezTo>
                    <a:pt x="167" y="156"/>
                    <a:pt x="167" y="156"/>
                    <a:pt x="167" y="156"/>
                  </a:cubicBezTo>
                  <a:cubicBezTo>
                    <a:pt x="167" y="163"/>
                    <a:pt x="162" y="171"/>
                    <a:pt x="153" y="171"/>
                  </a:cubicBezTo>
                  <a:close/>
                  <a:moveTo>
                    <a:pt x="45" y="20"/>
                  </a:moveTo>
                  <a:cubicBezTo>
                    <a:pt x="45" y="0"/>
                    <a:pt x="45" y="0"/>
                    <a:pt x="45" y="0"/>
                  </a:cubicBezTo>
                  <a:moveTo>
                    <a:pt x="69" y="20"/>
                  </a:moveTo>
                  <a:cubicBezTo>
                    <a:pt x="69" y="0"/>
                    <a:pt x="69" y="0"/>
                    <a:pt x="69" y="0"/>
                  </a:cubicBezTo>
                  <a:moveTo>
                    <a:pt x="94" y="0"/>
                  </a:moveTo>
                  <a:cubicBezTo>
                    <a:pt x="94" y="20"/>
                    <a:pt x="94" y="20"/>
                    <a:pt x="94" y="20"/>
                  </a:cubicBezTo>
                  <a:moveTo>
                    <a:pt x="118" y="0"/>
                  </a:moveTo>
                  <a:cubicBezTo>
                    <a:pt x="118" y="20"/>
                    <a:pt x="118" y="20"/>
                    <a:pt x="118" y="20"/>
                  </a:cubicBezTo>
                  <a:moveTo>
                    <a:pt x="146" y="0"/>
                  </a:moveTo>
                  <a:cubicBezTo>
                    <a:pt x="146" y="20"/>
                    <a:pt x="146" y="20"/>
                    <a:pt x="146" y="20"/>
                  </a:cubicBezTo>
                  <a:moveTo>
                    <a:pt x="191" y="45"/>
                  </a:moveTo>
                  <a:cubicBezTo>
                    <a:pt x="167" y="45"/>
                    <a:pt x="167" y="45"/>
                    <a:pt x="167" y="45"/>
                  </a:cubicBezTo>
                  <a:moveTo>
                    <a:pt x="191" y="69"/>
                  </a:moveTo>
                  <a:cubicBezTo>
                    <a:pt x="167" y="69"/>
                    <a:pt x="167" y="69"/>
                    <a:pt x="167" y="69"/>
                  </a:cubicBezTo>
                  <a:moveTo>
                    <a:pt x="191" y="93"/>
                  </a:moveTo>
                  <a:cubicBezTo>
                    <a:pt x="167" y="93"/>
                    <a:pt x="167" y="93"/>
                    <a:pt x="167" y="93"/>
                  </a:cubicBezTo>
                  <a:moveTo>
                    <a:pt x="191" y="122"/>
                  </a:moveTo>
                  <a:cubicBezTo>
                    <a:pt x="167" y="122"/>
                    <a:pt x="167" y="122"/>
                    <a:pt x="167" y="122"/>
                  </a:cubicBezTo>
                  <a:moveTo>
                    <a:pt x="191" y="146"/>
                  </a:moveTo>
                  <a:cubicBezTo>
                    <a:pt x="167" y="146"/>
                    <a:pt x="167" y="146"/>
                    <a:pt x="167" y="146"/>
                  </a:cubicBezTo>
                  <a:moveTo>
                    <a:pt x="21" y="45"/>
                  </a:moveTo>
                  <a:cubicBezTo>
                    <a:pt x="0" y="45"/>
                    <a:pt x="0" y="45"/>
                    <a:pt x="0" y="45"/>
                  </a:cubicBezTo>
                  <a:moveTo>
                    <a:pt x="21" y="69"/>
                  </a:moveTo>
                  <a:cubicBezTo>
                    <a:pt x="0" y="69"/>
                    <a:pt x="0" y="69"/>
                    <a:pt x="0" y="69"/>
                  </a:cubicBezTo>
                  <a:moveTo>
                    <a:pt x="21" y="93"/>
                  </a:moveTo>
                  <a:cubicBezTo>
                    <a:pt x="0" y="93"/>
                    <a:pt x="0" y="93"/>
                    <a:pt x="0" y="93"/>
                  </a:cubicBezTo>
                  <a:moveTo>
                    <a:pt x="21" y="122"/>
                  </a:moveTo>
                  <a:cubicBezTo>
                    <a:pt x="0" y="122"/>
                    <a:pt x="0" y="122"/>
                    <a:pt x="0" y="122"/>
                  </a:cubicBezTo>
                  <a:moveTo>
                    <a:pt x="21" y="146"/>
                  </a:moveTo>
                  <a:cubicBezTo>
                    <a:pt x="0" y="146"/>
                    <a:pt x="0" y="146"/>
                    <a:pt x="0" y="146"/>
                  </a:cubicBezTo>
                  <a:moveTo>
                    <a:pt x="45" y="171"/>
                  </a:moveTo>
                  <a:cubicBezTo>
                    <a:pt x="45" y="195"/>
                    <a:pt x="45" y="195"/>
                    <a:pt x="45" y="195"/>
                  </a:cubicBezTo>
                  <a:moveTo>
                    <a:pt x="69" y="171"/>
                  </a:moveTo>
                  <a:cubicBezTo>
                    <a:pt x="69" y="195"/>
                    <a:pt x="69" y="195"/>
                    <a:pt x="69" y="195"/>
                  </a:cubicBezTo>
                  <a:moveTo>
                    <a:pt x="94" y="195"/>
                  </a:moveTo>
                  <a:cubicBezTo>
                    <a:pt x="94" y="171"/>
                    <a:pt x="94" y="171"/>
                    <a:pt x="94" y="171"/>
                  </a:cubicBezTo>
                  <a:moveTo>
                    <a:pt x="118" y="171"/>
                  </a:moveTo>
                  <a:cubicBezTo>
                    <a:pt x="118" y="195"/>
                    <a:pt x="118" y="195"/>
                    <a:pt x="118" y="195"/>
                  </a:cubicBezTo>
                  <a:moveTo>
                    <a:pt x="146" y="171"/>
                  </a:moveTo>
                  <a:cubicBezTo>
                    <a:pt x="146" y="195"/>
                    <a:pt x="146" y="195"/>
                    <a:pt x="146" y="195"/>
                  </a:cubicBezTo>
                </a:path>
              </a:pathLst>
            </a:custGeom>
            <a:grpFill/>
            <a:ln w="19050" cap="flat">
              <a:solidFill>
                <a:schemeClr val="tx1"/>
              </a:solidFill>
              <a:prstDash val="solid"/>
              <a:miter lim="800000"/>
              <a:headEnd/>
              <a:tailEnd/>
            </a:ln>
          </p:spPr>
          <p:txBody>
            <a:bodyPr vert="horz" wrap="square" lIns="61094" tIns="30547" rIns="61094" bIns="30547" numCol="1" anchor="t" anchorCtr="0" compatLnSpc="1">
              <a:prstTxWarp prst="textNoShape">
                <a:avLst/>
              </a:prstTxWarp>
            </a:bodyPr>
            <a:lstStyle/>
            <a:p>
              <a:pPr marL="0" marR="0" lvl="0" indent="0" algn="l" defTabSz="623113" rtl="0" eaLnBrk="1" fontAlgn="auto" latinLnBrk="0" hangingPunct="1">
                <a:lnSpc>
                  <a:spcPct val="100000"/>
                </a:lnSpc>
                <a:spcBef>
                  <a:spcPts val="0"/>
                </a:spcBef>
                <a:spcAft>
                  <a:spcPts val="0"/>
                </a:spcAft>
                <a:buClrTx/>
                <a:buSzTx/>
                <a:buFontTx/>
                <a:buNone/>
                <a:tabLst/>
                <a:defRPr/>
              </a:pPr>
              <a:endParaRPr kumimoji="0" lang="en-US" sz="6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Tree>
    <p:extLst>
      <p:ext uri="{BB962C8B-B14F-4D97-AF65-F5344CB8AC3E}">
        <p14:creationId xmlns:p14="http://schemas.microsoft.com/office/powerpoint/2010/main" val="1339931963"/>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10B35A8B-92F4-894A-8D28-3E844BFB489C}"/>
              </a:ext>
            </a:extLst>
          </p:cNvPr>
          <p:cNvSpPr>
            <a:spLocks noGrp="1"/>
          </p:cNvSpPr>
          <p:nvPr>
            <p:ph type="title"/>
          </p:nvPr>
        </p:nvSpPr>
        <p:spPr/>
        <p:txBody>
          <a:bodyPr/>
          <a:lstStyle/>
          <a:p>
            <a:r>
              <a:rPr lang="en-US" dirty="0"/>
              <a:t>Distributed training on managed compute</a:t>
            </a:r>
            <a:br>
              <a:rPr lang="en-US" dirty="0"/>
            </a:br>
            <a:endParaRPr lang="en-US" dirty="0"/>
          </a:p>
        </p:txBody>
      </p:sp>
      <p:sp>
        <p:nvSpPr>
          <p:cNvPr id="2" name="Oval 1">
            <a:extLst>
              <a:ext uri="{FF2B5EF4-FFF2-40B4-BE49-F238E27FC236}">
                <a16:creationId xmlns:a16="http://schemas.microsoft.com/office/drawing/2014/main" id="{CFD9A2FB-175E-4439-8D30-39E360F058F6}"/>
              </a:ext>
            </a:extLst>
          </p:cNvPr>
          <p:cNvSpPr/>
          <p:nvPr/>
        </p:nvSpPr>
        <p:spPr bwMode="auto">
          <a:xfrm>
            <a:off x="3884167" y="2130643"/>
            <a:ext cx="3575703" cy="3478768"/>
          </a:xfrm>
          <a:prstGeom prst="ellipse">
            <a:avLst/>
          </a:prstGeom>
          <a:noFill/>
          <a:ln w="12700" cap="flat" cmpd="sng" algn="ctr">
            <a:solidFill>
              <a:schemeClr val="accent4">
                <a:lumMod val="75000"/>
              </a:schemeClr>
            </a:solidFill>
            <a:prstDash val="solid"/>
            <a:round/>
            <a:headEnd type="none" w="med" len="med"/>
            <a:tailEnd type="none" w="med" len="med"/>
          </a:ln>
          <a:effectLst/>
          <a:extLst>
            <a:ext uri="{AF507438-7753-43e0-B8FC-AC1667EBCBE1}">
              <a14:hiddenEffects xmlns:a14="http://schemas.microsoft.com/office/drawing/2010/main" xmlns:p14="http://schemas.microsoft.com/office/powerpoint/2010/main" xmlns:asvg="http://schemas.microsoft.com/office/drawing/2016/SVG/main" xmlns:a16="http://schemas.microsoft.com/office/drawing/2014/main" xmlns="">
                <a:effectLst>
                  <a:outerShdw blurRad="63500" dist="38099" dir="2700000" algn="ctr" rotWithShape="0">
                    <a:schemeClr val="bg2">
                      <a:alpha val="74998"/>
                    </a:schemeClr>
                  </a:outerShdw>
                </a:effectLst>
              </a14:hiddenEffects>
            </a:ext>
          </a:extLst>
        </p:spPr>
        <p:txBody>
          <a:bodyPr vert="horz" wrap="square" lIns="45706" tIns="22854" rIns="45706" bIns="22854" numCol="1" rtlCol="0" anchor="t" anchorCtr="0" compatLnSpc="1">
            <a:prstTxWarp prst="textNoShape">
              <a:avLst/>
            </a:prstTxWarp>
          </a:bodyPr>
          <a:lstStyle/>
          <a:p>
            <a:pPr marL="0" marR="0" lvl="0" indent="0" algn="ctr" defTabSz="457069" rtl="0" eaLnBrk="1" fontAlgn="base" latinLnBrk="0" hangingPunct="1">
              <a:lnSpc>
                <a:spcPct val="100000"/>
              </a:lnSpc>
              <a:spcBef>
                <a:spcPct val="0"/>
              </a:spcBef>
              <a:spcAft>
                <a:spcPct val="0"/>
              </a:spcAft>
              <a:buClrTx/>
              <a:buSzTx/>
              <a:buFontTx/>
              <a:buNone/>
              <a:tabLst/>
              <a:defRPr/>
            </a:pPr>
            <a:endParaRPr kumimoji="0" lang="en-GB" sz="5598" b="0" i="0" u="none" strike="noStrike" kern="1200" cap="none" spc="0" normalizeH="0" baseline="0" noProof="0">
              <a:ln>
                <a:noFill/>
              </a:ln>
              <a:solidFill>
                <a:srgbClr val="080808"/>
              </a:solidFill>
              <a:effectLst/>
              <a:uLnTx/>
              <a:uFillTx/>
              <a:latin typeface="Gill Sans" charset="0"/>
              <a:ea typeface="ヒラギノ角ゴ ProN W3" charset="0"/>
              <a:cs typeface="ヒラギノ角ゴ ProN W3" charset="0"/>
              <a:sym typeface="Gill Sans" charset="0"/>
            </a:endParaRPr>
          </a:p>
        </p:txBody>
      </p:sp>
      <p:grpSp>
        <p:nvGrpSpPr>
          <p:cNvPr id="4" name="Group 3">
            <a:extLst>
              <a:ext uri="{FF2B5EF4-FFF2-40B4-BE49-F238E27FC236}">
                <a16:creationId xmlns:a16="http://schemas.microsoft.com/office/drawing/2014/main" id="{E72D2F54-8DA2-48EF-917A-C032A1730C89}"/>
              </a:ext>
            </a:extLst>
          </p:cNvPr>
          <p:cNvGrpSpPr/>
          <p:nvPr/>
        </p:nvGrpSpPr>
        <p:grpSpPr>
          <a:xfrm>
            <a:off x="4714879" y="3293676"/>
            <a:ext cx="1914280" cy="1112157"/>
            <a:chOff x="7491663" y="7142382"/>
            <a:chExt cx="1966752" cy="1142642"/>
          </a:xfrm>
        </p:grpSpPr>
        <p:sp>
          <p:nvSpPr>
            <p:cNvPr id="5" name="Freeform 30">
              <a:extLst>
                <a:ext uri="{FF2B5EF4-FFF2-40B4-BE49-F238E27FC236}">
                  <a16:creationId xmlns:a16="http://schemas.microsoft.com/office/drawing/2014/main" id="{82443C40-C778-41A4-99B7-D6419A240DAC}"/>
                </a:ext>
              </a:extLst>
            </p:cNvPr>
            <p:cNvSpPr>
              <a:spLocks/>
            </p:cNvSpPr>
            <p:nvPr/>
          </p:nvSpPr>
          <p:spPr bwMode="auto">
            <a:xfrm>
              <a:off x="7491663" y="7142382"/>
              <a:ext cx="1966752" cy="1142642"/>
            </a:xfrm>
            <a:custGeom>
              <a:avLst/>
              <a:gdLst>
                <a:gd name="T0" fmla="*/ 270 w 419"/>
                <a:gd name="T1" fmla="*/ 243 h 243"/>
                <a:gd name="T2" fmla="*/ 365 w 419"/>
                <a:gd name="T3" fmla="*/ 243 h 243"/>
                <a:gd name="T4" fmla="*/ 419 w 419"/>
                <a:gd name="T5" fmla="*/ 189 h 243"/>
                <a:gd name="T6" fmla="*/ 365 w 419"/>
                <a:gd name="T7" fmla="*/ 135 h 243"/>
                <a:gd name="T8" fmla="*/ 224 w 419"/>
                <a:gd name="T9" fmla="*/ 0 h 243"/>
                <a:gd name="T10" fmla="*/ 81 w 419"/>
                <a:gd name="T11" fmla="*/ 108 h 243"/>
                <a:gd name="T12" fmla="*/ 70 w 419"/>
                <a:gd name="T13" fmla="*/ 108 h 243"/>
                <a:gd name="T14" fmla="*/ 0 w 419"/>
                <a:gd name="T15" fmla="*/ 175 h 243"/>
                <a:gd name="T16" fmla="*/ 68 w 419"/>
                <a:gd name="T17" fmla="*/ 243 h 243"/>
                <a:gd name="T18" fmla="*/ 270 w 419"/>
                <a:gd name="T1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9" h="243">
                  <a:moveTo>
                    <a:pt x="270" y="243"/>
                  </a:moveTo>
                  <a:cubicBezTo>
                    <a:pt x="365" y="243"/>
                    <a:pt x="365" y="243"/>
                    <a:pt x="365" y="243"/>
                  </a:cubicBezTo>
                  <a:cubicBezTo>
                    <a:pt x="396" y="243"/>
                    <a:pt x="419" y="218"/>
                    <a:pt x="419" y="189"/>
                  </a:cubicBezTo>
                  <a:cubicBezTo>
                    <a:pt x="419" y="159"/>
                    <a:pt x="396" y="135"/>
                    <a:pt x="365" y="135"/>
                  </a:cubicBezTo>
                  <a:cubicBezTo>
                    <a:pt x="365" y="60"/>
                    <a:pt x="301" y="0"/>
                    <a:pt x="224" y="0"/>
                  </a:cubicBezTo>
                  <a:cubicBezTo>
                    <a:pt x="155" y="0"/>
                    <a:pt x="94" y="45"/>
                    <a:pt x="81" y="108"/>
                  </a:cubicBezTo>
                  <a:cubicBezTo>
                    <a:pt x="81" y="108"/>
                    <a:pt x="76" y="108"/>
                    <a:pt x="70" y="108"/>
                  </a:cubicBezTo>
                  <a:cubicBezTo>
                    <a:pt x="32" y="108"/>
                    <a:pt x="0" y="138"/>
                    <a:pt x="0" y="175"/>
                  </a:cubicBezTo>
                  <a:cubicBezTo>
                    <a:pt x="0" y="212"/>
                    <a:pt x="29" y="243"/>
                    <a:pt x="68" y="243"/>
                  </a:cubicBezTo>
                  <a:cubicBezTo>
                    <a:pt x="270" y="243"/>
                    <a:pt x="270" y="243"/>
                    <a:pt x="270" y="243"/>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45706" tIns="22854" rIns="45706" bIns="2285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80808"/>
                </a:solidFill>
                <a:effectLst/>
                <a:uLnTx/>
                <a:uFillTx/>
                <a:latin typeface="Segoe UI Semilight"/>
                <a:ea typeface="+mn-ea"/>
                <a:cs typeface="+mn-cs"/>
              </a:endParaRPr>
            </a:p>
          </p:txBody>
        </p:sp>
        <p:pic>
          <p:nvPicPr>
            <p:cNvPr id="6" name="Graphic 5" descr="Gears">
              <a:extLst>
                <a:ext uri="{FF2B5EF4-FFF2-40B4-BE49-F238E27FC236}">
                  <a16:creationId xmlns:a16="http://schemas.microsoft.com/office/drawing/2014/main" id="{B4C10797-EC94-474D-9E31-D479E83F850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971346" y="7241284"/>
              <a:ext cx="1043740" cy="1043740"/>
            </a:xfrm>
            <a:prstGeom prst="rect">
              <a:avLst/>
            </a:prstGeom>
          </p:spPr>
        </p:pic>
      </p:grpSp>
      <p:sp>
        <p:nvSpPr>
          <p:cNvPr id="49" name="Oval 48">
            <a:extLst>
              <a:ext uri="{FF2B5EF4-FFF2-40B4-BE49-F238E27FC236}">
                <a16:creationId xmlns:a16="http://schemas.microsoft.com/office/drawing/2014/main" id="{2CCE77D2-7C82-4352-B104-2F0542A18700}"/>
              </a:ext>
            </a:extLst>
          </p:cNvPr>
          <p:cNvSpPr/>
          <p:nvPr/>
        </p:nvSpPr>
        <p:spPr bwMode="auto">
          <a:xfrm>
            <a:off x="5400262" y="1904892"/>
            <a:ext cx="543513" cy="54351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 name="Oval 50">
            <a:extLst>
              <a:ext uri="{FF2B5EF4-FFF2-40B4-BE49-F238E27FC236}">
                <a16:creationId xmlns:a16="http://schemas.microsoft.com/office/drawing/2014/main" id="{95FB31E4-ED40-4345-B6CF-28ADD63BDBAC}"/>
              </a:ext>
            </a:extLst>
          </p:cNvPr>
          <p:cNvSpPr/>
          <p:nvPr/>
        </p:nvSpPr>
        <p:spPr bwMode="auto">
          <a:xfrm>
            <a:off x="4135595" y="2361973"/>
            <a:ext cx="543513" cy="54351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 name="Group 13">
            <a:extLst>
              <a:ext uri="{FF2B5EF4-FFF2-40B4-BE49-F238E27FC236}">
                <a16:creationId xmlns:a16="http://schemas.microsoft.com/office/drawing/2014/main" id="{A9A89E04-C68C-9142-ACB2-3D7D361F2F1A}"/>
              </a:ext>
            </a:extLst>
          </p:cNvPr>
          <p:cNvGrpSpPr/>
          <p:nvPr/>
        </p:nvGrpSpPr>
        <p:grpSpPr>
          <a:xfrm>
            <a:off x="3082711" y="4783753"/>
            <a:ext cx="1596398" cy="543513"/>
            <a:chOff x="3144525" y="4879180"/>
            <a:chExt cx="1628409" cy="554412"/>
          </a:xfrm>
        </p:grpSpPr>
        <p:sp>
          <p:nvSpPr>
            <p:cNvPr id="12" name="Rectangle 2">
              <a:extLst>
                <a:ext uri="{FF2B5EF4-FFF2-40B4-BE49-F238E27FC236}">
                  <a16:creationId xmlns:a16="http://schemas.microsoft.com/office/drawing/2014/main" id="{06C754DA-3553-4F75-BB72-87DED6BABF97}"/>
                </a:ext>
              </a:extLst>
            </p:cNvPr>
            <p:cNvSpPr txBox="1">
              <a:spLocks noChangeArrowheads="1"/>
            </p:cNvSpPr>
            <p:nvPr/>
          </p:nvSpPr>
          <p:spPr bwMode="auto">
            <a:xfrm>
              <a:off x="3144525" y="5092160"/>
              <a:ext cx="1080158" cy="224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9044" tIns="19044" rIns="19044" bIns="19044" numCol="1" anchor="t" anchorCtr="0" compatLnSpc="1">
              <a:prstTxWarp prst="textNoShape">
                <a:avLst/>
              </a:prstTxWarp>
            </a:bodyPr>
            <a:lstStyle>
              <a:lvl1pPr marL="457200" indent="-457200" algn="l" rtl="0" eaLnBrk="0" fontAlgn="base" hangingPunct="0">
                <a:spcBef>
                  <a:spcPts val="2100"/>
                </a:spcBef>
                <a:spcAft>
                  <a:spcPct val="0"/>
                </a:spcAft>
                <a:buClr>
                  <a:srgbClr val="D3002D"/>
                </a:buClr>
                <a:buSzPct val="100000"/>
                <a:buFont typeface="Wingdings" panose="05000000000000000000" pitchFamily="2" charset="2"/>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1pPr>
              <a:lvl2pPr marL="876300" indent="-457200" algn="l" rtl="0" eaLnBrk="0" fontAlgn="base" hangingPunct="0">
                <a:spcBef>
                  <a:spcPts val="19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2pPr>
              <a:lvl3pPr marL="1562100" indent="-457200" algn="l" rtl="0" eaLnBrk="0" fontAlgn="base" hangingPunct="0">
                <a:spcBef>
                  <a:spcPts val="16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3pPr>
              <a:lvl4pPr marL="2019300" indent="-457200" algn="l" rtl="0" eaLnBrk="0" fontAlgn="base" hangingPunct="0">
                <a:spcBef>
                  <a:spcPts val="13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4pPr>
              <a:lvl5pPr marL="2476500" indent="-457200" algn="l" rtl="0" eaLnBrk="0" fontAlgn="base" hangingPunct="0">
                <a:spcBef>
                  <a:spcPts val="13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5pPr>
              <a:lvl6pPr marL="29337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6pPr>
              <a:lvl7pPr marL="33909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7pPr>
              <a:lvl8pPr marL="38481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8pPr>
              <a:lvl9pPr marL="43053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9pPr>
            </a:lstStyle>
            <a:p>
              <a:pPr marL="0" marR="0" lvl="0" indent="0" algn="ctr" defTabSz="914192" rtl="0" eaLnBrk="1" fontAlgn="base" latinLnBrk="0" hangingPunct="1">
                <a:lnSpc>
                  <a:spcPct val="100000"/>
                </a:lnSpc>
                <a:spcBef>
                  <a:spcPts val="2059"/>
                </a:spcBef>
                <a:spcAft>
                  <a:spcPct val="0"/>
                </a:spcAft>
                <a:buClr>
                  <a:srgbClr val="D3002D"/>
                </a:buClr>
                <a:buSzPct val="100000"/>
                <a:buFont typeface="Wingdings" panose="05000000000000000000" pitchFamily="2" charset="2"/>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sym typeface="Arial" panose="020B0604020202020204" pitchFamily="34" charset="0"/>
                </a:rPr>
                <a:t>Gather results</a:t>
              </a:r>
            </a:p>
          </p:txBody>
        </p:sp>
        <p:sp>
          <p:nvSpPr>
            <p:cNvPr id="52" name="Oval 51">
              <a:extLst>
                <a:ext uri="{FF2B5EF4-FFF2-40B4-BE49-F238E27FC236}">
                  <a16:creationId xmlns:a16="http://schemas.microsoft.com/office/drawing/2014/main" id="{F70DB9D4-7DD1-4492-B602-F502A1D592F7}"/>
                </a:ext>
              </a:extLst>
            </p:cNvPr>
            <p:cNvSpPr/>
            <p:nvPr/>
          </p:nvSpPr>
          <p:spPr bwMode="auto">
            <a:xfrm>
              <a:off x="4218522" y="4879180"/>
              <a:ext cx="554412" cy="5544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 name="browser_3" title="Icon of a browser window with an arrow pointing from the outside to the center">
              <a:extLst>
                <a:ext uri="{FF2B5EF4-FFF2-40B4-BE49-F238E27FC236}">
                  <a16:creationId xmlns:a16="http://schemas.microsoft.com/office/drawing/2014/main" id="{160A8056-DF4F-42EB-9429-845AC91F1A8C}"/>
                </a:ext>
              </a:extLst>
            </p:cNvPr>
            <p:cNvSpPr>
              <a:spLocks noChangeAspect="1" noEditPoints="1"/>
            </p:cNvSpPr>
            <p:nvPr/>
          </p:nvSpPr>
          <p:spPr bwMode="auto">
            <a:xfrm>
              <a:off x="4346326" y="5025869"/>
              <a:ext cx="274431" cy="261033"/>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flat">
              <a:solidFill>
                <a:srgbClr val="0078D4"/>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B9FAE527-5E79-0342-8532-6C2E32B30311}"/>
              </a:ext>
            </a:extLst>
          </p:cNvPr>
          <p:cNvGrpSpPr/>
          <p:nvPr/>
        </p:nvGrpSpPr>
        <p:grpSpPr>
          <a:xfrm>
            <a:off x="2514737" y="3598271"/>
            <a:ext cx="1649354" cy="543513"/>
            <a:chOff x="2565162" y="3669927"/>
            <a:chExt cx="1682427" cy="554412"/>
          </a:xfrm>
        </p:grpSpPr>
        <p:sp>
          <p:nvSpPr>
            <p:cNvPr id="40" name="Rectangle 2">
              <a:extLst>
                <a:ext uri="{FF2B5EF4-FFF2-40B4-BE49-F238E27FC236}">
                  <a16:creationId xmlns:a16="http://schemas.microsoft.com/office/drawing/2014/main" id="{DC2DF772-6576-4E65-B288-04355BD05D3C}"/>
                </a:ext>
              </a:extLst>
            </p:cNvPr>
            <p:cNvSpPr txBox="1">
              <a:spLocks noChangeArrowheads="1"/>
            </p:cNvSpPr>
            <p:nvPr/>
          </p:nvSpPr>
          <p:spPr bwMode="auto">
            <a:xfrm>
              <a:off x="2565162" y="3824720"/>
              <a:ext cx="1291689" cy="203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9044" tIns="19044" rIns="19044" bIns="19044" numCol="1" anchor="t" anchorCtr="0" compatLnSpc="1">
              <a:prstTxWarp prst="textNoShape">
                <a:avLst/>
              </a:prstTxWarp>
            </a:bodyPr>
            <a:lstStyle>
              <a:lvl1pPr marL="457200" indent="-457200" algn="l" rtl="0" eaLnBrk="0" fontAlgn="base" hangingPunct="0">
                <a:spcBef>
                  <a:spcPts val="2100"/>
                </a:spcBef>
                <a:spcAft>
                  <a:spcPct val="0"/>
                </a:spcAft>
                <a:buClr>
                  <a:srgbClr val="D3002D"/>
                </a:buClr>
                <a:buSzPct val="100000"/>
                <a:buFont typeface="Wingdings" panose="05000000000000000000" pitchFamily="2" charset="2"/>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1pPr>
              <a:lvl2pPr marL="876300" indent="-457200" algn="l" rtl="0" eaLnBrk="0" fontAlgn="base" hangingPunct="0">
                <a:spcBef>
                  <a:spcPts val="19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2pPr>
              <a:lvl3pPr marL="1562100" indent="-457200" algn="l" rtl="0" eaLnBrk="0" fontAlgn="base" hangingPunct="0">
                <a:spcBef>
                  <a:spcPts val="16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3pPr>
              <a:lvl4pPr marL="2019300" indent="-457200" algn="l" rtl="0" eaLnBrk="0" fontAlgn="base" hangingPunct="0">
                <a:spcBef>
                  <a:spcPts val="13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4pPr>
              <a:lvl5pPr marL="2476500" indent="-457200" algn="l" rtl="0" eaLnBrk="0" fontAlgn="base" hangingPunct="0">
                <a:spcBef>
                  <a:spcPts val="13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5pPr>
              <a:lvl6pPr marL="29337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6pPr>
              <a:lvl7pPr marL="33909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7pPr>
              <a:lvl8pPr marL="38481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8pPr>
              <a:lvl9pPr marL="43053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9pPr>
            </a:lstStyle>
            <a:p>
              <a:pPr marL="0" marR="0" lvl="0" indent="0" algn="ctr" defTabSz="914192" rtl="0" eaLnBrk="1" fontAlgn="base" latinLnBrk="0" hangingPunct="1">
                <a:lnSpc>
                  <a:spcPct val="100000"/>
                </a:lnSpc>
                <a:spcBef>
                  <a:spcPts val="2059"/>
                </a:spcBef>
                <a:spcAft>
                  <a:spcPct val="0"/>
                </a:spcAft>
                <a:buClr>
                  <a:srgbClr val="D3002D"/>
                </a:buClr>
                <a:buSzPct val="100000"/>
                <a:buFont typeface="Wingdings" panose="05000000000000000000" pitchFamily="2" charset="2"/>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sym typeface="Arial" panose="020B0604020202020204" pitchFamily="34" charset="0"/>
                </a:rPr>
                <a:t>Secure Access</a:t>
              </a:r>
            </a:p>
          </p:txBody>
        </p:sp>
        <p:sp>
          <p:nvSpPr>
            <p:cNvPr id="48" name="Oval 47">
              <a:extLst>
                <a:ext uri="{FF2B5EF4-FFF2-40B4-BE49-F238E27FC236}">
                  <a16:creationId xmlns:a16="http://schemas.microsoft.com/office/drawing/2014/main" id="{99E2E98A-4B15-40F6-9C40-18030BA65EDC}"/>
                </a:ext>
              </a:extLst>
            </p:cNvPr>
            <p:cNvSpPr/>
            <p:nvPr/>
          </p:nvSpPr>
          <p:spPr bwMode="auto">
            <a:xfrm>
              <a:off x="3693177" y="3669927"/>
              <a:ext cx="554412" cy="5544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7" name="Shield_EA18" title="Icon of a shield">
              <a:extLst>
                <a:ext uri="{FF2B5EF4-FFF2-40B4-BE49-F238E27FC236}">
                  <a16:creationId xmlns:a16="http://schemas.microsoft.com/office/drawing/2014/main" id="{F892FC8F-DE64-4E66-AC53-FE578F9EA0E9}"/>
                </a:ext>
              </a:extLst>
            </p:cNvPr>
            <p:cNvSpPr>
              <a:spLocks noChangeAspect="1"/>
            </p:cNvSpPr>
            <p:nvPr/>
          </p:nvSpPr>
          <p:spPr bwMode="auto">
            <a:xfrm>
              <a:off x="3841144" y="3802107"/>
              <a:ext cx="258479" cy="275194"/>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9" name="Warning_E7BA" title="Icon of a triangle with an exclaimation point inside">
            <a:extLst>
              <a:ext uri="{FF2B5EF4-FFF2-40B4-BE49-F238E27FC236}">
                <a16:creationId xmlns:a16="http://schemas.microsoft.com/office/drawing/2014/main" id="{EC8A4328-7EBF-4471-A998-DF08722D7D10}"/>
              </a:ext>
            </a:extLst>
          </p:cNvPr>
          <p:cNvSpPr>
            <a:spLocks noChangeAspect="1" noEditPoints="1"/>
          </p:cNvSpPr>
          <p:nvPr/>
        </p:nvSpPr>
        <p:spPr bwMode="auto">
          <a:xfrm>
            <a:off x="4288645" y="2491535"/>
            <a:ext cx="246077" cy="246201"/>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270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60" name="people_3" title="Icon of a person surrounded by brackets">
            <a:extLst>
              <a:ext uri="{FF2B5EF4-FFF2-40B4-BE49-F238E27FC236}">
                <a16:creationId xmlns:a16="http://schemas.microsoft.com/office/drawing/2014/main" id="{487AE86E-9032-4C82-92C0-5B094D6FFB18}"/>
              </a:ext>
            </a:extLst>
          </p:cNvPr>
          <p:cNvSpPr>
            <a:spLocks noChangeAspect="1" noEditPoints="1"/>
          </p:cNvSpPr>
          <p:nvPr/>
        </p:nvSpPr>
        <p:spPr bwMode="auto">
          <a:xfrm>
            <a:off x="5548730" y="2050696"/>
            <a:ext cx="248249" cy="250233"/>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2700" cap="sq">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11" name="Group 10">
            <a:extLst>
              <a:ext uri="{FF2B5EF4-FFF2-40B4-BE49-F238E27FC236}">
                <a16:creationId xmlns:a16="http://schemas.microsoft.com/office/drawing/2014/main" id="{4954702E-2EBF-0144-803A-62EABA2B5900}"/>
              </a:ext>
            </a:extLst>
          </p:cNvPr>
          <p:cNvGrpSpPr/>
          <p:nvPr/>
        </p:nvGrpSpPr>
        <p:grpSpPr>
          <a:xfrm>
            <a:off x="6698324" y="4783753"/>
            <a:ext cx="2035130" cy="543513"/>
            <a:chOff x="6832638" y="4879180"/>
            <a:chExt cx="2075939" cy="554412"/>
          </a:xfrm>
        </p:grpSpPr>
        <p:sp>
          <p:nvSpPr>
            <p:cNvPr id="53" name="Oval 52">
              <a:extLst>
                <a:ext uri="{FF2B5EF4-FFF2-40B4-BE49-F238E27FC236}">
                  <a16:creationId xmlns:a16="http://schemas.microsoft.com/office/drawing/2014/main" id="{3D4AB1FD-7FA6-4210-A5A2-BCA4704ED9FB}"/>
                </a:ext>
              </a:extLst>
            </p:cNvPr>
            <p:cNvSpPr/>
            <p:nvPr/>
          </p:nvSpPr>
          <p:spPr bwMode="auto">
            <a:xfrm>
              <a:off x="6832638" y="4879180"/>
              <a:ext cx="554412" cy="5544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 name="LineChart_E9E6" title="Icon of a line chart with points of varying heights">
              <a:extLst>
                <a:ext uri="{FF2B5EF4-FFF2-40B4-BE49-F238E27FC236}">
                  <a16:creationId xmlns:a16="http://schemas.microsoft.com/office/drawing/2014/main" id="{ECB43D29-3E9E-46E1-BD6F-F37DBD607664}"/>
                </a:ext>
              </a:extLst>
            </p:cNvPr>
            <p:cNvSpPr>
              <a:spLocks noChangeAspect="1" noEditPoints="1"/>
            </p:cNvSpPr>
            <p:nvPr/>
          </p:nvSpPr>
          <p:spPr bwMode="auto">
            <a:xfrm>
              <a:off x="7001321" y="5037450"/>
              <a:ext cx="221146" cy="221198"/>
            </a:xfrm>
            <a:custGeom>
              <a:avLst/>
              <a:gdLst>
                <a:gd name="T0" fmla="*/ 4249 w 4249"/>
                <a:gd name="T1" fmla="*/ 4250 h 4250"/>
                <a:gd name="T2" fmla="*/ 0 w 4249"/>
                <a:gd name="T3" fmla="*/ 4250 h 4250"/>
                <a:gd name="T4" fmla="*/ 0 w 4249"/>
                <a:gd name="T5" fmla="*/ 0 h 4250"/>
                <a:gd name="T6" fmla="*/ 4249 w 4249"/>
                <a:gd name="T7" fmla="*/ 1428 h 4250"/>
                <a:gd name="T8" fmla="*/ 3621 w 4249"/>
                <a:gd name="T9" fmla="*/ 800 h 4250"/>
                <a:gd name="T10" fmla="*/ 1893 w 4249"/>
                <a:gd name="T11" fmla="*/ 2527 h 4250"/>
                <a:gd name="T12" fmla="*/ 1265 w 4249"/>
                <a:gd name="T13" fmla="*/ 1899 h 4250"/>
                <a:gd name="T14" fmla="*/ 3 w 4249"/>
                <a:gd name="T15" fmla="*/ 3161 h 4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49" h="4250">
                  <a:moveTo>
                    <a:pt x="4249" y="4250"/>
                  </a:moveTo>
                  <a:lnTo>
                    <a:pt x="0" y="4250"/>
                  </a:lnTo>
                  <a:lnTo>
                    <a:pt x="0" y="0"/>
                  </a:lnTo>
                  <a:moveTo>
                    <a:pt x="4249" y="1428"/>
                  </a:moveTo>
                  <a:lnTo>
                    <a:pt x="3621" y="800"/>
                  </a:lnTo>
                  <a:lnTo>
                    <a:pt x="1893" y="2527"/>
                  </a:lnTo>
                  <a:lnTo>
                    <a:pt x="1265" y="1899"/>
                  </a:lnTo>
                  <a:lnTo>
                    <a:pt x="3" y="3161"/>
                  </a:lnTo>
                </a:path>
              </a:pathLst>
            </a:custGeom>
            <a:noFill/>
            <a:ln w="1270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 name="Rectangle 2">
              <a:extLst>
                <a:ext uri="{FF2B5EF4-FFF2-40B4-BE49-F238E27FC236}">
                  <a16:creationId xmlns:a16="http://schemas.microsoft.com/office/drawing/2014/main" id="{F80340A4-5B27-4CD7-8E87-1A36216D107E}"/>
                </a:ext>
              </a:extLst>
            </p:cNvPr>
            <p:cNvSpPr/>
            <p:nvPr/>
          </p:nvSpPr>
          <p:spPr>
            <a:xfrm>
              <a:off x="6864745" y="5037610"/>
              <a:ext cx="2043832" cy="27699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196"/>
                </a:spcAft>
                <a:buClrTx/>
                <a:buSzTx/>
                <a:buFontTx/>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Scale resources</a:t>
              </a:r>
            </a:p>
          </p:txBody>
        </p:sp>
      </p:grpSp>
      <p:grpSp>
        <p:nvGrpSpPr>
          <p:cNvPr id="9" name="Group 8">
            <a:extLst>
              <a:ext uri="{FF2B5EF4-FFF2-40B4-BE49-F238E27FC236}">
                <a16:creationId xmlns:a16="http://schemas.microsoft.com/office/drawing/2014/main" id="{BB00AE0B-C038-1843-B5B6-760F975D6A69}"/>
              </a:ext>
            </a:extLst>
          </p:cNvPr>
          <p:cNvGrpSpPr/>
          <p:nvPr/>
        </p:nvGrpSpPr>
        <p:grpSpPr>
          <a:xfrm>
            <a:off x="6689992" y="2370507"/>
            <a:ext cx="1890461" cy="543513"/>
            <a:chOff x="6824139" y="2417544"/>
            <a:chExt cx="1928369" cy="554412"/>
          </a:xfrm>
        </p:grpSpPr>
        <p:sp>
          <p:nvSpPr>
            <p:cNvPr id="36" name="Oval 35">
              <a:extLst>
                <a:ext uri="{FF2B5EF4-FFF2-40B4-BE49-F238E27FC236}">
                  <a16:creationId xmlns:a16="http://schemas.microsoft.com/office/drawing/2014/main" id="{EAA453B2-DE13-42D1-B489-7092D7676C7C}"/>
                </a:ext>
              </a:extLst>
            </p:cNvPr>
            <p:cNvSpPr/>
            <p:nvPr/>
          </p:nvSpPr>
          <p:spPr bwMode="auto">
            <a:xfrm>
              <a:off x="6824139" y="2417544"/>
              <a:ext cx="554412" cy="5544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DevUpdate_ECC5" title="Icon of a clock with an arrow around it pointing clockwise">
              <a:extLst>
                <a:ext uri="{FF2B5EF4-FFF2-40B4-BE49-F238E27FC236}">
                  <a16:creationId xmlns:a16="http://schemas.microsoft.com/office/drawing/2014/main" id="{387C2C92-BEC8-417D-8D45-958E9C56518F}"/>
                </a:ext>
              </a:extLst>
            </p:cNvPr>
            <p:cNvSpPr>
              <a:spLocks noChangeAspect="1" noEditPoints="1"/>
            </p:cNvSpPr>
            <p:nvPr/>
          </p:nvSpPr>
          <p:spPr bwMode="auto">
            <a:xfrm>
              <a:off x="6990531" y="2566701"/>
              <a:ext cx="238629" cy="238687"/>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2700" cap="flat">
              <a:solidFill>
                <a:srgbClr val="0078D4"/>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 name="Rectangle 6">
              <a:extLst>
                <a:ext uri="{FF2B5EF4-FFF2-40B4-BE49-F238E27FC236}">
                  <a16:creationId xmlns:a16="http://schemas.microsoft.com/office/drawing/2014/main" id="{856E7B24-3505-4308-9F14-AF7466B76F00}"/>
                </a:ext>
              </a:extLst>
            </p:cNvPr>
            <p:cNvSpPr/>
            <p:nvPr/>
          </p:nvSpPr>
          <p:spPr>
            <a:xfrm>
              <a:off x="6902452" y="2477362"/>
              <a:ext cx="1850056" cy="27699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196"/>
                </a:spcAft>
                <a:buClrTx/>
                <a:buSzTx/>
                <a:buFontTx/>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Schedule jobs</a:t>
              </a:r>
            </a:p>
          </p:txBody>
        </p:sp>
      </p:grpSp>
      <p:sp>
        <p:nvSpPr>
          <p:cNvPr id="8" name="Rectangle 7">
            <a:extLst>
              <a:ext uri="{FF2B5EF4-FFF2-40B4-BE49-F238E27FC236}">
                <a16:creationId xmlns:a16="http://schemas.microsoft.com/office/drawing/2014/main" id="{6060BC7D-C994-4222-B8D6-F915B858C221}"/>
              </a:ext>
            </a:extLst>
          </p:cNvPr>
          <p:cNvSpPr/>
          <p:nvPr/>
        </p:nvSpPr>
        <p:spPr>
          <a:xfrm>
            <a:off x="4345657" y="1736950"/>
            <a:ext cx="2652724" cy="271554"/>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196"/>
              </a:spcAft>
              <a:buClrTx/>
              <a:buSzTx/>
              <a:buFontTx/>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sym typeface="Arial" panose="020B0604020202020204" pitchFamily="34" charset="0"/>
              </a:rPr>
              <a:t>Dependencies and Containers</a:t>
            </a:r>
          </a:p>
        </p:txBody>
      </p:sp>
      <p:grpSp>
        <p:nvGrpSpPr>
          <p:cNvPr id="13" name="Group 12">
            <a:extLst>
              <a:ext uri="{FF2B5EF4-FFF2-40B4-BE49-F238E27FC236}">
                <a16:creationId xmlns:a16="http://schemas.microsoft.com/office/drawing/2014/main" id="{7DDA3495-6B8A-8142-8EC2-027F25A1BDEB}"/>
              </a:ext>
            </a:extLst>
          </p:cNvPr>
          <p:cNvGrpSpPr/>
          <p:nvPr/>
        </p:nvGrpSpPr>
        <p:grpSpPr>
          <a:xfrm>
            <a:off x="4521285" y="5308436"/>
            <a:ext cx="2296982" cy="737548"/>
            <a:chOff x="4611945" y="5414384"/>
            <a:chExt cx="2343041" cy="752337"/>
          </a:xfrm>
        </p:grpSpPr>
        <p:sp>
          <p:nvSpPr>
            <p:cNvPr id="50" name="Oval 49">
              <a:extLst>
                <a:ext uri="{FF2B5EF4-FFF2-40B4-BE49-F238E27FC236}">
                  <a16:creationId xmlns:a16="http://schemas.microsoft.com/office/drawing/2014/main" id="{4DE81D82-0577-4E92-9E8B-9CDCF9DDF9C3}"/>
                </a:ext>
              </a:extLst>
            </p:cNvPr>
            <p:cNvSpPr/>
            <p:nvPr/>
          </p:nvSpPr>
          <p:spPr bwMode="auto">
            <a:xfrm>
              <a:off x="5506260" y="5414384"/>
              <a:ext cx="554412" cy="5544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8" name="network_3" title="Icon of a server connected to a network">
              <a:extLst>
                <a:ext uri="{FF2B5EF4-FFF2-40B4-BE49-F238E27FC236}">
                  <a16:creationId xmlns:a16="http://schemas.microsoft.com/office/drawing/2014/main" id="{6DB266BC-BF41-441B-823C-DEB5B15B8CD0}"/>
                </a:ext>
              </a:extLst>
            </p:cNvPr>
            <p:cNvSpPr>
              <a:spLocks noChangeAspect="1" noEditPoints="1"/>
            </p:cNvSpPr>
            <p:nvPr/>
          </p:nvSpPr>
          <p:spPr bwMode="auto">
            <a:xfrm>
              <a:off x="5633515" y="5522054"/>
              <a:ext cx="304477" cy="315965"/>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5" name="Rectangle 14">
              <a:extLst>
                <a:ext uri="{FF2B5EF4-FFF2-40B4-BE49-F238E27FC236}">
                  <a16:creationId xmlns:a16="http://schemas.microsoft.com/office/drawing/2014/main" id="{35A184BC-CA1A-4B5F-BAD4-C39D0E4CC08C}"/>
                </a:ext>
              </a:extLst>
            </p:cNvPr>
            <p:cNvSpPr/>
            <p:nvPr/>
          </p:nvSpPr>
          <p:spPr>
            <a:xfrm>
              <a:off x="4611945" y="5889722"/>
              <a:ext cx="2343041" cy="27699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196"/>
                </a:spcAft>
                <a:buClrTx/>
                <a:buSzTx/>
                <a:buFontTx/>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Provision VM clusters</a:t>
              </a:r>
            </a:p>
          </p:txBody>
        </p:sp>
      </p:grpSp>
      <p:grpSp>
        <p:nvGrpSpPr>
          <p:cNvPr id="10" name="Group 9">
            <a:extLst>
              <a:ext uri="{FF2B5EF4-FFF2-40B4-BE49-F238E27FC236}">
                <a16:creationId xmlns:a16="http://schemas.microsoft.com/office/drawing/2014/main" id="{7C961D41-6461-1140-8AD9-F2B1122042EB}"/>
              </a:ext>
            </a:extLst>
          </p:cNvPr>
          <p:cNvGrpSpPr/>
          <p:nvPr/>
        </p:nvGrpSpPr>
        <p:grpSpPr>
          <a:xfrm>
            <a:off x="7188113" y="3598271"/>
            <a:ext cx="2049046" cy="543513"/>
            <a:chOff x="7332249" y="3669927"/>
            <a:chExt cx="2090134" cy="554412"/>
          </a:xfrm>
        </p:grpSpPr>
        <p:sp>
          <p:nvSpPr>
            <p:cNvPr id="47" name="Oval 46">
              <a:extLst>
                <a:ext uri="{FF2B5EF4-FFF2-40B4-BE49-F238E27FC236}">
                  <a16:creationId xmlns:a16="http://schemas.microsoft.com/office/drawing/2014/main" id="{E2445A85-E012-47A4-83D9-763E59345E46}"/>
                </a:ext>
              </a:extLst>
            </p:cNvPr>
            <p:cNvSpPr/>
            <p:nvPr/>
          </p:nvSpPr>
          <p:spPr bwMode="auto">
            <a:xfrm>
              <a:off x="7332249" y="3669927"/>
              <a:ext cx="554412" cy="5544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 name="Copy_E8C8" title="Icon of two documents stacked together">
              <a:extLst>
                <a:ext uri="{FF2B5EF4-FFF2-40B4-BE49-F238E27FC236}">
                  <a16:creationId xmlns:a16="http://schemas.microsoft.com/office/drawing/2014/main" id="{D8DAE448-5920-495E-91DC-E69703D74C71}"/>
                </a:ext>
              </a:extLst>
            </p:cNvPr>
            <p:cNvSpPr>
              <a:spLocks noChangeAspect="1" noEditPoints="1"/>
            </p:cNvSpPr>
            <p:nvPr/>
          </p:nvSpPr>
          <p:spPr bwMode="auto">
            <a:xfrm>
              <a:off x="7490734" y="3793170"/>
              <a:ext cx="261960" cy="302223"/>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 name="Rectangle 15">
              <a:extLst>
                <a:ext uri="{FF2B5EF4-FFF2-40B4-BE49-F238E27FC236}">
                  <a16:creationId xmlns:a16="http://schemas.microsoft.com/office/drawing/2014/main" id="{08B040E2-F137-4B6B-979A-A8AFF58A42B2}"/>
                </a:ext>
              </a:extLst>
            </p:cNvPr>
            <p:cNvSpPr/>
            <p:nvPr/>
          </p:nvSpPr>
          <p:spPr>
            <a:xfrm>
              <a:off x="7378551" y="3815612"/>
              <a:ext cx="2043832" cy="27699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196"/>
                </a:spcAft>
                <a:buClrTx/>
                <a:buSzTx/>
                <a:buFontTx/>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Distribute data</a:t>
              </a:r>
            </a:p>
          </p:txBody>
        </p:sp>
      </p:grpSp>
      <p:sp>
        <p:nvSpPr>
          <p:cNvPr id="42" name="Rectangle 2">
            <a:extLst>
              <a:ext uri="{FF2B5EF4-FFF2-40B4-BE49-F238E27FC236}">
                <a16:creationId xmlns:a16="http://schemas.microsoft.com/office/drawing/2014/main" id="{C895361A-B164-C74E-B208-642A80866B7F}"/>
              </a:ext>
            </a:extLst>
          </p:cNvPr>
          <p:cNvSpPr txBox="1">
            <a:spLocks noChangeArrowheads="1"/>
          </p:cNvSpPr>
          <p:nvPr/>
        </p:nvSpPr>
        <p:spPr bwMode="auto">
          <a:xfrm>
            <a:off x="2941456" y="2490553"/>
            <a:ext cx="1378782" cy="199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9044" tIns="19044" rIns="19044" bIns="19044" numCol="1" anchor="t" anchorCtr="0" compatLnSpc="1">
            <a:prstTxWarp prst="textNoShape">
              <a:avLst/>
            </a:prstTxWarp>
          </a:bodyPr>
          <a:lstStyle>
            <a:lvl1pPr marL="457200" indent="-457200" algn="l" rtl="0" eaLnBrk="0" fontAlgn="base" hangingPunct="0">
              <a:spcBef>
                <a:spcPts val="2100"/>
              </a:spcBef>
              <a:spcAft>
                <a:spcPct val="0"/>
              </a:spcAft>
              <a:buClr>
                <a:srgbClr val="D3002D"/>
              </a:buClr>
              <a:buSzPct val="100000"/>
              <a:buFont typeface="Wingdings" panose="05000000000000000000" pitchFamily="2" charset="2"/>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1pPr>
            <a:lvl2pPr marL="876300" indent="-457200" algn="l" rtl="0" eaLnBrk="0" fontAlgn="base" hangingPunct="0">
              <a:spcBef>
                <a:spcPts val="19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2pPr>
            <a:lvl3pPr marL="1562100" indent="-457200" algn="l" rtl="0" eaLnBrk="0" fontAlgn="base" hangingPunct="0">
              <a:spcBef>
                <a:spcPts val="16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3pPr>
            <a:lvl4pPr marL="2019300" indent="-457200" algn="l" rtl="0" eaLnBrk="0" fontAlgn="base" hangingPunct="0">
              <a:spcBef>
                <a:spcPts val="13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4pPr>
            <a:lvl5pPr marL="2476500" indent="-457200" algn="l" rtl="0" eaLnBrk="0" fontAlgn="base" hangingPunct="0">
              <a:spcBef>
                <a:spcPts val="1300"/>
              </a:spcBef>
              <a:spcAft>
                <a:spcPct val="0"/>
              </a:spcAft>
              <a:buClr>
                <a:srgbClr val="D3002D"/>
              </a:buClr>
              <a:buSzPct val="100000"/>
              <a:buFont typeface="Arial" panose="020B0604020202020204" pitchFamily="34" charset="0"/>
              <a:buChar char="-"/>
              <a:defRPr sz="4400">
                <a:solidFill>
                  <a:srgbClr val="FFFFFF"/>
                </a:solidFill>
                <a:latin typeface="Segoe UI Light" panose="020B0502040204020203" pitchFamily="34" charset="0"/>
                <a:ea typeface="+mn-ea"/>
                <a:cs typeface="Segoe UI Light" panose="020B0502040204020203" pitchFamily="34" charset="0"/>
                <a:sym typeface="Arial" panose="020B0604020202020204" pitchFamily="34" charset="0"/>
              </a:defRPr>
            </a:lvl5pPr>
            <a:lvl6pPr marL="29337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6pPr>
            <a:lvl7pPr marL="33909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7pPr>
            <a:lvl8pPr marL="38481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8pPr>
            <a:lvl9pPr marL="4305300" indent="-457200" algn="l" rtl="0" fontAlgn="base">
              <a:spcBef>
                <a:spcPts val="1300"/>
              </a:spcBef>
              <a:spcAft>
                <a:spcPct val="0"/>
              </a:spcAft>
              <a:buClr>
                <a:srgbClr val="D3002D"/>
              </a:buClr>
              <a:buSzPct val="100000"/>
              <a:buFont typeface="Arial" charset="0"/>
              <a:buChar char="-"/>
              <a:defRPr sz="4800">
                <a:solidFill>
                  <a:srgbClr val="FFFFFF"/>
                </a:solidFill>
                <a:latin typeface="+mn-lt"/>
                <a:ea typeface="+mn-ea"/>
                <a:cs typeface="+mn-cs"/>
                <a:sym typeface="Arial" charset="0"/>
              </a:defRPr>
            </a:lvl9pPr>
          </a:lstStyle>
          <a:p>
            <a:pPr marL="0" marR="0" lvl="0" indent="0" algn="ctr" defTabSz="914192" rtl="0" eaLnBrk="1" fontAlgn="base" latinLnBrk="0" hangingPunct="1">
              <a:lnSpc>
                <a:spcPct val="100000"/>
              </a:lnSpc>
              <a:spcBef>
                <a:spcPts val="2059"/>
              </a:spcBef>
              <a:spcAft>
                <a:spcPct val="0"/>
              </a:spcAft>
              <a:buClr>
                <a:srgbClr val="D3002D"/>
              </a:buClr>
              <a:buSzPct val="100000"/>
              <a:buFont typeface="Wingdings" panose="05000000000000000000" pitchFamily="2" charset="2"/>
              <a:buNone/>
              <a:tabLst/>
              <a:defRPr/>
            </a:pPr>
            <a:r>
              <a:rPr kumimoji="0" lang="en-US" altLang="en-US" sz="1176"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sym typeface="Arial" panose="020B0604020202020204" pitchFamily="34" charset="0"/>
              </a:rPr>
              <a:t>Handling failures</a:t>
            </a:r>
          </a:p>
        </p:txBody>
      </p:sp>
    </p:spTree>
    <p:extLst>
      <p:ext uri="{BB962C8B-B14F-4D97-AF65-F5344CB8AC3E}">
        <p14:creationId xmlns:p14="http://schemas.microsoft.com/office/powerpoint/2010/main" val="438904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fade">
                                      <p:cBhvr>
                                        <p:cTn id="10" dur="500"/>
                                        <p:tgtEl>
                                          <p:spTgt spid="6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500"/>
                                        <p:tgtEl>
                                          <p:spTgt spid="13"/>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childTnLst>
                          </p:cTn>
                        </p:par>
                        <p:par>
                          <p:cTn id="34" fill="hold">
                            <p:stCondLst>
                              <p:cond delay="3000"/>
                            </p:stCondLst>
                            <p:childTnLst>
                              <p:par>
                                <p:cTn id="35" presetID="10" presetClass="entr" presetSubtype="0" fill="hold" nodeType="after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51"/>
                                        </p:tgtEl>
                                        <p:attrNameLst>
                                          <p:attrName>style.visibility</p:attrName>
                                        </p:attrNameLst>
                                      </p:cBhvr>
                                      <p:to>
                                        <p:strVal val="visible"/>
                                      </p:to>
                                    </p:set>
                                    <p:animEffect transition="in" filter="fade">
                                      <p:cBhvr>
                                        <p:cTn id="41" dur="500"/>
                                        <p:tgtEl>
                                          <p:spTgt spid="51"/>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59"/>
                                        </p:tgtEl>
                                        <p:attrNameLst>
                                          <p:attrName>style.visibility</p:attrName>
                                        </p:attrNameLst>
                                      </p:cBhvr>
                                      <p:to>
                                        <p:strVal val="visible"/>
                                      </p:to>
                                    </p:set>
                                    <p:animEffect transition="in" filter="fade">
                                      <p:cBhvr>
                                        <p:cTn id="44" dur="500"/>
                                        <p:tgtEl>
                                          <p:spTgt spid="59"/>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2"/>
                                        </p:tgtEl>
                                        <p:attrNameLst>
                                          <p:attrName>style.visibility</p:attrName>
                                        </p:attrNameLst>
                                      </p:cBhvr>
                                      <p:to>
                                        <p:strVal val="visible"/>
                                      </p:to>
                                    </p:set>
                                    <p:animEffect transition="in" filter="fade">
                                      <p:cBhvr>
                                        <p:cTn id="47"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1" grpId="0" animBg="1"/>
      <p:bldP spid="59" grpId="0" animBg="1"/>
      <p:bldP spid="60" grpId="0" animBg="1"/>
      <p:bldP spid="8" grpId="0"/>
      <p:bldP spid="42" grpId="0"/>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19221-3DCA-46FD-ABF5-B3F0260E2647}"/>
              </a:ext>
            </a:extLst>
          </p:cNvPr>
          <p:cNvSpPr>
            <a:spLocks noGrp="1"/>
          </p:cNvSpPr>
          <p:nvPr>
            <p:ph type="title"/>
          </p:nvPr>
        </p:nvSpPr>
        <p:spPr/>
        <p:txBody>
          <a:bodyPr/>
          <a:lstStyle/>
          <a:p>
            <a:r>
              <a:rPr lang="en-US" dirty="0"/>
              <a:t>Training infrastructure </a:t>
            </a:r>
          </a:p>
        </p:txBody>
      </p:sp>
      <p:sp>
        <p:nvSpPr>
          <p:cNvPr id="3" name="DevUpdate_ECC5" title="Icon of a clock with an arrow around it pointing clockwise">
            <a:extLst>
              <a:ext uri="{FF2B5EF4-FFF2-40B4-BE49-F238E27FC236}">
                <a16:creationId xmlns:a16="http://schemas.microsoft.com/office/drawing/2014/main" id="{94DD81CF-54C1-4BE5-83CC-20736B403CAC}"/>
              </a:ext>
            </a:extLst>
          </p:cNvPr>
          <p:cNvSpPr>
            <a:spLocks noChangeAspect="1" noEditPoints="1"/>
          </p:cNvSpPr>
          <p:nvPr/>
        </p:nvSpPr>
        <p:spPr bwMode="auto">
          <a:xfrm>
            <a:off x="545985" y="3624849"/>
            <a:ext cx="619366" cy="619517"/>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2700" cap="flat">
            <a:solidFill>
              <a:srgbClr val="0078D4"/>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 name="LineChart_E9E6" title="Icon of a line chart with points of varying heights">
            <a:extLst>
              <a:ext uri="{FF2B5EF4-FFF2-40B4-BE49-F238E27FC236}">
                <a16:creationId xmlns:a16="http://schemas.microsoft.com/office/drawing/2014/main" id="{AFC8434E-8B52-499E-B20A-95AC8959F8CF}"/>
              </a:ext>
            </a:extLst>
          </p:cNvPr>
          <p:cNvSpPr>
            <a:spLocks noChangeAspect="1" noEditPoints="1"/>
          </p:cNvSpPr>
          <p:nvPr/>
        </p:nvSpPr>
        <p:spPr bwMode="auto">
          <a:xfrm>
            <a:off x="6234538" y="3664387"/>
            <a:ext cx="540316" cy="540442"/>
          </a:xfrm>
          <a:custGeom>
            <a:avLst/>
            <a:gdLst>
              <a:gd name="T0" fmla="*/ 4249 w 4249"/>
              <a:gd name="T1" fmla="*/ 4250 h 4250"/>
              <a:gd name="T2" fmla="*/ 0 w 4249"/>
              <a:gd name="T3" fmla="*/ 4250 h 4250"/>
              <a:gd name="T4" fmla="*/ 0 w 4249"/>
              <a:gd name="T5" fmla="*/ 0 h 4250"/>
              <a:gd name="T6" fmla="*/ 4249 w 4249"/>
              <a:gd name="T7" fmla="*/ 1428 h 4250"/>
              <a:gd name="T8" fmla="*/ 3621 w 4249"/>
              <a:gd name="T9" fmla="*/ 800 h 4250"/>
              <a:gd name="T10" fmla="*/ 1893 w 4249"/>
              <a:gd name="T11" fmla="*/ 2527 h 4250"/>
              <a:gd name="T12" fmla="*/ 1265 w 4249"/>
              <a:gd name="T13" fmla="*/ 1899 h 4250"/>
              <a:gd name="T14" fmla="*/ 3 w 4249"/>
              <a:gd name="T15" fmla="*/ 3161 h 4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49" h="4250">
                <a:moveTo>
                  <a:pt x="4249" y="4250"/>
                </a:moveTo>
                <a:lnTo>
                  <a:pt x="0" y="4250"/>
                </a:lnTo>
                <a:lnTo>
                  <a:pt x="0" y="0"/>
                </a:lnTo>
                <a:moveTo>
                  <a:pt x="4249" y="1428"/>
                </a:moveTo>
                <a:lnTo>
                  <a:pt x="3621" y="800"/>
                </a:lnTo>
                <a:lnTo>
                  <a:pt x="1893" y="2527"/>
                </a:lnTo>
                <a:lnTo>
                  <a:pt x="1265" y="1899"/>
                </a:lnTo>
                <a:lnTo>
                  <a:pt x="3" y="3161"/>
                </a:lnTo>
              </a:path>
            </a:pathLst>
          </a:custGeom>
          <a:noFill/>
          <a:ln w="1270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 name="Copy_E8C8" title="Icon of two documents stacked together">
            <a:extLst>
              <a:ext uri="{FF2B5EF4-FFF2-40B4-BE49-F238E27FC236}">
                <a16:creationId xmlns:a16="http://schemas.microsoft.com/office/drawing/2014/main" id="{E0962A64-1BBE-453B-BB3A-5DF330896876}"/>
              </a:ext>
            </a:extLst>
          </p:cNvPr>
          <p:cNvSpPr>
            <a:spLocks noChangeAspect="1" noEditPoints="1"/>
          </p:cNvSpPr>
          <p:nvPr/>
        </p:nvSpPr>
        <p:spPr bwMode="auto">
          <a:xfrm>
            <a:off x="6373613" y="2012600"/>
            <a:ext cx="540316" cy="623361"/>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 name="network_3" title="Icon of a server connected to a network">
            <a:extLst>
              <a:ext uri="{FF2B5EF4-FFF2-40B4-BE49-F238E27FC236}">
                <a16:creationId xmlns:a16="http://schemas.microsoft.com/office/drawing/2014/main" id="{5B40CCB1-0F79-4117-9BFC-E749F24B7CB0}"/>
              </a:ext>
            </a:extLst>
          </p:cNvPr>
          <p:cNvSpPr>
            <a:spLocks noChangeAspect="1" noEditPoints="1"/>
          </p:cNvSpPr>
          <p:nvPr/>
        </p:nvSpPr>
        <p:spPr bwMode="auto">
          <a:xfrm>
            <a:off x="494646" y="5157238"/>
            <a:ext cx="722044" cy="74928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7" name="people_3" title="Icon of a person surrounded by brackets">
            <a:extLst>
              <a:ext uri="{FF2B5EF4-FFF2-40B4-BE49-F238E27FC236}">
                <a16:creationId xmlns:a16="http://schemas.microsoft.com/office/drawing/2014/main" id="{7E034153-E695-435F-92B7-119FD5A03FD9}"/>
              </a:ext>
            </a:extLst>
          </p:cNvPr>
          <p:cNvSpPr>
            <a:spLocks noChangeAspect="1" noEditPoints="1"/>
          </p:cNvSpPr>
          <p:nvPr/>
        </p:nvSpPr>
        <p:spPr bwMode="auto">
          <a:xfrm>
            <a:off x="545985" y="2012121"/>
            <a:ext cx="619367" cy="624317"/>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2700" cap="sq">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 name="Rectangle 7">
            <a:extLst>
              <a:ext uri="{FF2B5EF4-FFF2-40B4-BE49-F238E27FC236}">
                <a16:creationId xmlns:a16="http://schemas.microsoft.com/office/drawing/2014/main" id="{910585F0-7179-4ADB-AF80-701519E1E02F}"/>
              </a:ext>
            </a:extLst>
          </p:cNvPr>
          <p:cNvSpPr/>
          <p:nvPr/>
        </p:nvSpPr>
        <p:spPr>
          <a:xfrm>
            <a:off x="7043017" y="3544879"/>
            <a:ext cx="3168077" cy="809632"/>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196"/>
              </a:spcAft>
              <a:buClrTx/>
              <a:buSzTx/>
              <a:buFontTx/>
              <a:buNone/>
              <a:tabLst/>
              <a:defRPr/>
            </a:pPr>
            <a:r>
              <a:rPr kumimoji="0" lang="en-US" altLang="en-US" sz="1765"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Scale resourc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utoscale resources to only pay while running a job</a:t>
            </a:r>
          </a:p>
        </p:txBody>
      </p:sp>
      <p:sp>
        <p:nvSpPr>
          <p:cNvPr id="9" name="Rectangle 8">
            <a:extLst>
              <a:ext uri="{FF2B5EF4-FFF2-40B4-BE49-F238E27FC236}">
                <a16:creationId xmlns:a16="http://schemas.microsoft.com/office/drawing/2014/main" id="{39177E2E-8F9B-46A3-A536-0B54682EFCA2}"/>
              </a:ext>
            </a:extLst>
          </p:cNvPr>
          <p:cNvSpPr/>
          <p:nvPr/>
        </p:nvSpPr>
        <p:spPr>
          <a:xfrm>
            <a:off x="1401329" y="3544879"/>
            <a:ext cx="3168077" cy="809632"/>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196"/>
              </a:spcAft>
              <a:buClrTx/>
              <a:buSzTx/>
              <a:buFontTx/>
              <a:buNone/>
              <a:tabLst/>
              <a:defRPr/>
            </a:pPr>
            <a:r>
              <a:rPr kumimoji="0" lang="en-US" altLang="en-US" sz="1765"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Schedule job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rain at cloud scale using a framework of choice</a:t>
            </a:r>
          </a:p>
        </p:txBody>
      </p:sp>
      <p:sp>
        <p:nvSpPr>
          <p:cNvPr id="10" name="Rectangle 9">
            <a:extLst>
              <a:ext uri="{FF2B5EF4-FFF2-40B4-BE49-F238E27FC236}">
                <a16:creationId xmlns:a16="http://schemas.microsoft.com/office/drawing/2014/main" id="{563D0EDF-5454-4599-9D5F-9A64E87D35D3}"/>
              </a:ext>
            </a:extLst>
          </p:cNvPr>
          <p:cNvSpPr/>
          <p:nvPr/>
        </p:nvSpPr>
        <p:spPr>
          <a:xfrm>
            <a:off x="1401329" y="1934551"/>
            <a:ext cx="3341573" cy="809632"/>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196"/>
              </a:spcAft>
              <a:buClrTx/>
              <a:buSzTx/>
              <a:buFontTx/>
              <a:buNone/>
              <a:tabLst/>
              <a:defRPr/>
            </a:pPr>
            <a:r>
              <a:rPr kumimoji="0" lang="en-US" altLang="en-US" sz="1765"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sym typeface="Arial" panose="020B0604020202020204" pitchFamily="34" charset="0"/>
              </a:rPr>
              <a:t>Dependencies and Container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everage system-managed AML compute or bring your own compute </a:t>
            </a:r>
          </a:p>
        </p:txBody>
      </p:sp>
      <p:sp>
        <p:nvSpPr>
          <p:cNvPr id="11" name="Rectangle 10">
            <a:extLst>
              <a:ext uri="{FF2B5EF4-FFF2-40B4-BE49-F238E27FC236}">
                <a16:creationId xmlns:a16="http://schemas.microsoft.com/office/drawing/2014/main" id="{495AAE77-E3C9-4EE1-92A9-602D8CCE9FAA}"/>
              </a:ext>
            </a:extLst>
          </p:cNvPr>
          <p:cNvSpPr/>
          <p:nvPr/>
        </p:nvSpPr>
        <p:spPr>
          <a:xfrm>
            <a:off x="1401329" y="5142153"/>
            <a:ext cx="3168077" cy="809632"/>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196"/>
              </a:spcAft>
              <a:buClrTx/>
              <a:buSzTx/>
              <a:buFontTx/>
              <a:buNone/>
              <a:tabLst/>
              <a:defRPr/>
            </a:pPr>
            <a:r>
              <a:rPr kumimoji="0" lang="en-US" altLang="en-US" sz="1765"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Provision cluster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the latest NDv2 series VMs with the NVIDIA V100 GPUs</a:t>
            </a:r>
          </a:p>
        </p:txBody>
      </p:sp>
      <p:sp>
        <p:nvSpPr>
          <p:cNvPr id="12" name="Rectangle 11">
            <a:extLst>
              <a:ext uri="{FF2B5EF4-FFF2-40B4-BE49-F238E27FC236}">
                <a16:creationId xmlns:a16="http://schemas.microsoft.com/office/drawing/2014/main" id="{FB7A5646-C5C0-4E4D-9BC9-84F7426BFEE8}"/>
              </a:ext>
            </a:extLst>
          </p:cNvPr>
          <p:cNvSpPr/>
          <p:nvPr/>
        </p:nvSpPr>
        <p:spPr>
          <a:xfrm>
            <a:off x="7043017" y="1934551"/>
            <a:ext cx="3168077" cy="809632"/>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196"/>
              </a:spcAft>
              <a:buClrTx/>
              <a:buSzTx/>
              <a:buFontTx/>
              <a:buNone/>
              <a:tabLst/>
              <a:defRPr/>
            </a:pPr>
            <a:r>
              <a:rPr kumimoji="0" lang="en-US" altLang="en-US" sz="1765" b="1" i="0" u="none" strike="noStrike" kern="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Distribute data</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anage and share resources across </a:t>
            </a:r>
            <a:br>
              <a:rPr kumimoji="0" lang="en-US" sz="1372"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1372"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 workspace </a:t>
            </a:r>
          </a:p>
        </p:txBody>
      </p:sp>
    </p:spTree>
    <p:extLst>
      <p:ext uri="{BB962C8B-B14F-4D97-AF65-F5344CB8AC3E}">
        <p14:creationId xmlns:p14="http://schemas.microsoft.com/office/powerpoint/2010/main" val="1134176818"/>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2"/>
          <p:cNvSpPr>
            <a:spLocks noGrp="1"/>
          </p:cNvSpPr>
          <p:nvPr>
            <p:ph type="title"/>
          </p:nvPr>
        </p:nvSpPr>
        <p:spPr/>
        <p:txBody>
          <a:bodyPr/>
          <a:lstStyle/>
          <a:p>
            <a:r>
              <a:rPr lang="en-US" dirty="0"/>
              <a:t>Powerful infrastructure</a:t>
            </a:r>
          </a:p>
        </p:txBody>
      </p:sp>
      <p:sp>
        <p:nvSpPr>
          <p:cNvPr id="3" name="Text Placeholder 2">
            <a:extLst>
              <a:ext uri="{FF2B5EF4-FFF2-40B4-BE49-F238E27FC236}">
                <a16:creationId xmlns:a16="http://schemas.microsoft.com/office/drawing/2014/main" id="{A0E77913-0C7E-8B42-B2BE-6F77E636D6F0}"/>
              </a:ext>
            </a:extLst>
          </p:cNvPr>
          <p:cNvSpPr>
            <a:spLocks noGrp="1"/>
          </p:cNvSpPr>
          <p:nvPr>
            <p:ph type="body" sz="quarter" idx="12"/>
          </p:nvPr>
        </p:nvSpPr>
        <p:spPr/>
        <p:txBody>
          <a:bodyPr/>
          <a:lstStyle/>
          <a:p>
            <a:r>
              <a:rPr lang="en-US" dirty="0"/>
              <a:t>Accelerate deep learning</a:t>
            </a:r>
          </a:p>
        </p:txBody>
      </p:sp>
      <p:sp>
        <p:nvSpPr>
          <p:cNvPr id="63" name="Arrow: Left-Right 50">
            <a:extLst>
              <a:ext uri="{FF2B5EF4-FFF2-40B4-BE49-F238E27FC236}">
                <a16:creationId xmlns:a16="http://schemas.microsoft.com/office/drawing/2014/main" id="{689B45EF-A0E4-C543-A885-7DB462A5E236}"/>
              </a:ext>
            </a:extLst>
          </p:cNvPr>
          <p:cNvSpPr/>
          <p:nvPr/>
        </p:nvSpPr>
        <p:spPr bwMode="auto">
          <a:xfrm>
            <a:off x="400450" y="4294860"/>
            <a:ext cx="11297446" cy="1020767"/>
          </a:xfrm>
          <a:prstGeom prst="leftRightArrow">
            <a:avLst/>
          </a:prstGeom>
          <a:solidFill>
            <a:srgbClr val="0078D4"/>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78D4"/>
              </a:solidFill>
              <a:effectLst/>
              <a:uLnTx/>
              <a:uFillTx/>
              <a:latin typeface="Segoe UI"/>
              <a:ea typeface="Segoe UI" pitchFamily="34" charset="0"/>
              <a:cs typeface="Segoe UI" pitchFamily="34" charset="0"/>
            </a:endParaRPr>
          </a:p>
        </p:txBody>
      </p:sp>
      <p:sp>
        <p:nvSpPr>
          <p:cNvPr id="65" name="Rectangle 64">
            <a:extLst>
              <a:ext uri="{FF2B5EF4-FFF2-40B4-BE49-F238E27FC236}">
                <a16:creationId xmlns:a16="http://schemas.microsoft.com/office/drawing/2014/main" id="{2C76E695-8445-1242-8263-3BABA272211F}"/>
              </a:ext>
            </a:extLst>
          </p:cNvPr>
          <p:cNvSpPr/>
          <p:nvPr/>
        </p:nvSpPr>
        <p:spPr bwMode="auto">
          <a:xfrm>
            <a:off x="176984" y="3219447"/>
            <a:ext cx="3484723" cy="641993"/>
          </a:xfrm>
          <a:prstGeom prst="rect">
            <a:avLst/>
          </a:prstGeom>
          <a:noFill/>
          <a:ln w="12700"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1A1A1A"/>
                </a:solidFill>
                <a:effectLst/>
                <a:uLnTx/>
                <a:uFillTx/>
                <a:latin typeface="Segoe UI Semilight"/>
                <a:ea typeface="Segoe UI" pitchFamily="34" charset="0"/>
                <a:cs typeface="Segoe UI" pitchFamily="34" charset="0"/>
              </a:rPr>
              <a:t>General purpose machine learning</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0078D4"/>
                </a:solidFill>
                <a:effectLst/>
                <a:uLnTx/>
                <a:uFillTx/>
                <a:latin typeface="Segoe UI Semilight"/>
                <a:ea typeface="Segoe UI" pitchFamily="34" charset="0"/>
                <a:cs typeface="Segoe UI" pitchFamily="34" charset="0"/>
              </a:rPr>
              <a:t>D, F, L, M, H Series</a:t>
            </a:r>
            <a:endParaRPr kumimoji="0" lang="en-US" sz="1800" b="0" i="0" u="none" strike="noStrike" kern="0" cap="none" spc="0" normalizeH="0" baseline="0" noProof="0">
              <a:ln>
                <a:noFill/>
              </a:ln>
              <a:solidFill>
                <a:srgbClr val="0078D4"/>
              </a:solidFill>
              <a:effectLst/>
              <a:uLnTx/>
              <a:uFillTx/>
              <a:latin typeface="Segoe UI Semilight"/>
              <a:ea typeface="Segoe UI" pitchFamily="34" charset="0"/>
              <a:cs typeface="Segoe UI" pitchFamily="34" charset="0"/>
            </a:endParaRPr>
          </a:p>
        </p:txBody>
      </p:sp>
      <p:sp>
        <p:nvSpPr>
          <p:cNvPr id="66" name="Rectangle 65">
            <a:extLst>
              <a:ext uri="{FF2B5EF4-FFF2-40B4-BE49-F238E27FC236}">
                <a16:creationId xmlns:a16="http://schemas.microsoft.com/office/drawing/2014/main" id="{283227AD-88A3-6343-A6AC-A04C3F46AB80}"/>
              </a:ext>
            </a:extLst>
          </p:cNvPr>
          <p:cNvSpPr/>
          <p:nvPr/>
        </p:nvSpPr>
        <p:spPr bwMode="auto">
          <a:xfrm>
            <a:off x="1402576" y="2850568"/>
            <a:ext cx="912895" cy="276999"/>
          </a:xfrm>
          <a:prstGeom prst="rect">
            <a:avLst/>
          </a:prstGeom>
          <a:no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solidFill>
                  <a:srgbClr val="0078D4"/>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CPUs</a:t>
            </a:r>
          </a:p>
        </p:txBody>
      </p:sp>
      <p:sp>
        <p:nvSpPr>
          <p:cNvPr id="67" name="chip">
            <a:extLst>
              <a:ext uri="{FF2B5EF4-FFF2-40B4-BE49-F238E27FC236}">
                <a16:creationId xmlns:a16="http://schemas.microsoft.com/office/drawing/2014/main" id="{1F486F47-0449-3340-8B4E-FCCDF8FDE13A}"/>
              </a:ext>
            </a:extLst>
          </p:cNvPr>
          <p:cNvSpPr>
            <a:spLocks noChangeAspect="1" noEditPoints="1"/>
          </p:cNvSpPr>
          <p:nvPr/>
        </p:nvSpPr>
        <p:spPr bwMode="auto">
          <a:xfrm>
            <a:off x="1669317" y="2310533"/>
            <a:ext cx="379412" cy="387253"/>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2700" cap="sq">
            <a:solidFill>
              <a:schemeClr val="tx2"/>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sp>
        <p:nvSpPr>
          <p:cNvPr id="68" name="TextBox 67">
            <a:extLst>
              <a:ext uri="{FF2B5EF4-FFF2-40B4-BE49-F238E27FC236}">
                <a16:creationId xmlns:a16="http://schemas.microsoft.com/office/drawing/2014/main" id="{035A2CE4-A06F-7E4A-A12C-B621EA6B5973}"/>
              </a:ext>
            </a:extLst>
          </p:cNvPr>
          <p:cNvSpPr txBox="1"/>
          <p:nvPr/>
        </p:nvSpPr>
        <p:spPr>
          <a:xfrm>
            <a:off x="902041" y="4708296"/>
            <a:ext cx="3189023" cy="193899"/>
          </a:xfrm>
          <a:prstGeom prst="rect">
            <a:avLst/>
          </a:prstGeom>
          <a:no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102" fontAlgn="base">
              <a:lnSpc>
                <a:spcPct val="90000"/>
              </a:lnSpc>
              <a:spcBef>
                <a:spcPct val="0"/>
              </a:spcBef>
              <a:spcAft>
                <a:spcPct val="0"/>
              </a:spcAft>
              <a:buClrTx/>
              <a:buSzTx/>
              <a:buFontTx/>
              <a:buNone/>
              <a:tabLst/>
              <a:defRPr kumimoji="0" sz="1400" b="0" i="0" u="none" strike="noStrike" kern="0" cap="none" spc="0" normalizeH="0" baseline="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defRPr>
            </a:lvl1p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rPr>
              <a:t>Optimized for flexibility</a:t>
            </a:r>
          </a:p>
        </p:txBody>
      </p:sp>
      <p:sp>
        <p:nvSpPr>
          <p:cNvPr id="71" name="TextBox 70">
            <a:extLst>
              <a:ext uri="{FF2B5EF4-FFF2-40B4-BE49-F238E27FC236}">
                <a16:creationId xmlns:a16="http://schemas.microsoft.com/office/drawing/2014/main" id="{C43BD09E-7817-2540-88D3-BC759D99848A}"/>
              </a:ext>
            </a:extLst>
          </p:cNvPr>
          <p:cNvSpPr txBox="1"/>
          <p:nvPr/>
        </p:nvSpPr>
        <p:spPr>
          <a:xfrm>
            <a:off x="8639694" y="4708296"/>
            <a:ext cx="2429764" cy="193899"/>
          </a:xfrm>
          <a:prstGeom prst="rect">
            <a:avLst/>
          </a:prstGeom>
          <a:no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algn="ctr" defTabSz="914102" fontAlgn="base">
              <a:lnSpc>
                <a:spcPct val="90000"/>
              </a:lnSpc>
              <a:spcBef>
                <a:spcPct val="0"/>
              </a:spcBef>
              <a:spcAft>
                <a:spcPct val="0"/>
              </a:spcAft>
              <a:buClrTx/>
              <a:buSzTx/>
              <a:buFontTx/>
              <a:buNone/>
              <a:tabLst/>
              <a:defRPr kumimoji="0" sz="1400" b="0" i="0" u="none" strike="noStrike" kern="0" cap="none" spc="0" normalizeH="0" baseline="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defRPr>
            </a:lvl1pPr>
          </a:lstStyle>
          <a:p>
            <a:pPr marL="0" marR="0" lvl="0" indent="0" algn="r" defTabSz="91392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Optimized for performance</a:t>
            </a:r>
          </a:p>
        </p:txBody>
      </p:sp>
      <p:sp>
        <p:nvSpPr>
          <p:cNvPr id="72" name="Rectangle 71">
            <a:extLst>
              <a:ext uri="{FF2B5EF4-FFF2-40B4-BE49-F238E27FC236}">
                <a16:creationId xmlns:a16="http://schemas.microsoft.com/office/drawing/2014/main" id="{F3780B3E-15D7-7144-9513-EB118F80CCAD}"/>
              </a:ext>
            </a:extLst>
          </p:cNvPr>
          <p:cNvSpPr/>
          <p:nvPr/>
        </p:nvSpPr>
        <p:spPr bwMode="auto">
          <a:xfrm>
            <a:off x="5635013" y="2850568"/>
            <a:ext cx="726163" cy="276999"/>
          </a:xfrm>
          <a:prstGeom prst="rect">
            <a:avLst/>
          </a:prstGeom>
          <a:no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solidFill>
                  <a:srgbClr val="0078D4"/>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GPUs</a:t>
            </a:r>
          </a:p>
        </p:txBody>
      </p:sp>
      <p:grpSp>
        <p:nvGrpSpPr>
          <p:cNvPr id="73" name="Group 72">
            <a:extLst>
              <a:ext uri="{FF2B5EF4-FFF2-40B4-BE49-F238E27FC236}">
                <a16:creationId xmlns:a16="http://schemas.microsoft.com/office/drawing/2014/main" id="{F0C1ABE2-F1AB-F443-BB94-1EAE888DBB67}"/>
              </a:ext>
            </a:extLst>
          </p:cNvPr>
          <p:cNvGrpSpPr/>
          <p:nvPr/>
        </p:nvGrpSpPr>
        <p:grpSpPr>
          <a:xfrm>
            <a:off x="5734285" y="2310535"/>
            <a:ext cx="518232" cy="330626"/>
            <a:chOff x="5842028" y="2023300"/>
            <a:chExt cx="518306" cy="330673"/>
          </a:xfrm>
        </p:grpSpPr>
        <p:sp>
          <p:nvSpPr>
            <p:cNvPr id="74" name="Rectangle: Single Corner Rounded 2">
              <a:extLst>
                <a:ext uri="{FF2B5EF4-FFF2-40B4-BE49-F238E27FC236}">
                  <a16:creationId xmlns:a16="http://schemas.microsoft.com/office/drawing/2014/main" id="{0BEF15DC-08F2-EA48-AEC0-D3C82AE5A9AD}"/>
                </a:ext>
              </a:extLst>
            </p:cNvPr>
            <p:cNvSpPr/>
            <p:nvPr/>
          </p:nvSpPr>
          <p:spPr bwMode="auto">
            <a:xfrm>
              <a:off x="5842028" y="2023300"/>
              <a:ext cx="518306" cy="284908"/>
            </a:xfrm>
            <a:prstGeom prst="round1Rect">
              <a:avLst>
                <a:gd name="adj" fmla="val 19322"/>
              </a:avLst>
            </a:prstGeom>
            <a:noFill/>
            <a:ln w="12700" cap="sq">
              <a:solidFill>
                <a:schemeClr val="tx2"/>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0078D4"/>
                </a:solidFill>
                <a:effectLst/>
                <a:uLnTx/>
                <a:uFillTx/>
                <a:latin typeface="Segoe UI Semilight"/>
                <a:ea typeface="+mn-ea"/>
                <a:cs typeface="+mn-cs"/>
              </a:endParaRPr>
            </a:p>
          </p:txBody>
        </p:sp>
        <p:grpSp>
          <p:nvGrpSpPr>
            <p:cNvPr id="75" name="Group 74">
              <a:extLst>
                <a:ext uri="{FF2B5EF4-FFF2-40B4-BE49-F238E27FC236}">
                  <a16:creationId xmlns:a16="http://schemas.microsoft.com/office/drawing/2014/main" id="{D420890A-D1A8-7A47-AC2C-E40E03630673}"/>
                </a:ext>
              </a:extLst>
            </p:cNvPr>
            <p:cNvGrpSpPr/>
            <p:nvPr/>
          </p:nvGrpSpPr>
          <p:grpSpPr>
            <a:xfrm>
              <a:off x="5886781" y="2308208"/>
              <a:ext cx="423110" cy="45765"/>
              <a:chOff x="2805041" y="5363936"/>
              <a:chExt cx="937405" cy="125178"/>
            </a:xfrm>
          </p:grpSpPr>
          <p:grpSp>
            <p:nvGrpSpPr>
              <p:cNvPr id="78" name="Group 77">
                <a:extLst>
                  <a:ext uri="{FF2B5EF4-FFF2-40B4-BE49-F238E27FC236}">
                    <a16:creationId xmlns:a16="http://schemas.microsoft.com/office/drawing/2014/main" id="{5834287D-33DB-EC44-B7FA-CA94ED4CB85E}"/>
                  </a:ext>
                </a:extLst>
              </p:cNvPr>
              <p:cNvGrpSpPr/>
              <p:nvPr/>
            </p:nvGrpSpPr>
            <p:grpSpPr>
              <a:xfrm>
                <a:off x="2805041" y="5363936"/>
                <a:ext cx="304800" cy="125178"/>
                <a:chOff x="685111" y="5810249"/>
                <a:chExt cx="304800" cy="356348"/>
              </a:xfrm>
            </p:grpSpPr>
            <p:cxnSp>
              <p:nvCxnSpPr>
                <p:cNvPr id="83" name="Straight Connector 82">
                  <a:extLst>
                    <a:ext uri="{FF2B5EF4-FFF2-40B4-BE49-F238E27FC236}">
                      <a16:creationId xmlns:a16="http://schemas.microsoft.com/office/drawing/2014/main" id="{FCEF6E83-6543-B24A-86F9-2798BEE9B567}"/>
                    </a:ext>
                  </a:extLst>
                </p:cNvPr>
                <p:cNvCxnSpPr/>
                <p:nvPr/>
              </p:nvCxnSpPr>
              <p:spPr>
                <a:xfrm>
                  <a:off x="685111" y="5810249"/>
                  <a:ext cx="0" cy="356348"/>
                </a:xfrm>
                <a:prstGeom prst="line">
                  <a:avLst/>
                </a:prstGeom>
                <a:noFill/>
                <a:ln w="12700" cap="sq">
                  <a:solidFill>
                    <a:schemeClr val="tx2"/>
                  </a:solidFill>
                  <a:prstDash val="solid"/>
                  <a:miter lim="800000"/>
                  <a:headEnd/>
                  <a:tailEnd/>
                </a:ln>
              </p:spPr>
            </p:cxnSp>
            <p:cxnSp>
              <p:nvCxnSpPr>
                <p:cNvPr id="84" name="Straight Connector 83">
                  <a:extLst>
                    <a:ext uri="{FF2B5EF4-FFF2-40B4-BE49-F238E27FC236}">
                      <a16:creationId xmlns:a16="http://schemas.microsoft.com/office/drawing/2014/main" id="{0C99D5ED-90ED-D140-A94B-A22739EB1752}"/>
                    </a:ext>
                  </a:extLst>
                </p:cNvPr>
                <p:cNvCxnSpPr/>
                <p:nvPr/>
              </p:nvCxnSpPr>
              <p:spPr>
                <a:xfrm>
                  <a:off x="837511" y="5810249"/>
                  <a:ext cx="0" cy="356348"/>
                </a:xfrm>
                <a:prstGeom prst="line">
                  <a:avLst/>
                </a:prstGeom>
                <a:noFill/>
                <a:ln w="12700" cap="sq">
                  <a:solidFill>
                    <a:schemeClr val="tx2"/>
                  </a:solidFill>
                  <a:prstDash val="solid"/>
                  <a:miter lim="800000"/>
                  <a:headEnd/>
                  <a:tailEnd/>
                </a:ln>
              </p:spPr>
            </p:cxnSp>
            <p:cxnSp>
              <p:nvCxnSpPr>
                <p:cNvPr id="85" name="Straight Connector 84">
                  <a:extLst>
                    <a:ext uri="{FF2B5EF4-FFF2-40B4-BE49-F238E27FC236}">
                      <a16:creationId xmlns:a16="http://schemas.microsoft.com/office/drawing/2014/main" id="{CA52F0CA-9DC3-2142-9188-905CBE3CA99B}"/>
                    </a:ext>
                  </a:extLst>
                </p:cNvPr>
                <p:cNvCxnSpPr/>
                <p:nvPr/>
              </p:nvCxnSpPr>
              <p:spPr>
                <a:xfrm>
                  <a:off x="989911" y="5810249"/>
                  <a:ext cx="0" cy="356348"/>
                </a:xfrm>
                <a:prstGeom prst="line">
                  <a:avLst/>
                </a:prstGeom>
                <a:noFill/>
                <a:ln w="12700" cap="sq">
                  <a:solidFill>
                    <a:schemeClr val="tx2"/>
                  </a:solidFill>
                  <a:prstDash val="solid"/>
                  <a:miter lim="800000"/>
                  <a:headEnd/>
                  <a:tailEnd/>
                </a:ln>
              </p:spPr>
            </p:cxnSp>
          </p:grpSp>
          <p:grpSp>
            <p:nvGrpSpPr>
              <p:cNvPr id="79" name="Group 78">
                <a:extLst>
                  <a:ext uri="{FF2B5EF4-FFF2-40B4-BE49-F238E27FC236}">
                    <a16:creationId xmlns:a16="http://schemas.microsoft.com/office/drawing/2014/main" id="{5AC3B4DF-B6C8-0149-A0E2-21647BAF05F9}"/>
                  </a:ext>
                </a:extLst>
              </p:cNvPr>
              <p:cNvGrpSpPr/>
              <p:nvPr/>
            </p:nvGrpSpPr>
            <p:grpSpPr>
              <a:xfrm>
                <a:off x="3437646" y="5363936"/>
                <a:ext cx="304800" cy="125178"/>
                <a:chOff x="685111" y="5810249"/>
                <a:chExt cx="304800" cy="356348"/>
              </a:xfrm>
            </p:grpSpPr>
            <p:cxnSp>
              <p:nvCxnSpPr>
                <p:cNvPr id="80" name="Straight Connector 79">
                  <a:extLst>
                    <a:ext uri="{FF2B5EF4-FFF2-40B4-BE49-F238E27FC236}">
                      <a16:creationId xmlns:a16="http://schemas.microsoft.com/office/drawing/2014/main" id="{4351CA95-56F4-DA45-AEF8-CF53C64DAAFE}"/>
                    </a:ext>
                  </a:extLst>
                </p:cNvPr>
                <p:cNvCxnSpPr/>
                <p:nvPr/>
              </p:nvCxnSpPr>
              <p:spPr>
                <a:xfrm>
                  <a:off x="685111" y="5810249"/>
                  <a:ext cx="0" cy="356348"/>
                </a:xfrm>
                <a:prstGeom prst="line">
                  <a:avLst/>
                </a:prstGeom>
                <a:noFill/>
                <a:ln w="12700" cap="sq">
                  <a:solidFill>
                    <a:schemeClr val="tx2"/>
                  </a:solidFill>
                  <a:prstDash val="solid"/>
                  <a:miter lim="800000"/>
                  <a:headEnd/>
                  <a:tailEnd/>
                </a:ln>
              </p:spPr>
            </p:cxnSp>
            <p:cxnSp>
              <p:nvCxnSpPr>
                <p:cNvPr id="81" name="Straight Connector 80">
                  <a:extLst>
                    <a:ext uri="{FF2B5EF4-FFF2-40B4-BE49-F238E27FC236}">
                      <a16:creationId xmlns:a16="http://schemas.microsoft.com/office/drawing/2014/main" id="{A392A3CB-354E-634C-873B-C83C47CD661D}"/>
                    </a:ext>
                  </a:extLst>
                </p:cNvPr>
                <p:cNvCxnSpPr/>
                <p:nvPr/>
              </p:nvCxnSpPr>
              <p:spPr>
                <a:xfrm>
                  <a:off x="837511" y="5810249"/>
                  <a:ext cx="0" cy="356348"/>
                </a:xfrm>
                <a:prstGeom prst="line">
                  <a:avLst/>
                </a:prstGeom>
                <a:noFill/>
                <a:ln w="12700" cap="sq">
                  <a:solidFill>
                    <a:schemeClr val="tx2"/>
                  </a:solidFill>
                  <a:prstDash val="solid"/>
                  <a:miter lim="800000"/>
                  <a:headEnd/>
                  <a:tailEnd/>
                </a:ln>
              </p:spPr>
            </p:cxnSp>
            <p:cxnSp>
              <p:nvCxnSpPr>
                <p:cNvPr id="82" name="Straight Connector 81">
                  <a:extLst>
                    <a:ext uri="{FF2B5EF4-FFF2-40B4-BE49-F238E27FC236}">
                      <a16:creationId xmlns:a16="http://schemas.microsoft.com/office/drawing/2014/main" id="{17A91DE6-7DCB-0843-9E89-8C95CBA58CE4}"/>
                    </a:ext>
                  </a:extLst>
                </p:cNvPr>
                <p:cNvCxnSpPr/>
                <p:nvPr/>
              </p:nvCxnSpPr>
              <p:spPr>
                <a:xfrm>
                  <a:off x="989911" y="5810249"/>
                  <a:ext cx="0" cy="356348"/>
                </a:xfrm>
                <a:prstGeom prst="line">
                  <a:avLst/>
                </a:prstGeom>
                <a:noFill/>
                <a:ln w="12700" cap="sq">
                  <a:solidFill>
                    <a:schemeClr val="tx2"/>
                  </a:solidFill>
                  <a:prstDash val="solid"/>
                  <a:miter lim="800000"/>
                  <a:headEnd/>
                  <a:tailEnd/>
                </a:ln>
              </p:spPr>
            </p:cxnSp>
          </p:grpSp>
        </p:grpSp>
        <p:sp>
          <p:nvSpPr>
            <p:cNvPr id="76" name="Oval 75">
              <a:extLst>
                <a:ext uri="{FF2B5EF4-FFF2-40B4-BE49-F238E27FC236}">
                  <a16:creationId xmlns:a16="http://schemas.microsoft.com/office/drawing/2014/main" id="{7F0ECD91-A561-DF4F-9781-E86AB902F12F}"/>
                </a:ext>
              </a:extLst>
            </p:cNvPr>
            <p:cNvSpPr/>
            <p:nvPr/>
          </p:nvSpPr>
          <p:spPr bwMode="auto">
            <a:xfrm>
              <a:off x="6135172" y="2083744"/>
              <a:ext cx="158117" cy="164020"/>
            </a:xfrm>
            <a:prstGeom prst="ellipse">
              <a:avLst/>
            </a:prstGeom>
            <a:noFill/>
            <a:ln w="12700" cap="sq">
              <a:solidFill>
                <a:schemeClr val="tx2"/>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0078D4"/>
                </a:solidFill>
                <a:effectLst/>
                <a:uLnTx/>
                <a:uFillTx/>
                <a:latin typeface="Segoe UI Semilight"/>
                <a:ea typeface="+mn-ea"/>
                <a:cs typeface="+mn-cs"/>
              </a:endParaRPr>
            </a:p>
          </p:txBody>
        </p:sp>
        <p:sp>
          <p:nvSpPr>
            <p:cNvPr id="77" name="Rectangle 76">
              <a:extLst>
                <a:ext uri="{FF2B5EF4-FFF2-40B4-BE49-F238E27FC236}">
                  <a16:creationId xmlns:a16="http://schemas.microsoft.com/office/drawing/2014/main" id="{DBB607E9-006F-6440-A925-8ACD9DCEE878}"/>
                </a:ext>
              </a:extLst>
            </p:cNvPr>
            <p:cNvSpPr/>
            <p:nvPr/>
          </p:nvSpPr>
          <p:spPr bwMode="auto">
            <a:xfrm>
              <a:off x="5911951" y="2129519"/>
              <a:ext cx="156176" cy="80034"/>
            </a:xfrm>
            <a:prstGeom prst="rect">
              <a:avLst/>
            </a:prstGeom>
            <a:noFill/>
            <a:ln w="12700" cap="sq">
              <a:solidFill>
                <a:schemeClr val="tx2"/>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0078D4"/>
                </a:solidFill>
                <a:effectLst/>
                <a:uLnTx/>
                <a:uFillTx/>
                <a:latin typeface="Segoe UI Semilight"/>
                <a:ea typeface="+mn-ea"/>
                <a:cs typeface="+mn-cs"/>
              </a:endParaRPr>
            </a:p>
          </p:txBody>
        </p:sp>
      </p:grpSp>
      <p:sp>
        <p:nvSpPr>
          <p:cNvPr id="86" name="Rectangle 85">
            <a:extLst>
              <a:ext uri="{FF2B5EF4-FFF2-40B4-BE49-F238E27FC236}">
                <a16:creationId xmlns:a16="http://schemas.microsoft.com/office/drawing/2014/main" id="{0D1E0808-F176-C547-AA96-7F898C3EEC57}"/>
              </a:ext>
            </a:extLst>
          </p:cNvPr>
          <p:cNvSpPr/>
          <p:nvPr/>
        </p:nvSpPr>
        <p:spPr bwMode="auto">
          <a:xfrm>
            <a:off x="9772191" y="2850568"/>
            <a:ext cx="768194" cy="276999"/>
          </a:xfrm>
          <a:prstGeom prst="rect">
            <a:avLst/>
          </a:prstGeom>
          <a:no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FPGAs</a:t>
            </a:r>
          </a:p>
        </p:txBody>
      </p:sp>
      <p:grpSp>
        <p:nvGrpSpPr>
          <p:cNvPr id="87" name="Group 86">
            <a:extLst>
              <a:ext uri="{FF2B5EF4-FFF2-40B4-BE49-F238E27FC236}">
                <a16:creationId xmlns:a16="http://schemas.microsoft.com/office/drawing/2014/main" id="{B28BB775-BEFF-3D4D-84F4-C0F51D0ED328}"/>
              </a:ext>
            </a:extLst>
          </p:cNvPr>
          <p:cNvGrpSpPr/>
          <p:nvPr/>
        </p:nvGrpSpPr>
        <p:grpSpPr>
          <a:xfrm>
            <a:off x="9938075" y="2310534"/>
            <a:ext cx="436424" cy="436424"/>
            <a:chOff x="10035278" y="3218678"/>
            <a:chExt cx="247374" cy="247374"/>
          </a:xfrm>
        </p:grpSpPr>
        <p:grpSp>
          <p:nvGrpSpPr>
            <p:cNvPr id="88" name="Group 87">
              <a:extLst>
                <a:ext uri="{FF2B5EF4-FFF2-40B4-BE49-F238E27FC236}">
                  <a16:creationId xmlns:a16="http://schemas.microsoft.com/office/drawing/2014/main" id="{70841A0E-FD38-904C-8504-5C32F65A79C1}"/>
                </a:ext>
              </a:extLst>
            </p:cNvPr>
            <p:cNvGrpSpPr/>
            <p:nvPr/>
          </p:nvGrpSpPr>
          <p:grpSpPr>
            <a:xfrm>
              <a:off x="10035278" y="3218678"/>
              <a:ext cx="247374" cy="247374"/>
              <a:chOff x="3485441" y="4505566"/>
              <a:chExt cx="712494" cy="712494"/>
            </a:xfrm>
          </p:grpSpPr>
          <p:sp>
            <p:nvSpPr>
              <p:cNvPr id="91" name="Rectangle 90">
                <a:extLst>
                  <a:ext uri="{FF2B5EF4-FFF2-40B4-BE49-F238E27FC236}">
                    <a16:creationId xmlns:a16="http://schemas.microsoft.com/office/drawing/2014/main" id="{66AA05E2-628E-494F-BD7B-342E3A7304A6}"/>
                  </a:ext>
                </a:extLst>
              </p:cNvPr>
              <p:cNvSpPr/>
              <p:nvPr/>
            </p:nvSpPr>
            <p:spPr bwMode="auto">
              <a:xfrm>
                <a:off x="3565593" y="4585718"/>
                <a:ext cx="552190" cy="552190"/>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78D4"/>
                  </a:solidFill>
                  <a:effectLst/>
                  <a:uLnTx/>
                  <a:uFillTx/>
                  <a:latin typeface="Segoe UI"/>
                  <a:ea typeface="Segoe UI" pitchFamily="34" charset="0"/>
                  <a:cs typeface="Segoe UI" pitchFamily="34" charset="0"/>
                </a:endParaRPr>
              </a:p>
            </p:txBody>
          </p:sp>
          <p:grpSp>
            <p:nvGrpSpPr>
              <p:cNvPr id="92" name="Group 91">
                <a:extLst>
                  <a:ext uri="{FF2B5EF4-FFF2-40B4-BE49-F238E27FC236}">
                    <a16:creationId xmlns:a16="http://schemas.microsoft.com/office/drawing/2014/main" id="{C1145BFE-25F0-354B-91E2-082BB54514DA}"/>
                  </a:ext>
                </a:extLst>
              </p:cNvPr>
              <p:cNvGrpSpPr/>
              <p:nvPr/>
            </p:nvGrpSpPr>
            <p:grpSpPr>
              <a:xfrm>
                <a:off x="3485441" y="4677750"/>
                <a:ext cx="712494" cy="368126"/>
                <a:chOff x="3485441" y="4677750"/>
                <a:chExt cx="712494" cy="368126"/>
              </a:xfrm>
            </p:grpSpPr>
            <p:grpSp>
              <p:nvGrpSpPr>
                <p:cNvPr id="107" name="Group 106">
                  <a:extLst>
                    <a:ext uri="{FF2B5EF4-FFF2-40B4-BE49-F238E27FC236}">
                      <a16:creationId xmlns:a16="http://schemas.microsoft.com/office/drawing/2014/main" id="{3A06960D-ACFF-7E4D-9CEF-BD1BDAE2E432}"/>
                    </a:ext>
                  </a:extLst>
                </p:cNvPr>
                <p:cNvGrpSpPr/>
                <p:nvPr/>
              </p:nvGrpSpPr>
              <p:grpSpPr>
                <a:xfrm>
                  <a:off x="4117783" y="4677750"/>
                  <a:ext cx="80152" cy="368126"/>
                  <a:chOff x="4117783" y="4677750"/>
                  <a:chExt cx="129006" cy="368126"/>
                </a:xfrm>
              </p:grpSpPr>
              <p:cxnSp>
                <p:nvCxnSpPr>
                  <p:cNvPr id="113" name="Straight Connector 112">
                    <a:extLst>
                      <a:ext uri="{FF2B5EF4-FFF2-40B4-BE49-F238E27FC236}">
                        <a16:creationId xmlns:a16="http://schemas.microsoft.com/office/drawing/2014/main" id="{263E0BC3-533E-6D45-B9F2-893C1AED4B08}"/>
                      </a:ext>
                    </a:extLst>
                  </p:cNvPr>
                  <p:cNvCxnSpPr/>
                  <p:nvPr/>
                </p:nvCxnSpPr>
                <p:spPr>
                  <a:xfrm>
                    <a:off x="4117783" y="4677750"/>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867178C-0E23-6A45-9FBB-5EF23CFBE8AA}"/>
                      </a:ext>
                    </a:extLst>
                  </p:cNvPr>
                  <p:cNvCxnSpPr/>
                  <p:nvPr/>
                </p:nvCxnSpPr>
                <p:spPr>
                  <a:xfrm>
                    <a:off x="4117783" y="4769781"/>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71C283B-1A7A-8E4F-9221-6538F8DE40EE}"/>
                      </a:ext>
                    </a:extLst>
                  </p:cNvPr>
                  <p:cNvCxnSpPr/>
                  <p:nvPr/>
                </p:nvCxnSpPr>
                <p:spPr>
                  <a:xfrm>
                    <a:off x="4117783" y="4953845"/>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48CD625-DE21-F447-A286-66CFE2F04C0F}"/>
                      </a:ext>
                    </a:extLst>
                  </p:cNvPr>
                  <p:cNvCxnSpPr/>
                  <p:nvPr/>
                </p:nvCxnSpPr>
                <p:spPr>
                  <a:xfrm>
                    <a:off x="4117783" y="5045876"/>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8" name="Group 107">
                  <a:extLst>
                    <a:ext uri="{FF2B5EF4-FFF2-40B4-BE49-F238E27FC236}">
                      <a16:creationId xmlns:a16="http://schemas.microsoft.com/office/drawing/2014/main" id="{C5991450-A3A9-3A45-9534-C832DB95FB14}"/>
                    </a:ext>
                  </a:extLst>
                </p:cNvPr>
                <p:cNvGrpSpPr/>
                <p:nvPr/>
              </p:nvGrpSpPr>
              <p:grpSpPr>
                <a:xfrm>
                  <a:off x="3485441" y="4677750"/>
                  <a:ext cx="80152" cy="368126"/>
                  <a:chOff x="4117783" y="4677750"/>
                  <a:chExt cx="129006" cy="368126"/>
                </a:xfrm>
              </p:grpSpPr>
              <p:cxnSp>
                <p:nvCxnSpPr>
                  <p:cNvPr id="109" name="Straight Connector 108">
                    <a:extLst>
                      <a:ext uri="{FF2B5EF4-FFF2-40B4-BE49-F238E27FC236}">
                        <a16:creationId xmlns:a16="http://schemas.microsoft.com/office/drawing/2014/main" id="{E46A0706-D999-124D-A6D2-6720E6F2EE7A}"/>
                      </a:ext>
                    </a:extLst>
                  </p:cNvPr>
                  <p:cNvCxnSpPr/>
                  <p:nvPr/>
                </p:nvCxnSpPr>
                <p:spPr>
                  <a:xfrm>
                    <a:off x="4117783" y="4677750"/>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06856E3-371B-D541-AFCD-CA9A49BC61B4}"/>
                      </a:ext>
                    </a:extLst>
                  </p:cNvPr>
                  <p:cNvCxnSpPr/>
                  <p:nvPr/>
                </p:nvCxnSpPr>
                <p:spPr>
                  <a:xfrm>
                    <a:off x="4117783" y="4769781"/>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CDB64D5-5F1C-F649-A1FE-CB85D3EB845D}"/>
                      </a:ext>
                    </a:extLst>
                  </p:cNvPr>
                  <p:cNvCxnSpPr/>
                  <p:nvPr/>
                </p:nvCxnSpPr>
                <p:spPr>
                  <a:xfrm>
                    <a:off x="4117783" y="4953845"/>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0988B225-1BA5-9C4B-97CC-43AC294A7F10}"/>
                      </a:ext>
                    </a:extLst>
                  </p:cNvPr>
                  <p:cNvCxnSpPr/>
                  <p:nvPr/>
                </p:nvCxnSpPr>
                <p:spPr>
                  <a:xfrm>
                    <a:off x="4117783" y="5045876"/>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3" name="Group 92">
                <a:extLst>
                  <a:ext uri="{FF2B5EF4-FFF2-40B4-BE49-F238E27FC236}">
                    <a16:creationId xmlns:a16="http://schemas.microsoft.com/office/drawing/2014/main" id="{8BA23B8A-19E8-9849-B1F4-FCE40FC85846}"/>
                  </a:ext>
                </a:extLst>
              </p:cNvPr>
              <p:cNvGrpSpPr/>
              <p:nvPr/>
            </p:nvGrpSpPr>
            <p:grpSpPr>
              <a:xfrm rot="5400000">
                <a:off x="3480396" y="4677750"/>
                <a:ext cx="712494" cy="368126"/>
                <a:chOff x="3485441" y="4677750"/>
                <a:chExt cx="712494" cy="368126"/>
              </a:xfrm>
            </p:grpSpPr>
            <p:grpSp>
              <p:nvGrpSpPr>
                <p:cNvPr id="95" name="Group 94">
                  <a:extLst>
                    <a:ext uri="{FF2B5EF4-FFF2-40B4-BE49-F238E27FC236}">
                      <a16:creationId xmlns:a16="http://schemas.microsoft.com/office/drawing/2014/main" id="{DFE0E5B8-33CC-5047-ADD7-5A049FBC89B2}"/>
                    </a:ext>
                  </a:extLst>
                </p:cNvPr>
                <p:cNvGrpSpPr/>
                <p:nvPr/>
              </p:nvGrpSpPr>
              <p:grpSpPr>
                <a:xfrm>
                  <a:off x="4117783" y="4677750"/>
                  <a:ext cx="80152" cy="368126"/>
                  <a:chOff x="4117783" y="4677750"/>
                  <a:chExt cx="129006" cy="368126"/>
                </a:xfrm>
              </p:grpSpPr>
              <p:cxnSp>
                <p:nvCxnSpPr>
                  <p:cNvPr id="102" name="Straight Connector 101">
                    <a:extLst>
                      <a:ext uri="{FF2B5EF4-FFF2-40B4-BE49-F238E27FC236}">
                        <a16:creationId xmlns:a16="http://schemas.microsoft.com/office/drawing/2014/main" id="{866BF204-A809-1942-A3B1-455894CA6C77}"/>
                      </a:ext>
                    </a:extLst>
                  </p:cNvPr>
                  <p:cNvCxnSpPr/>
                  <p:nvPr/>
                </p:nvCxnSpPr>
                <p:spPr>
                  <a:xfrm>
                    <a:off x="4117783" y="4677750"/>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8B030963-EECB-B14D-9D9E-774ABA36244F}"/>
                      </a:ext>
                    </a:extLst>
                  </p:cNvPr>
                  <p:cNvCxnSpPr/>
                  <p:nvPr/>
                </p:nvCxnSpPr>
                <p:spPr>
                  <a:xfrm>
                    <a:off x="4117783" y="4769781"/>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1DB131C3-BB50-B14A-B78F-B5E5B4909F5D}"/>
                      </a:ext>
                    </a:extLst>
                  </p:cNvPr>
                  <p:cNvCxnSpPr/>
                  <p:nvPr/>
                </p:nvCxnSpPr>
                <p:spPr>
                  <a:xfrm>
                    <a:off x="4117783" y="4953845"/>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065D464A-85E5-624E-AF45-0E2702A0FFA0}"/>
                      </a:ext>
                    </a:extLst>
                  </p:cNvPr>
                  <p:cNvCxnSpPr/>
                  <p:nvPr/>
                </p:nvCxnSpPr>
                <p:spPr>
                  <a:xfrm>
                    <a:off x="4117783" y="5045876"/>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6" name="Group 95">
                  <a:extLst>
                    <a:ext uri="{FF2B5EF4-FFF2-40B4-BE49-F238E27FC236}">
                      <a16:creationId xmlns:a16="http://schemas.microsoft.com/office/drawing/2014/main" id="{AEDBEE40-519A-714A-8C9C-E464B4A2A109}"/>
                    </a:ext>
                  </a:extLst>
                </p:cNvPr>
                <p:cNvGrpSpPr/>
                <p:nvPr/>
              </p:nvGrpSpPr>
              <p:grpSpPr>
                <a:xfrm>
                  <a:off x="3485441" y="4677750"/>
                  <a:ext cx="80152" cy="368126"/>
                  <a:chOff x="4117783" y="4677750"/>
                  <a:chExt cx="129006" cy="368126"/>
                </a:xfrm>
              </p:grpSpPr>
              <p:cxnSp>
                <p:nvCxnSpPr>
                  <p:cNvPr id="97" name="Straight Connector 96">
                    <a:extLst>
                      <a:ext uri="{FF2B5EF4-FFF2-40B4-BE49-F238E27FC236}">
                        <a16:creationId xmlns:a16="http://schemas.microsoft.com/office/drawing/2014/main" id="{A0EB92D8-BC3C-214F-B0FE-5638C2BFEEA7}"/>
                      </a:ext>
                    </a:extLst>
                  </p:cNvPr>
                  <p:cNvCxnSpPr/>
                  <p:nvPr/>
                </p:nvCxnSpPr>
                <p:spPr>
                  <a:xfrm>
                    <a:off x="4117783" y="4677750"/>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2FE03D00-B106-5248-AF62-53DE24AC8EC2}"/>
                      </a:ext>
                    </a:extLst>
                  </p:cNvPr>
                  <p:cNvCxnSpPr/>
                  <p:nvPr/>
                </p:nvCxnSpPr>
                <p:spPr>
                  <a:xfrm>
                    <a:off x="4117783" y="4769781"/>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F96B2CB-0FAF-3546-87CC-BD1E195F4EF4}"/>
                      </a:ext>
                    </a:extLst>
                  </p:cNvPr>
                  <p:cNvCxnSpPr/>
                  <p:nvPr/>
                </p:nvCxnSpPr>
                <p:spPr>
                  <a:xfrm>
                    <a:off x="4117783" y="4953845"/>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DC6B68F-DC3E-4345-BAC9-A8AE91D1108F}"/>
                      </a:ext>
                    </a:extLst>
                  </p:cNvPr>
                  <p:cNvCxnSpPr/>
                  <p:nvPr/>
                </p:nvCxnSpPr>
                <p:spPr>
                  <a:xfrm>
                    <a:off x="4117783" y="5045876"/>
                    <a:ext cx="129006"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sp>
          <p:nvSpPr>
            <p:cNvPr id="90" name="Freeform: Shape 520">
              <a:extLst>
                <a:ext uri="{FF2B5EF4-FFF2-40B4-BE49-F238E27FC236}">
                  <a16:creationId xmlns:a16="http://schemas.microsoft.com/office/drawing/2014/main" id="{37BDB853-D50C-CB47-9FA0-226FC4FE745F}"/>
                </a:ext>
              </a:extLst>
            </p:cNvPr>
            <p:cNvSpPr/>
            <p:nvPr/>
          </p:nvSpPr>
          <p:spPr bwMode="auto">
            <a:xfrm>
              <a:off x="10124345" y="3293573"/>
              <a:ext cx="71612" cy="91319"/>
            </a:xfrm>
            <a:custGeom>
              <a:avLst/>
              <a:gdLst>
                <a:gd name="connsiteX0" fmla="*/ 699778 w 974972"/>
                <a:gd name="connsiteY0" fmla="*/ 0 h 1504393"/>
                <a:gd name="connsiteX1" fmla="*/ 502371 w 974972"/>
                <a:gd name="connsiteY1" fmla="*/ 571355 h 1504393"/>
                <a:gd name="connsiteX2" fmla="*/ 597565 w 974972"/>
                <a:gd name="connsiteY2" fmla="*/ 571355 h 1504393"/>
                <a:gd name="connsiteX3" fmla="*/ 629015 w 974972"/>
                <a:gd name="connsiteY3" fmla="*/ 571355 h 1504393"/>
                <a:gd name="connsiteX4" fmla="*/ 974972 w 974972"/>
                <a:gd name="connsiteY4" fmla="*/ 571355 h 1504393"/>
                <a:gd name="connsiteX5" fmla="*/ 275193 w 974972"/>
                <a:gd name="connsiteY5" fmla="*/ 1504393 h 1504393"/>
                <a:gd name="connsiteX6" fmla="*/ 472601 w 974972"/>
                <a:gd name="connsiteY6" fmla="*/ 933038 h 1504393"/>
                <a:gd name="connsiteX7" fmla="*/ 377407 w 974972"/>
                <a:gd name="connsiteY7" fmla="*/ 933038 h 1504393"/>
                <a:gd name="connsiteX8" fmla="*/ 349889 w 974972"/>
                <a:gd name="connsiteY8" fmla="*/ 933038 h 1504393"/>
                <a:gd name="connsiteX9" fmla="*/ 0 w 974972"/>
                <a:gd name="connsiteY9" fmla="*/ 933038 h 1504393"/>
                <a:gd name="connsiteX10" fmla="*/ 699778 w 974972"/>
                <a:gd name="connsiteY10" fmla="*/ 0 h 15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4972" h="1504393">
                  <a:moveTo>
                    <a:pt x="699778" y="0"/>
                  </a:moveTo>
                  <a:lnTo>
                    <a:pt x="502371" y="571355"/>
                  </a:lnTo>
                  <a:lnTo>
                    <a:pt x="597565" y="571355"/>
                  </a:lnTo>
                  <a:lnTo>
                    <a:pt x="629015" y="571355"/>
                  </a:lnTo>
                  <a:lnTo>
                    <a:pt x="974972" y="571355"/>
                  </a:lnTo>
                  <a:lnTo>
                    <a:pt x="275193" y="1504393"/>
                  </a:lnTo>
                  <a:lnTo>
                    <a:pt x="472601" y="933038"/>
                  </a:lnTo>
                  <a:lnTo>
                    <a:pt x="377407" y="933038"/>
                  </a:lnTo>
                  <a:lnTo>
                    <a:pt x="349889" y="933038"/>
                  </a:lnTo>
                  <a:lnTo>
                    <a:pt x="0" y="933038"/>
                  </a:lnTo>
                  <a:lnTo>
                    <a:pt x="699778"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78D4"/>
                </a:solidFill>
                <a:effectLst/>
                <a:uLnTx/>
                <a:uFillTx/>
                <a:latin typeface="Segoe UI"/>
                <a:ea typeface="+mn-ea"/>
                <a:cs typeface="Segoe UI" pitchFamily="34" charset="0"/>
              </a:endParaRPr>
            </a:p>
          </p:txBody>
        </p:sp>
      </p:grpSp>
      <p:sp>
        <p:nvSpPr>
          <p:cNvPr id="119" name="Rectangle 118">
            <a:extLst>
              <a:ext uri="{FF2B5EF4-FFF2-40B4-BE49-F238E27FC236}">
                <a16:creationId xmlns:a16="http://schemas.microsoft.com/office/drawing/2014/main" id="{6DAAFA46-970B-514B-BC32-98C42C3EEC44}"/>
              </a:ext>
            </a:extLst>
          </p:cNvPr>
          <p:cNvSpPr/>
          <p:nvPr/>
        </p:nvSpPr>
        <p:spPr bwMode="auto">
          <a:xfrm>
            <a:off x="4294898" y="3212218"/>
            <a:ext cx="3484723" cy="436914"/>
          </a:xfrm>
          <a:prstGeom prst="rect">
            <a:avLst/>
          </a:prstGeom>
          <a:noFill/>
          <a:ln w="12700"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1A1A1A"/>
                </a:solidFill>
                <a:effectLst/>
                <a:uLnTx/>
                <a:uFillTx/>
                <a:latin typeface="Segoe UI Semilight"/>
                <a:ea typeface="Segoe UI" pitchFamily="34" charset="0"/>
                <a:cs typeface="Segoe UI" pitchFamily="34" charset="0"/>
              </a:rPr>
              <a:t>Deep learning</a:t>
            </a:r>
          </a:p>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78D4"/>
              </a:solidFill>
              <a:effectLst/>
              <a:uLnTx/>
              <a:uFillTx/>
              <a:latin typeface="Segoe UI Semilight"/>
              <a:ea typeface="+mn-ea"/>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0078D4"/>
                </a:solidFill>
                <a:effectLst/>
                <a:uLnTx/>
                <a:uFillTx/>
                <a:latin typeface="Segoe UI Semilight"/>
                <a:ea typeface="+mn-ea"/>
                <a:cs typeface="Segoe UI" pitchFamily="34" charset="0"/>
              </a:rPr>
              <a:t>N Series</a:t>
            </a:r>
          </a:p>
        </p:txBody>
      </p:sp>
      <p:sp>
        <p:nvSpPr>
          <p:cNvPr id="121" name="Rectangle 120">
            <a:extLst>
              <a:ext uri="{FF2B5EF4-FFF2-40B4-BE49-F238E27FC236}">
                <a16:creationId xmlns:a16="http://schemas.microsoft.com/office/drawing/2014/main" id="{19987F5D-EF98-A447-BEF9-71A8D22ED793}"/>
              </a:ext>
            </a:extLst>
          </p:cNvPr>
          <p:cNvSpPr/>
          <p:nvPr/>
        </p:nvSpPr>
        <p:spPr bwMode="auto">
          <a:xfrm>
            <a:off x="8639694" y="3212217"/>
            <a:ext cx="3139749" cy="649223"/>
          </a:xfrm>
          <a:prstGeom prst="rect">
            <a:avLst/>
          </a:prstGeom>
          <a:noFill/>
          <a:ln w="12700"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1A1A1A"/>
                </a:solidFill>
                <a:effectLst/>
                <a:uLnTx/>
                <a:uFillTx/>
                <a:latin typeface="Segoe UI Semilight"/>
                <a:ea typeface="Segoe UI" pitchFamily="34" charset="0"/>
                <a:cs typeface="Segoe UI" pitchFamily="34" charset="0"/>
              </a:rPr>
              <a:t>Specialized hardware accelerated deep learning</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0078D4"/>
                </a:solidFill>
                <a:effectLst/>
                <a:uLnTx/>
                <a:uFillTx/>
                <a:latin typeface="Segoe UI Semilight"/>
                <a:ea typeface="+mn-ea"/>
                <a:cs typeface="Segoe UI" pitchFamily="34" charset="0"/>
              </a:rPr>
              <a:t>Project Brainwave</a:t>
            </a:r>
          </a:p>
        </p:txBody>
      </p:sp>
      <p:cxnSp>
        <p:nvCxnSpPr>
          <p:cNvPr id="122" name="Straight Connector 121">
            <a:extLst>
              <a:ext uri="{FF2B5EF4-FFF2-40B4-BE49-F238E27FC236}">
                <a16:creationId xmlns:a16="http://schemas.microsoft.com/office/drawing/2014/main" id="{99A53599-9F57-F34F-AB15-DD7A385FA15B}"/>
              </a:ext>
            </a:extLst>
          </p:cNvPr>
          <p:cNvCxnSpPr>
            <a:cxnSpLocks/>
          </p:cNvCxnSpPr>
          <p:nvPr/>
        </p:nvCxnSpPr>
        <p:spPr>
          <a:xfrm>
            <a:off x="9552935" y="3212600"/>
            <a:ext cx="1206702"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BF138A13-54A7-294F-9745-F3AA9B3B15C9}"/>
              </a:ext>
            </a:extLst>
          </p:cNvPr>
          <p:cNvCxnSpPr>
            <a:cxnSpLocks/>
          </p:cNvCxnSpPr>
          <p:nvPr/>
        </p:nvCxnSpPr>
        <p:spPr>
          <a:xfrm>
            <a:off x="5386061" y="3215331"/>
            <a:ext cx="1206702" cy="0"/>
          </a:xfrm>
          <a:prstGeom prst="line">
            <a:avLst/>
          </a:prstGeom>
          <a:ln>
            <a:no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8157440A-C0A8-FF42-A5A7-504D83D6FAE3}"/>
              </a:ext>
            </a:extLst>
          </p:cNvPr>
          <p:cNvCxnSpPr>
            <a:cxnSpLocks/>
          </p:cNvCxnSpPr>
          <p:nvPr/>
        </p:nvCxnSpPr>
        <p:spPr>
          <a:xfrm>
            <a:off x="1289852" y="3216613"/>
            <a:ext cx="1206702"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AABA2D8E-CDCA-6B4C-B450-1E9DB4B43429}"/>
              </a:ext>
            </a:extLst>
          </p:cNvPr>
          <p:cNvCxnSpPr>
            <a:cxnSpLocks/>
          </p:cNvCxnSpPr>
          <p:nvPr/>
        </p:nvCxnSpPr>
        <p:spPr>
          <a:xfrm>
            <a:off x="5407787" y="3219446"/>
            <a:ext cx="1206702" cy="0"/>
          </a:xfrm>
          <a:prstGeom prst="line">
            <a:avLst/>
          </a:prstGeom>
          <a:ln w="127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B8981C0B-6C93-4340-A2D4-61B45B272A16}"/>
              </a:ext>
            </a:extLst>
          </p:cNvPr>
          <p:cNvSpPr/>
          <p:nvPr/>
        </p:nvSpPr>
        <p:spPr bwMode="auto">
          <a:xfrm>
            <a:off x="865" y="5377997"/>
            <a:ext cx="12190271" cy="1479517"/>
          </a:xfrm>
          <a:prstGeom prst="rect">
            <a:avLst/>
          </a:prstGeom>
          <a:solidFill>
            <a:srgbClr val="EDED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1" name="Group 60">
            <a:extLst>
              <a:ext uri="{FF2B5EF4-FFF2-40B4-BE49-F238E27FC236}">
                <a16:creationId xmlns:a16="http://schemas.microsoft.com/office/drawing/2014/main" id="{14C38580-5C5F-2745-A017-F038D4399D5B}"/>
              </a:ext>
            </a:extLst>
          </p:cNvPr>
          <p:cNvGrpSpPr/>
          <p:nvPr/>
        </p:nvGrpSpPr>
        <p:grpSpPr>
          <a:xfrm>
            <a:off x="4724272" y="5597887"/>
            <a:ext cx="9856360" cy="800171"/>
            <a:chOff x="12144240" y="172899"/>
            <a:chExt cx="3073449" cy="800284"/>
          </a:xfrm>
        </p:grpSpPr>
        <p:sp>
          <p:nvSpPr>
            <p:cNvPr id="69" name="TextBox 68">
              <a:extLst>
                <a:ext uri="{FF2B5EF4-FFF2-40B4-BE49-F238E27FC236}">
                  <a16:creationId xmlns:a16="http://schemas.microsoft.com/office/drawing/2014/main" id="{F08E1ACF-3E18-1C4E-9ADF-38A57EF5FA65}"/>
                </a:ext>
              </a:extLst>
            </p:cNvPr>
            <p:cNvSpPr txBox="1"/>
            <p:nvPr/>
          </p:nvSpPr>
          <p:spPr>
            <a:xfrm>
              <a:off x="12144240" y="511453"/>
              <a:ext cx="3073449" cy="461730"/>
            </a:xfrm>
            <a:prstGeom prst="rect">
              <a:avLst/>
            </a:prstGeom>
            <a:noFill/>
          </p:spPr>
          <p:txBody>
            <a:bodyPr wrap="square" lIns="91427" tIns="0" rIns="0" bIns="0"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a:ea typeface="+mn-ea"/>
                  <a:cs typeface="+mn-cs"/>
                </a:rPr>
                <a:t>Support</a:t>
              </a:r>
              <a:r>
                <a:rPr kumimoji="0" lang="en-US" sz="1400" b="0" i="0" u="none" strike="noStrike" kern="1200" cap="none" spc="0" normalizeH="0" baseline="0" noProof="0" dirty="0">
                  <a:ln>
                    <a:noFill/>
                  </a:ln>
                  <a:solidFill>
                    <a:srgbClr val="0078D4"/>
                  </a:solidFill>
                  <a:effectLst/>
                  <a:uLnTx/>
                  <a:uFillTx/>
                  <a:latin typeface="Segoe UI"/>
                  <a:ea typeface="+mn-ea"/>
                  <a:cs typeface="+mn-cs"/>
                </a:rPr>
                <a:t> for image classification and recognition scenarios</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78D4"/>
                  </a:solidFill>
                  <a:effectLst/>
                  <a:uLnTx/>
                  <a:uFillTx/>
                  <a:latin typeface="Segoe UI"/>
                  <a:ea typeface="+mn-ea"/>
                  <a:cs typeface="+mn-cs"/>
                </a:rPr>
                <a:t>ResNet</a:t>
              </a:r>
              <a:r>
                <a:rPr kumimoji="0" lang="en-US" sz="1400" b="0" i="0" u="none" strike="noStrike" kern="1200" cap="none" spc="0" normalizeH="0" baseline="0" noProof="0" dirty="0">
                  <a:ln>
                    <a:noFill/>
                  </a:ln>
                  <a:solidFill>
                    <a:srgbClr val="0078D4"/>
                  </a:solidFill>
                  <a:effectLst/>
                  <a:uLnTx/>
                  <a:uFillTx/>
                  <a:latin typeface="Segoe UI"/>
                  <a:ea typeface="+mn-ea"/>
                  <a:cs typeface="+mn-cs"/>
                </a:rPr>
                <a:t> 50, </a:t>
              </a:r>
              <a:r>
                <a:rPr kumimoji="0" lang="en-US" sz="1400" b="0" i="0" u="none" strike="noStrike" kern="1200" cap="none" spc="0" normalizeH="0" baseline="0" noProof="0" dirty="0" err="1">
                  <a:ln>
                    <a:noFill/>
                  </a:ln>
                  <a:solidFill>
                    <a:srgbClr val="0078D4"/>
                  </a:solidFill>
                  <a:effectLst/>
                  <a:uLnTx/>
                  <a:uFillTx/>
                  <a:latin typeface="Segoe UI"/>
                  <a:ea typeface="+mn-ea"/>
                  <a:cs typeface="+mn-cs"/>
                </a:rPr>
                <a:t>ResNet</a:t>
              </a:r>
              <a:r>
                <a:rPr kumimoji="0" lang="en-US" sz="1400" b="0" i="0" u="none" strike="noStrike" kern="1200" cap="none" spc="0" normalizeH="0" baseline="0" noProof="0" dirty="0">
                  <a:ln>
                    <a:noFill/>
                  </a:ln>
                  <a:solidFill>
                    <a:srgbClr val="0078D4"/>
                  </a:solidFill>
                  <a:effectLst/>
                  <a:uLnTx/>
                  <a:uFillTx/>
                  <a:latin typeface="Segoe UI"/>
                  <a:ea typeface="+mn-ea"/>
                  <a:cs typeface="+mn-cs"/>
                </a:rPr>
                <a:t> 152, VGG-16, SSD-VGG, DenseNet-121</a:t>
              </a:r>
            </a:p>
          </p:txBody>
        </p:sp>
        <p:sp>
          <p:nvSpPr>
            <p:cNvPr id="70" name="Rectangle 69">
              <a:extLst>
                <a:ext uri="{FF2B5EF4-FFF2-40B4-BE49-F238E27FC236}">
                  <a16:creationId xmlns:a16="http://schemas.microsoft.com/office/drawing/2014/main" id="{A5CA18DB-1898-984C-AB37-6B2694D9D686}"/>
                </a:ext>
              </a:extLst>
            </p:cNvPr>
            <p:cNvSpPr/>
            <p:nvPr/>
          </p:nvSpPr>
          <p:spPr>
            <a:xfrm>
              <a:off x="12145453" y="172899"/>
              <a:ext cx="2265901" cy="343492"/>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FPGA NEW UPDATES:</a:t>
              </a:r>
            </a:p>
          </p:txBody>
        </p:sp>
      </p:grpSp>
      <p:sp>
        <p:nvSpPr>
          <p:cNvPr id="89" name="Freeform 88">
            <a:extLst>
              <a:ext uri="{FF2B5EF4-FFF2-40B4-BE49-F238E27FC236}">
                <a16:creationId xmlns:a16="http://schemas.microsoft.com/office/drawing/2014/main" id="{EA2AF034-1B22-4341-BA8D-70F77D902F10}"/>
              </a:ext>
            </a:extLst>
          </p:cNvPr>
          <p:cNvSpPr/>
          <p:nvPr/>
        </p:nvSpPr>
        <p:spPr bwMode="auto">
          <a:xfrm rot="8100000">
            <a:off x="4345858" y="5662810"/>
            <a:ext cx="313486" cy="313486"/>
          </a:xfrm>
          <a:custGeom>
            <a:avLst/>
            <a:gdLst>
              <a:gd name="connsiteX0" fmla="*/ 189180 w 480187"/>
              <a:gd name="connsiteY0" fmla="*/ 480186 h 480186"/>
              <a:gd name="connsiteX1" fmla="*/ 0 w 480187"/>
              <a:gd name="connsiteY1" fmla="*/ 291006 h 480186"/>
              <a:gd name="connsiteX2" fmla="*/ 291006 w 480187"/>
              <a:gd name="connsiteY2" fmla="*/ 0 h 480186"/>
              <a:gd name="connsiteX3" fmla="*/ 291006 w 480187"/>
              <a:gd name="connsiteY3" fmla="*/ 189179 h 480186"/>
              <a:gd name="connsiteX4" fmla="*/ 480187 w 480187"/>
              <a:gd name="connsiteY4" fmla="*/ 189179 h 480186"/>
              <a:gd name="connsiteX5" fmla="*/ 189180 w 480187"/>
              <a:gd name="connsiteY5" fmla="*/ 480186 h 480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0187" h="480186">
                <a:moveTo>
                  <a:pt x="189180" y="480186"/>
                </a:moveTo>
                <a:lnTo>
                  <a:pt x="0" y="291006"/>
                </a:lnTo>
                <a:lnTo>
                  <a:pt x="291006" y="0"/>
                </a:lnTo>
                <a:lnTo>
                  <a:pt x="291006" y="189179"/>
                </a:lnTo>
                <a:lnTo>
                  <a:pt x="480187" y="189179"/>
                </a:lnTo>
                <a:lnTo>
                  <a:pt x="189180" y="480186"/>
                </a:ln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33137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9"/>
                                        </p:tgtEl>
                                        <p:attrNameLst>
                                          <p:attrName>style.visibility</p:attrName>
                                        </p:attrNameLst>
                                      </p:cBhvr>
                                      <p:to>
                                        <p:strVal val="visible"/>
                                      </p:to>
                                    </p:set>
                                    <p:anim calcmode="lin" valueType="num">
                                      <p:cBhvr additive="base">
                                        <p:cTn id="11" dur="500" fill="hold"/>
                                        <p:tgtEl>
                                          <p:spTgt spid="89"/>
                                        </p:tgtEl>
                                        <p:attrNameLst>
                                          <p:attrName>ppt_x</p:attrName>
                                        </p:attrNameLst>
                                      </p:cBhvr>
                                      <p:tavLst>
                                        <p:tav tm="0">
                                          <p:val>
                                            <p:strVal val="#ppt_x"/>
                                          </p:val>
                                        </p:tav>
                                        <p:tav tm="100000">
                                          <p:val>
                                            <p:strVal val="#ppt_x"/>
                                          </p:val>
                                        </p:tav>
                                      </p:tavLst>
                                    </p:anim>
                                    <p:anim calcmode="lin" valueType="num">
                                      <p:cBhvr additive="base">
                                        <p:cTn id="12" dur="500" fill="hold"/>
                                        <p:tgtEl>
                                          <p:spTgt spid="89"/>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61"/>
                                        </p:tgtEl>
                                        <p:attrNameLst>
                                          <p:attrName>style.visibility</p:attrName>
                                        </p:attrNameLst>
                                      </p:cBhvr>
                                      <p:to>
                                        <p:strVal val="visible"/>
                                      </p:to>
                                    </p:set>
                                    <p:anim calcmode="lin" valueType="num">
                                      <p:cBhvr additive="base">
                                        <p:cTn id="15" dur="500" fill="hold"/>
                                        <p:tgtEl>
                                          <p:spTgt spid="61"/>
                                        </p:tgtEl>
                                        <p:attrNameLst>
                                          <p:attrName>ppt_x</p:attrName>
                                        </p:attrNameLst>
                                      </p:cBhvr>
                                      <p:tavLst>
                                        <p:tav tm="0">
                                          <p:val>
                                            <p:strVal val="#ppt_x"/>
                                          </p:val>
                                        </p:tav>
                                        <p:tav tm="100000">
                                          <p:val>
                                            <p:strVal val="#ppt_x"/>
                                          </p:val>
                                        </p:tav>
                                      </p:tavLst>
                                    </p:anim>
                                    <p:anim calcmode="lin" valueType="num">
                                      <p:cBhvr additive="base">
                                        <p:cTn id="16" dur="500" fill="hold"/>
                                        <p:tgtEl>
                                          <p:spTgt spid="6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9" grpId="0" animBg="1"/>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D1960849-2735-5B4A-8BAE-000303B43F92}"/>
              </a:ext>
            </a:extLst>
          </p:cNvPr>
          <p:cNvSpPr txBox="1">
            <a:spLocks/>
          </p:cNvSpPr>
          <p:nvPr/>
        </p:nvSpPr>
        <p:spPr>
          <a:xfrm>
            <a:off x="1593671" y="3586942"/>
            <a:ext cx="9004658" cy="828148"/>
          </a:xfrm>
          <a:prstGeom prst="rect">
            <a:avLst/>
          </a:prstGeom>
          <a:noFill/>
        </p:spPr>
        <p:txBody>
          <a:bodyPr vert="horz" wrap="square" lIns="0" tIns="0" rIns="0" bIns="0" rtlCol="0" anchor="ctr" anchorCtr="0">
            <a:noAutofit/>
          </a:bodyPr>
          <a:lstStyle>
            <a:lvl1pPr algn="l" defTabSz="932742" rtl="0" eaLnBrk="1" latinLnBrk="0" hangingPunct="1">
              <a:lnSpc>
                <a:spcPct val="90000"/>
              </a:lnSpc>
              <a:spcBef>
                <a:spcPct val="0"/>
              </a:spcBef>
              <a:buNone/>
              <a:defRPr lang="en-US" sz="5400" b="0" kern="1200" cap="none" spc="-150" baseline="0" dirty="0">
                <a:ln w="3175">
                  <a:noFill/>
                </a:ln>
                <a:solidFill>
                  <a:schemeClr val="tx1"/>
                </a:soli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5294" b="0" i="0" u="none" strike="noStrike" kern="1200" cap="none" spc="-147" normalizeH="0" baseline="0" noProof="0" dirty="0">
                <a:ln w="3175">
                  <a:noFill/>
                </a:ln>
                <a:solidFill>
                  <a:prstClr val="white"/>
                </a:solidFill>
                <a:effectLst/>
                <a:uLnTx/>
                <a:uFillTx/>
                <a:latin typeface="Segoe UI Semibold"/>
                <a:ea typeface="+mn-ea"/>
                <a:cs typeface="Segoe UI" pitchFamily="34" charset="0"/>
              </a:rPr>
              <a:t>DevOps for machine learning</a:t>
            </a:r>
          </a:p>
        </p:txBody>
      </p:sp>
      <p:grpSp>
        <p:nvGrpSpPr>
          <p:cNvPr id="2" name="Group 1">
            <a:extLst>
              <a:ext uri="{FF2B5EF4-FFF2-40B4-BE49-F238E27FC236}">
                <a16:creationId xmlns:a16="http://schemas.microsoft.com/office/drawing/2014/main" id="{F374AFFD-7F69-7843-9402-375EED72A6E1}"/>
              </a:ext>
            </a:extLst>
          </p:cNvPr>
          <p:cNvGrpSpPr/>
          <p:nvPr/>
        </p:nvGrpSpPr>
        <p:grpSpPr>
          <a:xfrm>
            <a:off x="5343629" y="2385221"/>
            <a:ext cx="1504743" cy="1040937"/>
            <a:chOff x="1699369" y="4609126"/>
            <a:chExt cx="2303425" cy="1593442"/>
          </a:xfrm>
        </p:grpSpPr>
        <p:sp>
          <p:nvSpPr>
            <p:cNvPr id="9" name="gear_3">
              <a:extLst>
                <a:ext uri="{FF2B5EF4-FFF2-40B4-BE49-F238E27FC236}">
                  <a16:creationId xmlns:a16="http://schemas.microsoft.com/office/drawing/2014/main" id="{BF65CDE0-9839-3748-9227-4197879F8DC9}"/>
                </a:ext>
              </a:extLst>
            </p:cNvPr>
            <p:cNvSpPr>
              <a:spLocks noChangeAspect="1" noEditPoints="1"/>
            </p:cNvSpPr>
            <p:nvPr/>
          </p:nvSpPr>
          <p:spPr bwMode="auto">
            <a:xfrm>
              <a:off x="1699369" y="4858077"/>
              <a:ext cx="1333197" cy="134449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1"/>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 name="gear_3">
              <a:extLst>
                <a:ext uri="{FF2B5EF4-FFF2-40B4-BE49-F238E27FC236}">
                  <a16:creationId xmlns:a16="http://schemas.microsoft.com/office/drawing/2014/main" id="{7EA4BD69-2DE1-4C48-9865-17CACC42F302}"/>
                </a:ext>
              </a:extLst>
            </p:cNvPr>
            <p:cNvSpPr>
              <a:spLocks noChangeAspect="1" noEditPoints="1"/>
            </p:cNvSpPr>
            <p:nvPr/>
          </p:nvSpPr>
          <p:spPr bwMode="auto">
            <a:xfrm rot="20593752">
              <a:off x="3139776" y="4609126"/>
              <a:ext cx="863018" cy="870329"/>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1"/>
              </a:solidFill>
              <a:prstDash val="solid"/>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1526714556"/>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Box 47">
            <a:extLst>
              <a:ext uri="{FF2B5EF4-FFF2-40B4-BE49-F238E27FC236}">
                <a16:creationId xmlns:a16="http://schemas.microsoft.com/office/drawing/2014/main" id="{7C0D3E52-41F2-1046-8180-0F4FE4AA7A39}"/>
              </a:ext>
            </a:extLst>
          </p:cNvPr>
          <p:cNvSpPr txBox="1"/>
          <p:nvPr/>
        </p:nvSpPr>
        <p:spPr>
          <a:xfrm>
            <a:off x="635778" y="5303350"/>
            <a:ext cx="954542" cy="421910"/>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371" b="0" i="0" u="none" strike="noStrike" kern="1200" cap="none" spc="0" normalizeH="0" baseline="0" noProof="0" dirty="0">
                <a:ln>
                  <a:noFill/>
                </a:ln>
                <a:solidFill>
                  <a:prstClr val="black"/>
                </a:solidFill>
                <a:effectLst/>
                <a:uLnTx/>
                <a:uFillTx/>
                <a:latin typeface="Segoe UI"/>
                <a:ea typeface="+mn-ea"/>
                <a:cs typeface="+mn-cs"/>
              </a:rPr>
              <a:t>Prepare Data</a:t>
            </a:r>
          </a:p>
        </p:txBody>
      </p:sp>
      <p:sp>
        <p:nvSpPr>
          <p:cNvPr id="62" name="TextBox 61">
            <a:extLst>
              <a:ext uri="{FF2B5EF4-FFF2-40B4-BE49-F238E27FC236}">
                <a16:creationId xmlns:a16="http://schemas.microsoft.com/office/drawing/2014/main" id="{5354CAAA-A5C5-5943-A218-EFFB6841F5B5}"/>
              </a:ext>
            </a:extLst>
          </p:cNvPr>
          <p:cNvSpPr txBox="1"/>
          <p:nvPr/>
        </p:nvSpPr>
        <p:spPr>
          <a:xfrm>
            <a:off x="6390033" y="5303350"/>
            <a:ext cx="1641765" cy="421910"/>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371" b="0" i="0" u="none" strike="noStrike" kern="1200" cap="none" spc="0" normalizeH="0" baseline="0" noProof="0" dirty="0">
                <a:ln>
                  <a:noFill/>
                </a:ln>
                <a:solidFill>
                  <a:prstClr val="black"/>
                </a:solidFill>
                <a:effectLst/>
                <a:uLnTx/>
                <a:uFillTx/>
                <a:latin typeface="Segoe UI"/>
                <a:ea typeface="+mn-ea"/>
                <a:cs typeface="+mn-cs"/>
              </a:rPr>
              <a:t>Register and </a:t>
            </a:r>
            <a:br>
              <a:rPr kumimoji="0" lang="en-US" sz="1371" b="0" i="0" u="none" strike="noStrike" kern="1200" cap="none" spc="0" normalizeH="0" baseline="0" noProof="0" dirty="0">
                <a:ln>
                  <a:noFill/>
                </a:ln>
                <a:solidFill>
                  <a:prstClr val="black"/>
                </a:solidFill>
                <a:effectLst/>
                <a:uLnTx/>
                <a:uFillTx/>
                <a:latin typeface="Segoe UI"/>
                <a:ea typeface="+mn-ea"/>
                <a:cs typeface="+mn-cs"/>
              </a:rPr>
            </a:br>
            <a:r>
              <a:rPr kumimoji="0" lang="en-US" sz="1371" b="0" i="0" u="none" strike="noStrike" kern="1200" cap="none" spc="0" normalizeH="0" baseline="0" noProof="0" dirty="0">
                <a:ln>
                  <a:noFill/>
                </a:ln>
                <a:solidFill>
                  <a:prstClr val="black"/>
                </a:solidFill>
                <a:effectLst/>
                <a:uLnTx/>
                <a:uFillTx/>
                <a:latin typeface="Segoe UI"/>
                <a:ea typeface="+mn-ea"/>
                <a:cs typeface="+mn-cs"/>
              </a:rPr>
              <a:t>Manage Model</a:t>
            </a:r>
          </a:p>
        </p:txBody>
      </p:sp>
      <p:sp>
        <p:nvSpPr>
          <p:cNvPr id="122" name="TextBox 121">
            <a:extLst>
              <a:ext uri="{FF2B5EF4-FFF2-40B4-BE49-F238E27FC236}">
                <a16:creationId xmlns:a16="http://schemas.microsoft.com/office/drawing/2014/main" id="{3DFFBA51-DDB4-C446-8DDD-CA7D00BD282B}"/>
              </a:ext>
            </a:extLst>
          </p:cNvPr>
          <p:cNvSpPr txBox="1"/>
          <p:nvPr/>
        </p:nvSpPr>
        <p:spPr>
          <a:xfrm>
            <a:off x="4654178" y="5303350"/>
            <a:ext cx="1366269" cy="421910"/>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371" b="0" i="0" u="none" strike="noStrike" kern="1200" cap="none" spc="0" normalizeH="0" baseline="0" noProof="0" dirty="0">
                <a:ln>
                  <a:noFill/>
                </a:ln>
                <a:solidFill>
                  <a:prstClr val="black"/>
                </a:solidFill>
                <a:effectLst/>
                <a:uLnTx/>
                <a:uFillTx/>
                <a:latin typeface="Segoe UI"/>
                <a:ea typeface="+mn-ea"/>
                <a:cs typeface="+mn-cs"/>
              </a:rPr>
              <a:t>Train &amp; </a:t>
            </a:r>
            <a:br>
              <a:rPr kumimoji="0" lang="en-US" sz="1371" b="0" i="0" u="none" strike="noStrike" kern="1200" cap="none" spc="0" normalizeH="0" baseline="0" noProof="0" dirty="0">
                <a:ln>
                  <a:noFill/>
                </a:ln>
                <a:solidFill>
                  <a:prstClr val="black"/>
                </a:solidFill>
                <a:effectLst/>
                <a:uLnTx/>
                <a:uFillTx/>
                <a:latin typeface="Segoe UI"/>
                <a:ea typeface="+mn-ea"/>
                <a:cs typeface="+mn-cs"/>
              </a:rPr>
            </a:br>
            <a:r>
              <a:rPr kumimoji="0" lang="en-US" sz="1371" b="0" i="0" u="none" strike="noStrike" kern="1200" cap="none" spc="0" normalizeH="0" baseline="0" noProof="0" dirty="0">
                <a:ln>
                  <a:noFill/>
                </a:ln>
                <a:solidFill>
                  <a:prstClr val="black"/>
                </a:solidFill>
                <a:effectLst/>
                <a:uLnTx/>
                <a:uFillTx/>
                <a:latin typeface="Segoe UI"/>
                <a:ea typeface="+mn-ea"/>
                <a:cs typeface="+mn-cs"/>
              </a:rPr>
              <a:t>Test Model</a:t>
            </a:r>
          </a:p>
        </p:txBody>
      </p:sp>
      <p:sp>
        <p:nvSpPr>
          <p:cNvPr id="123" name="TextBox 122">
            <a:extLst>
              <a:ext uri="{FF2B5EF4-FFF2-40B4-BE49-F238E27FC236}">
                <a16:creationId xmlns:a16="http://schemas.microsoft.com/office/drawing/2014/main" id="{8542FC4E-F233-F749-81B5-9928E2FC680B}"/>
              </a:ext>
            </a:extLst>
          </p:cNvPr>
          <p:cNvSpPr txBox="1"/>
          <p:nvPr/>
        </p:nvSpPr>
        <p:spPr>
          <a:xfrm>
            <a:off x="8653406" y="5303350"/>
            <a:ext cx="857492" cy="421910"/>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371" b="0" i="0" u="none" strike="noStrike" kern="1200" cap="none" spc="0" normalizeH="0" baseline="0" noProof="0" dirty="0">
                <a:ln>
                  <a:noFill/>
                </a:ln>
                <a:solidFill>
                  <a:prstClr val="black"/>
                </a:solidFill>
                <a:effectLst/>
                <a:uLnTx/>
                <a:uFillTx/>
                <a:latin typeface="Segoe UI"/>
                <a:ea typeface="+mn-ea"/>
                <a:cs typeface="+mn-cs"/>
              </a:rPr>
              <a:t>Build Image</a:t>
            </a:r>
          </a:p>
        </p:txBody>
      </p:sp>
      <p:pic>
        <p:nvPicPr>
          <p:cNvPr id="79" name="Picture 78">
            <a:extLst>
              <a:ext uri="{FF2B5EF4-FFF2-40B4-BE49-F238E27FC236}">
                <a16:creationId xmlns:a16="http://schemas.microsoft.com/office/drawing/2014/main" id="{798BF1E4-1A37-C54E-8535-AC06D3124CB2}"/>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2966001" y="2907732"/>
            <a:ext cx="570513" cy="659042"/>
          </a:xfrm>
          <a:prstGeom prst="rect">
            <a:avLst/>
          </a:prstGeom>
        </p:spPr>
      </p:pic>
      <p:pic>
        <p:nvPicPr>
          <p:cNvPr id="82" name="Picture 10" descr="https://ih1.redbubble.net/image.361353434.1330/flat,800x800,075,f.jpg">
            <a:extLst>
              <a:ext uri="{FF2B5EF4-FFF2-40B4-BE49-F238E27FC236}">
                <a16:creationId xmlns:a16="http://schemas.microsoft.com/office/drawing/2014/main" id="{A73AD314-0081-A64B-9795-E5B91910C9ED}"/>
              </a:ext>
            </a:extLst>
          </p:cNvPr>
          <p:cNvPicPr>
            <a:picLocks noChangeAspect="1" noChangeArrowheads="1"/>
          </p:cNvPicPr>
          <p:nvPr/>
        </p:nvPicPr>
        <p:blipFill>
          <a:blip r:embed="rId4" cstate="email">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675626" y="4011924"/>
            <a:ext cx="1158470" cy="401121"/>
          </a:xfrm>
          <a:prstGeom prst="rect">
            <a:avLst/>
          </a:prstGeom>
          <a:noFill/>
          <a:extLst>
            <a:ext uri="{909E8E84-426E-40DD-AFC4-6F175D3DCCD1}">
              <a14:hiddenFill xmlns:a14="http://schemas.microsoft.com/office/drawing/2010/main">
                <a:solidFill>
                  <a:srgbClr val="FFFFFF"/>
                </a:solidFill>
              </a14:hiddenFill>
            </a:ext>
          </a:extLst>
        </p:spPr>
      </p:pic>
      <p:sp>
        <p:nvSpPr>
          <p:cNvPr id="85" name="TextBox 84">
            <a:extLst>
              <a:ext uri="{FF2B5EF4-FFF2-40B4-BE49-F238E27FC236}">
                <a16:creationId xmlns:a16="http://schemas.microsoft.com/office/drawing/2014/main" id="{9AD86C31-093C-5B43-9E5F-078F98C18134}"/>
              </a:ext>
            </a:extLst>
          </p:cNvPr>
          <p:cNvSpPr txBox="1"/>
          <p:nvPr/>
        </p:nvSpPr>
        <p:spPr>
          <a:xfrm>
            <a:off x="2762178" y="3455032"/>
            <a:ext cx="966608" cy="538680"/>
          </a:xfrm>
          <a:prstGeom prst="rect">
            <a:avLst/>
          </a:prstGeom>
          <a:noFill/>
        </p:spPr>
        <p:txBody>
          <a:bodyPr wrap="square" lIns="179158" tIns="143327" rIns="179158" bIns="143327" rtlCol="0" anchor="t">
            <a:spAutoFit/>
          </a:bodyPr>
          <a:lstStyle/>
          <a:p>
            <a:pPr marL="0" marR="0" lvl="0" indent="0" algn="ctr" defTabSz="895526"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a:t>
            </a:r>
          </a:p>
        </p:txBody>
      </p:sp>
      <p:sp>
        <p:nvSpPr>
          <p:cNvPr id="86" name="TextBox 85">
            <a:extLst>
              <a:ext uri="{FF2B5EF4-FFF2-40B4-BE49-F238E27FC236}">
                <a16:creationId xmlns:a16="http://schemas.microsoft.com/office/drawing/2014/main" id="{4C865F4A-240A-CB44-9831-2BE07351C4B7}"/>
              </a:ext>
            </a:extLst>
          </p:cNvPr>
          <p:cNvSpPr txBox="1"/>
          <p:nvPr/>
        </p:nvSpPr>
        <p:spPr>
          <a:xfrm>
            <a:off x="2473696" y="5303350"/>
            <a:ext cx="1543567" cy="421910"/>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371" b="0" i="0" u="none" strike="noStrike" kern="1200" cap="none" spc="0" normalizeH="0" baseline="0" noProof="0" dirty="0">
                <a:ln>
                  <a:noFill/>
                </a:ln>
                <a:solidFill>
                  <a:prstClr val="black"/>
                </a:solidFill>
                <a:effectLst/>
                <a:uLnTx/>
                <a:uFillTx/>
                <a:latin typeface="Segoe UI"/>
                <a:ea typeface="+mn-ea"/>
                <a:cs typeface="+mn-cs"/>
              </a:rPr>
              <a:t>Build model </a:t>
            </a:r>
            <a:br>
              <a:rPr kumimoji="0" lang="en-US" sz="1371" b="0" i="0" u="none" strike="noStrike" kern="1200" cap="none" spc="0" normalizeH="0" baseline="0" noProof="0" dirty="0">
                <a:ln>
                  <a:noFill/>
                </a:ln>
                <a:solidFill>
                  <a:prstClr val="black"/>
                </a:solidFill>
                <a:effectLst/>
                <a:uLnTx/>
                <a:uFillTx/>
                <a:latin typeface="Segoe UI"/>
                <a:ea typeface="+mn-ea"/>
                <a:cs typeface="+mn-cs"/>
              </a:rPr>
            </a:br>
            <a:r>
              <a:rPr kumimoji="0" lang="en-US" sz="1371" b="0" i="0" u="none" strike="noStrike" kern="1200" cap="none" spc="0" normalizeH="0" baseline="0" noProof="0" dirty="0">
                <a:ln>
                  <a:noFill/>
                </a:ln>
                <a:solidFill>
                  <a:prstClr val="black"/>
                </a:solidFill>
                <a:effectLst/>
                <a:uLnTx/>
                <a:uFillTx/>
                <a:latin typeface="Segoe UI"/>
                <a:ea typeface="+mn-ea"/>
                <a:cs typeface="+mn-cs"/>
              </a:rPr>
              <a:t>(your favorite IDE)</a:t>
            </a:r>
          </a:p>
        </p:txBody>
      </p:sp>
      <p:sp>
        <p:nvSpPr>
          <p:cNvPr id="89" name="TextBox 88">
            <a:extLst>
              <a:ext uri="{FF2B5EF4-FFF2-40B4-BE49-F238E27FC236}">
                <a16:creationId xmlns:a16="http://schemas.microsoft.com/office/drawing/2014/main" id="{2D472361-175F-1B47-8239-C02AA7E2D509}"/>
              </a:ext>
            </a:extLst>
          </p:cNvPr>
          <p:cNvSpPr txBox="1"/>
          <p:nvPr/>
        </p:nvSpPr>
        <p:spPr>
          <a:xfrm>
            <a:off x="10373984" y="5303350"/>
            <a:ext cx="1387676" cy="421910"/>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371" b="0" i="0" u="none" strike="noStrike" kern="1200" cap="none" spc="0" normalizeH="0" baseline="0" noProof="0" dirty="0">
                <a:ln>
                  <a:noFill/>
                </a:ln>
                <a:solidFill>
                  <a:prstClr val="black"/>
                </a:solidFill>
                <a:effectLst/>
                <a:uLnTx/>
                <a:uFillTx/>
                <a:latin typeface="Segoe UI"/>
                <a:ea typeface="+mn-ea"/>
                <a:cs typeface="+mn-cs"/>
              </a:rPr>
              <a:t>Deploy Service</a:t>
            </a:r>
          </a:p>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371" b="0" i="0" u="none" strike="noStrike" kern="1200" cap="none" spc="0" normalizeH="0" baseline="0" noProof="0" dirty="0">
                <a:ln>
                  <a:noFill/>
                </a:ln>
                <a:solidFill>
                  <a:prstClr val="black"/>
                </a:solidFill>
                <a:effectLst/>
                <a:uLnTx/>
                <a:uFillTx/>
                <a:latin typeface="Segoe UI"/>
                <a:ea typeface="+mn-ea"/>
                <a:cs typeface="+mn-cs"/>
              </a:rPr>
              <a:t>Monitor Model</a:t>
            </a:r>
          </a:p>
        </p:txBody>
      </p:sp>
      <p:sp>
        <p:nvSpPr>
          <p:cNvPr id="90" name="Rectangle 41">
            <a:extLst>
              <a:ext uri="{FF2B5EF4-FFF2-40B4-BE49-F238E27FC236}">
                <a16:creationId xmlns:a16="http://schemas.microsoft.com/office/drawing/2014/main" id="{5053CCA1-0AFE-0246-8FA9-0E40E00A87A9}"/>
              </a:ext>
            </a:extLst>
          </p:cNvPr>
          <p:cNvSpPr>
            <a:spLocks noChangeArrowheads="1"/>
          </p:cNvSpPr>
          <p:nvPr/>
        </p:nvSpPr>
        <p:spPr bwMode="auto">
          <a:xfrm>
            <a:off x="680972" y="1906666"/>
            <a:ext cx="95009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ctr" defTabSz="621707" rtl="0" eaLnBrk="0" fontAlgn="base" latinLnBrk="0" hangingPunct="0">
              <a:lnSpc>
                <a:spcPct val="100000"/>
              </a:lnSpc>
              <a:spcBef>
                <a:spcPct val="0"/>
              </a:spcBef>
              <a:spcAft>
                <a:spcPct val="0"/>
              </a:spcAft>
              <a:buClrTx/>
              <a:buSzTx/>
              <a:buFontTx/>
              <a:buNone/>
              <a:tabLst/>
              <a:defRPr/>
            </a:pPr>
            <a:r>
              <a:rPr kumimoji="0" lang="en-US" altLang="en-US" sz="2000" b="1" i="0" u="none" strike="noStrike" kern="0" cap="none" spc="0" normalizeH="0" baseline="0" noProof="0" dirty="0">
                <a:ln>
                  <a:noFill/>
                </a:ln>
                <a:solidFill>
                  <a:srgbClr val="0078D4"/>
                </a:solidFill>
                <a:effectLst/>
                <a:uLnTx/>
                <a:uFillTx/>
                <a:latin typeface="Segoe UI Semibold" panose="020B0702040204020203" pitchFamily="34" charset="0"/>
                <a:ea typeface="+mn-ea"/>
                <a:cs typeface="+mn-cs"/>
              </a:rPr>
              <a:t>Prepare</a:t>
            </a:r>
          </a:p>
        </p:txBody>
      </p:sp>
      <p:cxnSp>
        <p:nvCxnSpPr>
          <p:cNvPr id="91" name="Straight Connector 90">
            <a:extLst>
              <a:ext uri="{FF2B5EF4-FFF2-40B4-BE49-F238E27FC236}">
                <a16:creationId xmlns:a16="http://schemas.microsoft.com/office/drawing/2014/main" id="{0CB05A1D-CFE8-CF46-A024-8070001B6371}"/>
              </a:ext>
            </a:extLst>
          </p:cNvPr>
          <p:cNvCxnSpPr>
            <a:cxnSpLocks/>
          </p:cNvCxnSpPr>
          <p:nvPr/>
        </p:nvCxnSpPr>
        <p:spPr>
          <a:xfrm flipV="1">
            <a:off x="2070888" y="1949687"/>
            <a:ext cx="2223" cy="1477387"/>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355F4D9B-55CB-1947-B988-2A83C667EEB0}"/>
              </a:ext>
            </a:extLst>
          </p:cNvPr>
          <p:cNvCxnSpPr>
            <a:cxnSpLocks/>
          </p:cNvCxnSpPr>
          <p:nvPr/>
        </p:nvCxnSpPr>
        <p:spPr>
          <a:xfrm flipV="1">
            <a:off x="7189027" y="4247740"/>
            <a:ext cx="0" cy="947687"/>
          </a:xfrm>
          <a:prstGeom prst="line">
            <a:avLst/>
          </a:prstGeom>
          <a:ln w="12700">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95" name="Rectangle 41">
            <a:extLst>
              <a:ext uri="{FF2B5EF4-FFF2-40B4-BE49-F238E27FC236}">
                <a16:creationId xmlns:a16="http://schemas.microsoft.com/office/drawing/2014/main" id="{B44DF2BC-FFCE-BC42-B260-BB3FFB5592E4}"/>
              </a:ext>
            </a:extLst>
          </p:cNvPr>
          <p:cNvSpPr>
            <a:spLocks noChangeArrowheads="1"/>
          </p:cNvSpPr>
          <p:nvPr/>
        </p:nvSpPr>
        <p:spPr bwMode="auto">
          <a:xfrm>
            <a:off x="2027162" y="1914651"/>
            <a:ext cx="518375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ctr" defTabSz="621707" rtl="0" eaLnBrk="0" fontAlgn="base" latinLnBrk="0" hangingPunct="0">
              <a:lnSpc>
                <a:spcPct val="100000"/>
              </a:lnSpc>
              <a:spcBef>
                <a:spcPct val="0"/>
              </a:spcBef>
              <a:spcAft>
                <a:spcPct val="0"/>
              </a:spcAft>
              <a:buClrTx/>
              <a:buSzTx/>
              <a:buFontTx/>
              <a:buNone/>
              <a:tabLst/>
              <a:defRPr/>
            </a:pPr>
            <a:r>
              <a:rPr kumimoji="0" lang="en-US" altLang="en-US" sz="2000" b="1" i="0" u="none" strike="noStrike" kern="0" cap="none" spc="0" normalizeH="0" baseline="0" noProof="0" dirty="0">
                <a:ln>
                  <a:noFill/>
                </a:ln>
                <a:solidFill>
                  <a:srgbClr val="0078D4"/>
                </a:solidFill>
                <a:effectLst/>
                <a:uLnTx/>
                <a:uFillTx/>
                <a:latin typeface="Segoe UI Semibold" panose="020B0702040204020203" pitchFamily="34" charset="0"/>
                <a:ea typeface="+mn-ea"/>
                <a:cs typeface="+mn-cs"/>
              </a:rPr>
              <a:t>Experiment</a:t>
            </a:r>
          </a:p>
        </p:txBody>
      </p:sp>
      <p:sp>
        <p:nvSpPr>
          <p:cNvPr id="96" name="Rectangle 41">
            <a:extLst>
              <a:ext uri="{FF2B5EF4-FFF2-40B4-BE49-F238E27FC236}">
                <a16:creationId xmlns:a16="http://schemas.microsoft.com/office/drawing/2014/main" id="{C86DDABC-B80E-BF40-8A02-4A7F4D53B606}"/>
              </a:ext>
            </a:extLst>
          </p:cNvPr>
          <p:cNvSpPr>
            <a:spLocks noChangeArrowheads="1"/>
          </p:cNvSpPr>
          <p:nvPr/>
        </p:nvSpPr>
        <p:spPr bwMode="auto">
          <a:xfrm>
            <a:off x="7210916" y="1907362"/>
            <a:ext cx="451664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ctr" defTabSz="621707" rtl="0" eaLnBrk="0" fontAlgn="base" latinLnBrk="0" hangingPunct="0">
              <a:lnSpc>
                <a:spcPct val="100000"/>
              </a:lnSpc>
              <a:spcBef>
                <a:spcPct val="0"/>
              </a:spcBef>
              <a:spcAft>
                <a:spcPct val="0"/>
              </a:spcAft>
              <a:buClrTx/>
              <a:buSzTx/>
              <a:buFontTx/>
              <a:buNone/>
              <a:tabLst/>
              <a:defRPr/>
            </a:pPr>
            <a:r>
              <a:rPr kumimoji="0" lang="en-US" altLang="en-US" sz="2000" b="1" i="0" u="none" strike="noStrike" kern="0" cap="none" spc="0" normalizeH="0" baseline="0" noProof="0" dirty="0">
                <a:ln>
                  <a:noFill/>
                </a:ln>
                <a:solidFill>
                  <a:srgbClr val="0078D4"/>
                </a:solidFill>
                <a:effectLst/>
                <a:uLnTx/>
                <a:uFillTx/>
                <a:latin typeface="Segoe UI Semibold" panose="020B0702040204020203" pitchFamily="34" charset="0"/>
                <a:ea typeface="+mn-ea"/>
                <a:cs typeface="+mn-cs"/>
              </a:rPr>
              <a:t>Deploy</a:t>
            </a:r>
          </a:p>
        </p:txBody>
      </p:sp>
      <p:cxnSp>
        <p:nvCxnSpPr>
          <p:cNvPr id="107" name="Straight Connector 106">
            <a:extLst>
              <a:ext uri="{FF2B5EF4-FFF2-40B4-BE49-F238E27FC236}">
                <a16:creationId xmlns:a16="http://schemas.microsoft.com/office/drawing/2014/main" id="{D7CB6549-C183-D64D-8C74-E6F95C7E1134}"/>
              </a:ext>
            </a:extLst>
          </p:cNvPr>
          <p:cNvCxnSpPr>
            <a:cxnSpLocks/>
          </p:cNvCxnSpPr>
          <p:nvPr/>
        </p:nvCxnSpPr>
        <p:spPr>
          <a:xfrm flipV="1">
            <a:off x="2071999" y="4116987"/>
            <a:ext cx="0" cy="1730293"/>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Arrow Connector 2">
            <a:extLst>
              <a:ext uri="{FF2B5EF4-FFF2-40B4-BE49-F238E27FC236}">
                <a16:creationId xmlns:a16="http://schemas.microsoft.com/office/drawing/2014/main" id="{0FC0168D-6B02-9E41-8253-9997F1A48B6F}"/>
              </a:ext>
            </a:extLst>
          </p:cNvPr>
          <p:cNvCxnSpPr>
            <a:cxnSpLocks/>
          </p:cNvCxnSpPr>
          <p:nvPr/>
        </p:nvCxnSpPr>
        <p:spPr>
          <a:xfrm>
            <a:off x="5337311" y="3545747"/>
            <a:ext cx="0" cy="488533"/>
          </a:xfrm>
          <a:prstGeom prst="straightConnector1">
            <a:avLst/>
          </a:prstGeom>
          <a:ln w="12700">
            <a:solidFill>
              <a:schemeClr val="tx2"/>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D094F7A0-4E67-3C48-A4D8-13DD63409887}"/>
              </a:ext>
            </a:extLst>
          </p:cNvPr>
          <p:cNvSpPr>
            <a:spLocks noGrp="1"/>
          </p:cNvSpPr>
          <p:nvPr>
            <p:ph type="title"/>
          </p:nvPr>
        </p:nvSpPr>
        <p:spPr/>
        <p:txBody>
          <a:bodyPr/>
          <a:lstStyle/>
          <a:p>
            <a:r>
              <a:rPr lang="en-US" dirty="0"/>
              <a:t>DevOps loop for data science </a:t>
            </a:r>
          </a:p>
        </p:txBody>
      </p:sp>
      <p:grpSp>
        <p:nvGrpSpPr>
          <p:cNvPr id="71" name="Group 70">
            <a:extLst>
              <a:ext uri="{FF2B5EF4-FFF2-40B4-BE49-F238E27FC236}">
                <a16:creationId xmlns:a16="http://schemas.microsoft.com/office/drawing/2014/main" id="{E0491AF6-9B30-5F45-8EA4-D20DA8FF11E2}"/>
              </a:ext>
            </a:extLst>
          </p:cNvPr>
          <p:cNvGrpSpPr/>
          <p:nvPr/>
        </p:nvGrpSpPr>
        <p:grpSpPr>
          <a:xfrm>
            <a:off x="5073679" y="4209683"/>
            <a:ext cx="516121" cy="513990"/>
            <a:chOff x="7643146" y="2995601"/>
            <a:chExt cx="270958" cy="269839"/>
          </a:xfrm>
        </p:grpSpPr>
        <p:sp>
          <p:nvSpPr>
            <p:cNvPr id="72" name="Freeform 78">
              <a:extLst>
                <a:ext uri="{FF2B5EF4-FFF2-40B4-BE49-F238E27FC236}">
                  <a16:creationId xmlns:a16="http://schemas.microsoft.com/office/drawing/2014/main" id="{4C6F9623-FD65-A640-A22E-98B1E2B6687C}"/>
                </a:ext>
              </a:extLst>
            </p:cNvPr>
            <p:cNvSpPr>
              <a:spLocks/>
            </p:cNvSpPr>
            <p:nvPr/>
          </p:nvSpPr>
          <p:spPr bwMode="auto">
            <a:xfrm>
              <a:off x="7676736" y="3031430"/>
              <a:ext cx="201539" cy="200420"/>
            </a:xfrm>
            <a:custGeom>
              <a:avLst/>
              <a:gdLst>
                <a:gd name="T0" fmla="*/ 75 w 83"/>
                <a:gd name="T1" fmla="*/ 83 h 83"/>
                <a:gd name="T2" fmla="*/ 8 w 83"/>
                <a:gd name="T3" fmla="*/ 83 h 83"/>
                <a:gd name="T4" fmla="*/ 0 w 83"/>
                <a:gd name="T5" fmla="*/ 75 h 83"/>
                <a:gd name="T6" fmla="*/ 0 w 83"/>
                <a:gd name="T7" fmla="*/ 8 h 83"/>
                <a:gd name="T8" fmla="*/ 8 w 83"/>
                <a:gd name="T9" fmla="*/ 0 h 83"/>
                <a:gd name="T10" fmla="*/ 75 w 83"/>
                <a:gd name="T11" fmla="*/ 0 h 83"/>
                <a:gd name="T12" fmla="*/ 83 w 83"/>
                <a:gd name="T13" fmla="*/ 8 h 83"/>
                <a:gd name="T14" fmla="*/ 83 w 83"/>
                <a:gd name="T15" fmla="*/ 75 h 83"/>
                <a:gd name="T16" fmla="*/ 75 w 83"/>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3">
                  <a:moveTo>
                    <a:pt x="75" y="83"/>
                  </a:moveTo>
                  <a:cubicBezTo>
                    <a:pt x="8" y="83"/>
                    <a:pt x="8" y="83"/>
                    <a:pt x="8" y="83"/>
                  </a:cubicBezTo>
                  <a:cubicBezTo>
                    <a:pt x="4" y="83"/>
                    <a:pt x="0" y="79"/>
                    <a:pt x="0" y="75"/>
                  </a:cubicBezTo>
                  <a:cubicBezTo>
                    <a:pt x="0" y="8"/>
                    <a:pt x="0" y="8"/>
                    <a:pt x="0" y="8"/>
                  </a:cubicBezTo>
                  <a:cubicBezTo>
                    <a:pt x="0" y="3"/>
                    <a:pt x="4" y="0"/>
                    <a:pt x="8" y="0"/>
                  </a:cubicBezTo>
                  <a:cubicBezTo>
                    <a:pt x="75" y="0"/>
                    <a:pt x="75" y="0"/>
                    <a:pt x="75" y="0"/>
                  </a:cubicBezTo>
                  <a:cubicBezTo>
                    <a:pt x="80" y="0"/>
                    <a:pt x="83" y="3"/>
                    <a:pt x="83" y="8"/>
                  </a:cubicBezTo>
                  <a:cubicBezTo>
                    <a:pt x="83" y="75"/>
                    <a:pt x="83" y="75"/>
                    <a:pt x="83" y="75"/>
                  </a:cubicBezTo>
                  <a:cubicBezTo>
                    <a:pt x="83" y="79"/>
                    <a:pt x="80" y="83"/>
                    <a:pt x="75" y="83"/>
                  </a:cubicBezTo>
                  <a:close/>
                </a:path>
              </a:pathLst>
            </a:cu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73" name="Line 79">
              <a:extLst>
                <a:ext uri="{FF2B5EF4-FFF2-40B4-BE49-F238E27FC236}">
                  <a16:creationId xmlns:a16="http://schemas.microsoft.com/office/drawing/2014/main" id="{4C391E8A-F259-304C-9480-E7A97BF3DF41}"/>
                </a:ext>
              </a:extLst>
            </p:cNvPr>
            <p:cNvSpPr>
              <a:spLocks noChangeShapeType="1"/>
            </p:cNvSpPr>
            <p:nvPr/>
          </p:nvSpPr>
          <p:spPr bwMode="auto">
            <a:xfrm>
              <a:off x="7709206" y="2995601"/>
              <a:ext cx="0" cy="31351"/>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74" name="Line 80">
              <a:extLst>
                <a:ext uri="{FF2B5EF4-FFF2-40B4-BE49-F238E27FC236}">
                  <a16:creationId xmlns:a16="http://schemas.microsoft.com/office/drawing/2014/main" id="{D59AE738-D241-2C42-BA66-70196B7FEDF6}"/>
                </a:ext>
              </a:extLst>
            </p:cNvPr>
            <p:cNvSpPr>
              <a:spLocks noChangeShapeType="1"/>
            </p:cNvSpPr>
            <p:nvPr/>
          </p:nvSpPr>
          <p:spPr bwMode="auto">
            <a:xfrm>
              <a:off x="7742796" y="2995601"/>
              <a:ext cx="0" cy="31351"/>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75" name="Line 81">
              <a:extLst>
                <a:ext uri="{FF2B5EF4-FFF2-40B4-BE49-F238E27FC236}">
                  <a16:creationId xmlns:a16="http://schemas.microsoft.com/office/drawing/2014/main" id="{DEB3FE32-4A49-B445-B10D-93F4DEE8A81B}"/>
                </a:ext>
              </a:extLst>
            </p:cNvPr>
            <p:cNvSpPr>
              <a:spLocks noChangeShapeType="1"/>
            </p:cNvSpPr>
            <p:nvPr/>
          </p:nvSpPr>
          <p:spPr bwMode="auto">
            <a:xfrm>
              <a:off x="7778625" y="2995601"/>
              <a:ext cx="0" cy="31351"/>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76" name="Line 82">
              <a:extLst>
                <a:ext uri="{FF2B5EF4-FFF2-40B4-BE49-F238E27FC236}">
                  <a16:creationId xmlns:a16="http://schemas.microsoft.com/office/drawing/2014/main" id="{0F3ADCCB-9924-5249-8457-5DF762E39C27}"/>
                </a:ext>
              </a:extLst>
            </p:cNvPr>
            <p:cNvSpPr>
              <a:spLocks noChangeShapeType="1"/>
            </p:cNvSpPr>
            <p:nvPr/>
          </p:nvSpPr>
          <p:spPr bwMode="auto">
            <a:xfrm>
              <a:off x="7812215" y="2995601"/>
              <a:ext cx="0" cy="31351"/>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77" name="Line 83">
              <a:extLst>
                <a:ext uri="{FF2B5EF4-FFF2-40B4-BE49-F238E27FC236}">
                  <a16:creationId xmlns:a16="http://schemas.microsoft.com/office/drawing/2014/main" id="{CA2D10B3-7399-C94F-912D-7A734D6C7B07}"/>
                </a:ext>
              </a:extLst>
            </p:cNvPr>
            <p:cNvSpPr>
              <a:spLocks noChangeShapeType="1"/>
            </p:cNvSpPr>
            <p:nvPr/>
          </p:nvSpPr>
          <p:spPr bwMode="auto">
            <a:xfrm>
              <a:off x="7846924" y="2995601"/>
              <a:ext cx="0" cy="31351"/>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78" name="Line 84">
              <a:extLst>
                <a:ext uri="{FF2B5EF4-FFF2-40B4-BE49-F238E27FC236}">
                  <a16:creationId xmlns:a16="http://schemas.microsoft.com/office/drawing/2014/main" id="{26D3651B-F32E-1048-BF91-EF7A817E4497}"/>
                </a:ext>
              </a:extLst>
            </p:cNvPr>
            <p:cNvSpPr>
              <a:spLocks noChangeShapeType="1"/>
            </p:cNvSpPr>
            <p:nvPr/>
          </p:nvSpPr>
          <p:spPr bwMode="auto">
            <a:xfrm flipH="1">
              <a:off x="7882753" y="3060542"/>
              <a:ext cx="31351" cy="0"/>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80" name="Line 85">
              <a:extLst>
                <a:ext uri="{FF2B5EF4-FFF2-40B4-BE49-F238E27FC236}">
                  <a16:creationId xmlns:a16="http://schemas.microsoft.com/office/drawing/2014/main" id="{85EB7360-EAC0-8042-97D7-5B87DB68F959}"/>
                </a:ext>
              </a:extLst>
            </p:cNvPr>
            <p:cNvSpPr>
              <a:spLocks noChangeShapeType="1"/>
            </p:cNvSpPr>
            <p:nvPr/>
          </p:nvSpPr>
          <p:spPr bwMode="auto">
            <a:xfrm flipH="1">
              <a:off x="7882753" y="3096371"/>
              <a:ext cx="31351" cy="0"/>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81" name="Line 86">
              <a:extLst>
                <a:ext uri="{FF2B5EF4-FFF2-40B4-BE49-F238E27FC236}">
                  <a16:creationId xmlns:a16="http://schemas.microsoft.com/office/drawing/2014/main" id="{3BF7FF4C-5D0D-C94B-81FB-BE1C9A5130CE}"/>
                </a:ext>
              </a:extLst>
            </p:cNvPr>
            <p:cNvSpPr>
              <a:spLocks noChangeShapeType="1"/>
            </p:cNvSpPr>
            <p:nvPr/>
          </p:nvSpPr>
          <p:spPr bwMode="auto">
            <a:xfrm flipH="1">
              <a:off x="7882753" y="3129961"/>
              <a:ext cx="31351" cy="0"/>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83" name="Line 87">
              <a:extLst>
                <a:ext uri="{FF2B5EF4-FFF2-40B4-BE49-F238E27FC236}">
                  <a16:creationId xmlns:a16="http://schemas.microsoft.com/office/drawing/2014/main" id="{1A27CD68-47AE-9C4C-9B84-5F57EA3D97D3}"/>
                </a:ext>
              </a:extLst>
            </p:cNvPr>
            <p:cNvSpPr>
              <a:spLocks noChangeShapeType="1"/>
            </p:cNvSpPr>
            <p:nvPr/>
          </p:nvSpPr>
          <p:spPr bwMode="auto">
            <a:xfrm flipH="1">
              <a:off x="7882753" y="3164670"/>
              <a:ext cx="31351" cy="0"/>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84" name="Line 88">
              <a:extLst>
                <a:ext uri="{FF2B5EF4-FFF2-40B4-BE49-F238E27FC236}">
                  <a16:creationId xmlns:a16="http://schemas.microsoft.com/office/drawing/2014/main" id="{0AC950F5-7618-4B47-A240-5DD763FBE896}"/>
                </a:ext>
              </a:extLst>
            </p:cNvPr>
            <p:cNvSpPr>
              <a:spLocks noChangeShapeType="1"/>
            </p:cNvSpPr>
            <p:nvPr/>
          </p:nvSpPr>
          <p:spPr bwMode="auto">
            <a:xfrm flipH="1">
              <a:off x="7882753" y="3200500"/>
              <a:ext cx="31351" cy="0"/>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87" name="Line 89">
              <a:extLst>
                <a:ext uri="{FF2B5EF4-FFF2-40B4-BE49-F238E27FC236}">
                  <a16:creationId xmlns:a16="http://schemas.microsoft.com/office/drawing/2014/main" id="{AE13B044-149A-7842-BF90-03450C27B91E}"/>
                </a:ext>
              </a:extLst>
            </p:cNvPr>
            <p:cNvSpPr>
              <a:spLocks noChangeShapeType="1"/>
            </p:cNvSpPr>
            <p:nvPr/>
          </p:nvSpPr>
          <p:spPr bwMode="auto">
            <a:xfrm flipH="1">
              <a:off x="7643146" y="3060542"/>
              <a:ext cx="31351" cy="0"/>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88" name="Line 90">
              <a:extLst>
                <a:ext uri="{FF2B5EF4-FFF2-40B4-BE49-F238E27FC236}">
                  <a16:creationId xmlns:a16="http://schemas.microsoft.com/office/drawing/2014/main" id="{1283A89B-6582-B743-8162-71EA7292C2E4}"/>
                </a:ext>
              </a:extLst>
            </p:cNvPr>
            <p:cNvSpPr>
              <a:spLocks noChangeShapeType="1"/>
            </p:cNvSpPr>
            <p:nvPr/>
          </p:nvSpPr>
          <p:spPr bwMode="auto">
            <a:xfrm flipH="1">
              <a:off x="7643146" y="3096371"/>
              <a:ext cx="31351" cy="0"/>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94" name="Line 91">
              <a:extLst>
                <a:ext uri="{FF2B5EF4-FFF2-40B4-BE49-F238E27FC236}">
                  <a16:creationId xmlns:a16="http://schemas.microsoft.com/office/drawing/2014/main" id="{657C910C-4D02-414F-B3EF-2F0003FE5652}"/>
                </a:ext>
              </a:extLst>
            </p:cNvPr>
            <p:cNvSpPr>
              <a:spLocks noChangeShapeType="1"/>
            </p:cNvSpPr>
            <p:nvPr/>
          </p:nvSpPr>
          <p:spPr bwMode="auto">
            <a:xfrm flipH="1">
              <a:off x="7643146" y="3129961"/>
              <a:ext cx="31351" cy="0"/>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6" name="Line 92">
              <a:extLst>
                <a:ext uri="{FF2B5EF4-FFF2-40B4-BE49-F238E27FC236}">
                  <a16:creationId xmlns:a16="http://schemas.microsoft.com/office/drawing/2014/main" id="{D4459EC0-6F87-C14C-AB14-6EBB88211444}"/>
                </a:ext>
              </a:extLst>
            </p:cNvPr>
            <p:cNvSpPr>
              <a:spLocks noChangeShapeType="1"/>
            </p:cNvSpPr>
            <p:nvPr/>
          </p:nvSpPr>
          <p:spPr bwMode="auto">
            <a:xfrm flipH="1">
              <a:off x="7643146" y="3164670"/>
              <a:ext cx="31351" cy="0"/>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0" name="Line 93">
              <a:extLst>
                <a:ext uri="{FF2B5EF4-FFF2-40B4-BE49-F238E27FC236}">
                  <a16:creationId xmlns:a16="http://schemas.microsoft.com/office/drawing/2014/main" id="{358601D5-7679-0D48-9C8C-FAFAB79B9928}"/>
                </a:ext>
              </a:extLst>
            </p:cNvPr>
            <p:cNvSpPr>
              <a:spLocks noChangeShapeType="1"/>
            </p:cNvSpPr>
            <p:nvPr/>
          </p:nvSpPr>
          <p:spPr bwMode="auto">
            <a:xfrm flipH="1">
              <a:off x="7643146" y="3200500"/>
              <a:ext cx="31351" cy="0"/>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2" name="Line 94">
              <a:extLst>
                <a:ext uri="{FF2B5EF4-FFF2-40B4-BE49-F238E27FC236}">
                  <a16:creationId xmlns:a16="http://schemas.microsoft.com/office/drawing/2014/main" id="{3C9DC840-4E4A-0B4B-A8B1-B90D402F3BA2}"/>
                </a:ext>
              </a:extLst>
            </p:cNvPr>
            <p:cNvSpPr>
              <a:spLocks noChangeShapeType="1"/>
            </p:cNvSpPr>
            <p:nvPr/>
          </p:nvSpPr>
          <p:spPr bwMode="auto">
            <a:xfrm>
              <a:off x="7709206" y="3234089"/>
              <a:ext cx="0" cy="31351"/>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3" name="Line 95">
              <a:extLst>
                <a:ext uri="{FF2B5EF4-FFF2-40B4-BE49-F238E27FC236}">
                  <a16:creationId xmlns:a16="http://schemas.microsoft.com/office/drawing/2014/main" id="{9746E63B-2E18-374B-8E01-FB9A3F836ADB}"/>
                </a:ext>
              </a:extLst>
            </p:cNvPr>
            <p:cNvSpPr>
              <a:spLocks noChangeShapeType="1"/>
            </p:cNvSpPr>
            <p:nvPr/>
          </p:nvSpPr>
          <p:spPr bwMode="auto">
            <a:xfrm>
              <a:off x="7742796" y="3234089"/>
              <a:ext cx="0" cy="31351"/>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4" name="Line 96">
              <a:extLst>
                <a:ext uri="{FF2B5EF4-FFF2-40B4-BE49-F238E27FC236}">
                  <a16:creationId xmlns:a16="http://schemas.microsoft.com/office/drawing/2014/main" id="{96E8802E-A1EB-AF41-BC5E-EE511BE4701F}"/>
                </a:ext>
              </a:extLst>
            </p:cNvPr>
            <p:cNvSpPr>
              <a:spLocks noChangeShapeType="1"/>
            </p:cNvSpPr>
            <p:nvPr/>
          </p:nvSpPr>
          <p:spPr bwMode="auto">
            <a:xfrm>
              <a:off x="7778625" y="3234089"/>
              <a:ext cx="0" cy="31351"/>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5" name="Line 97">
              <a:extLst>
                <a:ext uri="{FF2B5EF4-FFF2-40B4-BE49-F238E27FC236}">
                  <a16:creationId xmlns:a16="http://schemas.microsoft.com/office/drawing/2014/main" id="{78BE8D6B-9196-D24D-9A7A-D9AEFFB94A98}"/>
                </a:ext>
              </a:extLst>
            </p:cNvPr>
            <p:cNvSpPr>
              <a:spLocks noChangeShapeType="1"/>
            </p:cNvSpPr>
            <p:nvPr/>
          </p:nvSpPr>
          <p:spPr bwMode="auto">
            <a:xfrm>
              <a:off x="7812215" y="3234089"/>
              <a:ext cx="0" cy="31351"/>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6" name="Line 98">
              <a:extLst>
                <a:ext uri="{FF2B5EF4-FFF2-40B4-BE49-F238E27FC236}">
                  <a16:creationId xmlns:a16="http://schemas.microsoft.com/office/drawing/2014/main" id="{4AFF0015-C80C-974B-B9BF-C828E1032873}"/>
                </a:ext>
              </a:extLst>
            </p:cNvPr>
            <p:cNvSpPr>
              <a:spLocks noChangeShapeType="1"/>
            </p:cNvSpPr>
            <p:nvPr/>
          </p:nvSpPr>
          <p:spPr bwMode="auto">
            <a:xfrm>
              <a:off x="7846924" y="3234089"/>
              <a:ext cx="0" cy="31351"/>
            </a:xfrm>
            <a:prstGeom prst="line">
              <a:avLst/>
            </a:prstGeom>
            <a:noFill/>
            <a:ln w="12700" cap="flat">
              <a:solidFill>
                <a:schemeClr val="tx2"/>
              </a:solidFill>
              <a:prstDash val="solid"/>
              <a:miter lim="800000"/>
              <a:headEnd/>
              <a:tailEnd/>
            </a:ln>
          </p:spPr>
          <p:txBody>
            <a:bodyPr vert="horz" wrap="square" lIns="70987" tIns="35494" rIns="70987" bIns="35494" numCol="1" anchor="t" anchorCtr="0" compatLnSpc="1">
              <a:prstTxWarp prst="textNoShape">
                <a:avLst/>
              </a:prstTxWarp>
            </a:body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923"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11" name="Group 10">
            <a:extLst>
              <a:ext uri="{FF2B5EF4-FFF2-40B4-BE49-F238E27FC236}">
                <a16:creationId xmlns:a16="http://schemas.microsoft.com/office/drawing/2014/main" id="{19EA6618-51C1-424B-885A-F37EE095BD01}"/>
              </a:ext>
            </a:extLst>
          </p:cNvPr>
          <p:cNvGrpSpPr/>
          <p:nvPr/>
        </p:nvGrpSpPr>
        <p:grpSpPr>
          <a:xfrm>
            <a:off x="4997786" y="2736758"/>
            <a:ext cx="661135" cy="661135"/>
            <a:chOff x="6064661" y="2331652"/>
            <a:chExt cx="674488" cy="674488"/>
          </a:xfrm>
        </p:grpSpPr>
        <p:grpSp>
          <p:nvGrpSpPr>
            <p:cNvPr id="10" name="Group 9">
              <a:extLst>
                <a:ext uri="{FF2B5EF4-FFF2-40B4-BE49-F238E27FC236}">
                  <a16:creationId xmlns:a16="http://schemas.microsoft.com/office/drawing/2014/main" id="{6683E531-888A-4243-9B60-83D497F0ECCC}"/>
                </a:ext>
              </a:extLst>
            </p:cNvPr>
            <p:cNvGrpSpPr/>
            <p:nvPr/>
          </p:nvGrpSpPr>
          <p:grpSpPr>
            <a:xfrm>
              <a:off x="6064661" y="2331652"/>
              <a:ext cx="674488" cy="674488"/>
              <a:chOff x="6064661" y="2331652"/>
              <a:chExt cx="674488" cy="674488"/>
            </a:xfrm>
          </p:grpSpPr>
          <p:sp>
            <p:nvSpPr>
              <p:cNvPr id="8" name="Oval 7">
                <a:extLst>
                  <a:ext uri="{FF2B5EF4-FFF2-40B4-BE49-F238E27FC236}">
                    <a16:creationId xmlns:a16="http://schemas.microsoft.com/office/drawing/2014/main" id="{DB307DB1-4514-2744-BC4C-94A4D941B2A6}"/>
                  </a:ext>
                </a:extLst>
              </p:cNvPr>
              <p:cNvSpPr/>
              <p:nvPr/>
            </p:nvSpPr>
            <p:spPr bwMode="auto">
              <a:xfrm>
                <a:off x="6211116" y="2331652"/>
                <a:ext cx="381577" cy="674488"/>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9DD50550-AC52-F842-B74C-1CC6290E7645}"/>
                  </a:ext>
                </a:extLst>
              </p:cNvPr>
              <p:cNvSpPr/>
              <p:nvPr/>
            </p:nvSpPr>
            <p:spPr bwMode="auto">
              <a:xfrm rot="3600000">
                <a:off x="6211116" y="2328651"/>
                <a:ext cx="381577" cy="674488"/>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Oval 117">
                <a:extLst>
                  <a:ext uri="{FF2B5EF4-FFF2-40B4-BE49-F238E27FC236}">
                    <a16:creationId xmlns:a16="http://schemas.microsoft.com/office/drawing/2014/main" id="{74BCF5A8-9D4B-9941-BE25-0CAB088AA337}"/>
                  </a:ext>
                </a:extLst>
              </p:cNvPr>
              <p:cNvSpPr/>
              <p:nvPr/>
            </p:nvSpPr>
            <p:spPr bwMode="auto">
              <a:xfrm rot="18000000">
                <a:off x="6211116" y="2328651"/>
                <a:ext cx="381577" cy="674488"/>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 name="Oval 8">
              <a:extLst>
                <a:ext uri="{FF2B5EF4-FFF2-40B4-BE49-F238E27FC236}">
                  <a16:creationId xmlns:a16="http://schemas.microsoft.com/office/drawing/2014/main" id="{A3DDCCEB-3463-074D-91AD-78F81170C724}"/>
                </a:ext>
              </a:extLst>
            </p:cNvPr>
            <p:cNvSpPr/>
            <p:nvPr/>
          </p:nvSpPr>
          <p:spPr bwMode="auto">
            <a:xfrm>
              <a:off x="6301928" y="2568919"/>
              <a:ext cx="199955" cy="199955"/>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90EF73BA-687F-5F48-8A74-FFE3F031F8BE}"/>
              </a:ext>
            </a:extLst>
          </p:cNvPr>
          <p:cNvGrpSpPr/>
          <p:nvPr/>
        </p:nvGrpSpPr>
        <p:grpSpPr>
          <a:xfrm>
            <a:off x="10524644" y="3545747"/>
            <a:ext cx="631478" cy="559507"/>
            <a:chOff x="10902845" y="2693238"/>
            <a:chExt cx="644231" cy="570807"/>
          </a:xfrm>
        </p:grpSpPr>
        <p:sp>
          <p:nvSpPr>
            <p:cNvPr id="119" name="Freeform 146">
              <a:extLst>
                <a:ext uri="{FF2B5EF4-FFF2-40B4-BE49-F238E27FC236}">
                  <a16:creationId xmlns:a16="http://schemas.microsoft.com/office/drawing/2014/main" id="{8E629EED-BBF2-0845-AEBA-FCEAA4918860}"/>
                </a:ext>
              </a:extLst>
            </p:cNvPr>
            <p:cNvSpPr>
              <a:spLocks noChangeAspect="1"/>
            </p:cNvSpPr>
            <p:nvPr/>
          </p:nvSpPr>
          <p:spPr bwMode="auto">
            <a:xfrm>
              <a:off x="10902845" y="2693238"/>
              <a:ext cx="644231" cy="40799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marL="0" marR="0" lvl="0" indent="0" algn="ctr" defTabSz="895751" rtl="0" eaLnBrk="1" fontAlgn="base" latinLnBrk="0" hangingPunct="1">
                <a:lnSpc>
                  <a:spcPct val="90000"/>
                </a:lnSpc>
                <a:spcBef>
                  <a:spcPct val="0"/>
                </a:spcBef>
                <a:spcAft>
                  <a:spcPct val="0"/>
                </a:spcAft>
                <a:buClrTx/>
                <a:buSzTx/>
                <a:buFontTx/>
                <a:buNone/>
                <a:tabLst/>
                <a:defRPr/>
              </a:pPr>
              <a:endParaRPr kumimoji="0" lang="en-IN" sz="192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FA201150-C846-1B49-A339-27D05CFE5E9E}"/>
                </a:ext>
              </a:extLst>
            </p:cNvPr>
            <p:cNvSpPr/>
            <p:nvPr/>
          </p:nvSpPr>
          <p:spPr bwMode="auto">
            <a:xfrm>
              <a:off x="11138157" y="3021086"/>
              <a:ext cx="205040" cy="1484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0" name="Straight Arrow Connector 119">
              <a:extLst>
                <a:ext uri="{FF2B5EF4-FFF2-40B4-BE49-F238E27FC236}">
                  <a16:creationId xmlns:a16="http://schemas.microsoft.com/office/drawing/2014/main" id="{7EF4ED0E-7D24-964A-B59A-B41D64AB7691}"/>
                </a:ext>
              </a:extLst>
            </p:cNvPr>
            <p:cNvCxnSpPr>
              <a:cxnSpLocks/>
            </p:cNvCxnSpPr>
            <p:nvPr/>
          </p:nvCxnSpPr>
          <p:spPr>
            <a:xfrm flipV="1">
              <a:off x="11245742" y="2947705"/>
              <a:ext cx="0" cy="31634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08025D7F-666B-8046-81E2-DCCAE897737A}"/>
              </a:ext>
            </a:extLst>
          </p:cNvPr>
          <p:cNvGrpSpPr/>
          <p:nvPr/>
        </p:nvGrpSpPr>
        <p:grpSpPr>
          <a:xfrm>
            <a:off x="901637" y="4082888"/>
            <a:ext cx="491513" cy="500986"/>
            <a:chOff x="7158422" y="1607015"/>
            <a:chExt cx="2726357" cy="2778897"/>
          </a:xfrm>
          <a:solidFill>
            <a:schemeClr val="bg1"/>
          </a:solidFill>
        </p:grpSpPr>
        <p:sp>
          <p:nvSpPr>
            <p:cNvPr id="124" name="Freeform 242">
              <a:extLst>
                <a:ext uri="{FF2B5EF4-FFF2-40B4-BE49-F238E27FC236}">
                  <a16:creationId xmlns:a16="http://schemas.microsoft.com/office/drawing/2014/main" id="{BF7E7839-82FA-E440-B559-74E96918514A}"/>
                </a:ext>
              </a:extLst>
            </p:cNvPr>
            <p:cNvSpPr/>
            <p:nvPr/>
          </p:nvSpPr>
          <p:spPr bwMode="auto">
            <a:xfrm>
              <a:off x="7158422" y="2971800"/>
              <a:ext cx="2726357" cy="1414112"/>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rnd">
              <a:solidFill>
                <a:schemeClr val="tx2"/>
              </a:solidFill>
              <a:miter lim="800000"/>
              <a:headEnd/>
              <a:tailEnd/>
            </a:ln>
            <a:effectLst/>
          </p:spPr>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25" name="Diamond 124">
              <a:extLst>
                <a:ext uri="{FF2B5EF4-FFF2-40B4-BE49-F238E27FC236}">
                  <a16:creationId xmlns:a16="http://schemas.microsoft.com/office/drawing/2014/main" id="{FE7B313F-3A79-634F-BD97-BDDF931C8213}"/>
                </a:ext>
              </a:extLst>
            </p:cNvPr>
            <p:cNvSpPr/>
            <p:nvPr/>
          </p:nvSpPr>
          <p:spPr bwMode="auto">
            <a:xfrm>
              <a:off x="7158422" y="2521415"/>
              <a:ext cx="2726357" cy="1414112"/>
            </a:xfrm>
            <a:prstGeom prst="diamond">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6" name="Freeform 243">
              <a:extLst>
                <a:ext uri="{FF2B5EF4-FFF2-40B4-BE49-F238E27FC236}">
                  <a16:creationId xmlns:a16="http://schemas.microsoft.com/office/drawing/2014/main" id="{41F2E185-D5A7-C84B-9401-202B03432948}"/>
                </a:ext>
              </a:extLst>
            </p:cNvPr>
            <p:cNvSpPr/>
            <p:nvPr/>
          </p:nvSpPr>
          <p:spPr bwMode="auto">
            <a:xfrm>
              <a:off x="7158422" y="2057400"/>
              <a:ext cx="2726357" cy="1414112"/>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rnd">
              <a:solidFill>
                <a:schemeClr val="tx2"/>
              </a:solidFill>
              <a:miter lim="800000"/>
              <a:headEnd/>
              <a:tailEnd/>
            </a:ln>
            <a:effectLst/>
          </p:spPr>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27" name="Diamond 126">
              <a:extLst>
                <a:ext uri="{FF2B5EF4-FFF2-40B4-BE49-F238E27FC236}">
                  <a16:creationId xmlns:a16="http://schemas.microsoft.com/office/drawing/2014/main" id="{306809B3-1773-1B44-B80F-977BB074F087}"/>
                </a:ext>
              </a:extLst>
            </p:cNvPr>
            <p:cNvSpPr/>
            <p:nvPr/>
          </p:nvSpPr>
          <p:spPr bwMode="auto">
            <a:xfrm>
              <a:off x="7158422" y="1607015"/>
              <a:ext cx="2726357" cy="1414112"/>
            </a:xfrm>
            <a:prstGeom prst="diamond">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28" name="Freeform: Shape 830">
            <a:extLst>
              <a:ext uri="{FF2B5EF4-FFF2-40B4-BE49-F238E27FC236}">
                <a16:creationId xmlns:a16="http://schemas.microsoft.com/office/drawing/2014/main" id="{D8C5F275-07C0-C74D-880F-B1647D309435}"/>
              </a:ext>
            </a:extLst>
          </p:cNvPr>
          <p:cNvSpPr>
            <a:spLocks noChangeArrowheads="1"/>
          </p:cNvSpPr>
          <p:nvPr/>
        </p:nvSpPr>
        <p:spPr bwMode="auto">
          <a:xfrm>
            <a:off x="939836" y="3174517"/>
            <a:ext cx="441681" cy="601179"/>
          </a:xfrm>
          <a:custGeom>
            <a:avLst/>
            <a:gdLst>
              <a:gd name="connsiteX0" fmla="*/ 1913 w 3330348"/>
              <a:gd name="connsiteY0" fmla="*/ 3068274 h 4532979"/>
              <a:gd name="connsiteX1" fmla="*/ 33829 w 3330348"/>
              <a:gd name="connsiteY1" fmla="*/ 3129345 h 4532979"/>
              <a:gd name="connsiteX2" fmla="*/ 1665174 w 3330348"/>
              <a:gd name="connsiteY2" fmla="*/ 3385824 h 4532979"/>
              <a:gd name="connsiteX3" fmla="*/ 3296519 w 3330348"/>
              <a:gd name="connsiteY3" fmla="*/ 3129345 h 4532979"/>
              <a:gd name="connsiteX4" fmla="*/ 3328434 w 3330348"/>
              <a:gd name="connsiteY4" fmla="*/ 3068274 h 4532979"/>
              <a:gd name="connsiteX5" fmla="*/ 3330348 w 3330348"/>
              <a:gd name="connsiteY5" fmla="*/ 4211766 h 4532979"/>
              <a:gd name="connsiteX6" fmla="*/ 1665174 w 3330348"/>
              <a:gd name="connsiteY6" fmla="*/ 4532979 h 4532979"/>
              <a:gd name="connsiteX7" fmla="*/ 0 w 3330348"/>
              <a:gd name="connsiteY7" fmla="*/ 4211766 h 4532979"/>
              <a:gd name="connsiteX8" fmla="*/ 1913 w 3330348"/>
              <a:gd name="connsiteY8" fmla="*/ 3068274 h 4532979"/>
              <a:gd name="connsiteX9" fmla="*/ 1913 w 3330348"/>
              <a:gd name="connsiteY9" fmla="*/ 1762531 h 4532979"/>
              <a:gd name="connsiteX10" fmla="*/ 33829 w 3330348"/>
              <a:gd name="connsiteY10" fmla="*/ 1823602 h 4532979"/>
              <a:gd name="connsiteX11" fmla="*/ 1665174 w 3330348"/>
              <a:gd name="connsiteY11" fmla="*/ 2080081 h 4532979"/>
              <a:gd name="connsiteX12" fmla="*/ 3296519 w 3330348"/>
              <a:gd name="connsiteY12" fmla="*/ 1823602 h 4532979"/>
              <a:gd name="connsiteX13" fmla="*/ 3328434 w 3330348"/>
              <a:gd name="connsiteY13" fmla="*/ 1762531 h 4532979"/>
              <a:gd name="connsiteX14" fmla="*/ 3330348 w 3330348"/>
              <a:gd name="connsiteY14" fmla="*/ 2906023 h 4532979"/>
              <a:gd name="connsiteX15" fmla="*/ 1665174 w 3330348"/>
              <a:gd name="connsiteY15" fmla="*/ 3227236 h 4532979"/>
              <a:gd name="connsiteX16" fmla="*/ 0 w 3330348"/>
              <a:gd name="connsiteY16" fmla="*/ 2906023 h 4532979"/>
              <a:gd name="connsiteX17" fmla="*/ 1913 w 3330348"/>
              <a:gd name="connsiteY17" fmla="*/ 1762531 h 4532979"/>
              <a:gd name="connsiteX18" fmla="*/ 1913 w 3330348"/>
              <a:gd name="connsiteY18" fmla="*/ 456788 h 4532979"/>
              <a:gd name="connsiteX19" fmla="*/ 33829 w 3330348"/>
              <a:gd name="connsiteY19" fmla="*/ 517859 h 4532979"/>
              <a:gd name="connsiteX20" fmla="*/ 1665174 w 3330348"/>
              <a:gd name="connsiteY20" fmla="*/ 774338 h 4532979"/>
              <a:gd name="connsiteX21" fmla="*/ 3296519 w 3330348"/>
              <a:gd name="connsiteY21" fmla="*/ 517859 h 4532979"/>
              <a:gd name="connsiteX22" fmla="*/ 3328434 w 3330348"/>
              <a:gd name="connsiteY22" fmla="*/ 456788 h 4532979"/>
              <a:gd name="connsiteX23" fmla="*/ 3330348 w 3330348"/>
              <a:gd name="connsiteY23" fmla="*/ 1600280 h 4532979"/>
              <a:gd name="connsiteX24" fmla="*/ 1665174 w 3330348"/>
              <a:gd name="connsiteY24" fmla="*/ 1921493 h 4532979"/>
              <a:gd name="connsiteX25" fmla="*/ 0 w 3330348"/>
              <a:gd name="connsiteY25" fmla="*/ 1600280 h 4532979"/>
              <a:gd name="connsiteX26" fmla="*/ 1913 w 3330348"/>
              <a:gd name="connsiteY26" fmla="*/ 456788 h 4532979"/>
              <a:gd name="connsiteX27" fmla="*/ 1665174 w 3330348"/>
              <a:gd name="connsiteY27" fmla="*/ 0 h 4532979"/>
              <a:gd name="connsiteX28" fmla="*/ 3267703 w 3330348"/>
              <a:gd name="connsiteY28" fmla="*/ 309127 h 4532979"/>
              <a:gd name="connsiteX29" fmla="*/ 1665174 w 3330348"/>
              <a:gd name="connsiteY29" fmla="*/ 618254 h 4532979"/>
              <a:gd name="connsiteX30" fmla="*/ 62645 w 3330348"/>
              <a:gd name="connsiteY30" fmla="*/ 309127 h 4532979"/>
              <a:gd name="connsiteX31" fmla="*/ 1665174 w 3330348"/>
              <a:gd name="connsiteY31" fmla="*/ 0 h 4532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30348" h="4532979">
                <a:moveTo>
                  <a:pt x="1913" y="3068274"/>
                </a:moveTo>
                <a:cubicBezTo>
                  <a:pt x="12552" y="3088631"/>
                  <a:pt x="12431" y="3109172"/>
                  <a:pt x="33829" y="3129345"/>
                </a:cubicBezTo>
                <a:cubicBezTo>
                  <a:pt x="189101" y="3275719"/>
                  <a:pt x="860482" y="3385824"/>
                  <a:pt x="1665174" y="3385824"/>
                </a:cubicBezTo>
                <a:cubicBezTo>
                  <a:pt x="2469867" y="3385824"/>
                  <a:pt x="3141247" y="3275719"/>
                  <a:pt x="3296519" y="3129345"/>
                </a:cubicBezTo>
                <a:cubicBezTo>
                  <a:pt x="3312446" y="3112160"/>
                  <a:pt x="3317796" y="3088631"/>
                  <a:pt x="3328434" y="3068274"/>
                </a:cubicBezTo>
                <a:cubicBezTo>
                  <a:pt x="3329074" y="3449438"/>
                  <a:pt x="3329709" y="3830602"/>
                  <a:pt x="3330348" y="4211766"/>
                </a:cubicBezTo>
                <a:cubicBezTo>
                  <a:pt x="3330348" y="4389168"/>
                  <a:pt x="2584823" y="4532979"/>
                  <a:pt x="1665174" y="4532979"/>
                </a:cubicBezTo>
                <a:cubicBezTo>
                  <a:pt x="745525" y="4532979"/>
                  <a:pt x="0" y="4389168"/>
                  <a:pt x="0" y="4211766"/>
                </a:cubicBezTo>
                <a:cubicBezTo>
                  <a:pt x="639" y="3830602"/>
                  <a:pt x="1274" y="3449438"/>
                  <a:pt x="1913" y="3068274"/>
                </a:cubicBezTo>
                <a:close/>
                <a:moveTo>
                  <a:pt x="1913" y="1762531"/>
                </a:moveTo>
                <a:cubicBezTo>
                  <a:pt x="12552" y="1782888"/>
                  <a:pt x="12431" y="1803429"/>
                  <a:pt x="33829" y="1823602"/>
                </a:cubicBezTo>
                <a:cubicBezTo>
                  <a:pt x="189101" y="1969976"/>
                  <a:pt x="860482" y="2080081"/>
                  <a:pt x="1665174" y="2080081"/>
                </a:cubicBezTo>
                <a:cubicBezTo>
                  <a:pt x="2469867" y="2080081"/>
                  <a:pt x="3141247" y="1969976"/>
                  <a:pt x="3296519" y="1823602"/>
                </a:cubicBezTo>
                <a:cubicBezTo>
                  <a:pt x="3312446" y="1806417"/>
                  <a:pt x="3317796" y="1782888"/>
                  <a:pt x="3328434" y="1762531"/>
                </a:cubicBezTo>
                <a:cubicBezTo>
                  <a:pt x="3329074" y="2143695"/>
                  <a:pt x="3329709" y="2524859"/>
                  <a:pt x="3330348" y="2906023"/>
                </a:cubicBezTo>
                <a:cubicBezTo>
                  <a:pt x="3330348" y="3083425"/>
                  <a:pt x="2584823" y="3227236"/>
                  <a:pt x="1665174" y="3227236"/>
                </a:cubicBezTo>
                <a:cubicBezTo>
                  <a:pt x="745525" y="3227236"/>
                  <a:pt x="0" y="3083425"/>
                  <a:pt x="0" y="2906023"/>
                </a:cubicBezTo>
                <a:cubicBezTo>
                  <a:pt x="639" y="2524859"/>
                  <a:pt x="1274" y="2143695"/>
                  <a:pt x="1913" y="1762531"/>
                </a:cubicBezTo>
                <a:close/>
                <a:moveTo>
                  <a:pt x="1913" y="456788"/>
                </a:moveTo>
                <a:cubicBezTo>
                  <a:pt x="12552" y="477145"/>
                  <a:pt x="12431" y="497686"/>
                  <a:pt x="33829" y="517859"/>
                </a:cubicBezTo>
                <a:cubicBezTo>
                  <a:pt x="189101" y="664233"/>
                  <a:pt x="860482" y="774338"/>
                  <a:pt x="1665174" y="774338"/>
                </a:cubicBezTo>
                <a:cubicBezTo>
                  <a:pt x="2469867" y="774338"/>
                  <a:pt x="3141247" y="664233"/>
                  <a:pt x="3296519" y="517859"/>
                </a:cubicBezTo>
                <a:cubicBezTo>
                  <a:pt x="3312446" y="500674"/>
                  <a:pt x="3317796" y="477145"/>
                  <a:pt x="3328434" y="456788"/>
                </a:cubicBezTo>
                <a:cubicBezTo>
                  <a:pt x="3329074" y="837952"/>
                  <a:pt x="3329709" y="1219116"/>
                  <a:pt x="3330348" y="1600280"/>
                </a:cubicBezTo>
                <a:cubicBezTo>
                  <a:pt x="3330348" y="1777682"/>
                  <a:pt x="2584823" y="1921493"/>
                  <a:pt x="1665174" y="1921493"/>
                </a:cubicBezTo>
                <a:cubicBezTo>
                  <a:pt x="745525" y="1921493"/>
                  <a:pt x="0" y="1777682"/>
                  <a:pt x="0" y="1600280"/>
                </a:cubicBezTo>
                <a:cubicBezTo>
                  <a:pt x="639" y="1219116"/>
                  <a:pt x="1274" y="837952"/>
                  <a:pt x="1913" y="456788"/>
                </a:cubicBezTo>
                <a:close/>
                <a:moveTo>
                  <a:pt x="1665174" y="0"/>
                </a:moveTo>
                <a:cubicBezTo>
                  <a:pt x="2550226" y="0"/>
                  <a:pt x="3267703" y="138401"/>
                  <a:pt x="3267703" y="309127"/>
                </a:cubicBezTo>
                <a:cubicBezTo>
                  <a:pt x="3267703" y="479853"/>
                  <a:pt x="2550226" y="618254"/>
                  <a:pt x="1665174" y="618254"/>
                </a:cubicBezTo>
                <a:cubicBezTo>
                  <a:pt x="780122" y="618254"/>
                  <a:pt x="62645" y="479853"/>
                  <a:pt x="62645" y="309127"/>
                </a:cubicBezTo>
                <a:cubicBezTo>
                  <a:pt x="62645" y="138401"/>
                  <a:pt x="780122" y="0"/>
                  <a:pt x="1665174" y="0"/>
                </a:cubicBezTo>
                <a:close/>
              </a:path>
            </a:pathLst>
          </a:custGeom>
          <a:solidFill>
            <a:schemeClr val="bg1"/>
          </a:solidFill>
          <a:ln w="12700">
            <a:solidFill>
              <a:schemeClr val="tx2"/>
            </a:solidFill>
            <a:round/>
            <a:headEnd/>
            <a:tailEnd/>
          </a:ln>
        </p:spPr>
        <p:txBody>
          <a:bodyPr vert="horz" wrap="square" lIns="89604" tIns="44802" rIns="89604" bIns="44802" numCol="1" anchor="t" anchorCtr="0" compatLnSpc="1">
            <a:prstTxWarp prst="textNoShape">
              <a:avLst/>
            </a:prstTxWarp>
            <a:no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36" name="Group 35">
            <a:extLst>
              <a:ext uri="{FF2B5EF4-FFF2-40B4-BE49-F238E27FC236}">
                <a16:creationId xmlns:a16="http://schemas.microsoft.com/office/drawing/2014/main" id="{A90E460A-9C70-F14D-858C-8DB8D728BF62}"/>
              </a:ext>
            </a:extLst>
          </p:cNvPr>
          <p:cNvGrpSpPr/>
          <p:nvPr/>
        </p:nvGrpSpPr>
        <p:grpSpPr>
          <a:xfrm rot="1800000">
            <a:off x="6890378" y="3434252"/>
            <a:ext cx="597302" cy="692222"/>
            <a:chOff x="6281977" y="1925712"/>
            <a:chExt cx="609366" cy="706203"/>
          </a:xfrm>
        </p:grpSpPr>
        <p:sp>
          <p:nvSpPr>
            <p:cNvPr id="18" name="Hexagon 17">
              <a:extLst>
                <a:ext uri="{FF2B5EF4-FFF2-40B4-BE49-F238E27FC236}">
                  <a16:creationId xmlns:a16="http://schemas.microsoft.com/office/drawing/2014/main" id="{AF160ACA-E317-7843-A564-126A5A36EFC2}"/>
                </a:ext>
              </a:extLst>
            </p:cNvPr>
            <p:cNvSpPr/>
            <p:nvPr/>
          </p:nvSpPr>
          <p:spPr bwMode="auto">
            <a:xfrm rot="16200000">
              <a:off x="6261742" y="2000529"/>
              <a:ext cx="651443" cy="557784"/>
            </a:xfrm>
            <a:prstGeom prst="hexagon">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FE754B18-4F9B-374E-8126-A6D157270B71}"/>
                </a:ext>
              </a:extLst>
            </p:cNvPr>
            <p:cNvCxnSpPr>
              <a:stCxn id="18" idx="3"/>
              <a:endCxn id="18" idx="0"/>
            </p:cNvCxnSpPr>
            <p:nvPr/>
          </p:nvCxnSpPr>
          <p:spPr>
            <a:xfrm flipV="1">
              <a:off x="6587464" y="1953700"/>
              <a:ext cx="0" cy="651443"/>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87836A71-D889-3B4D-AB22-C605A9A8CA59}"/>
                </a:ext>
              </a:extLst>
            </p:cNvPr>
            <p:cNvGrpSpPr/>
            <p:nvPr/>
          </p:nvGrpSpPr>
          <p:grpSpPr>
            <a:xfrm>
              <a:off x="6584950" y="2093649"/>
              <a:ext cx="281406" cy="372551"/>
              <a:chOff x="6584950" y="2093146"/>
              <a:chExt cx="281406" cy="372551"/>
            </a:xfrm>
          </p:grpSpPr>
          <p:cxnSp>
            <p:nvCxnSpPr>
              <p:cNvPr id="26" name="Straight Connector 25">
                <a:extLst>
                  <a:ext uri="{FF2B5EF4-FFF2-40B4-BE49-F238E27FC236}">
                    <a16:creationId xmlns:a16="http://schemas.microsoft.com/office/drawing/2014/main" id="{4769026C-FEFE-9F4B-A04A-2F053588B82D}"/>
                  </a:ext>
                </a:extLst>
              </p:cNvPr>
              <p:cNvCxnSpPr>
                <a:cxnSpLocks/>
                <a:stCxn id="18" idx="2"/>
              </p:cNvCxnSpPr>
              <p:nvPr/>
            </p:nvCxnSpPr>
            <p:spPr>
              <a:xfrm flipH="1" flipV="1">
                <a:off x="6584950" y="2415525"/>
                <a:ext cx="281406" cy="50172"/>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CEA1AA3-A4BB-0148-B4CE-FB86085C2F60}"/>
                  </a:ext>
                </a:extLst>
              </p:cNvPr>
              <p:cNvCxnSpPr>
                <a:stCxn id="18" idx="1"/>
              </p:cNvCxnSpPr>
              <p:nvPr/>
            </p:nvCxnSpPr>
            <p:spPr>
              <a:xfrm flipH="1">
                <a:off x="6584950" y="2093146"/>
                <a:ext cx="281406" cy="110304"/>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14C19EC-E569-6046-AD25-9C0915A610B2}"/>
                  </a:ext>
                </a:extLst>
              </p:cNvPr>
              <p:cNvCxnSpPr>
                <a:cxnSpLocks/>
                <a:stCxn id="18" idx="1"/>
              </p:cNvCxnSpPr>
              <p:nvPr/>
            </p:nvCxnSpPr>
            <p:spPr>
              <a:xfrm flipH="1">
                <a:off x="6584950" y="2093146"/>
                <a:ext cx="281406" cy="32237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0" name="Group 129">
              <a:extLst>
                <a:ext uri="{FF2B5EF4-FFF2-40B4-BE49-F238E27FC236}">
                  <a16:creationId xmlns:a16="http://schemas.microsoft.com/office/drawing/2014/main" id="{FE22AA46-5C7A-FB4F-B3B4-C824A3FAF2DE}"/>
                </a:ext>
              </a:extLst>
            </p:cNvPr>
            <p:cNvGrpSpPr/>
            <p:nvPr/>
          </p:nvGrpSpPr>
          <p:grpSpPr>
            <a:xfrm flipH="1">
              <a:off x="6304801" y="2093649"/>
              <a:ext cx="281406" cy="372551"/>
              <a:chOff x="6584950" y="2093146"/>
              <a:chExt cx="281406" cy="372551"/>
            </a:xfrm>
          </p:grpSpPr>
          <p:cxnSp>
            <p:nvCxnSpPr>
              <p:cNvPr id="131" name="Straight Connector 130">
                <a:extLst>
                  <a:ext uri="{FF2B5EF4-FFF2-40B4-BE49-F238E27FC236}">
                    <a16:creationId xmlns:a16="http://schemas.microsoft.com/office/drawing/2014/main" id="{5B13F7B4-58D2-1540-A909-8E33A81753B6}"/>
                  </a:ext>
                </a:extLst>
              </p:cNvPr>
              <p:cNvCxnSpPr>
                <a:cxnSpLocks/>
              </p:cNvCxnSpPr>
              <p:nvPr/>
            </p:nvCxnSpPr>
            <p:spPr>
              <a:xfrm flipH="1" flipV="1">
                <a:off x="6584950" y="2415525"/>
                <a:ext cx="281406" cy="50172"/>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1C94D041-D1B2-944B-8A4B-A1CC33A27B47}"/>
                  </a:ext>
                </a:extLst>
              </p:cNvPr>
              <p:cNvCxnSpPr/>
              <p:nvPr/>
            </p:nvCxnSpPr>
            <p:spPr>
              <a:xfrm flipH="1">
                <a:off x="6584950" y="2093146"/>
                <a:ext cx="281406" cy="110304"/>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1C554105-D40F-344F-AB4D-981B388DAB23}"/>
                  </a:ext>
                </a:extLst>
              </p:cNvPr>
              <p:cNvCxnSpPr>
                <a:cxnSpLocks/>
              </p:cNvCxnSpPr>
              <p:nvPr/>
            </p:nvCxnSpPr>
            <p:spPr>
              <a:xfrm flipH="1">
                <a:off x="6584950" y="2093146"/>
                <a:ext cx="281406" cy="32237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5" name="Oval 34">
              <a:extLst>
                <a:ext uri="{FF2B5EF4-FFF2-40B4-BE49-F238E27FC236}">
                  <a16:creationId xmlns:a16="http://schemas.microsoft.com/office/drawing/2014/main" id="{8CC92139-8474-BB43-8E88-D968DDA7F2A3}"/>
                </a:ext>
              </a:extLst>
            </p:cNvPr>
            <p:cNvSpPr/>
            <p:nvPr/>
          </p:nvSpPr>
          <p:spPr bwMode="auto">
            <a:xfrm>
              <a:off x="6281977" y="2066999"/>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F6E59F5C-6D69-0C49-8943-09C13CFAD6DA}"/>
                </a:ext>
              </a:extLst>
            </p:cNvPr>
            <p:cNvSpPr/>
            <p:nvPr/>
          </p:nvSpPr>
          <p:spPr bwMode="auto">
            <a:xfrm>
              <a:off x="6558202" y="2173362"/>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Oval 135">
              <a:extLst>
                <a:ext uri="{FF2B5EF4-FFF2-40B4-BE49-F238E27FC236}">
                  <a16:creationId xmlns:a16="http://schemas.microsoft.com/office/drawing/2014/main" id="{2E2691A0-59DA-6F47-A3E8-0C98CBD01CD3}"/>
                </a:ext>
              </a:extLst>
            </p:cNvPr>
            <p:cNvSpPr/>
            <p:nvPr/>
          </p:nvSpPr>
          <p:spPr bwMode="auto">
            <a:xfrm>
              <a:off x="6831252" y="2066999"/>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D0ADD5EE-16CD-6D45-BA20-CEE6DFFF32F8}"/>
                </a:ext>
              </a:extLst>
            </p:cNvPr>
            <p:cNvSpPr/>
            <p:nvPr/>
          </p:nvSpPr>
          <p:spPr bwMode="auto">
            <a:xfrm>
              <a:off x="6558202" y="2387674"/>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Oval 137">
              <a:extLst>
                <a:ext uri="{FF2B5EF4-FFF2-40B4-BE49-F238E27FC236}">
                  <a16:creationId xmlns:a16="http://schemas.microsoft.com/office/drawing/2014/main" id="{37CEA329-00D8-2C49-B8C3-3BE3F517B0A6}"/>
                </a:ext>
              </a:extLst>
            </p:cNvPr>
            <p:cNvSpPr/>
            <p:nvPr/>
          </p:nvSpPr>
          <p:spPr bwMode="auto">
            <a:xfrm>
              <a:off x="6834427" y="2438474"/>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Oval 138">
              <a:extLst>
                <a:ext uri="{FF2B5EF4-FFF2-40B4-BE49-F238E27FC236}">
                  <a16:creationId xmlns:a16="http://schemas.microsoft.com/office/drawing/2014/main" id="{C0F91D38-427B-9042-8D3C-04E04A8D6F36}"/>
                </a:ext>
              </a:extLst>
            </p:cNvPr>
            <p:cNvSpPr/>
            <p:nvPr/>
          </p:nvSpPr>
          <p:spPr bwMode="auto">
            <a:xfrm>
              <a:off x="6558202" y="2574999"/>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Oval 139">
              <a:extLst>
                <a:ext uri="{FF2B5EF4-FFF2-40B4-BE49-F238E27FC236}">
                  <a16:creationId xmlns:a16="http://schemas.microsoft.com/office/drawing/2014/main" id="{35CFC60B-57B0-3C47-A200-8A0BD902F79E}"/>
                </a:ext>
              </a:extLst>
            </p:cNvPr>
            <p:cNvSpPr/>
            <p:nvPr/>
          </p:nvSpPr>
          <p:spPr bwMode="auto">
            <a:xfrm>
              <a:off x="6291502" y="2438474"/>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Oval 140">
              <a:extLst>
                <a:ext uri="{FF2B5EF4-FFF2-40B4-BE49-F238E27FC236}">
                  <a16:creationId xmlns:a16="http://schemas.microsoft.com/office/drawing/2014/main" id="{86CF1A0E-A076-4F42-8236-B1AF63F4FE6A}"/>
                </a:ext>
              </a:extLst>
            </p:cNvPr>
            <p:cNvSpPr/>
            <p:nvPr/>
          </p:nvSpPr>
          <p:spPr bwMode="auto">
            <a:xfrm>
              <a:off x="6558202" y="1925712"/>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2" name="Group 141">
            <a:extLst>
              <a:ext uri="{FF2B5EF4-FFF2-40B4-BE49-F238E27FC236}">
                <a16:creationId xmlns:a16="http://schemas.microsoft.com/office/drawing/2014/main" id="{ECF2AE12-B2D1-E746-BE70-8A4EADB65800}"/>
              </a:ext>
            </a:extLst>
          </p:cNvPr>
          <p:cNvGrpSpPr/>
          <p:nvPr/>
        </p:nvGrpSpPr>
        <p:grpSpPr>
          <a:xfrm>
            <a:off x="8742470" y="3451232"/>
            <a:ext cx="687355" cy="543450"/>
            <a:chOff x="967154" y="1481462"/>
            <a:chExt cx="5331069" cy="4214950"/>
          </a:xfrm>
          <a:noFill/>
        </p:grpSpPr>
        <p:cxnSp>
          <p:nvCxnSpPr>
            <p:cNvPr id="143" name="Straight Connector 142">
              <a:extLst>
                <a:ext uri="{FF2B5EF4-FFF2-40B4-BE49-F238E27FC236}">
                  <a16:creationId xmlns:a16="http://schemas.microsoft.com/office/drawing/2014/main" id="{64089B54-8DB0-B04E-9823-7BE8382A2547}"/>
                </a:ext>
              </a:extLst>
            </p:cNvPr>
            <p:cNvCxnSpPr>
              <a:cxnSpLocks/>
            </p:cNvCxnSpPr>
            <p:nvPr/>
          </p:nvCxnSpPr>
          <p:spPr>
            <a:xfrm>
              <a:off x="967154" y="5696412"/>
              <a:ext cx="5331069" cy="0"/>
            </a:xfrm>
            <a:prstGeom prst="line">
              <a:avLst/>
            </a:prstGeom>
            <a:grpFill/>
            <a:ln w="1270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44" name="Rectangle 143">
              <a:extLst>
                <a:ext uri="{FF2B5EF4-FFF2-40B4-BE49-F238E27FC236}">
                  <a16:creationId xmlns:a16="http://schemas.microsoft.com/office/drawing/2014/main" id="{3CBD3BC3-2F7C-DB4D-BF73-A2CF4B5E2EB1}"/>
                </a:ext>
              </a:extLst>
            </p:cNvPr>
            <p:cNvSpPr/>
            <p:nvPr/>
          </p:nvSpPr>
          <p:spPr bwMode="auto">
            <a:xfrm>
              <a:off x="1286608" y="2696308"/>
              <a:ext cx="2793023" cy="3000104"/>
            </a:xfrm>
            <a:prstGeom prst="rect">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Rectangle 144">
              <a:extLst>
                <a:ext uri="{FF2B5EF4-FFF2-40B4-BE49-F238E27FC236}">
                  <a16:creationId xmlns:a16="http://schemas.microsoft.com/office/drawing/2014/main" id="{55B47254-3D1A-EE4F-A78A-2BE132CE500B}"/>
                </a:ext>
              </a:extLst>
            </p:cNvPr>
            <p:cNvSpPr/>
            <p:nvPr/>
          </p:nvSpPr>
          <p:spPr bwMode="auto">
            <a:xfrm>
              <a:off x="2225919" y="4700954"/>
              <a:ext cx="914400" cy="995458"/>
            </a:xfrm>
            <a:prstGeom prst="rect">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Freeform: Shape 404">
              <a:extLst>
                <a:ext uri="{FF2B5EF4-FFF2-40B4-BE49-F238E27FC236}">
                  <a16:creationId xmlns:a16="http://schemas.microsoft.com/office/drawing/2014/main" id="{B473EF98-2A77-D645-8470-93AC438D260B}"/>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Freeform: Shape 405">
              <a:extLst>
                <a:ext uri="{FF2B5EF4-FFF2-40B4-BE49-F238E27FC236}">
                  <a16:creationId xmlns:a16="http://schemas.microsoft.com/office/drawing/2014/main" id="{9B4C1DF2-30C7-2340-82CF-A5FDAF802A14}"/>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48" name="Straight Connector 147">
            <a:extLst>
              <a:ext uri="{FF2B5EF4-FFF2-40B4-BE49-F238E27FC236}">
                <a16:creationId xmlns:a16="http://schemas.microsoft.com/office/drawing/2014/main" id="{C55AAC20-8B17-4E4A-8ECF-457329EBB6FA}"/>
              </a:ext>
            </a:extLst>
          </p:cNvPr>
          <p:cNvCxnSpPr>
            <a:cxnSpLocks/>
          </p:cNvCxnSpPr>
          <p:nvPr/>
        </p:nvCxnSpPr>
        <p:spPr>
          <a:xfrm flipV="1">
            <a:off x="7189027" y="1949687"/>
            <a:ext cx="0" cy="1341106"/>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52" name="Freeform 151">
            <a:extLst>
              <a:ext uri="{FF2B5EF4-FFF2-40B4-BE49-F238E27FC236}">
                <a16:creationId xmlns:a16="http://schemas.microsoft.com/office/drawing/2014/main" id="{615C6FEC-BB4E-0947-83BA-D52AC7DFD493}"/>
              </a:ext>
            </a:extLst>
          </p:cNvPr>
          <p:cNvSpPr/>
          <p:nvPr/>
        </p:nvSpPr>
        <p:spPr bwMode="auto">
          <a:xfrm flipH="1">
            <a:off x="2014165" y="3642576"/>
            <a:ext cx="115670" cy="25890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54" name="Freeform 153">
            <a:extLst>
              <a:ext uri="{FF2B5EF4-FFF2-40B4-BE49-F238E27FC236}">
                <a16:creationId xmlns:a16="http://schemas.microsoft.com/office/drawing/2014/main" id="{4342671D-B324-CC45-B54F-4B018589CCE1}"/>
              </a:ext>
            </a:extLst>
          </p:cNvPr>
          <p:cNvSpPr/>
          <p:nvPr/>
        </p:nvSpPr>
        <p:spPr bwMode="auto">
          <a:xfrm flipH="1">
            <a:off x="4407686" y="3642576"/>
            <a:ext cx="115670" cy="25890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55" name="Freeform 154">
            <a:extLst>
              <a:ext uri="{FF2B5EF4-FFF2-40B4-BE49-F238E27FC236}">
                <a16:creationId xmlns:a16="http://schemas.microsoft.com/office/drawing/2014/main" id="{D85E2878-6302-DF4C-A2DD-9DDF2DD478A6}"/>
              </a:ext>
            </a:extLst>
          </p:cNvPr>
          <p:cNvSpPr/>
          <p:nvPr/>
        </p:nvSpPr>
        <p:spPr bwMode="auto">
          <a:xfrm flipH="1">
            <a:off x="6190096" y="3642576"/>
            <a:ext cx="115670" cy="25890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56" name="Freeform 155">
            <a:extLst>
              <a:ext uri="{FF2B5EF4-FFF2-40B4-BE49-F238E27FC236}">
                <a16:creationId xmlns:a16="http://schemas.microsoft.com/office/drawing/2014/main" id="{B3668756-9080-3548-A0EF-C9F633A98E1C}"/>
              </a:ext>
            </a:extLst>
          </p:cNvPr>
          <p:cNvSpPr/>
          <p:nvPr/>
        </p:nvSpPr>
        <p:spPr bwMode="auto">
          <a:xfrm flipH="1">
            <a:off x="8083243" y="3642576"/>
            <a:ext cx="115670" cy="25890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57" name="Freeform 156">
            <a:extLst>
              <a:ext uri="{FF2B5EF4-FFF2-40B4-BE49-F238E27FC236}">
                <a16:creationId xmlns:a16="http://schemas.microsoft.com/office/drawing/2014/main" id="{69AF45C1-2E1D-7B4D-B017-691498B72DB5}"/>
              </a:ext>
            </a:extLst>
          </p:cNvPr>
          <p:cNvSpPr/>
          <p:nvPr/>
        </p:nvSpPr>
        <p:spPr bwMode="auto">
          <a:xfrm flipH="1">
            <a:off x="9916581" y="3642576"/>
            <a:ext cx="115670" cy="25890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5354867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0" presetClass="entr" presetSubtype="0" fill="hold" nodeType="withEffect">
                                  <p:stCondLst>
                                    <p:cond delay="0"/>
                                  </p:stCondLst>
                                  <p:childTnLst>
                                    <p:set>
                                      <p:cBhvr>
                                        <p:cTn id="9" dur="1" fill="hold">
                                          <p:stCondLst>
                                            <p:cond delay="0"/>
                                          </p:stCondLst>
                                        </p:cTn>
                                        <p:tgtEl>
                                          <p:spTgt spid="121"/>
                                        </p:tgtEl>
                                        <p:attrNameLst>
                                          <p:attrName>style.visibility</p:attrName>
                                        </p:attrNameLst>
                                      </p:cBhvr>
                                      <p:to>
                                        <p:strVal val="visible"/>
                                      </p:to>
                                    </p:set>
                                    <p:animEffect transition="in" filter="fade">
                                      <p:cBhvr>
                                        <p:cTn id="10" dur="500"/>
                                        <p:tgtEl>
                                          <p:spTgt spid="12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childTnLst>
                          </p:cTn>
                        </p:par>
                        <p:par>
                          <p:cTn id="14" fill="hold">
                            <p:stCondLst>
                              <p:cond delay="500"/>
                            </p:stCondLst>
                            <p:childTnLst>
                              <p:par>
                                <p:cTn id="15" presetID="10" presetClass="entr" presetSubtype="0" fill="hold" nodeType="afterEffect">
                                  <p:stCondLst>
                                    <p:cond delay="500"/>
                                  </p:stCondLst>
                                  <p:childTnLst>
                                    <p:set>
                                      <p:cBhvr>
                                        <p:cTn id="16" dur="1" fill="hold">
                                          <p:stCondLst>
                                            <p:cond delay="0"/>
                                          </p:stCondLst>
                                        </p:cTn>
                                        <p:tgtEl>
                                          <p:spTgt spid="79"/>
                                        </p:tgtEl>
                                        <p:attrNameLst>
                                          <p:attrName>style.visibility</p:attrName>
                                        </p:attrNameLst>
                                      </p:cBhvr>
                                      <p:to>
                                        <p:strVal val="visible"/>
                                      </p:to>
                                    </p:set>
                                    <p:animEffect transition="in" filter="fade">
                                      <p:cBhvr>
                                        <p:cTn id="17" dur="500"/>
                                        <p:tgtEl>
                                          <p:spTgt spid="79"/>
                                        </p:tgtEl>
                                      </p:cBhvr>
                                    </p:animEffect>
                                  </p:childTnLst>
                                </p:cTn>
                              </p:par>
                              <p:par>
                                <p:cTn id="18" presetID="10" presetClass="entr" presetSubtype="0" fill="hold" nodeType="withEffect">
                                  <p:stCondLst>
                                    <p:cond delay="500"/>
                                  </p:stCondLst>
                                  <p:childTnLst>
                                    <p:set>
                                      <p:cBhvr>
                                        <p:cTn id="19" dur="1" fill="hold">
                                          <p:stCondLst>
                                            <p:cond delay="0"/>
                                          </p:stCondLst>
                                        </p:cTn>
                                        <p:tgtEl>
                                          <p:spTgt spid="82"/>
                                        </p:tgtEl>
                                        <p:attrNameLst>
                                          <p:attrName>style.visibility</p:attrName>
                                        </p:attrNameLst>
                                      </p:cBhvr>
                                      <p:to>
                                        <p:strVal val="visible"/>
                                      </p:to>
                                    </p:set>
                                    <p:animEffect transition="in" filter="fade">
                                      <p:cBhvr>
                                        <p:cTn id="20" dur="500"/>
                                        <p:tgtEl>
                                          <p:spTgt spid="82"/>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85"/>
                                        </p:tgtEl>
                                        <p:attrNameLst>
                                          <p:attrName>style.visibility</p:attrName>
                                        </p:attrNameLst>
                                      </p:cBhvr>
                                      <p:to>
                                        <p:strVal val="visible"/>
                                      </p:to>
                                    </p:set>
                                    <p:animEffect transition="in" filter="fade">
                                      <p:cBhvr>
                                        <p:cTn id="23" dur="500"/>
                                        <p:tgtEl>
                                          <p:spTgt spid="85"/>
                                        </p:tgtEl>
                                      </p:cBhvr>
                                    </p:animEffect>
                                  </p:childTnLst>
                                </p:cTn>
                              </p:par>
                              <p:par>
                                <p:cTn id="24" presetID="10" presetClass="entr" presetSubtype="0" fill="hold" nodeType="withEffect">
                                  <p:stCondLst>
                                    <p:cond delay="500"/>
                                  </p:stCondLst>
                                  <p:childTnLst>
                                    <p:set>
                                      <p:cBhvr>
                                        <p:cTn id="25" dur="1" fill="hold">
                                          <p:stCondLst>
                                            <p:cond delay="0"/>
                                          </p:stCondLst>
                                        </p:cTn>
                                        <p:tgtEl>
                                          <p:spTgt spid="91"/>
                                        </p:tgtEl>
                                        <p:attrNameLst>
                                          <p:attrName>style.visibility</p:attrName>
                                        </p:attrNameLst>
                                      </p:cBhvr>
                                      <p:to>
                                        <p:strVal val="visible"/>
                                      </p:to>
                                    </p:set>
                                    <p:animEffect transition="in" filter="fade">
                                      <p:cBhvr>
                                        <p:cTn id="26" dur="500"/>
                                        <p:tgtEl>
                                          <p:spTgt spid="91"/>
                                        </p:tgtEl>
                                      </p:cBhvr>
                                    </p:animEffect>
                                  </p:childTnLst>
                                </p:cTn>
                              </p:par>
                              <p:par>
                                <p:cTn id="27" presetID="10" presetClass="entr" presetSubtype="0" fill="hold" nodeType="withEffect">
                                  <p:stCondLst>
                                    <p:cond delay="500"/>
                                  </p:stCondLst>
                                  <p:childTnLst>
                                    <p:set>
                                      <p:cBhvr>
                                        <p:cTn id="28" dur="1" fill="hold">
                                          <p:stCondLst>
                                            <p:cond delay="0"/>
                                          </p:stCondLst>
                                        </p:cTn>
                                        <p:tgtEl>
                                          <p:spTgt spid="107"/>
                                        </p:tgtEl>
                                        <p:attrNameLst>
                                          <p:attrName>style.visibility</p:attrName>
                                        </p:attrNameLst>
                                      </p:cBhvr>
                                      <p:to>
                                        <p:strVal val="visible"/>
                                      </p:to>
                                    </p:set>
                                    <p:animEffect transition="in" filter="fade">
                                      <p:cBhvr>
                                        <p:cTn id="29" dur="500"/>
                                        <p:tgtEl>
                                          <p:spTgt spid="107"/>
                                        </p:tgtEl>
                                      </p:cBhvr>
                                    </p:animEffect>
                                  </p:childTnLst>
                                </p:cTn>
                              </p:par>
                              <p:par>
                                <p:cTn id="30" presetID="10" presetClass="entr" presetSubtype="0" fill="hold" grpId="0" nodeType="withEffect">
                                  <p:stCondLst>
                                    <p:cond delay="500"/>
                                  </p:stCondLst>
                                  <p:childTnLst>
                                    <p:set>
                                      <p:cBhvr>
                                        <p:cTn id="31" dur="1" fill="hold">
                                          <p:stCondLst>
                                            <p:cond delay="0"/>
                                          </p:stCondLst>
                                        </p:cTn>
                                        <p:tgtEl>
                                          <p:spTgt spid="152"/>
                                        </p:tgtEl>
                                        <p:attrNameLst>
                                          <p:attrName>style.visibility</p:attrName>
                                        </p:attrNameLst>
                                      </p:cBhvr>
                                      <p:to>
                                        <p:strVal val="visible"/>
                                      </p:to>
                                    </p:set>
                                    <p:animEffect transition="in" filter="fade">
                                      <p:cBhvr>
                                        <p:cTn id="32" dur="500"/>
                                        <p:tgtEl>
                                          <p:spTgt spid="152"/>
                                        </p:tgtEl>
                                      </p:cBhvr>
                                    </p:animEffect>
                                  </p:childTnLst>
                                </p:cTn>
                              </p:par>
                              <p:par>
                                <p:cTn id="33" presetID="10" presetClass="entr" presetSubtype="0" fill="hold" grpId="0" nodeType="withEffect">
                                  <p:stCondLst>
                                    <p:cond delay="500"/>
                                  </p:stCondLst>
                                  <p:childTnLst>
                                    <p:set>
                                      <p:cBhvr>
                                        <p:cTn id="34" dur="1" fill="hold">
                                          <p:stCondLst>
                                            <p:cond delay="0"/>
                                          </p:stCondLst>
                                        </p:cTn>
                                        <p:tgtEl>
                                          <p:spTgt spid="86"/>
                                        </p:tgtEl>
                                        <p:attrNameLst>
                                          <p:attrName>style.visibility</p:attrName>
                                        </p:attrNameLst>
                                      </p:cBhvr>
                                      <p:to>
                                        <p:strVal val="visible"/>
                                      </p:to>
                                    </p:set>
                                    <p:animEffect transition="in" filter="fade">
                                      <p:cBhvr>
                                        <p:cTn id="35" dur="500"/>
                                        <p:tgtEl>
                                          <p:spTgt spid="86"/>
                                        </p:tgtEl>
                                      </p:cBhvr>
                                    </p:animEffect>
                                  </p:childTnLst>
                                </p:cTn>
                              </p:par>
                            </p:childTnLst>
                          </p:cTn>
                        </p:par>
                        <p:par>
                          <p:cTn id="36" fill="hold">
                            <p:stCondLst>
                              <p:cond delay="1500"/>
                            </p:stCondLst>
                            <p:childTnLst>
                              <p:par>
                                <p:cTn id="37" presetID="10" presetClass="entr" presetSubtype="0" fill="hold" nodeType="afterEffect">
                                  <p:stCondLst>
                                    <p:cond delay="50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par>
                                <p:cTn id="40" presetID="10" presetClass="entr" presetSubtype="0" fill="hold" nodeType="withEffect">
                                  <p:stCondLst>
                                    <p:cond delay="500"/>
                                  </p:stCondLst>
                                  <p:childTnLst>
                                    <p:set>
                                      <p:cBhvr>
                                        <p:cTn id="41" dur="1" fill="hold">
                                          <p:stCondLst>
                                            <p:cond delay="0"/>
                                          </p:stCondLst>
                                        </p:cTn>
                                        <p:tgtEl>
                                          <p:spTgt spid="71"/>
                                        </p:tgtEl>
                                        <p:attrNameLst>
                                          <p:attrName>style.visibility</p:attrName>
                                        </p:attrNameLst>
                                      </p:cBhvr>
                                      <p:to>
                                        <p:strVal val="visible"/>
                                      </p:to>
                                    </p:set>
                                    <p:animEffect transition="in" filter="fade">
                                      <p:cBhvr>
                                        <p:cTn id="42" dur="500"/>
                                        <p:tgtEl>
                                          <p:spTgt spid="71"/>
                                        </p:tgtEl>
                                      </p:cBhvr>
                                    </p:animEffect>
                                  </p:childTnLst>
                                </p:cTn>
                              </p:par>
                              <p:par>
                                <p:cTn id="43" presetID="10" presetClass="entr" presetSubtype="0" fill="hold" nodeType="withEffect">
                                  <p:stCondLst>
                                    <p:cond delay="50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500"/>
                                        <p:tgtEl>
                                          <p:spTgt spid="11"/>
                                        </p:tgtEl>
                                      </p:cBhvr>
                                    </p:animEffect>
                                  </p:childTnLst>
                                </p:cTn>
                              </p:par>
                              <p:par>
                                <p:cTn id="46" presetID="10" presetClass="entr" presetSubtype="0" fill="hold" grpId="0" nodeType="withEffect">
                                  <p:stCondLst>
                                    <p:cond delay="500"/>
                                  </p:stCondLst>
                                  <p:childTnLst>
                                    <p:set>
                                      <p:cBhvr>
                                        <p:cTn id="47" dur="1" fill="hold">
                                          <p:stCondLst>
                                            <p:cond delay="0"/>
                                          </p:stCondLst>
                                        </p:cTn>
                                        <p:tgtEl>
                                          <p:spTgt spid="154"/>
                                        </p:tgtEl>
                                        <p:attrNameLst>
                                          <p:attrName>style.visibility</p:attrName>
                                        </p:attrNameLst>
                                      </p:cBhvr>
                                      <p:to>
                                        <p:strVal val="visible"/>
                                      </p:to>
                                    </p:set>
                                    <p:animEffect transition="in" filter="fade">
                                      <p:cBhvr>
                                        <p:cTn id="48" dur="500"/>
                                        <p:tgtEl>
                                          <p:spTgt spid="154"/>
                                        </p:tgtEl>
                                      </p:cBhvr>
                                    </p:animEffect>
                                  </p:childTnLst>
                                </p:cTn>
                              </p:par>
                              <p:par>
                                <p:cTn id="49" presetID="10" presetClass="entr" presetSubtype="0" fill="hold" grpId="0" nodeType="withEffect">
                                  <p:stCondLst>
                                    <p:cond delay="500"/>
                                  </p:stCondLst>
                                  <p:childTnLst>
                                    <p:set>
                                      <p:cBhvr>
                                        <p:cTn id="50" dur="1" fill="hold">
                                          <p:stCondLst>
                                            <p:cond delay="0"/>
                                          </p:stCondLst>
                                        </p:cTn>
                                        <p:tgtEl>
                                          <p:spTgt spid="122"/>
                                        </p:tgtEl>
                                        <p:attrNameLst>
                                          <p:attrName>style.visibility</p:attrName>
                                        </p:attrNameLst>
                                      </p:cBhvr>
                                      <p:to>
                                        <p:strVal val="visible"/>
                                      </p:to>
                                    </p:set>
                                    <p:animEffect transition="in" filter="fade">
                                      <p:cBhvr>
                                        <p:cTn id="51" dur="500"/>
                                        <p:tgtEl>
                                          <p:spTgt spid="122"/>
                                        </p:tgtEl>
                                      </p:cBhvr>
                                    </p:animEffect>
                                  </p:childTnLst>
                                </p:cTn>
                              </p:par>
                            </p:childTnLst>
                          </p:cTn>
                        </p:par>
                        <p:par>
                          <p:cTn id="52" fill="hold">
                            <p:stCondLst>
                              <p:cond delay="2500"/>
                            </p:stCondLst>
                            <p:childTnLst>
                              <p:par>
                                <p:cTn id="53" presetID="10" presetClass="entr" presetSubtype="0" fill="hold" grpId="0" nodeType="afterEffect">
                                  <p:stCondLst>
                                    <p:cond delay="500"/>
                                  </p:stCondLst>
                                  <p:childTnLst>
                                    <p:set>
                                      <p:cBhvr>
                                        <p:cTn id="54" dur="1" fill="hold">
                                          <p:stCondLst>
                                            <p:cond delay="0"/>
                                          </p:stCondLst>
                                        </p:cTn>
                                        <p:tgtEl>
                                          <p:spTgt spid="62"/>
                                        </p:tgtEl>
                                        <p:attrNameLst>
                                          <p:attrName>style.visibility</p:attrName>
                                        </p:attrNameLst>
                                      </p:cBhvr>
                                      <p:to>
                                        <p:strVal val="visible"/>
                                      </p:to>
                                    </p:set>
                                    <p:animEffect transition="in" filter="fade">
                                      <p:cBhvr>
                                        <p:cTn id="55" dur="500"/>
                                        <p:tgtEl>
                                          <p:spTgt spid="62"/>
                                        </p:tgtEl>
                                      </p:cBhvr>
                                    </p:animEffect>
                                  </p:childTnLst>
                                </p:cTn>
                              </p:par>
                              <p:par>
                                <p:cTn id="56" presetID="10" presetClass="entr" presetSubtype="0" fill="hold" nodeType="withEffect">
                                  <p:stCondLst>
                                    <p:cond delay="500"/>
                                  </p:stCondLst>
                                  <p:childTnLst>
                                    <p:set>
                                      <p:cBhvr>
                                        <p:cTn id="57" dur="1" fill="hold">
                                          <p:stCondLst>
                                            <p:cond delay="0"/>
                                          </p:stCondLst>
                                        </p:cTn>
                                        <p:tgtEl>
                                          <p:spTgt spid="93"/>
                                        </p:tgtEl>
                                        <p:attrNameLst>
                                          <p:attrName>style.visibility</p:attrName>
                                        </p:attrNameLst>
                                      </p:cBhvr>
                                      <p:to>
                                        <p:strVal val="visible"/>
                                      </p:to>
                                    </p:set>
                                    <p:animEffect transition="in" filter="fade">
                                      <p:cBhvr>
                                        <p:cTn id="58" dur="500"/>
                                        <p:tgtEl>
                                          <p:spTgt spid="93"/>
                                        </p:tgtEl>
                                      </p:cBhvr>
                                    </p:animEffect>
                                  </p:childTnLst>
                                </p:cTn>
                              </p:par>
                              <p:par>
                                <p:cTn id="59" presetID="10" presetClass="entr" presetSubtype="0" fill="hold" nodeType="withEffect">
                                  <p:stCondLst>
                                    <p:cond delay="50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par>
                                <p:cTn id="62" presetID="10" presetClass="entr" presetSubtype="0" fill="hold" nodeType="withEffect">
                                  <p:stCondLst>
                                    <p:cond delay="500"/>
                                  </p:stCondLst>
                                  <p:childTnLst>
                                    <p:set>
                                      <p:cBhvr>
                                        <p:cTn id="63" dur="1" fill="hold">
                                          <p:stCondLst>
                                            <p:cond delay="0"/>
                                          </p:stCondLst>
                                        </p:cTn>
                                        <p:tgtEl>
                                          <p:spTgt spid="148"/>
                                        </p:tgtEl>
                                        <p:attrNameLst>
                                          <p:attrName>style.visibility</p:attrName>
                                        </p:attrNameLst>
                                      </p:cBhvr>
                                      <p:to>
                                        <p:strVal val="visible"/>
                                      </p:to>
                                    </p:set>
                                    <p:animEffect transition="in" filter="fade">
                                      <p:cBhvr>
                                        <p:cTn id="64" dur="500"/>
                                        <p:tgtEl>
                                          <p:spTgt spid="148"/>
                                        </p:tgtEl>
                                      </p:cBhvr>
                                    </p:animEffect>
                                  </p:childTnLst>
                                </p:cTn>
                              </p:par>
                              <p:par>
                                <p:cTn id="65" presetID="10" presetClass="entr" presetSubtype="0" fill="hold" grpId="0" nodeType="withEffect">
                                  <p:stCondLst>
                                    <p:cond delay="500"/>
                                  </p:stCondLst>
                                  <p:childTnLst>
                                    <p:set>
                                      <p:cBhvr>
                                        <p:cTn id="66" dur="1" fill="hold">
                                          <p:stCondLst>
                                            <p:cond delay="0"/>
                                          </p:stCondLst>
                                        </p:cTn>
                                        <p:tgtEl>
                                          <p:spTgt spid="155"/>
                                        </p:tgtEl>
                                        <p:attrNameLst>
                                          <p:attrName>style.visibility</p:attrName>
                                        </p:attrNameLst>
                                      </p:cBhvr>
                                      <p:to>
                                        <p:strVal val="visible"/>
                                      </p:to>
                                    </p:set>
                                    <p:animEffect transition="in" filter="fade">
                                      <p:cBhvr>
                                        <p:cTn id="67" dur="500"/>
                                        <p:tgtEl>
                                          <p:spTgt spid="155"/>
                                        </p:tgtEl>
                                      </p:cBhvr>
                                    </p:animEffect>
                                  </p:childTnLst>
                                </p:cTn>
                              </p:par>
                            </p:childTnLst>
                          </p:cTn>
                        </p:par>
                        <p:par>
                          <p:cTn id="68" fill="hold">
                            <p:stCondLst>
                              <p:cond delay="3500"/>
                            </p:stCondLst>
                            <p:childTnLst>
                              <p:par>
                                <p:cTn id="69" presetID="10" presetClass="entr" presetSubtype="0" fill="hold" grpId="0" nodeType="afterEffect">
                                  <p:stCondLst>
                                    <p:cond delay="500"/>
                                  </p:stCondLst>
                                  <p:childTnLst>
                                    <p:set>
                                      <p:cBhvr>
                                        <p:cTn id="70" dur="1" fill="hold">
                                          <p:stCondLst>
                                            <p:cond delay="0"/>
                                          </p:stCondLst>
                                        </p:cTn>
                                        <p:tgtEl>
                                          <p:spTgt spid="123"/>
                                        </p:tgtEl>
                                        <p:attrNameLst>
                                          <p:attrName>style.visibility</p:attrName>
                                        </p:attrNameLst>
                                      </p:cBhvr>
                                      <p:to>
                                        <p:strVal val="visible"/>
                                      </p:to>
                                    </p:set>
                                    <p:animEffect transition="in" filter="fade">
                                      <p:cBhvr>
                                        <p:cTn id="71" dur="500"/>
                                        <p:tgtEl>
                                          <p:spTgt spid="123"/>
                                        </p:tgtEl>
                                      </p:cBhvr>
                                    </p:animEffect>
                                  </p:childTnLst>
                                </p:cTn>
                              </p:par>
                              <p:par>
                                <p:cTn id="72" presetID="10" presetClass="entr" presetSubtype="0" fill="hold" nodeType="withEffect">
                                  <p:stCondLst>
                                    <p:cond delay="500"/>
                                  </p:stCondLst>
                                  <p:childTnLst>
                                    <p:set>
                                      <p:cBhvr>
                                        <p:cTn id="73" dur="1" fill="hold">
                                          <p:stCondLst>
                                            <p:cond delay="0"/>
                                          </p:stCondLst>
                                        </p:cTn>
                                        <p:tgtEl>
                                          <p:spTgt spid="142"/>
                                        </p:tgtEl>
                                        <p:attrNameLst>
                                          <p:attrName>style.visibility</p:attrName>
                                        </p:attrNameLst>
                                      </p:cBhvr>
                                      <p:to>
                                        <p:strVal val="visible"/>
                                      </p:to>
                                    </p:set>
                                    <p:animEffect transition="in" filter="fade">
                                      <p:cBhvr>
                                        <p:cTn id="74" dur="500"/>
                                        <p:tgtEl>
                                          <p:spTgt spid="142"/>
                                        </p:tgtEl>
                                      </p:cBhvr>
                                    </p:animEffect>
                                  </p:childTnLst>
                                </p:cTn>
                              </p:par>
                              <p:par>
                                <p:cTn id="75" presetID="10" presetClass="entr" presetSubtype="0" fill="hold" grpId="0" nodeType="withEffect">
                                  <p:stCondLst>
                                    <p:cond delay="500"/>
                                  </p:stCondLst>
                                  <p:childTnLst>
                                    <p:set>
                                      <p:cBhvr>
                                        <p:cTn id="76" dur="1" fill="hold">
                                          <p:stCondLst>
                                            <p:cond delay="0"/>
                                          </p:stCondLst>
                                        </p:cTn>
                                        <p:tgtEl>
                                          <p:spTgt spid="156"/>
                                        </p:tgtEl>
                                        <p:attrNameLst>
                                          <p:attrName>style.visibility</p:attrName>
                                        </p:attrNameLst>
                                      </p:cBhvr>
                                      <p:to>
                                        <p:strVal val="visible"/>
                                      </p:to>
                                    </p:set>
                                    <p:animEffect transition="in" filter="fade">
                                      <p:cBhvr>
                                        <p:cTn id="77" dur="500"/>
                                        <p:tgtEl>
                                          <p:spTgt spid="156"/>
                                        </p:tgtEl>
                                      </p:cBhvr>
                                    </p:animEffect>
                                  </p:childTnLst>
                                </p:cTn>
                              </p:par>
                            </p:childTnLst>
                          </p:cTn>
                        </p:par>
                        <p:par>
                          <p:cTn id="78" fill="hold">
                            <p:stCondLst>
                              <p:cond delay="4500"/>
                            </p:stCondLst>
                            <p:childTnLst>
                              <p:par>
                                <p:cTn id="79" presetID="10" presetClass="entr" presetSubtype="0" fill="hold" grpId="0" nodeType="afterEffect">
                                  <p:stCondLst>
                                    <p:cond delay="500"/>
                                  </p:stCondLst>
                                  <p:childTnLst>
                                    <p:set>
                                      <p:cBhvr>
                                        <p:cTn id="80" dur="1" fill="hold">
                                          <p:stCondLst>
                                            <p:cond delay="0"/>
                                          </p:stCondLst>
                                        </p:cTn>
                                        <p:tgtEl>
                                          <p:spTgt spid="89"/>
                                        </p:tgtEl>
                                        <p:attrNameLst>
                                          <p:attrName>style.visibility</p:attrName>
                                        </p:attrNameLst>
                                      </p:cBhvr>
                                      <p:to>
                                        <p:strVal val="visible"/>
                                      </p:to>
                                    </p:set>
                                    <p:animEffect transition="in" filter="fade">
                                      <p:cBhvr>
                                        <p:cTn id="81" dur="500"/>
                                        <p:tgtEl>
                                          <p:spTgt spid="89"/>
                                        </p:tgtEl>
                                      </p:cBhvr>
                                    </p:animEffect>
                                  </p:childTnLst>
                                </p:cTn>
                              </p:par>
                              <p:par>
                                <p:cTn id="82" presetID="10" presetClass="entr" presetSubtype="0" fill="hold" nodeType="withEffect">
                                  <p:stCondLst>
                                    <p:cond delay="500"/>
                                  </p:stCondLst>
                                  <p:childTnLst>
                                    <p:set>
                                      <p:cBhvr>
                                        <p:cTn id="83" dur="1" fill="hold">
                                          <p:stCondLst>
                                            <p:cond delay="0"/>
                                          </p:stCondLst>
                                        </p:cTn>
                                        <p:tgtEl>
                                          <p:spTgt spid="17"/>
                                        </p:tgtEl>
                                        <p:attrNameLst>
                                          <p:attrName>style.visibility</p:attrName>
                                        </p:attrNameLst>
                                      </p:cBhvr>
                                      <p:to>
                                        <p:strVal val="visible"/>
                                      </p:to>
                                    </p:set>
                                    <p:animEffect transition="in" filter="fade">
                                      <p:cBhvr>
                                        <p:cTn id="84" dur="500"/>
                                        <p:tgtEl>
                                          <p:spTgt spid="17"/>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157"/>
                                        </p:tgtEl>
                                        <p:attrNameLst>
                                          <p:attrName>style.visibility</p:attrName>
                                        </p:attrNameLst>
                                      </p:cBhvr>
                                      <p:to>
                                        <p:strVal val="visible"/>
                                      </p:to>
                                    </p:set>
                                    <p:animEffect transition="in" filter="fade">
                                      <p:cBhvr>
                                        <p:cTn id="87" dur="500"/>
                                        <p:tgtEl>
                                          <p:spTgt spid="1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62" grpId="0"/>
      <p:bldP spid="122" grpId="0"/>
      <p:bldP spid="123" grpId="0"/>
      <p:bldP spid="85" grpId="0"/>
      <p:bldP spid="86" grpId="0"/>
      <p:bldP spid="89" grpId="0"/>
      <p:bldP spid="128" grpId="0" animBg="1"/>
      <p:bldP spid="152" grpId="0" animBg="1"/>
      <p:bldP spid="154" grpId="0" animBg="1"/>
      <p:bldP spid="155" grpId="0" animBg="1"/>
      <p:bldP spid="156" grpId="0" animBg="1"/>
      <p:bldP spid="157" grpId="0" animBg="1"/>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51C0DF2-3DB4-4E53-B090-90339AC32E84}"/>
              </a:ext>
            </a:extLst>
          </p:cNvPr>
          <p:cNvSpPr txBox="1"/>
          <p:nvPr/>
        </p:nvSpPr>
        <p:spPr>
          <a:xfrm>
            <a:off x="-12995700" y="3408306"/>
            <a:ext cx="12970399" cy="738585"/>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a:ea typeface="+mn-ea"/>
                <a:cs typeface="+mn-cs"/>
              </a:rPr>
              <a:t>01010100101001011101101001001001011010100100010001111010010101010010100101010010100101110110100100100101101010010001000111101001010101001010001010010111011010010010010110101001000100011110100101010100101001010100101001011101101001</a:t>
            </a:r>
          </a:p>
        </p:txBody>
      </p:sp>
      <p:sp>
        <p:nvSpPr>
          <p:cNvPr id="12" name="Rectangle 11">
            <a:extLst>
              <a:ext uri="{FF2B5EF4-FFF2-40B4-BE49-F238E27FC236}">
                <a16:creationId xmlns:a16="http://schemas.microsoft.com/office/drawing/2014/main" id="{B252A604-69C1-4219-A4D6-A0B60DE21CD3}"/>
              </a:ext>
            </a:extLst>
          </p:cNvPr>
          <p:cNvSpPr/>
          <p:nvPr/>
        </p:nvSpPr>
        <p:spPr bwMode="auto">
          <a:xfrm>
            <a:off x="2014165" y="3267449"/>
            <a:ext cx="10177836" cy="11697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Oval 1">
            <a:extLst>
              <a:ext uri="{FF2B5EF4-FFF2-40B4-BE49-F238E27FC236}">
                <a16:creationId xmlns:a16="http://schemas.microsoft.com/office/drawing/2014/main" id="{D36671B2-4E12-4BC1-8BE4-D4F2BCF2BF04}"/>
              </a:ext>
            </a:extLst>
          </p:cNvPr>
          <p:cNvSpPr/>
          <p:nvPr/>
        </p:nvSpPr>
        <p:spPr bwMode="auto">
          <a:xfrm>
            <a:off x="3411800" y="1679472"/>
            <a:ext cx="4571352" cy="4571352"/>
          </a:xfrm>
          <a:prstGeom prst="ellipse">
            <a:avLst/>
          </a:prstGeom>
          <a:ln w="12700" cap="sq">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1B76C33A-6A1B-49F3-9D07-E2C6BF2A6241}"/>
              </a:ext>
            </a:extLst>
          </p:cNvPr>
          <p:cNvSpPr/>
          <p:nvPr/>
        </p:nvSpPr>
        <p:spPr bwMode="auto">
          <a:xfrm rot="20621471">
            <a:off x="7467590" y="2694127"/>
            <a:ext cx="594471" cy="134273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2" name="Rectangle 231">
            <a:extLst>
              <a:ext uri="{FF2B5EF4-FFF2-40B4-BE49-F238E27FC236}">
                <a16:creationId xmlns:a16="http://schemas.microsoft.com/office/drawing/2014/main" id="{6ACD0EFB-3AC7-0D4B-B247-3A3CF740EE93}"/>
              </a:ext>
            </a:extLst>
          </p:cNvPr>
          <p:cNvSpPr/>
          <p:nvPr/>
        </p:nvSpPr>
        <p:spPr bwMode="auto">
          <a:xfrm>
            <a:off x="3893572" y="4981096"/>
            <a:ext cx="855548" cy="12946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1" name="Rectangle 230">
            <a:extLst>
              <a:ext uri="{FF2B5EF4-FFF2-40B4-BE49-F238E27FC236}">
                <a16:creationId xmlns:a16="http://schemas.microsoft.com/office/drawing/2014/main" id="{92F9C066-AD08-7A4A-ACC1-A6EE38C27EA2}"/>
              </a:ext>
            </a:extLst>
          </p:cNvPr>
          <p:cNvSpPr/>
          <p:nvPr/>
        </p:nvSpPr>
        <p:spPr bwMode="auto">
          <a:xfrm>
            <a:off x="7072816" y="5204915"/>
            <a:ext cx="997214" cy="10772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E701A103-15AE-AE4A-9B9F-68B0C0A71AEA}"/>
              </a:ext>
            </a:extLst>
          </p:cNvPr>
          <p:cNvSpPr/>
          <p:nvPr/>
        </p:nvSpPr>
        <p:spPr bwMode="auto">
          <a:xfrm>
            <a:off x="2998073" y="2888820"/>
            <a:ext cx="875809" cy="1744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DE017E3F-3E60-6646-95ED-C8AC58A29378}"/>
              </a:ext>
            </a:extLst>
          </p:cNvPr>
          <p:cNvSpPr>
            <a:spLocks noGrp="1"/>
          </p:cNvSpPr>
          <p:nvPr>
            <p:ph type="title"/>
          </p:nvPr>
        </p:nvSpPr>
        <p:spPr/>
        <p:txBody>
          <a:bodyPr/>
          <a:lstStyle/>
          <a:p>
            <a:r>
              <a:rPr lang="en-US" dirty="0"/>
              <a:t>DevOps loop for data science </a:t>
            </a:r>
          </a:p>
        </p:txBody>
      </p:sp>
      <p:sp>
        <p:nvSpPr>
          <p:cNvPr id="66" name="TextBox 65">
            <a:extLst>
              <a:ext uri="{FF2B5EF4-FFF2-40B4-BE49-F238E27FC236}">
                <a16:creationId xmlns:a16="http://schemas.microsoft.com/office/drawing/2014/main" id="{8FA439E5-4D66-114D-8614-9F56DC680B52}"/>
              </a:ext>
            </a:extLst>
          </p:cNvPr>
          <p:cNvSpPr txBox="1"/>
          <p:nvPr/>
        </p:nvSpPr>
        <p:spPr>
          <a:xfrm>
            <a:off x="635778" y="5303350"/>
            <a:ext cx="954542" cy="421910"/>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371" b="0" i="0" u="none" strike="noStrike" kern="1200" cap="none" spc="0" normalizeH="0" baseline="0" noProof="0" dirty="0">
                <a:ln>
                  <a:noFill/>
                </a:ln>
                <a:solidFill>
                  <a:prstClr val="black"/>
                </a:solidFill>
                <a:effectLst/>
                <a:uLnTx/>
                <a:uFillTx/>
                <a:latin typeface="Segoe UI"/>
                <a:ea typeface="+mn-ea"/>
                <a:cs typeface="+mn-cs"/>
              </a:rPr>
              <a:t>Prepare Data</a:t>
            </a:r>
          </a:p>
        </p:txBody>
      </p:sp>
      <p:sp>
        <p:nvSpPr>
          <p:cNvPr id="71" name="Rectangle 41">
            <a:extLst>
              <a:ext uri="{FF2B5EF4-FFF2-40B4-BE49-F238E27FC236}">
                <a16:creationId xmlns:a16="http://schemas.microsoft.com/office/drawing/2014/main" id="{E408D5CA-3289-DC43-AAA8-A7CF8AA7B237}"/>
              </a:ext>
            </a:extLst>
          </p:cNvPr>
          <p:cNvSpPr>
            <a:spLocks noChangeArrowheads="1"/>
          </p:cNvSpPr>
          <p:nvPr/>
        </p:nvSpPr>
        <p:spPr bwMode="auto">
          <a:xfrm>
            <a:off x="680972" y="1906666"/>
            <a:ext cx="95009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ctr" defTabSz="621707" rtl="0" eaLnBrk="0" fontAlgn="base" latinLnBrk="0" hangingPunct="0">
              <a:lnSpc>
                <a:spcPct val="100000"/>
              </a:lnSpc>
              <a:spcBef>
                <a:spcPct val="0"/>
              </a:spcBef>
              <a:spcAft>
                <a:spcPct val="0"/>
              </a:spcAft>
              <a:buClrTx/>
              <a:buSzTx/>
              <a:buFontTx/>
              <a:buNone/>
              <a:tabLst/>
              <a:defRPr/>
            </a:pPr>
            <a:r>
              <a:rPr kumimoji="0" lang="en-US" altLang="en-US" sz="2000" b="1" i="0" u="none" strike="noStrike" kern="0" cap="none" spc="0" normalizeH="0" baseline="0" noProof="0" dirty="0">
                <a:ln>
                  <a:noFill/>
                </a:ln>
                <a:solidFill>
                  <a:srgbClr val="0078D4"/>
                </a:solidFill>
                <a:effectLst/>
                <a:uLnTx/>
                <a:uFillTx/>
                <a:latin typeface="Segoe UI Semibold" panose="020B0702040204020203" pitchFamily="34" charset="0"/>
                <a:ea typeface="+mn-ea"/>
                <a:cs typeface="+mn-cs"/>
              </a:rPr>
              <a:t>Prepare</a:t>
            </a:r>
          </a:p>
        </p:txBody>
      </p:sp>
      <p:cxnSp>
        <p:nvCxnSpPr>
          <p:cNvPr id="72" name="Straight Connector 71">
            <a:extLst>
              <a:ext uri="{FF2B5EF4-FFF2-40B4-BE49-F238E27FC236}">
                <a16:creationId xmlns:a16="http://schemas.microsoft.com/office/drawing/2014/main" id="{746CF7DB-25B4-F349-A833-6E872F5FB3AE}"/>
              </a:ext>
            </a:extLst>
          </p:cNvPr>
          <p:cNvCxnSpPr>
            <a:cxnSpLocks/>
          </p:cNvCxnSpPr>
          <p:nvPr/>
        </p:nvCxnSpPr>
        <p:spPr>
          <a:xfrm flipV="1">
            <a:off x="2070888" y="1949687"/>
            <a:ext cx="2223" cy="1477387"/>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0E6ED5B-A379-7547-A9BA-8AF3184E8E91}"/>
              </a:ext>
            </a:extLst>
          </p:cNvPr>
          <p:cNvCxnSpPr>
            <a:cxnSpLocks/>
          </p:cNvCxnSpPr>
          <p:nvPr/>
        </p:nvCxnSpPr>
        <p:spPr>
          <a:xfrm flipV="1">
            <a:off x="2071999" y="4116987"/>
            <a:ext cx="0" cy="1730293"/>
          </a:xfrm>
          <a:prstGeom prst="line">
            <a:avLst/>
          </a:prstGeom>
          <a:ln>
            <a:solidFill>
              <a:schemeClr val="tx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4" name="Group 73">
            <a:extLst>
              <a:ext uri="{FF2B5EF4-FFF2-40B4-BE49-F238E27FC236}">
                <a16:creationId xmlns:a16="http://schemas.microsoft.com/office/drawing/2014/main" id="{74DFD6A6-4106-A94A-A4E9-0C97AFD2F402}"/>
              </a:ext>
            </a:extLst>
          </p:cNvPr>
          <p:cNvGrpSpPr/>
          <p:nvPr/>
        </p:nvGrpSpPr>
        <p:grpSpPr>
          <a:xfrm>
            <a:off x="901637" y="4229014"/>
            <a:ext cx="491513" cy="500986"/>
            <a:chOff x="7158422" y="1607015"/>
            <a:chExt cx="2726357" cy="2778897"/>
          </a:xfrm>
          <a:solidFill>
            <a:schemeClr val="bg1"/>
          </a:solidFill>
        </p:grpSpPr>
        <p:sp>
          <p:nvSpPr>
            <p:cNvPr id="75" name="Freeform 242">
              <a:extLst>
                <a:ext uri="{FF2B5EF4-FFF2-40B4-BE49-F238E27FC236}">
                  <a16:creationId xmlns:a16="http://schemas.microsoft.com/office/drawing/2014/main" id="{6C9E158D-2B62-DC40-9621-C10AA50EC951}"/>
                </a:ext>
              </a:extLst>
            </p:cNvPr>
            <p:cNvSpPr/>
            <p:nvPr/>
          </p:nvSpPr>
          <p:spPr bwMode="auto">
            <a:xfrm>
              <a:off x="7158422" y="2971800"/>
              <a:ext cx="2726357" cy="1414112"/>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rnd">
              <a:solidFill>
                <a:schemeClr val="tx2"/>
              </a:solidFill>
              <a:miter lim="800000"/>
              <a:headEnd/>
              <a:tailEnd/>
            </a:ln>
            <a:effectLst/>
          </p:spPr>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6" name="Diamond 75">
              <a:extLst>
                <a:ext uri="{FF2B5EF4-FFF2-40B4-BE49-F238E27FC236}">
                  <a16:creationId xmlns:a16="http://schemas.microsoft.com/office/drawing/2014/main" id="{1BF9F361-A908-084A-A6A9-5386662A013B}"/>
                </a:ext>
              </a:extLst>
            </p:cNvPr>
            <p:cNvSpPr/>
            <p:nvPr/>
          </p:nvSpPr>
          <p:spPr bwMode="auto">
            <a:xfrm>
              <a:off x="7158422" y="2521415"/>
              <a:ext cx="2726357" cy="1414112"/>
            </a:xfrm>
            <a:prstGeom prst="diamond">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7" name="Freeform 243">
              <a:extLst>
                <a:ext uri="{FF2B5EF4-FFF2-40B4-BE49-F238E27FC236}">
                  <a16:creationId xmlns:a16="http://schemas.microsoft.com/office/drawing/2014/main" id="{718CF2BE-B935-524B-8086-F5FEBF936D80}"/>
                </a:ext>
              </a:extLst>
            </p:cNvPr>
            <p:cNvSpPr/>
            <p:nvPr/>
          </p:nvSpPr>
          <p:spPr bwMode="auto">
            <a:xfrm>
              <a:off x="7158422" y="2057400"/>
              <a:ext cx="2726357" cy="1414112"/>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rnd">
              <a:solidFill>
                <a:schemeClr val="tx2"/>
              </a:solidFill>
              <a:miter lim="800000"/>
              <a:headEnd/>
              <a:tailEnd/>
            </a:ln>
            <a:effectLst/>
          </p:spPr>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8" name="Diamond 77">
              <a:extLst>
                <a:ext uri="{FF2B5EF4-FFF2-40B4-BE49-F238E27FC236}">
                  <a16:creationId xmlns:a16="http://schemas.microsoft.com/office/drawing/2014/main" id="{7FAAF3D0-EBBD-E341-A6DC-5F52661CA651}"/>
                </a:ext>
              </a:extLst>
            </p:cNvPr>
            <p:cNvSpPr/>
            <p:nvPr/>
          </p:nvSpPr>
          <p:spPr bwMode="auto">
            <a:xfrm>
              <a:off x="7158422" y="1607015"/>
              <a:ext cx="2726357" cy="1414112"/>
            </a:xfrm>
            <a:prstGeom prst="diamond">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80" name="Freeform: Shape 830">
            <a:extLst>
              <a:ext uri="{FF2B5EF4-FFF2-40B4-BE49-F238E27FC236}">
                <a16:creationId xmlns:a16="http://schemas.microsoft.com/office/drawing/2014/main" id="{C4539FC2-1636-2F4E-8331-200A17A6A478}"/>
              </a:ext>
            </a:extLst>
          </p:cNvPr>
          <p:cNvSpPr>
            <a:spLocks noChangeArrowheads="1"/>
          </p:cNvSpPr>
          <p:nvPr/>
        </p:nvSpPr>
        <p:spPr bwMode="auto">
          <a:xfrm>
            <a:off x="939836" y="2825295"/>
            <a:ext cx="441681" cy="601179"/>
          </a:xfrm>
          <a:custGeom>
            <a:avLst/>
            <a:gdLst>
              <a:gd name="connsiteX0" fmla="*/ 1913 w 3330348"/>
              <a:gd name="connsiteY0" fmla="*/ 3068274 h 4532979"/>
              <a:gd name="connsiteX1" fmla="*/ 33829 w 3330348"/>
              <a:gd name="connsiteY1" fmla="*/ 3129345 h 4532979"/>
              <a:gd name="connsiteX2" fmla="*/ 1665174 w 3330348"/>
              <a:gd name="connsiteY2" fmla="*/ 3385824 h 4532979"/>
              <a:gd name="connsiteX3" fmla="*/ 3296519 w 3330348"/>
              <a:gd name="connsiteY3" fmla="*/ 3129345 h 4532979"/>
              <a:gd name="connsiteX4" fmla="*/ 3328434 w 3330348"/>
              <a:gd name="connsiteY4" fmla="*/ 3068274 h 4532979"/>
              <a:gd name="connsiteX5" fmla="*/ 3330348 w 3330348"/>
              <a:gd name="connsiteY5" fmla="*/ 4211766 h 4532979"/>
              <a:gd name="connsiteX6" fmla="*/ 1665174 w 3330348"/>
              <a:gd name="connsiteY6" fmla="*/ 4532979 h 4532979"/>
              <a:gd name="connsiteX7" fmla="*/ 0 w 3330348"/>
              <a:gd name="connsiteY7" fmla="*/ 4211766 h 4532979"/>
              <a:gd name="connsiteX8" fmla="*/ 1913 w 3330348"/>
              <a:gd name="connsiteY8" fmla="*/ 3068274 h 4532979"/>
              <a:gd name="connsiteX9" fmla="*/ 1913 w 3330348"/>
              <a:gd name="connsiteY9" fmla="*/ 1762531 h 4532979"/>
              <a:gd name="connsiteX10" fmla="*/ 33829 w 3330348"/>
              <a:gd name="connsiteY10" fmla="*/ 1823602 h 4532979"/>
              <a:gd name="connsiteX11" fmla="*/ 1665174 w 3330348"/>
              <a:gd name="connsiteY11" fmla="*/ 2080081 h 4532979"/>
              <a:gd name="connsiteX12" fmla="*/ 3296519 w 3330348"/>
              <a:gd name="connsiteY12" fmla="*/ 1823602 h 4532979"/>
              <a:gd name="connsiteX13" fmla="*/ 3328434 w 3330348"/>
              <a:gd name="connsiteY13" fmla="*/ 1762531 h 4532979"/>
              <a:gd name="connsiteX14" fmla="*/ 3330348 w 3330348"/>
              <a:gd name="connsiteY14" fmla="*/ 2906023 h 4532979"/>
              <a:gd name="connsiteX15" fmla="*/ 1665174 w 3330348"/>
              <a:gd name="connsiteY15" fmla="*/ 3227236 h 4532979"/>
              <a:gd name="connsiteX16" fmla="*/ 0 w 3330348"/>
              <a:gd name="connsiteY16" fmla="*/ 2906023 h 4532979"/>
              <a:gd name="connsiteX17" fmla="*/ 1913 w 3330348"/>
              <a:gd name="connsiteY17" fmla="*/ 1762531 h 4532979"/>
              <a:gd name="connsiteX18" fmla="*/ 1913 w 3330348"/>
              <a:gd name="connsiteY18" fmla="*/ 456788 h 4532979"/>
              <a:gd name="connsiteX19" fmla="*/ 33829 w 3330348"/>
              <a:gd name="connsiteY19" fmla="*/ 517859 h 4532979"/>
              <a:gd name="connsiteX20" fmla="*/ 1665174 w 3330348"/>
              <a:gd name="connsiteY20" fmla="*/ 774338 h 4532979"/>
              <a:gd name="connsiteX21" fmla="*/ 3296519 w 3330348"/>
              <a:gd name="connsiteY21" fmla="*/ 517859 h 4532979"/>
              <a:gd name="connsiteX22" fmla="*/ 3328434 w 3330348"/>
              <a:gd name="connsiteY22" fmla="*/ 456788 h 4532979"/>
              <a:gd name="connsiteX23" fmla="*/ 3330348 w 3330348"/>
              <a:gd name="connsiteY23" fmla="*/ 1600280 h 4532979"/>
              <a:gd name="connsiteX24" fmla="*/ 1665174 w 3330348"/>
              <a:gd name="connsiteY24" fmla="*/ 1921493 h 4532979"/>
              <a:gd name="connsiteX25" fmla="*/ 0 w 3330348"/>
              <a:gd name="connsiteY25" fmla="*/ 1600280 h 4532979"/>
              <a:gd name="connsiteX26" fmla="*/ 1913 w 3330348"/>
              <a:gd name="connsiteY26" fmla="*/ 456788 h 4532979"/>
              <a:gd name="connsiteX27" fmla="*/ 1665174 w 3330348"/>
              <a:gd name="connsiteY27" fmla="*/ 0 h 4532979"/>
              <a:gd name="connsiteX28" fmla="*/ 3267703 w 3330348"/>
              <a:gd name="connsiteY28" fmla="*/ 309127 h 4532979"/>
              <a:gd name="connsiteX29" fmla="*/ 1665174 w 3330348"/>
              <a:gd name="connsiteY29" fmla="*/ 618254 h 4532979"/>
              <a:gd name="connsiteX30" fmla="*/ 62645 w 3330348"/>
              <a:gd name="connsiteY30" fmla="*/ 309127 h 4532979"/>
              <a:gd name="connsiteX31" fmla="*/ 1665174 w 3330348"/>
              <a:gd name="connsiteY31" fmla="*/ 0 h 4532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30348" h="4532979">
                <a:moveTo>
                  <a:pt x="1913" y="3068274"/>
                </a:moveTo>
                <a:cubicBezTo>
                  <a:pt x="12552" y="3088631"/>
                  <a:pt x="12431" y="3109172"/>
                  <a:pt x="33829" y="3129345"/>
                </a:cubicBezTo>
                <a:cubicBezTo>
                  <a:pt x="189101" y="3275719"/>
                  <a:pt x="860482" y="3385824"/>
                  <a:pt x="1665174" y="3385824"/>
                </a:cubicBezTo>
                <a:cubicBezTo>
                  <a:pt x="2469867" y="3385824"/>
                  <a:pt x="3141247" y="3275719"/>
                  <a:pt x="3296519" y="3129345"/>
                </a:cubicBezTo>
                <a:cubicBezTo>
                  <a:pt x="3312446" y="3112160"/>
                  <a:pt x="3317796" y="3088631"/>
                  <a:pt x="3328434" y="3068274"/>
                </a:cubicBezTo>
                <a:cubicBezTo>
                  <a:pt x="3329074" y="3449438"/>
                  <a:pt x="3329709" y="3830602"/>
                  <a:pt x="3330348" y="4211766"/>
                </a:cubicBezTo>
                <a:cubicBezTo>
                  <a:pt x="3330348" y="4389168"/>
                  <a:pt x="2584823" y="4532979"/>
                  <a:pt x="1665174" y="4532979"/>
                </a:cubicBezTo>
                <a:cubicBezTo>
                  <a:pt x="745525" y="4532979"/>
                  <a:pt x="0" y="4389168"/>
                  <a:pt x="0" y="4211766"/>
                </a:cubicBezTo>
                <a:cubicBezTo>
                  <a:pt x="639" y="3830602"/>
                  <a:pt x="1274" y="3449438"/>
                  <a:pt x="1913" y="3068274"/>
                </a:cubicBezTo>
                <a:close/>
                <a:moveTo>
                  <a:pt x="1913" y="1762531"/>
                </a:moveTo>
                <a:cubicBezTo>
                  <a:pt x="12552" y="1782888"/>
                  <a:pt x="12431" y="1803429"/>
                  <a:pt x="33829" y="1823602"/>
                </a:cubicBezTo>
                <a:cubicBezTo>
                  <a:pt x="189101" y="1969976"/>
                  <a:pt x="860482" y="2080081"/>
                  <a:pt x="1665174" y="2080081"/>
                </a:cubicBezTo>
                <a:cubicBezTo>
                  <a:pt x="2469867" y="2080081"/>
                  <a:pt x="3141247" y="1969976"/>
                  <a:pt x="3296519" y="1823602"/>
                </a:cubicBezTo>
                <a:cubicBezTo>
                  <a:pt x="3312446" y="1806417"/>
                  <a:pt x="3317796" y="1782888"/>
                  <a:pt x="3328434" y="1762531"/>
                </a:cubicBezTo>
                <a:cubicBezTo>
                  <a:pt x="3329074" y="2143695"/>
                  <a:pt x="3329709" y="2524859"/>
                  <a:pt x="3330348" y="2906023"/>
                </a:cubicBezTo>
                <a:cubicBezTo>
                  <a:pt x="3330348" y="3083425"/>
                  <a:pt x="2584823" y="3227236"/>
                  <a:pt x="1665174" y="3227236"/>
                </a:cubicBezTo>
                <a:cubicBezTo>
                  <a:pt x="745525" y="3227236"/>
                  <a:pt x="0" y="3083425"/>
                  <a:pt x="0" y="2906023"/>
                </a:cubicBezTo>
                <a:cubicBezTo>
                  <a:pt x="639" y="2524859"/>
                  <a:pt x="1274" y="2143695"/>
                  <a:pt x="1913" y="1762531"/>
                </a:cubicBezTo>
                <a:close/>
                <a:moveTo>
                  <a:pt x="1913" y="456788"/>
                </a:moveTo>
                <a:cubicBezTo>
                  <a:pt x="12552" y="477145"/>
                  <a:pt x="12431" y="497686"/>
                  <a:pt x="33829" y="517859"/>
                </a:cubicBezTo>
                <a:cubicBezTo>
                  <a:pt x="189101" y="664233"/>
                  <a:pt x="860482" y="774338"/>
                  <a:pt x="1665174" y="774338"/>
                </a:cubicBezTo>
                <a:cubicBezTo>
                  <a:pt x="2469867" y="774338"/>
                  <a:pt x="3141247" y="664233"/>
                  <a:pt x="3296519" y="517859"/>
                </a:cubicBezTo>
                <a:cubicBezTo>
                  <a:pt x="3312446" y="500674"/>
                  <a:pt x="3317796" y="477145"/>
                  <a:pt x="3328434" y="456788"/>
                </a:cubicBezTo>
                <a:cubicBezTo>
                  <a:pt x="3329074" y="837952"/>
                  <a:pt x="3329709" y="1219116"/>
                  <a:pt x="3330348" y="1600280"/>
                </a:cubicBezTo>
                <a:cubicBezTo>
                  <a:pt x="3330348" y="1777682"/>
                  <a:pt x="2584823" y="1921493"/>
                  <a:pt x="1665174" y="1921493"/>
                </a:cubicBezTo>
                <a:cubicBezTo>
                  <a:pt x="745525" y="1921493"/>
                  <a:pt x="0" y="1777682"/>
                  <a:pt x="0" y="1600280"/>
                </a:cubicBezTo>
                <a:cubicBezTo>
                  <a:pt x="639" y="1219116"/>
                  <a:pt x="1274" y="837952"/>
                  <a:pt x="1913" y="456788"/>
                </a:cubicBezTo>
                <a:close/>
                <a:moveTo>
                  <a:pt x="1665174" y="0"/>
                </a:moveTo>
                <a:cubicBezTo>
                  <a:pt x="2550226" y="0"/>
                  <a:pt x="3267703" y="138401"/>
                  <a:pt x="3267703" y="309127"/>
                </a:cubicBezTo>
                <a:cubicBezTo>
                  <a:pt x="3267703" y="479853"/>
                  <a:pt x="2550226" y="618254"/>
                  <a:pt x="1665174" y="618254"/>
                </a:cubicBezTo>
                <a:cubicBezTo>
                  <a:pt x="780122" y="618254"/>
                  <a:pt x="62645" y="479853"/>
                  <a:pt x="62645" y="309127"/>
                </a:cubicBezTo>
                <a:cubicBezTo>
                  <a:pt x="62645" y="138401"/>
                  <a:pt x="780122" y="0"/>
                  <a:pt x="1665174" y="0"/>
                </a:cubicBezTo>
                <a:close/>
              </a:path>
            </a:pathLst>
          </a:custGeom>
          <a:solidFill>
            <a:schemeClr val="bg1"/>
          </a:solidFill>
          <a:ln w="12700">
            <a:solidFill>
              <a:schemeClr val="tx2"/>
            </a:solidFill>
            <a:round/>
            <a:headEnd/>
            <a:tailEnd/>
          </a:ln>
        </p:spPr>
        <p:txBody>
          <a:bodyPr vert="horz" wrap="square" lIns="89604" tIns="44802" rIns="89604" bIns="44802" numCol="1" anchor="t" anchorCtr="0" compatLnSpc="1">
            <a:prstTxWarp prst="textNoShape">
              <a:avLst/>
            </a:prstTxWarp>
            <a:no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81" name="Freeform 80">
            <a:extLst>
              <a:ext uri="{FF2B5EF4-FFF2-40B4-BE49-F238E27FC236}">
                <a16:creationId xmlns:a16="http://schemas.microsoft.com/office/drawing/2014/main" id="{37817C08-B07A-3448-AA5E-1985B342F85C}"/>
              </a:ext>
            </a:extLst>
          </p:cNvPr>
          <p:cNvSpPr/>
          <p:nvPr/>
        </p:nvSpPr>
        <p:spPr bwMode="auto">
          <a:xfrm flipH="1">
            <a:off x="2014165" y="3642576"/>
            <a:ext cx="115670" cy="25890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35" name="TextBox 134">
            <a:extLst>
              <a:ext uri="{FF2B5EF4-FFF2-40B4-BE49-F238E27FC236}">
                <a16:creationId xmlns:a16="http://schemas.microsoft.com/office/drawing/2014/main" id="{0609D5E1-9135-7944-9D38-BB89E4A0E250}"/>
              </a:ext>
            </a:extLst>
          </p:cNvPr>
          <p:cNvSpPr txBox="1"/>
          <p:nvPr/>
        </p:nvSpPr>
        <p:spPr>
          <a:xfrm>
            <a:off x="7121174" y="3315566"/>
            <a:ext cx="1380113" cy="362072"/>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prstClr val="black"/>
                </a:solidFill>
                <a:effectLst/>
                <a:uLnTx/>
                <a:uFillTx/>
                <a:latin typeface="Segoe UI"/>
                <a:ea typeface="+mn-ea"/>
                <a:cs typeface="+mn-cs"/>
              </a:rPr>
              <a:t>Register and </a:t>
            </a:r>
            <a:br>
              <a:rPr kumimoji="0" lang="en-US" sz="1176" b="0" i="0" u="none" strike="noStrike" kern="1200" cap="none" spc="0" normalizeH="0" baseline="0" noProof="0" dirty="0">
                <a:ln>
                  <a:noFill/>
                </a:ln>
                <a:solidFill>
                  <a:prstClr val="black"/>
                </a:solidFill>
                <a:effectLst/>
                <a:uLnTx/>
                <a:uFillTx/>
                <a:latin typeface="Segoe UI"/>
                <a:ea typeface="+mn-ea"/>
                <a:cs typeface="+mn-cs"/>
              </a:rPr>
            </a:br>
            <a:r>
              <a:rPr kumimoji="0" lang="en-US" sz="1176" b="0" i="0" u="none" strike="noStrike" kern="1200" cap="none" spc="0" normalizeH="0" baseline="0" noProof="0" dirty="0">
                <a:ln>
                  <a:noFill/>
                </a:ln>
                <a:solidFill>
                  <a:prstClr val="black"/>
                </a:solidFill>
                <a:effectLst/>
                <a:uLnTx/>
                <a:uFillTx/>
                <a:latin typeface="Segoe UI"/>
                <a:ea typeface="+mn-ea"/>
                <a:cs typeface="+mn-cs"/>
              </a:rPr>
              <a:t>Manage Model</a:t>
            </a:r>
          </a:p>
        </p:txBody>
      </p:sp>
      <p:sp>
        <p:nvSpPr>
          <p:cNvPr id="137" name="TextBox 136">
            <a:extLst>
              <a:ext uri="{FF2B5EF4-FFF2-40B4-BE49-F238E27FC236}">
                <a16:creationId xmlns:a16="http://schemas.microsoft.com/office/drawing/2014/main" id="{8A00FAC3-AEC4-4944-AB77-F6BFB8241EE7}"/>
              </a:ext>
            </a:extLst>
          </p:cNvPr>
          <p:cNvSpPr txBox="1"/>
          <p:nvPr/>
        </p:nvSpPr>
        <p:spPr>
          <a:xfrm>
            <a:off x="7047957" y="5870175"/>
            <a:ext cx="720832" cy="362072"/>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prstClr val="black"/>
                </a:solidFill>
                <a:effectLst/>
                <a:uLnTx/>
                <a:uFillTx/>
                <a:latin typeface="Segoe UI"/>
                <a:ea typeface="+mn-ea"/>
                <a:cs typeface="+mn-cs"/>
              </a:rPr>
              <a:t>Build Image</a:t>
            </a:r>
          </a:p>
        </p:txBody>
      </p:sp>
      <p:pic>
        <p:nvPicPr>
          <p:cNvPr id="138" name="Picture 137">
            <a:extLst>
              <a:ext uri="{FF2B5EF4-FFF2-40B4-BE49-F238E27FC236}">
                <a16:creationId xmlns:a16="http://schemas.microsoft.com/office/drawing/2014/main" id="{0650047C-199C-6245-B15F-21D093C61AF0}"/>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233050" y="2948347"/>
            <a:ext cx="479590" cy="554008"/>
          </a:xfrm>
          <a:prstGeom prst="rect">
            <a:avLst/>
          </a:prstGeom>
        </p:spPr>
      </p:pic>
      <p:pic>
        <p:nvPicPr>
          <p:cNvPr id="139" name="Picture 10" descr="https://ih1.redbubble.net/image.361353434.1330/flat,800x800,075,f.jpg">
            <a:extLst>
              <a:ext uri="{FF2B5EF4-FFF2-40B4-BE49-F238E27FC236}">
                <a16:creationId xmlns:a16="http://schemas.microsoft.com/office/drawing/2014/main" id="{B9F39449-1DB6-7C45-8416-47F08FFA42E7}"/>
              </a:ext>
            </a:extLst>
          </p:cNvPr>
          <p:cNvPicPr>
            <a:picLocks noChangeAspect="1" noChangeArrowheads="1"/>
          </p:cNvPicPr>
          <p:nvPr/>
        </p:nvPicPr>
        <p:blipFill>
          <a:blip r:embed="rId4" cstate="email">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988954" y="3671045"/>
            <a:ext cx="973842" cy="337194"/>
          </a:xfrm>
          <a:prstGeom prst="rect">
            <a:avLst/>
          </a:prstGeom>
          <a:noFill/>
          <a:extLst>
            <a:ext uri="{909E8E84-426E-40DD-AFC4-6F175D3DCCD1}">
              <a14:hiddenFill xmlns:a14="http://schemas.microsoft.com/office/drawing/2010/main">
                <a:solidFill>
                  <a:srgbClr val="FFFFFF"/>
                </a:solidFill>
              </a14:hiddenFill>
            </a:ext>
          </a:extLst>
        </p:spPr>
      </p:pic>
      <p:sp>
        <p:nvSpPr>
          <p:cNvPr id="140" name="TextBox 139">
            <a:extLst>
              <a:ext uri="{FF2B5EF4-FFF2-40B4-BE49-F238E27FC236}">
                <a16:creationId xmlns:a16="http://schemas.microsoft.com/office/drawing/2014/main" id="{B2E138F8-BB2B-764C-8044-73F033797431}"/>
              </a:ext>
            </a:extLst>
          </p:cNvPr>
          <p:cNvSpPr txBox="1"/>
          <p:nvPr/>
        </p:nvSpPr>
        <p:spPr>
          <a:xfrm>
            <a:off x="3061711" y="3267449"/>
            <a:ext cx="812558" cy="543654"/>
          </a:xfrm>
          <a:prstGeom prst="rect">
            <a:avLst/>
          </a:prstGeom>
          <a:noFill/>
        </p:spPr>
        <p:txBody>
          <a:bodyPr wrap="square" lIns="179158" tIns="143327" rIns="179158" bIns="143327" rtlCol="0" anchor="t">
            <a:spAutoFit/>
          </a:bodyPr>
          <a:lstStyle/>
          <a:p>
            <a:pPr marL="0" marR="0" lvl="0" indent="0" algn="ctr" defTabSz="895526"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a:t>
            </a:r>
          </a:p>
        </p:txBody>
      </p:sp>
      <p:sp>
        <p:nvSpPr>
          <p:cNvPr id="141" name="TextBox 140">
            <a:extLst>
              <a:ext uri="{FF2B5EF4-FFF2-40B4-BE49-F238E27FC236}">
                <a16:creationId xmlns:a16="http://schemas.microsoft.com/office/drawing/2014/main" id="{730F2D3D-4A4E-1846-A0C1-0B556171E2C2}"/>
              </a:ext>
            </a:extLst>
          </p:cNvPr>
          <p:cNvSpPr txBox="1"/>
          <p:nvPr/>
        </p:nvSpPr>
        <p:spPr>
          <a:xfrm>
            <a:off x="2470072" y="4148802"/>
            <a:ext cx="1995835" cy="421910"/>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371" b="0" i="0" u="none" strike="noStrike" kern="1200" cap="none" spc="0" normalizeH="0" baseline="0" noProof="0" dirty="0">
                <a:ln>
                  <a:noFill/>
                </a:ln>
                <a:solidFill>
                  <a:prstClr val="black"/>
                </a:solidFill>
                <a:effectLst/>
                <a:uLnTx/>
                <a:uFillTx/>
                <a:latin typeface="Segoe UI"/>
                <a:ea typeface="+mn-ea"/>
                <a:cs typeface="+mn-cs"/>
              </a:rPr>
              <a:t>Build model </a:t>
            </a:r>
            <a:br>
              <a:rPr kumimoji="0" lang="en-US" sz="1371" b="0" i="0" u="none" strike="noStrike" kern="1200" cap="none" spc="0" normalizeH="0" baseline="0" noProof="0" dirty="0">
                <a:ln>
                  <a:noFill/>
                </a:ln>
                <a:solidFill>
                  <a:prstClr val="black"/>
                </a:solidFill>
                <a:effectLst/>
                <a:uLnTx/>
                <a:uFillTx/>
                <a:latin typeface="Segoe UI"/>
                <a:ea typeface="+mn-ea"/>
                <a:cs typeface="+mn-cs"/>
              </a:rPr>
            </a:br>
            <a:r>
              <a:rPr kumimoji="0" lang="en-US" sz="1371" b="0" i="0" u="none" strike="noStrike" kern="1200" cap="none" spc="0" normalizeH="0" baseline="0" noProof="0" dirty="0">
                <a:ln>
                  <a:noFill/>
                </a:ln>
                <a:solidFill>
                  <a:prstClr val="black"/>
                </a:solidFill>
                <a:effectLst/>
                <a:uLnTx/>
                <a:uFillTx/>
                <a:latin typeface="Segoe UI"/>
                <a:ea typeface="+mn-ea"/>
                <a:cs typeface="+mn-cs"/>
              </a:rPr>
              <a:t>(your favorite IDE)</a:t>
            </a:r>
          </a:p>
        </p:txBody>
      </p:sp>
      <p:sp>
        <p:nvSpPr>
          <p:cNvPr id="142" name="TextBox 141">
            <a:extLst>
              <a:ext uri="{FF2B5EF4-FFF2-40B4-BE49-F238E27FC236}">
                <a16:creationId xmlns:a16="http://schemas.microsoft.com/office/drawing/2014/main" id="{746F5C88-567F-5548-98EB-AB897B28E1E7}"/>
              </a:ext>
            </a:extLst>
          </p:cNvPr>
          <p:cNvSpPr txBox="1"/>
          <p:nvPr/>
        </p:nvSpPr>
        <p:spPr>
          <a:xfrm>
            <a:off x="3624030" y="5730517"/>
            <a:ext cx="1420349" cy="362072"/>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prstClr val="black"/>
                </a:solidFill>
                <a:effectLst/>
                <a:uLnTx/>
                <a:uFillTx/>
                <a:latin typeface="Segoe UI"/>
                <a:ea typeface="+mn-ea"/>
                <a:cs typeface="+mn-cs"/>
              </a:rPr>
              <a:t>Deploy Service</a:t>
            </a:r>
          </a:p>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prstClr val="black"/>
                </a:solidFill>
                <a:effectLst/>
                <a:uLnTx/>
                <a:uFillTx/>
                <a:latin typeface="Segoe UI"/>
                <a:ea typeface="+mn-ea"/>
                <a:cs typeface="+mn-cs"/>
              </a:rPr>
              <a:t>Monitor Model</a:t>
            </a:r>
          </a:p>
        </p:txBody>
      </p:sp>
      <p:grpSp>
        <p:nvGrpSpPr>
          <p:cNvPr id="172" name="Group 171">
            <a:extLst>
              <a:ext uri="{FF2B5EF4-FFF2-40B4-BE49-F238E27FC236}">
                <a16:creationId xmlns:a16="http://schemas.microsoft.com/office/drawing/2014/main" id="{099025A5-4D5D-E740-8A49-61CE2A0DA3C8}"/>
              </a:ext>
            </a:extLst>
          </p:cNvPr>
          <p:cNvGrpSpPr/>
          <p:nvPr/>
        </p:nvGrpSpPr>
        <p:grpSpPr>
          <a:xfrm>
            <a:off x="4000909" y="5172743"/>
            <a:ext cx="530838" cy="470337"/>
            <a:chOff x="10902845" y="2693238"/>
            <a:chExt cx="644231" cy="570807"/>
          </a:xfrm>
        </p:grpSpPr>
        <p:sp>
          <p:nvSpPr>
            <p:cNvPr id="173" name="Freeform 146">
              <a:extLst>
                <a:ext uri="{FF2B5EF4-FFF2-40B4-BE49-F238E27FC236}">
                  <a16:creationId xmlns:a16="http://schemas.microsoft.com/office/drawing/2014/main" id="{FA98D7FB-324E-6042-9CC0-C9155CD31395}"/>
                </a:ext>
              </a:extLst>
            </p:cNvPr>
            <p:cNvSpPr>
              <a:spLocks noChangeAspect="1"/>
            </p:cNvSpPr>
            <p:nvPr/>
          </p:nvSpPr>
          <p:spPr bwMode="auto">
            <a:xfrm>
              <a:off x="10902845" y="2693238"/>
              <a:ext cx="644231" cy="40799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marL="0" marR="0" lvl="0" indent="0" algn="ctr" defTabSz="895751" rtl="0" eaLnBrk="1" fontAlgn="base" latinLnBrk="0" hangingPunct="1">
                <a:lnSpc>
                  <a:spcPct val="90000"/>
                </a:lnSpc>
                <a:spcBef>
                  <a:spcPct val="0"/>
                </a:spcBef>
                <a:spcAft>
                  <a:spcPct val="0"/>
                </a:spcAft>
                <a:buClrTx/>
                <a:buSzTx/>
                <a:buFontTx/>
                <a:buNone/>
                <a:tabLst/>
                <a:defRPr/>
              </a:pPr>
              <a:endParaRPr kumimoji="0" lang="en-IN" sz="192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74" name="Rectangle 173">
              <a:extLst>
                <a:ext uri="{FF2B5EF4-FFF2-40B4-BE49-F238E27FC236}">
                  <a16:creationId xmlns:a16="http://schemas.microsoft.com/office/drawing/2014/main" id="{8D7E42D0-D9EC-F944-9892-610A464CAAE7}"/>
                </a:ext>
              </a:extLst>
            </p:cNvPr>
            <p:cNvSpPr/>
            <p:nvPr/>
          </p:nvSpPr>
          <p:spPr bwMode="auto">
            <a:xfrm>
              <a:off x="11138157" y="3021086"/>
              <a:ext cx="205040" cy="1484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75" name="Straight Arrow Connector 174">
              <a:extLst>
                <a:ext uri="{FF2B5EF4-FFF2-40B4-BE49-F238E27FC236}">
                  <a16:creationId xmlns:a16="http://schemas.microsoft.com/office/drawing/2014/main" id="{00DEBDC6-6492-F148-8E12-49D6CD21A2EE}"/>
                </a:ext>
              </a:extLst>
            </p:cNvPr>
            <p:cNvCxnSpPr>
              <a:cxnSpLocks/>
            </p:cNvCxnSpPr>
            <p:nvPr/>
          </p:nvCxnSpPr>
          <p:spPr>
            <a:xfrm flipV="1">
              <a:off x="11245742" y="2947705"/>
              <a:ext cx="0" cy="31634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6" name="Group 175">
            <a:extLst>
              <a:ext uri="{FF2B5EF4-FFF2-40B4-BE49-F238E27FC236}">
                <a16:creationId xmlns:a16="http://schemas.microsoft.com/office/drawing/2014/main" id="{A86BB0FF-4AC9-DF44-A0D3-7DA0508F9A30}"/>
              </a:ext>
            </a:extLst>
          </p:cNvPr>
          <p:cNvGrpSpPr/>
          <p:nvPr/>
        </p:nvGrpSpPr>
        <p:grpSpPr>
          <a:xfrm rot="1800000">
            <a:off x="7560175" y="2645745"/>
            <a:ext cx="502109" cy="581902"/>
            <a:chOff x="6281977" y="1925712"/>
            <a:chExt cx="609366" cy="706203"/>
          </a:xfrm>
        </p:grpSpPr>
        <p:sp>
          <p:nvSpPr>
            <p:cNvPr id="177" name="Hexagon 176">
              <a:extLst>
                <a:ext uri="{FF2B5EF4-FFF2-40B4-BE49-F238E27FC236}">
                  <a16:creationId xmlns:a16="http://schemas.microsoft.com/office/drawing/2014/main" id="{525929D0-BBE2-7549-BF50-EE6F390F4136}"/>
                </a:ext>
              </a:extLst>
            </p:cNvPr>
            <p:cNvSpPr/>
            <p:nvPr/>
          </p:nvSpPr>
          <p:spPr bwMode="auto">
            <a:xfrm rot="16200000">
              <a:off x="6261742" y="2000529"/>
              <a:ext cx="651443" cy="557784"/>
            </a:xfrm>
            <a:prstGeom prst="hexagon">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78" name="Straight Connector 177">
              <a:extLst>
                <a:ext uri="{FF2B5EF4-FFF2-40B4-BE49-F238E27FC236}">
                  <a16:creationId xmlns:a16="http://schemas.microsoft.com/office/drawing/2014/main" id="{9C105D50-BBEE-1845-90BC-0EF30FC08E51}"/>
                </a:ext>
              </a:extLst>
            </p:cNvPr>
            <p:cNvCxnSpPr>
              <a:stCxn id="177" idx="3"/>
              <a:endCxn id="177" idx="0"/>
            </p:cNvCxnSpPr>
            <p:nvPr/>
          </p:nvCxnSpPr>
          <p:spPr>
            <a:xfrm flipV="1">
              <a:off x="6587464" y="1953700"/>
              <a:ext cx="0" cy="651443"/>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79" name="Group 178">
              <a:extLst>
                <a:ext uri="{FF2B5EF4-FFF2-40B4-BE49-F238E27FC236}">
                  <a16:creationId xmlns:a16="http://schemas.microsoft.com/office/drawing/2014/main" id="{5666BB99-699A-BB4A-A87F-433E1A3B07F5}"/>
                </a:ext>
              </a:extLst>
            </p:cNvPr>
            <p:cNvGrpSpPr/>
            <p:nvPr/>
          </p:nvGrpSpPr>
          <p:grpSpPr>
            <a:xfrm>
              <a:off x="6584950" y="2093649"/>
              <a:ext cx="281406" cy="372551"/>
              <a:chOff x="6584950" y="2093146"/>
              <a:chExt cx="281406" cy="372551"/>
            </a:xfrm>
          </p:grpSpPr>
          <p:cxnSp>
            <p:nvCxnSpPr>
              <p:cNvPr id="192" name="Straight Connector 191">
                <a:extLst>
                  <a:ext uri="{FF2B5EF4-FFF2-40B4-BE49-F238E27FC236}">
                    <a16:creationId xmlns:a16="http://schemas.microsoft.com/office/drawing/2014/main" id="{A7077814-1982-794A-B409-3D6FBED1A944}"/>
                  </a:ext>
                </a:extLst>
              </p:cNvPr>
              <p:cNvCxnSpPr>
                <a:cxnSpLocks/>
                <a:stCxn id="177" idx="2"/>
              </p:cNvCxnSpPr>
              <p:nvPr/>
            </p:nvCxnSpPr>
            <p:spPr>
              <a:xfrm flipH="1" flipV="1">
                <a:off x="6584950" y="2415525"/>
                <a:ext cx="281406" cy="50172"/>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C4E38DD5-96BD-6E4A-BD6D-9806C6143270}"/>
                  </a:ext>
                </a:extLst>
              </p:cNvPr>
              <p:cNvCxnSpPr>
                <a:stCxn id="177" idx="1"/>
              </p:cNvCxnSpPr>
              <p:nvPr/>
            </p:nvCxnSpPr>
            <p:spPr>
              <a:xfrm flipH="1">
                <a:off x="6584950" y="2093146"/>
                <a:ext cx="281406" cy="110304"/>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94323C2B-5C8D-D940-8C97-7697AFFA4C4E}"/>
                  </a:ext>
                </a:extLst>
              </p:cNvPr>
              <p:cNvCxnSpPr>
                <a:cxnSpLocks/>
                <a:stCxn id="177" idx="1"/>
              </p:cNvCxnSpPr>
              <p:nvPr/>
            </p:nvCxnSpPr>
            <p:spPr>
              <a:xfrm flipH="1">
                <a:off x="6584950" y="2093146"/>
                <a:ext cx="281406" cy="32237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0" name="Group 179">
              <a:extLst>
                <a:ext uri="{FF2B5EF4-FFF2-40B4-BE49-F238E27FC236}">
                  <a16:creationId xmlns:a16="http://schemas.microsoft.com/office/drawing/2014/main" id="{50BC3873-06AC-EF47-9509-95E76B7BAE33}"/>
                </a:ext>
              </a:extLst>
            </p:cNvPr>
            <p:cNvGrpSpPr/>
            <p:nvPr/>
          </p:nvGrpSpPr>
          <p:grpSpPr>
            <a:xfrm flipH="1">
              <a:off x="6304801" y="2093649"/>
              <a:ext cx="281406" cy="372551"/>
              <a:chOff x="6584950" y="2093146"/>
              <a:chExt cx="281406" cy="372551"/>
            </a:xfrm>
          </p:grpSpPr>
          <p:cxnSp>
            <p:nvCxnSpPr>
              <p:cNvPr id="189" name="Straight Connector 188">
                <a:extLst>
                  <a:ext uri="{FF2B5EF4-FFF2-40B4-BE49-F238E27FC236}">
                    <a16:creationId xmlns:a16="http://schemas.microsoft.com/office/drawing/2014/main" id="{021D98BA-5720-0D4F-BC0F-E2B3C6C0A60D}"/>
                  </a:ext>
                </a:extLst>
              </p:cNvPr>
              <p:cNvCxnSpPr>
                <a:cxnSpLocks/>
              </p:cNvCxnSpPr>
              <p:nvPr/>
            </p:nvCxnSpPr>
            <p:spPr>
              <a:xfrm flipH="1" flipV="1">
                <a:off x="6584950" y="2415525"/>
                <a:ext cx="281406" cy="50172"/>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C28ED1E1-FE46-D14E-B6B5-FA134E8017A7}"/>
                  </a:ext>
                </a:extLst>
              </p:cNvPr>
              <p:cNvCxnSpPr/>
              <p:nvPr/>
            </p:nvCxnSpPr>
            <p:spPr>
              <a:xfrm flipH="1">
                <a:off x="6584950" y="2093146"/>
                <a:ext cx="281406" cy="110304"/>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52B3EA98-E9C3-9241-BF96-AF61696A0B95}"/>
                  </a:ext>
                </a:extLst>
              </p:cNvPr>
              <p:cNvCxnSpPr>
                <a:cxnSpLocks/>
              </p:cNvCxnSpPr>
              <p:nvPr/>
            </p:nvCxnSpPr>
            <p:spPr>
              <a:xfrm flipH="1">
                <a:off x="6584950" y="2093146"/>
                <a:ext cx="281406" cy="32237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81" name="Oval 180">
              <a:extLst>
                <a:ext uri="{FF2B5EF4-FFF2-40B4-BE49-F238E27FC236}">
                  <a16:creationId xmlns:a16="http://schemas.microsoft.com/office/drawing/2014/main" id="{28D8B1C0-9C53-DA40-8086-BD304ADF2DA6}"/>
                </a:ext>
              </a:extLst>
            </p:cNvPr>
            <p:cNvSpPr/>
            <p:nvPr/>
          </p:nvSpPr>
          <p:spPr bwMode="auto">
            <a:xfrm>
              <a:off x="6281977" y="2066999"/>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2" name="Oval 181">
              <a:extLst>
                <a:ext uri="{FF2B5EF4-FFF2-40B4-BE49-F238E27FC236}">
                  <a16:creationId xmlns:a16="http://schemas.microsoft.com/office/drawing/2014/main" id="{61BA9DB7-16AE-A14C-85C2-1A70346706A5}"/>
                </a:ext>
              </a:extLst>
            </p:cNvPr>
            <p:cNvSpPr/>
            <p:nvPr/>
          </p:nvSpPr>
          <p:spPr bwMode="auto">
            <a:xfrm>
              <a:off x="6558202" y="2173362"/>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3" name="Oval 182">
              <a:extLst>
                <a:ext uri="{FF2B5EF4-FFF2-40B4-BE49-F238E27FC236}">
                  <a16:creationId xmlns:a16="http://schemas.microsoft.com/office/drawing/2014/main" id="{F92A4BCE-3077-D54C-ABDB-62E0CC9D0B6C}"/>
                </a:ext>
              </a:extLst>
            </p:cNvPr>
            <p:cNvSpPr/>
            <p:nvPr/>
          </p:nvSpPr>
          <p:spPr bwMode="auto">
            <a:xfrm>
              <a:off x="6831252" y="2066999"/>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4" name="Oval 183">
              <a:extLst>
                <a:ext uri="{FF2B5EF4-FFF2-40B4-BE49-F238E27FC236}">
                  <a16:creationId xmlns:a16="http://schemas.microsoft.com/office/drawing/2014/main" id="{9B860905-C32B-BE49-912A-0B52BE6419D4}"/>
                </a:ext>
              </a:extLst>
            </p:cNvPr>
            <p:cNvSpPr/>
            <p:nvPr/>
          </p:nvSpPr>
          <p:spPr bwMode="auto">
            <a:xfrm>
              <a:off x="6558202" y="2387674"/>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Oval 184">
              <a:extLst>
                <a:ext uri="{FF2B5EF4-FFF2-40B4-BE49-F238E27FC236}">
                  <a16:creationId xmlns:a16="http://schemas.microsoft.com/office/drawing/2014/main" id="{E6A6F9AD-E5FB-FC45-8D91-7E2039D38A65}"/>
                </a:ext>
              </a:extLst>
            </p:cNvPr>
            <p:cNvSpPr/>
            <p:nvPr/>
          </p:nvSpPr>
          <p:spPr bwMode="auto">
            <a:xfrm>
              <a:off x="6834427" y="2438474"/>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Oval 185">
              <a:extLst>
                <a:ext uri="{FF2B5EF4-FFF2-40B4-BE49-F238E27FC236}">
                  <a16:creationId xmlns:a16="http://schemas.microsoft.com/office/drawing/2014/main" id="{0CF31637-10F1-E94E-95A2-882CEF5D600B}"/>
                </a:ext>
              </a:extLst>
            </p:cNvPr>
            <p:cNvSpPr/>
            <p:nvPr/>
          </p:nvSpPr>
          <p:spPr bwMode="auto">
            <a:xfrm>
              <a:off x="6558202" y="2574999"/>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Oval 186">
              <a:extLst>
                <a:ext uri="{FF2B5EF4-FFF2-40B4-BE49-F238E27FC236}">
                  <a16:creationId xmlns:a16="http://schemas.microsoft.com/office/drawing/2014/main" id="{61037609-1A15-3E4A-B6FB-8D3444D07326}"/>
                </a:ext>
              </a:extLst>
            </p:cNvPr>
            <p:cNvSpPr/>
            <p:nvPr/>
          </p:nvSpPr>
          <p:spPr bwMode="auto">
            <a:xfrm>
              <a:off x="6291502" y="2438474"/>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Oval 187">
              <a:extLst>
                <a:ext uri="{FF2B5EF4-FFF2-40B4-BE49-F238E27FC236}">
                  <a16:creationId xmlns:a16="http://schemas.microsoft.com/office/drawing/2014/main" id="{21E30766-5BEA-014A-A71E-0DD9D456F5DF}"/>
                </a:ext>
              </a:extLst>
            </p:cNvPr>
            <p:cNvSpPr/>
            <p:nvPr/>
          </p:nvSpPr>
          <p:spPr bwMode="auto">
            <a:xfrm>
              <a:off x="6558202" y="1925712"/>
              <a:ext cx="56916" cy="5691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95" name="Group 194">
            <a:extLst>
              <a:ext uri="{FF2B5EF4-FFF2-40B4-BE49-F238E27FC236}">
                <a16:creationId xmlns:a16="http://schemas.microsoft.com/office/drawing/2014/main" id="{31BA5C6F-0674-7C48-9056-BD48849AA1ED}"/>
              </a:ext>
            </a:extLst>
          </p:cNvPr>
          <p:cNvGrpSpPr/>
          <p:nvPr/>
        </p:nvGrpSpPr>
        <p:grpSpPr>
          <a:xfrm>
            <a:off x="7122826" y="5295160"/>
            <a:ext cx="577810" cy="456839"/>
            <a:chOff x="967154" y="1481462"/>
            <a:chExt cx="5331069" cy="4214950"/>
          </a:xfrm>
          <a:noFill/>
        </p:grpSpPr>
        <p:cxnSp>
          <p:nvCxnSpPr>
            <p:cNvPr id="196" name="Straight Connector 195">
              <a:extLst>
                <a:ext uri="{FF2B5EF4-FFF2-40B4-BE49-F238E27FC236}">
                  <a16:creationId xmlns:a16="http://schemas.microsoft.com/office/drawing/2014/main" id="{BEC7017F-7AD2-304C-BE14-D4E66475C6DB}"/>
                </a:ext>
              </a:extLst>
            </p:cNvPr>
            <p:cNvCxnSpPr>
              <a:cxnSpLocks/>
            </p:cNvCxnSpPr>
            <p:nvPr/>
          </p:nvCxnSpPr>
          <p:spPr>
            <a:xfrm>
              <a:off x="967154" y="5696412"/>
              <a:ext cx="5331069" cy="0"/>
            </a:xfrm>
            <a:prstGeom prst="line">
              <a:avLst/>
            </a:prstGeom>
            <a:grpFill/>
            <a:ln w="1270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97" name="Rectangle 196">
              <a:extLst>
                <a:ext uri="{FF2B5EF4-FFF2-40B4-BE49-F238E27FC236}">
                  <a16:creationId xmlns:a16="http://schemas.microsoft.com/office/drawing/2014/main" id="{149C43B7-28BE-CA40-9275-5359BAF500B4}"/>
                </a:ext>
              </a:extLst>
            </p:cNvPr>
            <p:cNvSpPr/>
            <p:nvPr/>
          </p:nvSpPr>
          <p:spPr bwMode="auto">
            <a:xfrm>
              <a:off x="1286608" y="2696308"/>
              <a:ext cx="2793023" cy="3000104"/>
            </a:xfrm>
            <a:prstGeom prst="rect">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8" name="Rectangle 197">
              <a:extLst>
                <a:ext uri="{FF2B5EF4-FFF2-40B4-BE49-F238E27FC236}">
                  <a16:creationId xmlns:a16="http://schemas.microsoft.com/office/drawing/2014/main" id="{EF98AB08-028C-F543-B507-412E1111B133}"/>
                </a:ext>
              </a:extLst>
            </p:cNvPr>
            <p:cNvSpPr/>
            <p:nvPr/>
          </p:nvSpPr>
          <p:spPr bwMode="auto">
            <a:xfrm>
              <a:off x="2225919" y="4700954"/>
              <a:ext cx="914400" cy="995458"/>
            </a:xfrm>
            <a:prstGeom prst="rect">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9" name="Freeform: Shape 404">
              <a:extLst>
                <a:ext uri="{FF2B5EF4-FFF2-40B4-BE49-F238E27FC236}">
                  <a16:creationId xmlns:a16="http://schemas.microsoft.com/office/drawing/2014/main" id="{30CF6A7F-B14F-8440-9BE6-2616D465776D}"/>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Freeform: Shape 405">
              <a:extLst>
                <a:ext uri="{FF2B5EF4-FFF2-40B4-BE49-F238E27FC236}">
                  <a16:creationId xmlns:a16="http://schemas.microsoft.com/office/drawing/2014/main" id="{955D3493-950B-6647-8376-6CD561B3CAFE}"/>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 name="Rectangle 13">
            <a:extLst>
              <a:ext uri="{FF2B5EF4-FFF2-40B4-BE49-F238E27FC236}">
                <a16:creationId xmlns:a16="http://schemas.microsoft.com/office/drawing/2014/main" id="{71099D9F-7ED2-6541-8648-491FB43A7D14}"/>
              </a:ext>
            </a:extLst>
          </p:cNvPr>
          <p:cNvSpPr/>
          <p:nvPr/>
        </p:nvSpPr>
        <p:spPr bwMode="auto">
          <a:xfrm>
            <a:off x="4992441" y="1173859"/>
            <a:ext cx="1474194" cy="8992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4" name="Group 223">
            <a:extLst>
              <a:ext uri="{FF2B5EF4-FFF2-40B4-BE49-F238E27FC236}">
                <a16:creationId xmlns:a16="http://schemas.microsoft.com/office/drawing/2014/main" id="{F316505D-6F16-E44C-9488-23A4FE7EF7C6}"/>
              </a:ext>
            </a:extLst>
          </p:cNvPr>
          <p:cNvGrpSpPr/>
          <p:nvPr/>
        </p:nvGrpSpPr>
        <p:grpSpPr>
          <a:xfrm>
            <a:off x="5417064" y="1188264"/>
            <a:ext cx="555768" cy="555768"/>
            <a:chOff x="6064661" y="2331652"/>
            <a:chExt cx="674488" cy="674488"/>
          </a:xfrm>
        </p:grpSpPr>
        <p:grpSp>
          <p:nvGrpSpPr>
            <p:cNvPr id="225" name="Group 224">
              <a:extLst>
                <a:ext uri="{FF2B5EF4-FFF2-40B4-BE49-F238E27FC236}">
                  <a16:creationId xmlns:a16="http://schemas.microsoft.com/office/drawing/2014/main" id="{9EB5162E-3CF7-2E41-A757-63A916103FFC}"/>
                </a:ext>
              </a:extLst>
            </p:cNvPr>
            <p:cNvGrpSpPr/>
            <p:nvPr/>
          </p:nvGrpSpPr>
          <p:grpSpPr>
            <a:xfrm>
              <a:off x="6064661" y="2331652"/>
              <a:ext cx="674488" cy="674488"/>
              <a:chOff x="6064661" y="2331652"/>
              <a:chExt cx="674488" cy="674488"/>
            </a:xfrm>
          </p:grpSpPr>
          <p:sp>
            <p:nvSpPr>
              <p:cNvPr id="227" name="Oval 226">
                <a:extLst>
                  <a:ext uri="{FF2B5EF4-FFF2-40B4-BE49-F238E27FC236}">
                    <a16:creationId xmlns:a16="http://schemas.microsoft.com/office/drawing/2014/main" id="{1308D21E-DFB2-404E-B765-286424858CCB}"/>
                  </a:ext>
                </a:extLst>
              </p:cNvPr>
              <p:cNvSpPr/>
              <p:nvPr/>
            </p:nvSpPr>
            <p:spPr bwMode="auto">
              <a:xfrm>
                <a:off x="6211116" y="2331652"/>
                <a:ext cx="381577" cy="674488"/>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8" name="Oval 227">
                <a:extLst>
                  <a:ext uri="{FF2B5EF4-FFF2-40B4-BE49-F238E27FC236}">
                    <a16:creationId xmlns:a16="http://schemas.microsoft.com/office/drawing/2014/main" id="{90A188FC-44AC-4645-A65B-0637B8C096B3}"/>
                  </a:ext>
                </a:extLst>
              </p:cNvPr>
              <p:cNvSpPr/>
              <p:nvPr/>
            </p:nvSpPr>
            <p:spPr bwMode="auto">
              <a:xfrm rot="3600000">
                <a:off x="6211116" y="2328651"/>
                <a:ext cx="381577" cy="674488"/>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9" name="Oval 228">
                <a:extLst>
                  <a:ext uri="{FF2B5EF4-FFF2-40B4-BE49-F238E27FC236}">
                    <a16:creationId xmlns:a16="http://schemas.microsoft.com/office/drawing/2014/main" id="{BA6C7214-66BB-414A-895A-E7FEA722AEB2}"/>
                  </a:ext>
                </a:extLst>
              </p:cNvPr>
              <p:cNvSpPr/>
              <p:nvPr/>
            </p:nvSpPr>
            <p:spPr bwMode="auto">
              <a:xfrm rot="18000000">
                <a:off x="6211116" y="2328651"/>
                <a:ext cx="381577" cy="674488"/>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26" name="Oval 225">
              <a:extLst>
                <a:ext uri="{FF2B5EF4-FFF2-40B4-BE49-F238E27FC236}">
                  <a16:creationId xmlns:a16="http://schemas.microsoft.com/office/drawing/2014/main" id="{DEB97B26-EFED-2E40-A7AE-076E16A751C0}"/>
                </a:ext>
              </a:extLst>
            </p:cNvPr>
            <p:cNvSpPr/>
            <p:nvPr/>
          </p:nvSpPr>
          <p:spPr bwMode="auto">
            <a:xfrm>
              <a:off x="6301928" y="2568919"/>
              <a:ext cx="199955" cy="199955"/>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useBgFill="1">
        <p:nvSpPr>
          <p:cNvPr id="239" name="Freeform 238">
            <a:extLst>
              <a:ext uri="{FF2B5EF4-FFF2-40B4-BE49-F238E27FC236}">
                <a16:creationId xmlns:a16="http://schemas.microsoft.com/office/drawing/2014/main" id="{BF84D008-0197-DB4B-A0C2-9548A308D674}"/>
              </a:ext>
            </a:extLst>
          </p:cNvPr>
          <p:cNvSpPr/>
          <p:nvPr/>
        </p:nvSpPr>
        <p:spPr bwMode="auto">
          <a:xfrm rot="19841501" flipH="1">
            <a:off x="4172713" y="2063812"/>
            <a:ext cx="115670" cy="25890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useBgFill="1">
        <p:nvSpPr>
          <p:cNvPr id="240" name="Freeform 239">
            <a:extLst>
              <a:ext uri="{FF2B5EF4-FFF2-40B4-BE49-F238E27FC236}">
                <a16:creationId xmlns:a16="http://schemas.microsoft.com/office/drawing/2014/main" id="{0EA015D6-8970-F442-96D2-12A12E0331D4}"/>
              </a:ext>
            </a:extLst>
          </p:cNvPr>
          <p:cNvSpPr/>
          <p:nvPr/>
        </p:nvSpPr>
        <p:spPr bwMode="auto">
          <a:xfrm rot="1583341" flipH="1">
            <a:off x="7101775" y="2078287"/>
            <a:ext cx="115670" cy="25890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useBgFill="1">
        <p:nvSpPr>
          <p:cNvPr id="241" name="Freeform 240">
            <a:extLst>
              <a:ext uri="{FF2B5EF4-FFF2-40B4-BE49-F238E27FC236}">
                <a16:creationId xmlns:a16="http://schemas.microsoft.com/office/drawing/2014/main" id="{6B0D99FF-B2E7-624A-B45A-9634031CA932}"/>
              </a:ext>
            </a:extLst>
          </p:cNvPr>
          <p:cNvSpPr/>
          <p:nvPr/>
        </p:nvSpPr>
        <p:spPr bwMode="auto">
          <a:xfrm rot="6586313" flipH="1">
            <a:off x="7855111" y="4441758"/>
            <a:ext cx="115670" cy="25890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useBgFill="1">
        <p:nvSpPr>
          <p:cNvPr id="242" name="Freeform 241">
            <a:extLst>
              <a:ext uri="{FF2B5EF4-FFF2-40B4-BE49-F238E27FC236}">
                <a16:creationId xmlns:a16="http://schemas.microsoft.com/office/drawing/2014/main" id="{F4F68F41-8CEF-A649-9EA5-926EC4FBDD9F}"/>
              </a:ext>
            </a:extLst>
          </p:cNvPr>
          <p:cNvSpPr/>
          <p:nvPr/>
        </p:nvSpPr>
        <p:spPr bwMode="auto">
          <a:xfrm rot="10800000" flipH="1">
            <a:off x="5665013" y="6117408"/>
            <a:ext cx="115670" cy="25890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useBgFill="1">
        <p:nvSpPr>
          <p:cNvPr id="243" name="Freeform 242">
            <a:extLst>
              <a:ext uri="{FF2B5EF4-FFF2-40B4-BE49-F238E27FC236}">
                <a16:creationId xmlns:a16="http://schemas.microsoft.com/office/drawing/2014/main" id="{0ADB20F3-7508-1E48-AF72-636595DAC877}"/>
              </a:ext>
            </a:extLst>
          </p:cNvPr>
          <p:cNvSpPr/>
          <p:nvPr/>
        </p:nvSpPr>
        <p:spPr bwMode="auto">
          <a:xfrm rot="13939501" flipH="1">
            <a:off x="3594852" y="4827904"/>
            <a:ext cx="115670" cy="258909"/>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D66D741F-9E32-4325-80E2-0E237C1A40B6}"/>
              </a:ext>
            </a:extLst>
          </p:cNvPr>
          <p:cNvGrpSpPr/>
          <p:nvPr/>
        </p:nvGrpSpPr>
        <p:grpSpPr>
          <a:xfrm rot="1758133">
            <a:off x="4929275" y="1014935"/>
            <a:ext cx="1545534" cy="1526999"/>
            <a:chOff x="8588574" y="428487"/>
            <a:chExt cx="1780248" cy="1758899"/>
          </a:xfrm>
        </p:grpSpPr>
        <p:sp>
          <p:nvSpPr>
            <p:cNvPr id="106" name="Oval 105">
              <a:extLst>
                <a:ext uri="{FF2B5EF4-FFF2-40B4-BE49-F238E27FC236}">
                  <a16:creationId xmlns:a16="http://schemas.microsoft.com/office/drawing/2014/main" id="{45353630-40F6-4E37-AD43-550A263DCFD9}"/>
                </a:ext>
              </a:extLst>
            </p:cNvPr>
            <p:cNvSpPr/>
            <p:nvPr/>
          </p:nvSpPr>
          <p:spPr bwMode="auto">
            <a:xfrm>
              <a:off x="8671754" y="459948"/>
              <a:ext cx="1626863" cy="1626863"/>
            </a:xfrm>
            <a:prstGeom prst="ellipse">
              <a:avLst/>
            </a:prstGeom>
            <a:ln w="12700" cap="sq">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07" name="Rectangle 106">
              <a:extLst>
                <a:ext uri="{FF2B5EF4-FFF2-40B4-BE49-F238E27FC236}">
                  <a16:creationId xmlns:a16="http://schemas.microsoft.com/office/drawing/2014/main" id="{4605EE45-72F0-410F-96CC-92D0209F2B13}"/>
                </a:ext>
              </a:extLst>
            </p:cNvPr>
            <p:cNvSpPr/>
            <p:nvPr/>
          </p:nvSpPr>
          <p:spPr bwMode="auto">
            <a:xfrm>
              <a:off x="9715808" y="428487"/>
              <a:ext cx="203200" cy="1668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07">
              <a:extLst>
                <a:ext uri="{FF2B5EF4-FFF2-40B4-BE49-F238E27FC236}">
                  <a16:creationId xmlns:a16="http://schemas.microsoft.com/office/drawing/2014/main" id="{07EA252C-F2D3-448B-8D0C-6D5A39BD1C4C}"/>
                </a:ext>
              </a:extLst>
            </p:cNvPr>
            <p:cNvSpPr/>
            <p:nvPr/>
          </p:nvSpPr>
          <p:spPr bwMode="auto">
            <a:xfrm>
              <a:off x="8588574" y="935160"/>
              <a:ext cx="203200" cy="1668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08">
              <a:extLst>
                <a:ext uri="{FF2B5EF4-FFF2-40B4-BE49-F238E27FC236}">
                  <a16:creationId xmlns:a16="http://schemas.microsoft.com/office/drawing/2014/main" id="{86E866F2-F256-47FD-B1F0-8B9848D87388}"/>
                </a:ext>
              </a:extLst>
            </p:cNvPr>
            <p:cNvSpPr/>
            <p:nvPr/>
          </p:nvSpPr>
          <p:spPr bwMode="auto">
            <a:xfrm>
              <a:off x="9156857" y="1957996"/>
              <a:ext cx="203200" cy="22939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ectangle 109">
              <a:extLst>
                <a:ext uri="{FF2B5EF4-FFF2-40B4-BE49-F238E27FC236}">
                  <a16:creationId xmlns:a16="http://schemas.microsoft.com/office/drawing/2014/main" id="{A7E64E60-949F-41B3-8BF1-9993B12A97D3}"/>
                </a:ext>
              </a:extLst>
            </p:cNvPr>
            <p:cNvSpPr/>
            <p:nvPr/>
          </p:nvSpPr>
          <p:spPr bwMode="auto">
            <a:xfrm>
              <a:off x="10165622" y="1425236"/>
              <a:ext cx="203200" cy="1668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useBgFill="1">
          <p:nvSpPr>
            <p:cNvPr id="111" name="Freeform 238">
              <a:extLst>
                <a:ext uri="{FF2B5EF4-FFF2-40B4-BE49-F238E27FC236}">
                  <a16:creationId xmlns:a16="http://schemas.microsoft.com/office/drawing/2014/main" id="{48EFFA72-4B3A-4E85-B30B-D686A510C2A6}"/>
                </a:ext>
              </a:extLst>
            </p:cNvPr>
            <p:cNvSpPr/>
            <p:nvPr/>
          </p:nvSpPr>
          <p:spPr bwMode="auto">
            <a:xfrm rot="951750" flipH="1">
              <a:off x="9787594" y="434273"/>
              <a:ext cx="68095" cy="15242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useBgFill="1">
          <p:nvSpPr>
            <p:cNvPr id="112" name="Freeform 238">
              <a:extLst>
                <a:ext uri="{FF2B5EF4-FFF2-40B4-BE49-F238E27FC236}">
                  <a16:creationId xmlns:a16="http://schemas.microsoft.com/office/drawing/2014/main" id="{418A59EC-FF1D-46DA-AEE6-5EFE24995F91}"/>
                </a:ext>
              </a:extLst>
            </p:cNvPr>
            <p:cNvSpPr/>
            <p:nvPr/>
          </p:nvSpPr>
          <p:spPr bwMode="auto">
            <a:xfrm rot="12271368" flipH="1">
              <a:off x="9210188" y="1956381"/>
              <a:ext cx="68095" cy="15242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useBgFill="1">
          <p:nvSpPr>
            <p:cNvPr id="113" name="Freeform 238">
              <a:extLst>
                <a:ext uri="{FF2B5EF4-FFF2-40B4-BE49-F238E27FC236}">
                  <a16:creationId xmlns:a16="http://schemas.microsoft.com/office/drawing/2014/main" id="{235452A9-F16F-45AF-95DE-AB6479BF394E}"/>
                </a:ext>
              </a:extLst>
            </p:cNvPr>
            <p:cNvSpPr/>
            <p:nvPr/>
          </p:nvSpPr>
          <p:spPr bwMode="auto">
            <a:xfrm rot="6703119" flipH="1">
              <a:off x="10232242" y="1446507"/>
              <a:ext cx="68095" cy="15242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useBgFill="1">
          <p:nvSpPr>
            <p:cNvPr id="114" name="Freeform 238">
              <a:extLst>
                <a:ext uri="{FF2B5EF4-FFF2-40B4-BE49-F238E27FC236}">
                  <a16:creationId xmlns:a16="http://schemas.microsoft.com/office/drawing/2014/main" id="{260BAC64-88C5-4C33-AFE5-308445E49DE1}"/>
                </a:ext>
              </a:extLst>
            </p:cNvPr>
            <p:cNvSpPr/>
            <p:nvPr/>
          </p:nvSpPr>
          <p:spPr bwMode="auto">
            <a:xfrm rot="17572891" flipH="1">
              <a:off x="8689051" y="934765"/>
              <a:ext cx="68095" cy="152420"/>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ln w="127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sp>
        <p:nvSpPr>
          <p:cNvPr id="136" name="TextBox 135">
            <a:extLst>
              <a:ext uri="{FF2B5EF4-FFF2-40B4-BE49-F238E27FC236}">
                <a16:creationId xmlns:a16="http://schemas.microsoft.com/office/drawing/2014/main" id="{21C7EB02-38D6-F449-B54A-AA4153E5EEE8}"/>
              </a:ext>
            </a:extLst>
          </p:cNvPr>
          <p:cNvSpPr txBox="1"/>
          <p:nvPr/>
        </p:nvSpPr>
        <p:spPr>
          <a:xfrm>
            <a:off x="5138816" y="1801886"/>
            <a:ext cx="1148523" cy="421910"/>
          </a:xfrm>
          <a:prstGeom prst="rect">
            <a:avLst/>
          </a:prstGeom>
          <a:noFill/>
        </p:spPr>
        <p:txBody>
          <a:bodyPr wrap="square" lIns="0" tIns="0" rIns="0" bIns="0" rtlCol="0">
            <a:spAutoFit/>
          </a:bodyPr>
          <a:lstStyle>
            <a:defPPr>
              <a:defRPr lang="en-US"/>
            </a:defPPr>
            <a:lvl1pPr algn="ctr">
              <a:defRPr sz="1600">
                <a:solidFill>
                  <a:schemeClr val="accent6">
                    <a:lumMod val="50000"/>
                  </a:schemeClr>
                </a:solidFill>
              </a:defRPr>
            </a:lvl1p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371" b="0" i="0" u="none" strike="noStrike" kern="1200" cap="none" spc="0" normalizeH="0" baseline="0" noProof="0" dirty="0">
                <a:ln>
                  <a:noFill/>
                </a:ln>
                <a:solidFill>
                  <a:prstClr val="black"/>
                </a:solidFill>
                <a:effectLst/>
                <a:uLnTx/>
                <a:uFillTx/>
                <a:latin typeface="Segoe UI"/>
                <a:ea typeface="+mn-ea"/>
                <a:cs typeface="+mn-cs"/>
              </a:rPr>
              <a:t>Train &amp; </a:t>
            </a:r>
            <a:br>
              <a:rPr kumimoji="0" lang="en-US" sz="1371" b="0" i="0" u="none" strike="noStrike" kern="1200" cap="none" spc="0" normalizeH="0" baseline="0" noProof="0" dirty="0">
                <a:ln>
                  <a:noFill/>
                </a:ln>
                <a:solidFill>
                  <a:prstClr val="black"/>
                </a:solidFill>
                <a:effectLst/>
                <a:uLnTx/>
                <a:uFillTx/>
                <a:latin typeface="Segoe UI"/>
                <a:ea typeface="+mn-ea"/>
                <a:cs typeface="+mn-cs"/>
              </a:rPr>
            </a:br>
            <a:r>
              <a:rPr kumimoji="0" lang="en-US" sz="1371" b="0" i="0" u="none" strike="noStrike" kern="1200" cap="none" spc="0" normalizeH="0" baseline="0" noProof="0" dirty="0">
                <a:ln>
                  <a:noFill/>
                </a:ln>
                <a:solidFill>
                  <a:prstClr val="black"/>
                </a:solidFill>
                <a:effectLst/>
                <a:uLnTx/>
                <a:uFillTx/>
                <a:latin typeface="Segoe UI"/>
                <a:ea typeface="+mn-ea"/>
                <a:cs typeface="+mn-cs"/>
              </a:rPr>
              <a:t>Test Model</a:t>
            </a:r>
          </a:p>
        </p:txBody>
      </p:sp>
    </p:spTree>
    <p:extLst>
      <p:ext uri="{BB962C8B-B14F-4D97-AF65-F5344CB8AC3E}">
        <p14:creationId xmlns:p14="http://schemas.microsoft.com/office/powerpoint/2010/main" val="26483104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8)">
                                      <p:cBhvr>
                                        <p:cTn id="7" dur="1000"/>
                                        <p:tgtEl>
                                          <p:spTgt spid="2"/>
                                        </p:tgtEl>
                                      </p:cBhvr>
                                    </p:animEffect>
                                  </p:childTnLst>
                                </p:cTn>
                              </p:par>
                              <p:par>
                                <p:cTn id="8" presetID="10" presetClass="emph" presetSubtype="0" repeatCount="3000" fill="hold" grpId="0" nodeType="withEffect">
                                  <p:stCondLst>
                                    <p:cond delay="0"/>
                                  </p:stCondLst>
                                  <p:childTnLst>
                                    <p:anim calcmode="discrete" valueType="str">
                                      <p:cBhvr override="childStyle">
                                        <p:cTn id="9" dur="2500" fill="hold"/>
                                        <p:tgtEl>
                                          <p:spTgt spid="136"/>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par>
                                <p:cTn id="10" presetID="10" presetClass="emph" presetSubtype="0" repeatCount="3000" fill="hold" grpId="0" nodeType="withEffect">
                                  <p:stCondLst>
                                    <p:cond delay="500"/>
                                  </p:stCondLst>
                                  <p:childTnLst>
                                    <p:anim calcmode="discrete" valueType="str">
                                      <p:cBhvr override="childStyle">
                                        <p:cTn id="11" dur="2500" fill="hold"/>
                                        <p:tgtEl>
                                          <p:spTgt spid="135"/>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par>
                                <p:cTn id="12" presetID="10" presetClass="emph" presetSubtype="0" repeatCount="3000" fill="hold" grpId="0" nodeType="withEffect">
                                  <p:stCondLst>
                                    <p:cond delay="1000"/>
                                  </p:stCondLst>
                                  <p:childTnLst>
                                    <p:anim calcmode="discrete" valueType="str">
                                      <p:cBhvr override="childStyle">
                                        <p:cTn id="13" dur="2500" fill="hold"/>
                                        <p:tgtEl>
                                          <p:spTgt spid="142"/>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par>
                                <p:cTn id="14" presetID="10" presetClass="emph" presetSubtype="0" repeatCount="3000" fill="hold" grpId="0" nodeType="withEffect">
                                  <p:stCondLst>
                                    <p:cond delay="1500"/>
                                  </p:stCondLst>
                                  <p:childTnLst>
                                    <p:anim calcmode="discrete" valueType="str">
                                      <p:cBhvr override="childStyle">
                                        <p:cTn id="15" dur="2500" fill="hold"/>
                                        <p:tgtEl>
                                          <p:spTgt spid="137"/>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par>
                                <p:cTn id="16" presetID="10" presetClass="emph" presetSubtype="0" repeatCount="3000" fill="hold" grpId="0" nodeType="withEffect">
                                  <p:stCondLst>
                                    <p:cond delay="2000"/>
                                  </p:stCondLst>
                                  <p:childTnLst>
                                    <p:anim calcmode="discrete" valueType="str">
                                      <p:cBhvr override="childStyle">
                                        <p:cTn id="17" dur="2500" fill="hold"/>
                                        <p:tgtEl>
                                          <p:spTgt spid="141"/>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par>
                                <p:cTn id="18" presetID="8" presetClass="emph" presetSubtype="0" decel="14706" fill="hold" grpId="1" nodeType="withEffect">
                                  <p:stCondLst>
                                    <p:cond delay="1000"/>
                                  </p:stCondLst>
                                  <p:childTnLst>
                                    <p:animRot by="21600000">
                                      <p:cBhvr>
                                        <p:cTn id="19" dur="8500" fill="hold"/>
                                        <p:tgtEl>
                                          <p:spTgt spid="2"/>
                                        </p:tgtEl>
                                        <p:attrNameLst>
                                          <p:attrName>r</p:attrName>
                                        </p:attrNameLst>
                                      </p:cBhvr>
                                    </p:animRot>
                                  </p:childTnLst>
                                </p:cTn>
                              </p:par>
                              <p:par>
                                <p:cTn id="20" presetID="63" presetClass="path" presetSubtype="0" accel="11765" decel="17647" fill="hold" grpId="0" nodeType="withEffect">
                                  <p:stCondLst>
                                    <p:cond delay="0"/>
                                  </p:stCondLst>
                                  <p:childTnLst>
                                    <p:animMotion origin="layout" path="M 4.375E-6 -4.44444E-6 L 1.2375 -4.44444E-6 " pathEditMode="relative" rAng="0" ptsTypes="AA">
                                      <p:cBhvr>
                                        <p:cTn id="21" dur="9500" fill="hold"/>
                                        <p:tgtEl>
                                          <p:spTgt spid="5"/>
                                        </p:tgtEl>
                                        <p:attrNameLst>
                                          <p:attrName>ppt_x</p:attrName>
                                          <p:attrName>ppt_y</p:attrName>
                                        </p:attrNameLst>
                                      </p:cBhvr>
                                      <p:rCtr x="61875" y="0"/>
                                    </p:animMotion>
                                  </p:childTnLst>
                                </p:cTn>
                              </p:par>
                              <p:par>
                                <p:cTn id="22" presetID="21" presetClass="entr" presetSubtype="8" fill="hold" nodeType="withEffect">
                                  <p:stCondLst>
                                    <p:cond delay="500"/>
                                  </p:stCondLst>
                                  <p:childTnLst>
                                    <p:set>
                                      <p:cBhvr>
                                        <p:cTn id="23" dur="1" fill="hold">
                                          <p:stCondLst>
                                            <p:cond delay="0"/>
                                          </p:stCondLst>
                                        </p:cTn>
                                        <p:tgtEl>
                                          <p:spTgt spid="105"/>
                                        </p:tgtEl>
                                        <p:attrNameLst>
                                          <p:attrName>style.visibility</p:attrName>
                                        </p:attrNameLst>
                                      </p:cBhvr>
                                      <p:to>
                                        <p:strVal val="visible"/>
                                      </p:to>
                                    </p:set>
                                    <p:animEffect transition="in" filter="wheel(8)">
                                      <p:cBhvr>
                                        <p:cTn id="24" dur="1000"/>
                                        <p:tgtEl>
                                          <p:spTgt spid="105"/>
                                        </p:tgtEl>
                                      </p:cBhvr>
                                    </p:animEffect>
                                  </p:childTnLst>
                                </p:cTn>
                              </p:par>
                              <p:par>
                                <p:cTn id="25" presetID="8" presetClass="emph" presetSubtype="0" decel="14706" fill="hold" nodeType="withEffect">
                                  <p:stCondLst>
                                    <p:cond delay="500"/>
                                  </p:stCondLst>
                                  <p:childTnLst>
                                    <p:animRot by="21600000">
                                      <p:cBhvr>
                                        <p:cTn id="26" dur="8500" fill="hold"/>
                                        <p:tgtEl>
                                          <p:spTgt spid="10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 grpId="0" animBg="1"/>
      <p:bldP spid="2" grpId="1" animBg="1"/>
      <p:bldP spid="135" grpId="0"/>
      <p:bldP spid="137" grpId="0"/>
      <p:bldP spid="141" grpId="0"/>
      <p:bldP spid="142"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WrUnIOUSuSbBDg2gQel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WrUnIOUSuSbBDg2gQel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WrUnIOUSuSbBDg2gQelq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potx" id="{FAF767A5-BCA3-49EF-AE3A-1B2ED41E981A}" vid="{079C5C20-462B-42D4-8EFB-8051F7048BD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potx" id="{FAF767A5-BCA3-49EF-AE3A-1B2ED41E981A}" vid="{079C5C20-462B-42D4-8EFB-8051F7048BDC}"/>
    </a:ext>
  </a:extLst>
</a:theme>
</file>

<file path=ppt/theme/theme3.xml><?xml version="1.0" encoding="utf-8"?>
<a:theme xmlns:a="http://schemas.openxmlformats.org/drawingml/2006/main" name="1_5-50188_May_Leadership_Summit_Template_Light ">
  <a:themeElements>
    <a:clrScheme name="Custom 4">
      <a:dk1>
        <a:srgbClr val="1A1A1A"/>
      </a:dk1>
      <a:lt1>
        <a:srgbClr val="FFFFFF"/>
      </a:lt1>
      <a:dk2>
        <a:srgbClr val="0D0D0D"/>
      </a:dk2>
      <a:lt2>
        <a:srgbClr val="E6E6E6"/>
      </a:lt2>
      <a:accent1>
        <a:srgbClr val="00188F"/>
      </a:accent1>
      <a:accent2>
        <a:srgbClr val="0078D4"/>
      </a:accent2>
      <a:accent3>
        <a:srgbClr val="00BCF2"/>
      </a:accent3>
      <a:accent4>
        <a:srgbClr val="B4009E"/>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oT EBC Story Arc _draft v1" id="{14AC0B92-5973-4DB0-889F-1B0828F32092}" vid="{A78F4F63-521D-4AF7-B91B-EA8F87C11F2D}"/>
    </a:ext>
  </a:extLst>
</a:theme>
</file>

<file path=ppt/theme/theme4.xml><?xml version="1.0" encoding="utf-8"?>
<a:theme xmlns:a="http://schemas.openxmlformats.org/drawingml/2006/main" name="Microsoft_Light_Template">
  <a:themeElements>
    <a:clrScheme name="Custom 1">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00BCF2"/>
      </a:accent5>
      <a:accent6>
        <a:srgbClr val="737373"/>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2017_Final_Regular" id="{BF07714B-27F9-44DD-9E72-629E6A452987}" vid="{A5E47DA6-93F5-4D39-B1E8-F65AC147B9EE}"/>
    </a:ext>
  </a:extLst>
</a:theme>
</file>

<file path=ppt/theme/theme5.xml><?xml version="1.0" encoding="utf-8"?>
<a:theme xmlns:a="http://schemas.openxmlformats.org/drawingml/2006/main" name="MS Brand White 16-9_Dec-2013">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6.xml><?xml version="1.0" encoding="utf-8"?>
<a:theme xmlns:a="http://schemas.openxmlformats.org/drawingml/2006/main" name="3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7.xml><?xml version="1.0" encoding="utf-8"?>
<a:theme xmlns:a="http://schemas.openxmlformats.org/drawingml/2006/main" name="MSFT Azure ">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6" id="{6EB113CA-C652-4EDE-851B-7E09446BD8F3}" vid="{F42B78DA-A33F-4A43-9CCD-5B4ACB75A407}"/>
    </a:ext>
  </a:extLst>
</a:theme>
</file>

<file path=ppt/theme/theme8.xml><?xml version="1.0" encoding="utf-8"?>
<a:theme xmlns:a="http://schemas.openxmlformats.org/drawingml/2006/main" name="MGXFY15">
  <a:themeElements>
    <a:clrScheme name="Custom 41">
      <a:dk1>
        <a:srgbClr val="000000"/>
      </a:dk1>
      <a:lt1>
        <a:srgbClr val="FFFFFF"/>
      </a:lt1>
      <a:dk2>
        <a:srgbClr val="0078D7"/>
      </a:dk2>
      <a:lt2>
        <a:srgbClr val="D2D2D2"/>
      </a:lt2>
      <a:accent1>
        <a:srgbClr val="002050"/>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9.xml><?xml version="1.0" encoding="utf-8"?>
<a:theme xmlns:a="http://schemas.openxmlformats.org/drawingml/2006/main" name="Azure Template">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6" id="{6EB113CA-C652-4EDE-851B-7E09446BD8F3}" vid="{F42B78DA-A33F-4A43-9CCD-5B4ACB75A407}"/>
    </a:ext>
  </a:extLst>
</a:theme>
</file>

<file path=ppt/theme/themeOverride1.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44" ma:contentTypeDescription="" ma:contentTypeScope="" ma:versionID="69cb2da1a09b2b74c0c1b7ac6483921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a3c7c730f3e6456302d1277509957eca"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xsd:element ref="ns2:Owner" minOccurs="0"/>
                <xsd:element ref="ns2:OwnersManager"/>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Coowner" minOccurs="0"/>
                <xsd:element ref="ns2:ParentID1" minOccurs="0"/>
                <xsd:element ref="ns4:dkll" minOccurs="0"/>
                <xsd:element ref="ns4:Update_x0020_Expiration_x0020_Date_x0020_For_x0020_Docset" minOccurs="0"/>
                <xsd:element ref="ns4:lbla" minOccurs="0"/>
                <xsd:element ref="ns4:MediaServiceKeyPoints" minOccurs="0"/>
                <xsd:element ref="ns2:GenericHTML1" minOccurs="0"/>
                <xsd:element ref="ns2:GenericText2" minOccurs="0"/>
                <xsd:element ref="ns2:FolderExtensions"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bf80e81150e248c48aa8cffdf0021a1f"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od9986d31974458fb3007746ec0bce5f" minOccurs="0"/>
                <xsd:element ref="ns2:k21a64daf20d4502b2796a1c6b8ce6c8" minOccurs="0"/>
                <xsd:element ref="ns1:_dlc_Exempt" minOccurs="0"/>
                <xsd:element ref="ns1:_dlc_ExpireDateSaved" minOccurs="0"/>
                <xsd:element ref="ns1:_dlc_ExpireDate" minOccurs="0"/>
                <xsd:element ref="ns2:ef109fd36bcf4bcd9dd945731030600b" minOccurs="0"/>
                <xsd:element ref="ns4:MediaServiceOCR" minOccurs="0"/>
                <xsd:element ref="ns4:MediaServiceEventHashCode" minOccurs="0"/>
                <xsd:element ref="ns4:MediaServiceGenerationTime" minOccurs="0"/>
                <xsd:element ref="ns4:MediaServiceAutoKeyPoints" minOccurs="0"/>
                <xsd:element ref="ns2:hd9637eefc984b85b6097c6374e15725" minOccurs="0"/>
                <xsd:element ref="ns2:k8073fd852084ec1ba6e2c8d5ade6bf8" minOccurs="0"/>
                <xsd:element ref="ns2:ga0c0bf70a6644469c61b3efa7025301" minOccurs="0"/>
                <xsd:element ref="ns2:mafbf0bb15774bf782b6f7937f17c8ce" minOccurs="0"/>
                <xsd:element ref="ns2:i7ea4c13ddfd467b9bb281d44c777b52" minOccurs="0"/>
                <xsd:element ref="ns2:i1b478372f814787abd313030b81fcb2" minOccurs="0"/>
                <xsd:element ref="ns1:RoutingRule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15"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8" nillable="true" ma:displayName="Rating (0-5)" ma:decimals="2" ma:description="Average value of all the ratings that have been submitted" ma:internalName="AverageRating" ma:readOnly="true">
      <xsd:simpleType>
        <xsd:restriction base="dms:Number"/>
      </xsd:simpleType>
    </xsd:element>
    <xsd:element name="RatingCount" ma:index="19" nillable="true" ma:displayName="Number of Ratings" ma:decimals="0" ma:description="Number of ratings submitted" ma:internalName="RatingCount" ma:readOnly="true">
      <xsd:simpleType>
        <xsd:restriction base="dms:Number"/>
      </xsd:simpleType>
    </xsd:element>
    <xsd:element name="PublishingExpirationDate" ma:index="22"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element name="RoutingRuleDescription" ma:index="92" nillable="true" ma:displayName="Description" ma: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ma:displayName="Document Description" ma:description="Alternate description for documents that can be used for display." ma:internalName="DocumentDescription" ma:readOnly="false">
      <xsd:simpleType>
        <xsd:restriction base="dms:Note"/>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nersManager" ma:index="4" ma:displayName="Owner's Manager" ma:description="Manager of the owner of the content." ma:list="UserInfo" ma:SearchPeopleOnly="false" ma:SharePointGroup="0" ma:internalName="OwnersManager"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Expire_x0020_Review" ma:index="11" nillable="true" ma:displayName="Expiration" ma:format="DateOnly" ma:internalName="Expire_x0020_Review" ma:readOnly="false">
      <xsd:simpleType>
        <xsd:restriction base="dms:DateTime"/>
      </xsd:simpleType>
    </xsd:element>
    <xsd:element name="Thumbnail1" ma:index="16"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4" nillable="true" ma:displayName="ContentID" ma:indexed="true" ma:internalName="ContentID" ma:readOnly="false">
      <xsd:simpleType>
        <xsd:restriction base="dms:Text">
          <xsd:maxLength value="255"/>
        </xsd:restriction>
      </xsd:simpleType>
    </xsd:element>
    <xsd:element name="Blog_x0020_Name" ma:index="25" nillable="true" ma:displayName="Blog Name" ma:description="Title of an Infopedia Blog" ma:internalName="Blog_x0020_Name">
      <xsd:simpleType>
        <xsd:restriction base="dms:Text">
          <xsd:maxLength value="255"/>
        </xsd:restriction>
      </xsd:simpleType>
    </xsd:element>
    <xsd:element name="Coowner" ma:index="3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arentID1" ma:index="40"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HTML1" ma:index="45" nillable="true" ma:displayName="GenericHTML1" ma:description="Generic field for future features in implementation" ma:internalName="GenericHTML1">
      <xsd:simpleType>
        <xsd:restriction base="dms:Unknown"/>
      </xsd:simpleType>
    </xsd:element>
    <xsd:element name="GenericText2" ma:index="46" nillable="true" ma:displayName="GenericText2" ma:description="Generic field for future features in implementation" ma:indexed="true" ma:internalName="GenericText2">
      <xsd:simpleType>
        <xsd:restriction base="dms:Text">
          <xsd:maxLength value="255"/>
        </xsd:restriction>
      </xsd:simpleType>
    </xsd:element>
    <xsd:element name="FolderExtensions" ma:index="47" nillable="true" ma:displayName="Folder Extensions" ma:description="On-DocSet sub folder to support inactive documents views." ma:internalName="FolderExtensions">
      <xsd:simpleType>
        <xsd:restriction base="dms:Unknown"/>
      </xsd:simple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b3c4a436-adac-4141-8add-ff9b56e1c976"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7"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od9986d31974458fb3007746ec0bce5f" ma:index="74"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75"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8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85"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k8073fd852084ec1ba6e2c8d5ade6bf8" ma:index="86" nillable="true" ma:taxonomy="true" ma:internalName="k8073fd852084ec1ba6e2c8d5ade6bf8" ma:taxonomyFieldName="Solution_x0020_Areas" ma:displayName="Solution Areas" ma:readOnly="false" ma:default="" ma:fieldId="{48073fd8-5208-4ec1-ba6e-2c8d5ade6bf8}" ma:taxonomyMulti="true" ma:sspId="e385fb40-52d4-4fae-9c5b-3e8ff8a5878e" ma:termSetId="b49e540e-074d-4845-a34c-877000c7b062" ma:anchorId="c469a396-9286-43a4-a826-6e5559b48bb4" ma:open="false" ma:isKeyword="false">
      <xsd:complexType>
        <xsd:sequence>
          <xsd:element ref="pc:Terms" minOccurs="0" maxOccurs="1"/>
        </xsd:sequence>
      </xsd:complexType>
    </xsd:element>
    <xsd:element name="ga0c0bf70a6644469c61b3efa7025301" ma:index="87"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mafbf0bb15774bf782b6f7937f17c8ce" ma:index="88" nillable="true" ma:taxonomy="true" ma:internalName="mafbf0bb15774bf782b6f7937f17c8ce" ma:taxonomyFieldName="MSProfessions" ma:displayName="MS Professions" ma:readOnly="false" ma:default="" ma:fieldId="{6afbf0bb-1577-4bf7-82b6-f7937f17c8ce}" ma:taxonomyMulti="true" ma:sspId="e385fb40-52d4-4fae-9c5b-3e8ff8a5878e" ma:termSetId="270e6016-5c27-496c-a5c0-1503b0a4f45c" ma:anchorId="8870fa9b-5abd-4403-b641-6cc4a026dfde" ma:open="false" ma:isKeyword="false">
      <xsd:complexType>
        <xsd:sequence>
          <xsd:element ref="pc:Terms" minOccurs="0" maxOccurs="1"/>
        </xsd:sequence>
      </xsd:complexType>
    </xsd:element>
    <xsd:element name="i7ea4c13ddfd467b9bb281d44c777b52" ma:index="90" nillable="true" ma:taxonomy="true" ma:internalName="i7ea4c13ddfd467b9bb281d44c777b52" ma:taxonomyFieldName="SMSG_x0020_Items" ma:displayName="SMSG Items" ma:default="" ma:fieldId="{27ea4c13-ddfd-467b-9bb2-81d44c777b52}" ma:sspId="e385fb40-52d4-4fae-9c5b-3e8ff8a5878e" ma:termSetId="f8967457-31aa-473d-be88-d724930b3d1e" ma:anchorId="12c654ad-e9ff-4734-91a8-0b47fd9d3f07" ma:open="false" ma:isKeyword="false">
      <xsd:complexType>
        <xsd:sequence>
          <xsd:element ref="pc:Terms" minOccurs="0" maxOccurs="1"/>
        </xsd:sequence>
      </xsd:complexType>
    </xsd:element>
    <xsd:element name="i1b478372f814787abd313030b81fcb2" ma:index="91"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10" nillable="true" ma:displayName="PublishDate" ma:description="Used in Blog Posts, this date is used to specify the Blog Article Date." ma:format="DateOnly" ma:internalName="PublishDate">
      <xsd:simpleType>
        <xsd:restriction base="dms:DateTime"/>
      </xsd:simpleType>
    </xsd:element>
    <xsd:element name="ApplyWorkflowRules" ma:index="23"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dkll" ma:index="41" nillable="true" ma:displayName="SMSG Topics" ma:internalName="dkll">
      <xsd:simpleType>
        <xsd:restriction base="dms:Text"/>
      </xsd:simpleType>
    </xsd:element>
    <xsd:element name="Update_x0020_Expiration_x0020_Date_x0020_For_x0020_Docset" ma:index="42"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43"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KeyPoints" ma:index="44" nillable="true" ma:displayName="KeyPoints" ma:internalName="MediaServiceKeyPoints" ma:readOnly="false">
      <xsd:simpleType>
        <xsd:restriction base="dms:Note">
          <xsd:maxLength value="255"/>
        </xsd:restriction>
      </xsd:simpleType>
    </xsd:element>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element name="MediaServiceAutoKeyPoints" ma:index="84" nillable="true" ma:displayName="MediaServiceAutoKeyPoints" ma:hidden="true" ma:internalName="MediaServiceAutoKeyPoint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Master deck for executive briefings on Azure IoT. </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hecklists</TermName>
          <TermId xmlns="http://schemas.microsoft.com/office/infopath/2007/PartnerControls">cdc11282-7b54-4f27-8efc-d0abec78257b</TermId>
        </TermInfo>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Sunil Tahilramani</DisplayName>
        <AccountId>681</AccountId>
        <AccountType/>
      </UserInfo>
    </Owner>
    <PublishDate xmlns="230E9DF3-BE65-4C73-A93B-D1236EBD677E">2018-12-13T08:00:00+00:00</PublishDate>
    <GenericHTML1 xmlns="230e9df3-be65-4c73-a93b-d1236ebd677e" xsi:nil="true"/>
    <k21a64daf20d4502b2796a1c6b8ce6c8 xmlns="230e9df3-be65-4c73-a93b-d1236ebd677e">
      <Terms xmlns="http://schemas.microsoft.com/office/infopath/2007/PartnerControls"/>
    </k21a64daf20d4502b2796a1c6b8ce6c8>
    <lbla xmlns="b3bc04a5-d503-43b1-b98c-a8cf663329d9">
      <UserInfo>
        <DisplayName/>
        <AccountId xsi:nil="true"/>
        <AccountType/>
      </UserInfo>
    </lbla>
    <Expire_x0020_Review xmlns="230e9df3-be65-4c73-a93b-d1236ebd677e">2019-07-31T07: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Cloud + AI Marketing</TermName>
          <TermId xmlns="http://schemas.microsoft.com/office/infopath/2007/PartnerControls">4f75e184-e5aa-4234-a07f-b032d60df254</TermId>
        </TermInfo>
        <TermInfo xmlns="http://schemas.microsoft.com/office/infopath/2007/PartnerControls">
          <TermName xmlns="http://schemas.microsoft.com/office/infopath/2007/PartnerControls">Internet of Things Group</TermName>
          <TermId xmlns="http://schemas.microsoft.com/office/infopath/2007/PartnerControls">8bf43c3e-89a7-46fd-a175-562694591a6c</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Gear Up</TermName>
          <TermId xmlns="http://schemas.microsoft.com/office/infopath/2007/PartnerControls">5bd03d8b-c198-4367-bd72-be9dad12d703</TermId>
        </TermInfo>
        <TermInfo xmlns="http://schemas.microsoft.com/office/infopath/2007/PartnerControls">
          <TermName xmlns="http://schemas.microsoft.com/office/infopath/2007/PartnerControls">Internet of Things Domain</TermName>
          <TermId xmlns="http://schemas.microsoft.com/office/infopath/2007/PartnerControls">34685f97-aa46-4d4d-881b-c9a2cde63bef</TermId>
        </TermInfo>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DisplayName>i:0#.f|membership|v-anmarv@microsoft.com</DisplayName>
        <AccountId>45</AccountId>
        <AccountType/>
      </UserInfo>
      <UserInfo>
        <DisplayName>i:0#.f|membership|v-locon@microsoft.com</DisplayName>
        <AccountId>4605</AccountId>
        <AccountType/>
      </UserInfo>
      <UserInfo>
        <DisplayName>i:0#.f|membership|lustanh@microsoft.com</DisplayName>
        <AccountId>17937</AccountId>
        <AccountType/>
      </UserInfo>
      <UserInfo>
        <DisplayName>i:0#.f|membership|mamajonc@microsoft.com</DisplayName>
        <AccountId>78328</AccountId>
        <AccountType/>
      </UserInfo>
      <UserInfo>
        <DisplayName>i:0#.f|membership|losampai@microsoft.com</DisplayName>
        <AccountId>130604</AccountId>
        <AccountType/>
      </UserInfo>
      <UserInfo>
        <DisplayName>i:0#.f|membership|pcooper@microsoft.com</DisplayName>
        <AccountId>361</AccountId>
        <AccountType/>
      </UserInfo>
      <UserInfo>
        <DisplayName>i:0#.f|membership|obloch@microsoft.com</DisplayName>
        <AccountId>530</AccountId>
        <AccountType/>
      </UserInfo>
      <UserInfo>
        <DisplayName>i:0#.f|membership|liwase@microsoft.com</DisplayName>
        <AccountId>682</AccountId>
        <AccountType/>
      </UserInfo>
      <UserInfo>
        <DisplayName>i:0#.f|membership|jodichte@microsoft.com</DisplayName>
        <AccountId>136969</AccountId>
        <AccountType/>
      </UserInfo>
      <UserInfo>
        <DisplayName>i:0#.f|membership|chawkins@microsoft.com</DisplayName>
        <AccountId>5072</AccountId>
        <AccountType/>
      </UserInfo>
      <UserInfo>
        <DisplayName>i:0#.f|membership|v-shpepp@microsoft.com</DisplayName>
        <AccountId>110947</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 IoT Hub</TermName>
          <TermId xmlns="http://schemas.microsoft.com/office/infopath/2007/PartnerControls">d035f8e1-895c-4dd8-b39f-2cb6d8f1d680</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100 (beginner)</TermName>
          <TermId xmlns="http://schemas.microsoft.com/office/infopath/2007/PartnerControls">7d022d07-ff67-4af8-910d-8ea6b46b5908</TermId>
        </TermInfo>
      </Terms>
    </m6d26e40ac264097a006193f92232ece>
    <b60f8d2dbb984f349d80d8196897f4d3 xmlns="230e9df3-be65-4c73-a93b-d1236ebd677e">
      <Terms xmlns="http://schemas.microsoft.com/office/infopath/2007/PartnerControls">
        <TermInfo xmlns="http://schemas.microsoft.com/office/infopath/2007/PartnerControls">
          <TermName xmlns="http://schemas.microsoft.com/office/infopath/2007/PartnerControls">Solution Sales</TermName>
          <TermId xmlns="http://schemas.microsoft.com/office/infopath/2007/PartnerControls">170353c6-5135-48bf-b60a-c3b55ac67d1c</TermId>
        </TermInfo>
      </Terms>
    </b60f8d2dbb984f349d80d8196897f4d3>
    <Thumbnail1 xmlns="230e9df3-be65-4c73-a93b-d1236ebd677e">
      <Url>https://microsoft.sharepoint.com/sites/Infopedia_G01KC/Style%20Library/Thumbnails/G01KC-1-37444/Azure%20IoT%20EBC%20deck.png</Url>
      <Description>/sites/Infopedia_G01KC/Style Library/Thumbnails/G01KC-1-37444/Azure IoT EBC deck.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Info xmlns="http://schemas.microsoft.com/office/infopath/2007/PartnerControls">
          <TermName xmlns="http://schemas.microsoft.com/office/infopath/2007/PartnerControls">Cloud Platform (solution)</TermName>
          <TermId xmlns="http://schemas.microsoft.com/office/infopath/2007/PartnerControls">8e62087a-5af4-429b-974d-d6aee352a28f</TermId>
        </TermInfo>
        <TermInfo xmlns="http://schemas.microsoft.com/office/infopath/2007/PartnerControls">
          <TermName xmlns="http://schemas.microsoft.com/office/infopath/2007/PartnerControls">New Conversation</TermName>
          <TermId xmlns="http://schemas.microsoft.com/office/infopath/2007/PartnerControls">5ae50351-4e19-465d-a34a-e592b7a56769</TermId>
        </TermInfo>
        <TermInfo xmlns="http://schemas.microsoft.com/office/infopath/2007/PartnerControls">
          <TermName xmlns="http://schemas.microsoft.com/office/infopath/2007/PartnerControls">Internet of Your Things</TermName>
          <TermId xmlns="http://schemas.microsoft.com/office/infopath/2007/PartnerControls">cb3354bd-6d29-4656-83fb-4e192665ca2b</TermId>
        </TermInfo>
      </Term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dkll xmlns="b3bc04a5-d503-43b1-b98c-a8cf663329d9"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ermInfo xmlns="http://schemas.microsoft.com/office/infopath/2007/PartnerControls">
          <TermName xmlns="http://schemas.microsoft.com/office/infopath/2007/PartnerControls">solution sales professionals</TermName>
          <TermId xmlns="http://schemas.microsoft.com/office/infopath/2007/PartnerControls">849610f6-8911-4c95-8017-fe52a86bf622</TermId>
        </TermInfo>
      </Term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21</Value>
      <Value>294</Value>
      <Value>2623</Value>
      <Value>1094</Value>
      <Value>2325</Value>
      <Value>3097</Value>
      <Value>164</Value>
      <Value>2763</Value>
      <Value>3095</Value>
      <Value>3094</Value>
      <Value>21</Value>
      <Value>20</Value>
      <Value>3091</Value>
      <Value>165</Value>
      <Value>16</Value>
      <Value>1975</Value>
      <Value>382</Value>
      <Value>14</Value>
      <Value>3066</Value>
      <Value>42</Value>
      <Value>131</Value>
      <Value>1628</Value>
    </TaxCatchAll>
    <Update_x0020_Expiration_x0020_Date_x0020_For_x0020_Docset xmlns="b3bc04a5-d503-43b1-b98c-a8cf663329d9">
      <Url xsi:nil="true"/>
      <Description xsi:nil="true"/>
    </Update_x0020_Expiration_x0020_Date_x0020_For_x0020_Docset>
    <mb88723863e1404388ba3733387d48df xmlns="230e9df3-be65-4c73-a93b-d1236ebd677e">
      <Terms xmlns="http://schemas.microsoft.com/office/infopath/2007/PartnerControls"/>
    </mb88723863e1404388ba3733387d48df>
    <ParentID1 xmlns="230e9df3-be65-4c73-a93b-d1236ebd677e">G01KC-1-10654</ParentID1>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products</TermName>
          <TermId xmlns="http://schemas.microsoft.com/office/infopath/2007/PartnerControls">2b247c5b-99da-46bc-8667-e75c62241e78</TermId>
        </TermInfo>
      </Terms>
    </m6c7b4717b6346e6a075a59dd47eac69>
    <_dlc_DocId xmlns="230e9df3-be65-4c73-a93b-d1236ebd677e">G01KC-99682991-37444</_dlc_DocId>
    <_dlc_DocIdUrl xmlns="230e9df3-be65-4c73-a93b-d1236ebd677e">
      <Url>https://microsoft.sharepoint.com/sites/Infopedia_G01KC/_layouts/15/DocIdRedir.aspx?ID=G01KC-99682991-37444</Url>
      <Description>G01KC-99682991-37444</Description>
    </_dlc_DocIdUrl>
    <_dlc_ExpireDateSaved xmlns="http://schemas.microsoft.com/sharepoint/v3" xsi:nil="true"/>
    <_dlc_ExpireDate xmlns="http://schemas.microsoft.com/sharepoint/v3">2019-07-31T07:00:00+00:00</_dlc_ExpireDate>
    <MediaServiceKeyPoints xmlns="b3bc04a5-d503-43b1-b98c-a8cf663329d9" xsi:nil="true"/>
    <OwnersManager xmlns="230e9df3-be65-4c73-a93b-d1236ebd677e">
      <UserInfo>
        <DisplayName>Jaishree Subramania</DisplayName>
        <AccountId>196634</AccountId>
        <AccountType/>
      </UserInfo>
    </OwnersManager>
    <i7ea4c13ddfd467b9bb281d44c777b52 xmlns="230e9df3-be65-4c73-a93b-d1236ebd677e">
      <Terms xmlns="http://schemas.microsoft.com/office/infopath/2007/PartnerControls">
        <TermInfo xmlns="http://schemas.microsoft.com/office/infopath/2007/PartnerControls">
          <TermName xmlns="http://schemas.microsoft.com/office/infopath/2007/PartnerControls">documents</TermName>
          <TermId xmlns="http://schemas.microsoft.com/office/infopath/2007/PartnerControls">e037ed84-7d8e-4cbb-9c8f-61e80301a44f</TermId>
        </TermInfo>
      </Terms>
    </i7ea4c13ddfd467b9bb281d44c777b52>
    <mafbf0bb15774bf782b6f7937f17c8ce xmlns="230e9df3-be65-4c73-a93b-d1236ebd677e">
      <Terms xmlns="http://schemas.microsoft.com/office/infopath/2007/PartnerControls">
        <TermInfo xmlns="http://schemas.microsoft.com/office/infopath/2007/PartnerControls">
          <TermName xmlns="http://schemas.microsoft.com/office/infopath/2007/PartnerControls">Sales</TermName>
          <TermId xmlns="http://schemas.microsoft.com/office/infopath/2007/PartnerControls">72627068-acd7-4c1a-8b95-a0256be5dc9f</TermId>
        </TermInfo>
        <TermInfo xmlns="http://schemas.microsoft.com/office/infopath/2007/PartnerControls">
          <TermName xmlns="http://schemas.microsoft.com/office/infopath/2007/PartnerControls"> Technical Sales</TermName>
          <TermId xmlns="http://schemas.microsoft.com/office/infopath/2007/PartnerControls">831f7989-43a4-4e48-852a-a5355978f47f</TermId>
        </TermInfo>
      </Terms>
    </mafbf0bb15774bf782b6f7937f17c8ce>
    <k8073fd852084ec1ba6e2c8d5ade6bf8 xmlns="230e9df3-be65-4c73-a93b-d1236ebd677e">
      <Terms xmlns="http://schemas.microsoft.com/office/infopath/2007/PartnerControls">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s>
    </k8073fd852084ec1ba6e2c8d5ade6bf8>
  </documentManagement>
</p:properties>
</file>

<file path=customXml/item4.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Props1.xml><?xml version="1.0" encoding="utf-8"?>
<ds:datastoreItem xmlns:ds="http://schemas.openxmlformats.org/officeDocument/2006/customXml" ds:itemID="{2EB3F48B-2F47-4F92-93F8-F4F63C8D41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44A250F-533E-49C4-96B7-D2E711C109D6}">
  <ds:schemaRefs>
    <ds:schemaRef ds:uri="http://schemas.microsoft.com/sharepoint/events"/>
  </ds:schemaRefs>
</ds:datastoreItem>
</file>

<file path=customXml/itemProps3.xml><?xml version="1.0" encoding="utf-8"?>
<ds:datastoreItem xmlns:ds="http://schemas.openxmlformats.org/officeDocument/2006/customXml" ds:itemID="{1A2F3233-E30A-410B-94C6-6E021999130D}">
  <ds:schemaRefs>
    <ds:schemaRef ds:uri="230e9df3-be65-4c73-a93b-d1236ebd677e"/>
    <ds:schemaRef ds:uri="b3bc04a5-d503-43b1-b98c-a8cf663329d9"/>
    <ds:schemaRef ds:uri="http://schemas.microsoft.com/office/2006/documentManagement/types"/>
    <ds:schemaRef ds:uri="230E9DF3-BE65-4C73-A93B-D1236EBD677E"/>
    <ds:schemaRef ds:uri="http://www.w3.org/XML/1998/namespace"/>
    <ds:schemaRef ds:uri="http://purl.org/dc/elements/1.1/"/>
    <ds:schemaRef ds:uri="http://schemas.microsoft.com/office/infopath/2007/PartnerControls"/>
    <ds:schemaRef ds:uri="http://schemas.openxmlformats.org/package/2006/metadata/core-properties"/>
    <ds:schemaRef ds:uri="http://purl.org/dc/terms/"/>
    <ds:schemaRef ds:uri="http://schemas.microsoft.com/sharepoint/v3"/>
    <ds:schemaRef ds:uri="http://schemas.microsoft.com/office/2006/metadata/properties"/>
    <ds:schemaRef ds:uri="http://purl.org/dc/dcmitype/"/>
  </ds:schemaRefs>
</ds:datastoreItem>
</file>

<file path=customXml/itemProps4.xml><?xml version="1.0" encoding="utf-8"?>
<ds:datastoreItem xmlns:ds="http://schemas.openxmlformats.org/officeDocument/2006/customXml" ds:itemID="{B345425E-5361-4971-9B86-634D8121AB47}">
  <ds:schemaRefs>
    <ds:schemaRef ds:uri="Microsoft.SharePoint.Taxonomy.ContentTypeSync"/>
  </ds:schemaRefs>
</ds:datastoreItem>
</file>

<file path=customXml/itemProps5.xml><?xml version="1.0" encoding="utf-8"?>
<ds:datastoreItem xmlns:ds="http://schemas.openxmlformats.org/officeDocument/2006/customXml" ds:itemID="{9F07A399-D5E6-42C1-A0F7-12401AA67224}">
  <ds:schemaRefs>
    <ds:schemaRef ds:uri="http://schemas.microsoft.com/sharepoint/v3/contenttype/forms"/>
  </ds:schemaRefs>
</ds:datastoreItem>
</file>

<file path=customXml/itemProps6.xml><?xml version="1.0" encoding="utf-8"?>
<ds:datastoreItem xmlns:ds="http://schemas.openxmlformats.org/officeDocument/2006/customXml" ds:itemID="{4AFC009C-4FB6-4287-B15C-C0D256AA5E74}">
  <ds:schemaRefs>
    <ds:schemaRef ds:uri="office.server.policy"/>
  </ds:schemaRefs>
</ds:datastoreItem>
</file>

<file path=docProps/app.xml><?xml version="1.0" encoding="utf-8"?>
<Properties xmlns="http://schemas.openxmlformats.org/officeDocument/2006/extended-properties" xmlns:vt="http://schemas.openxmlformats.org/officeDocument/2006/docPropsVTypes">
  <TotalTime>51</TotalTime>
  <Words>9204</Words>
  <Application>Microsoft Office PowerPoint</Application>
  <PresentationFormat>Widescreen</PresentationFormat>
  <Paragraphs>2249</Paragraphs>
  <Slides>100</Slides>
  <Notes>80</Notes>
  <HiddenSlides>0</HiddenSlides>
  <MMClips>0</MMClips>
  <ScaleCrop>false</ScaleCrop>
  <HeadingPairs>
    <vt:vector size="8" baseType="variant">
      <vt:variant>
        <vt:lpstr>Fonts Used</vt:lpstr>
      </vt:variant>
      <vt:variant>
        <vt:i4>10</vt:i4>
      </vt:variant>
      <vt:variant>
        <vt:lpstr>Theme</vt:lpstr>
      </vt:variant>
      <vt:variant>
        <vt:i4>9</vt:i4>
      </vt:variant>
      <vt:variant>
        <vt:lpstr>Embedded OLE Servers</vt:lpstr>
      </vt:variant>
      <vt:variant>
        <vt:i4>1</vt:i4>
      </vt:variant>
      <vt:variant>
        <vt:lpstr>Slide Titles</vt:lpstr>
      </vt:variant>
      <vt:variant>
        <vt:i4>100</vt:i4>
      </vt:variant>
    </vt:vector>
  </HeadingPairs>
  <TitlesOfParts>
    <vt:vector size="120" baseType="lpstr">
      <vt:lpstr>Arial</vt:lpstr>
      <vt:lpstr>Calibri</vt:lpstr>
      <vt:lpstr>Consolas</vt:lpstr>
      <vt:lpstr>Gill Sans</vt:lpstr>
      <vt:lpstr>Segoe UI</vt:lpstr>
      <vt:lpstr>Segoe UI Light</vt:lpstr>
      <vt:lpstr>Segoe UI Semibold</vt:lpstr>
      <vt:lpstr>Segoe UI Semilight</vt:lpstr>
      <vt:lpstr>Segoe UI Semilight (Headings)</vt:lpstr>
      <vt:lpstr>Wingdings</vt:lpstr>
      <vt:lpstr>1_WHITE TEMPLATE</vt:lpstr>
      <vt:lpstr>2_WHITE TEMPLATE</vt:lpstr>
      <vt:lpstr>1_5-50188_May_Leadership_Summit_Template_Light </vt:lpstr>
      <vt:lpstr>Microsoft_Light_Template</vt:lpstr>
      <vt:lpstr>MS Brand White 16-9_Dec-2013</vt:lpstr>
      <vt:lpstr>3_5-50109_Microsoft_Light_Template</vt:lpstr>
      <vt:lpstr>MSFT Azure </vt:lpstr>
      <vt:lpstr>MGXFY15</vt:lpstr>
      <vt:lpstr>Azure Template</vt:lpstr>
      <vt:lpstr>think-cell Slide</vt:lpstr>
      <vt:lpstr>Azure IoT &amp; ML Overview</vt:lpstr>
      <vt:lpstr>Unlocking the value of IoT The IoT opportunity across industries </vt:lpstr>
      <vt:lpstr>PowerPoint Presentation</vt:lpstr>
      <vt:lpstr>Demos</vt:lpstr>
      <vt:lpstr>PowerPoint Presentation</vt:lpstr>
      <vt:lpstr>PowerPoint Presentation</vt:lpstr>
      <vt:lpstr>Comprehensive IoT platform from Microsoft</vt:lpstr>
      <vt:lpstr>PowerPoint Presentation</vt:lpstr>
      <vt:lpstr>PowerPoint Presentation</vt:lpstr>
      <vt:lpstr>Azure IoT portfolio</vt:lpstr>
      <vt:lpstr>Insight IoT Offer  Engagement model</vt:lpstr>
      <vt:lpstr>Azure IoT reference architecture</vt:lpstr>
      <vt:lpstr>Big Picture for IoT, AI, Digital Twins, and your business</vt:lpstr>
      <vt:lpstr>The components of a ML application</vt:lpstr>
      <vt:lpstr>Comprehensive Set of Capabilities for IoT Solutions</vt:lpstr>
      <vt:lpstr>Building AI Solutions in Manufacturing</vt:lpstr>
      <vt:lpstr>PowerPoint Presentation</vt:lpstr>
      <vt:lpstr>Building blocks for a Data Science Project</vt:lpstr>
      <vt:lpstr>Azure Machine Learning service</vt:lpstr>
      <vt:lpstr>Building your own AI models</vt:lpstr>
      <vt:lpstr>Building your own AI models</vt:lpstr>
      <vt:lpstr>Building your own AI models</vt:lpstr>
      <vt:lpstr>Building your own AI models</vt:lpstr>
      <vt:lpstr>Building your own AI models</vt:lpstr>
      <vt:lpstr>Building your own AI models</vt:lpstr>
      <vt:lpstr>Azure Machine Learning service</vt:lpstr>
      <vt:lpstr>Building your own AI models</vt:lpstr>
      <vt:lpstr>Building your own AI models</vt:lpstr>
      <vt:lpstr>Building your own AI models </vt:lpstr>
      <vt:lpstr>Building your own AI models</vt:lpstr>
      <vt:lpstr>Azure Machine Learning service</vt:lpstr>
      <vt:lpstr>Automated machine learning</vt:lpstr>
      <vt:lpstr>Model creation is typically a time consuming process </vt:lpstr>
      <vt:lpstr>Model creation is typically a time consuming process</vt:lpstr>
      <vt:lpstr>PowerPoint Presentation</vt:lpstr>
      <vt:lpstr>Automated Machine Learning accelerates  model development  </vt:lpstr>
      <vt:lpstr>Understand the inner workings of ML by analyzing feature importance </vt:lpstr>
      <vt:lpstr>PowerPoint Presentation</vt:lpstr>
      <vt:lpstr>Distributed training on managed compute </vt:lpstr>
      <vt:lpstr>Training infrastructure </vt:lpstr>
      <vt:lpstr>Powerful infrastructure</vt:lpstr>
      <vt:lpstr>PowerPoint Presentation</vt:lpstr>
      <vt:lpstr>DevOps loop for data science </vt:lpstr>
      <vt:lpstr>DevOps loop for data science </vt:lpstr>
      <vt:lpstr>Model management in Azure Machine Learning </vt:lpstr>
      <vt:lpstr>PowerPoint Presentation</vt:lpstr>
      <vt:lpstr>PowerPoint Presentation</vt:lpstr>
      <vt:lpstr>Components of a pre-configured solution</vt:lpstr>
      <vt:lpstr>PowerPoint Presentation</vt:lpstr>
      <vt:lpstr>Azure IoT portfolio</vt:lpstr>
      <vt:lpstr>PowerPoint Presentation</vt:lpstr>
      <vt:lpstr>PowerPoint Presentation</vt:lpstr>
      <vt:lpstr>IoT device management lifecycle</vt:lpstr>
      <vt:lpstr>IoT  Plug &amp; Play</vt:lpstr>
      <vt:lpstr>IoT Plug and Play in Azure IoT platform context</vt:lpstr>
      <vt:lpstr>Azure Time Series insights</vt:lpstr>
      <vt:lpstr>PowerPoint Presentation</vt:lpstr>
      <vt:lpstr>Azure Maps</vt:lpstr>
      <vt:lpstr>Azure, Azure Stack, IoT Edge, and IoT</vt:lpstr>
      <vt:lpstr>Comprehensive IoT platform from Microsoft</vt:lpstr>
      <vt:lpstr>Insight IoT Offer  Engagement model</vt:lpstr>
      <vt:lpstr>Azure IoT reference architecture</vt:lpstr>
      <vt:lpstr>Big Picture for IoT, AI, Digital Twins, and your business</vt:lpstr>
      <vt:lpstr>PowerPoint Presentation</vt:lpstr>
      <vt:lpstr>PowerPoint Presentation</vt:lpstr>
      <vt:lpstr>PowerPoint Presentation</vt:lpstr>
      <vt:lpstr>Comprehensive Set of Capabilities for IoT Solutions</vt:lpstr>
      <vt:lpstr>Azure Stream Analytics on edge devices</vt:lpstr>
      <vt:lpstr>Azure Stream Analytics on edge devices</vt:lpstr>
      <vt:lpstr>Architecture</vt:lpstr>
      <vt:lpstr>Building AI Solutions in Manufacturing</vt:lpstr>
      <vt:lpstr>PowerPoint Presentation</vt:lpstr>
      <vt:lpstr>Building blocks for a Data Science Project</vt:lpstr>
      <vt:lpstr>Azure Machine Learning service</vt:lpstr>
      <vt:lpstr>Building your own AI models</vt:lpstr>
      <vt:lpstr>Building your own AI models</vt:lpstr>
      <vt:lpstr>Building your own AI models</vt:lpstr>
      <vt:lpstr>Building your own AI models</vt:lpstr>
      <vt:lpstr>Building your own AI models</vt:lpstr>
      <vt:lpstr>Building your own AI models</vt:lpstr>
      <vt:lpstr>Azure Machine Learning service</vt:lpstr>
      <vt:lpstr>Building your own AI models</vt:lpstr>
      <vt:lpstr>Building your own AI models</vt:lpstr>
      <vt:lpstr>Building your own AI models </vt:lpstr>
      <vt:lpstr>Building your own AI models</vt:lpstr>
      <vt:lpstr>Azure Machine Learning service</vt:lpstr>
      <vt:lpstr>Automated machine learning</vt:lpstr>
      <vt:lpstr>Model creation is typically a time consuming process </vt:lpstr>
      <vt:lpstr>Model creation is typically a time consuming process</vt:lpstr>
      <vt:lpstr>PowerPoint Presentation</vt:lpstr>
      <vt:lpstr>Automated Machine Learning accelerates  model development  </vt:lpstr>
      <vt:lpstr>Understand the inner workings of ML by analyzing feature importance </vt:lpstr>
      <vt:lpstr>PowerPoint Presentation</vt:lpstr>
      <vt:lpstr>Distributed training on managed compute </vt:lpstr>
      <vt:lpstr>Training infrastructure </vt:lpstr>
      <vt:lpstr>Powerful infrastructure</vt:lpstr>
      <vt:lpstr>PowerPoint Presentation</vt:lpstr>
      <vt:lpstr>DevOps loop for data science </vt:lpstr>
      <vt:lpstr>DevOps loop for data science </vt:lpstr>
      <vt:lpstr>Model management in Azure Machine Learning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IoT EBC deck</dc:title>
  <dc:creator>Douglas Montague</dc:creator>
  <cp:keywords>solution sales professionals</cp:keywords>
  <cp:lastModifiedBy>Szabolcs Baranyi</cp:lastModifiedBy>
  <cp:revision>11</cp:revision>
  <dcterms:modified xsi:type="dcterms:W3CDTF">2019-09-10T21:25: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99ECF64382448D48A56095091C66B1A9</vt:lpwstr>
  </property>
  <property fmtid="{D5CDD505-2E9C-101B-9397-08002B2CF9AE}" pid="3" name="DocVizMetadataToken">
    <vt:lpwstr>600x450x1</vt:lpwstr>
  </property>
  <property fmtid="{D5CDD505-2E9C-101B-9397-08002B2CF9AE}" pid="4" name="MSIP_Label_f42aa342-8706-4288-bd11-ebb85995028c_Enabled">
    <vt:lpwstr>True</vt:lpwstr>
  </property>
  <property fmtid="{D5CDD505-2E9C-101B-9397-08002B2CF9AE}" pid="5" name="MSIP_Label_f42aa342-8706-4288-bd11-ebb85995028c_SiteId">
    <vt:lpwstr>72f988bf-86f1-41af-91ab-2d7cd011db47</vt:lpwstr>
  </property>
  <property fmtid="{D5CDD505-2E9C-101B-9397-08002B2CF9AE}" pid="6" name="MSIP_Label_f42aa342-8706-4288-bd11-ebb85995028c_Owner">
    <vt:lpwstr>v-juchri@microsoft.com</vt:lpwstr>
  </property>
  <property fmtid="{D5CDD505-2E9C-101B-9397-08002B2CF9AE}" pid="7" name="MSIP_Label_f42aa342-8706-4288-bd11-ebb85995028c_SetDate">
    <vt:lpwstr>2018-02-23T23:28:10.4033600Z</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y fmtid="{D5CDD505-2E9C-101B-9397-08002B2CF9AE}" pid="12" name="_dlc_policyId">
    <vt:lpwstr>0x0101000E4CB7077FEE4FF7AE86D4A500EEC780030016C849C62B10EB41ACA8C7EEDEF40BB20099ECF64382448D48A56095091C66B1A9|-661092312</vt:lpwstr>
  </property>
  <property fmtid="{D5CDD505-2E9C-101B-9397-08002B2CF9AE}" pid="13"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14" name="_dlc_DocIdItemGuid">
    <vt:lpwstr>0794b4db-cdff-4ec8-9937-b9fcb657ed44</vt:lpwstr>
  </property>
  <property fmtid="{D5CDD505-2E9C-101B-9397-08002B2CF9AE}" pid="15" name="of67e5d4b76f4a9db8769983fda9cec0">
    <vt:lpwstr/>
  </property>
  <property fmtid="{D5CDD505-2E9C-101B-9397-08002B2CF9AE}" pid="16" name="TaxKeyword">
    <vt:lpwstr>2763;#solution sales professionals|849610f6-8911-4c95-8017-fe52a86bf622</vt:lpwstr>
  </property>
  <property fmtid="{D5CDD505-2E9C-101B-9397-08002B2CF9AE}" pid="17" name="NewsType">
    <vt:lpwstr/>
  </property>
  <property fmtid="{D5CDD505-2E9C-101B-9397-08002B2CF9AE}" pid="18" name="Region">
    <vt:lpwstr/>
  </property>
  <property fmtid="{D5CDD505-2E9C-101B-9397-08002B2CF9AE}" pid="19" name="ItemType">
    <vt:lpwstr>1975;#checklists|cdc11282-7b54-4f27-8efc-d0abec78257b;#16;#customer presentations|18e9ae94-e321-4eea-82d2-ad5b2f470f3c</vt:lpwstr>
  </property>
  <property fmtid="{D5CDD505-2E9C-101B-9397-08002B2CF9AE}" pid="20" name="Confidentiality">
    <vt:lpwstr>14;#customer ready|8986c41d-21c5-4f8f-8a12-ea4625b46858</vt:lpwstr>
  </property>
  <property fmtid="{D5CDD505-2E9C-101B-9397-08002B2CF9AE}" pid="21" name="Industries">
    <vt:lpwstr/>
  </property>
  <property fmtid="{D5CDD505-2E9C-101B-9397-08002B2CF9AE}" pid="22" name="MSProducts">
    <vt:lpwstr/>
  </property>
  <property fmtid="{D5CDD505-2E9C-101B-9397-08002B2CF9AE}" pid="23" name="Competitors">
    <vt:lpwstr/>
  </property>
  <property fmtid="{D5CDD505-2E9C-101B-9397-08002B2CF9AE}" pid="24" name="SMSGDomain">
    <vt:lpwstr>1628;#Gear Up|5bd03d8b-c198-4367-bd72-be9dad12d703;#294;#Internet of Things Domain|34685f97-aa46-4d4d-881b-c9a2cde63bef;#21;#Intelligent Cloud|adc2fe87-c79a-4ded-a449-3f86b954069d;#20;#Microsoft Azure Domain|d600a391-d529-4311-892b-2c05c1ab2538</vt:lpwstr>
  </property>
  <property fmtid="{D5CDD505-2E9C-101B-9397-08002B2CF9AE}" pid="25" name="ExperienceContentType">
    <vt:lpwstr/>
  </property>
  <property fmtid="{D5CDD505-2E9C-101B-9397-08002B2CF9AE}" pid="26" name="BusinessArchitecture">
    <vt:lpwstr>2325;#Data and AI|60d86926-9fc6-4873-ad19-e15bf82160d7;#164;#Cloud Platform (solution)|8e62087a-5af4-429b-974d-d6aee352a28f;#165;#New Conversation|5ae50351-4e19-465d-a34a-e592b7a56769;#382;#Internet of Your Things|cb3354bd-6d29-4656-83fb-4e192665ca2b</vt:lpwstr>
  </property>
  <property fmtid="{D5CDD505-2E9C-101B-9397-08002B2CF9AE}" pid="27" name="Products">
    <vt:lpwstr>2623;#Azure IoT Hub|d035f8e1-895c-4dd8-b39f-2cb6d8f1d680</vt:lpwstr>
  </property>
  <property fmtid="{D5CDD505-2E9C-101B-9397-08002B2CF9AE}" pid="28" name="l6f004f21209409da86a713c0f24627d">
    <vt:lpwstr/>
  </property>
  <property fmtid="{D5CDD505-2E9C-101B-9397-08002B2CF9AE}" pid="29" name="Topics">
    <vt:lpwstr>131;#products|2b247c5b-99da-46bc-8667-e75c62241e78</vt:lpwstr>
  </property>
  <property fmtid="{D5CDD505-2E9C-101B-9397-08002B2CF9AE}" pid="30" name="Groups">
    <vt:lpwstr>42;#Cloud + AI Marketing|4f75e184-e5aa-4234-a07f-b032d60df254;#1094;#Internet of Things Group|8bf43c3e-89a7-46fd-a175-562694591a6c</vt:lpwstr>
  </property>
  <property fmtid="{D5CDD505-2E9C-101B-9397-08002B2CF9AE}" pid="31" name="MSProductsTaxHTField0">
    <vt:lpwstr/>
  </property>
  <property fmtid="{D5CDD505-2E9C-101B-9397-08002B2CF9AE}" pid="32" name="Languages">
    <vt:lpwstr/>
  </property>
  <property fmtid="{D5CDD505-2E9C-101B-9397-08002B2CF9AE}" pid="33" name="e8080b0481964c759b2c36ae49591b31">
    <vt:lpwstr/>
  </property>
  <property fmtid="{D5CDD505-2E9C-101B-9397-08002B2CF9AE}" pid="34" name="TechnicalLevel">
    <vt:lpwstr>3066;#100 (beginner)|7d022d07-ff67-4af8-910d-8ea6b46b5908</vt:lpwstr>
  </property>
  <property fmtid="{D5CDD505-2E9C-101B-9397-08002B2CF9AE}" pid="35" name="Audiences">
    <vt:lpwstr/>
  </property>
  <property fmtid="{D5CDD505-2E9C-101B-9397-08002B2CF9AE}" pid="36" name="ldac8aee9d1f469e8cd8c3f8d6a615f2">
    <vt:lpwstr/>
  </property>
  <property fmtid="{D5CDD505-2E9C-101B-9397-08002B2CF9AE}" pid="37" name="EmployeeRole">
    <vt:lpwstr/>
  </property>
  <property fmtid="{D5CDD505-2E9C-101B-9397-08002B2CF9AE}" pid="38" name="NewsTopic">
    <vt:lpwstr/>
  </property>
  <property fmtid="{D5CDD505-2E9C-101B-9397-08002B2CF9AE}" pid="39" name="Roles">
    <vt:lpwstr>221;#Solution Sales|170353c6-5135-48bf-b60a-c3b55ac67d1c</vt:lpwstr>
  </property>
  <property fmtid="{D5CDD505-2E9C-101B-9397-08002B2CF9AE}" pid="40" name="NewsSource">
    <vt:lpwstr/>
  </property>
  <property fmtid="{D5CDD505-2E9C-101B-9397-08002B2CF9AE}" pid="41" name="SMSGTags">
    <vt:lpwstr/>
  </property>
  <property fmtid="{D5CDD505-2E9C-101B-9397-08002B2CF9AE}" pid="42" name="MSPhysicalGeography">
    <vt:lpwstr/>
  </property>
  <property fmtid="{D5CDD505-2E9C-101B-9397-08002B2CF9AE}" pid="43" name="EnterpriseDomainTags">
    <vt:lpwstr/>
  </property>
  <property fmtid="{D5CDD505-2E9C-101B-9397-08002B2CF9AE}" pid="44" name="j3562c58ee414e028925bc902cfc01a1">
    <vt:lpwstr/>
  </property>
  <property fmtid="{D5CDD505-2E9C-101B-9397-08002B2CF9AE}" pid="45" name="Segments">
    <vt:lpwstr/>
  </property>
  <property fmtid="{D5CDD505-2E9C-101B-9397-08002B2CF9AE}" pid="46" name="Partners">
    <vt:lpwstr/>
  </property>
  <property fmtid="{D5CDD505-2E9C-101B-9397-08002B2CF9AE}" pid="47" name="ActivitiesAndPrograms">
    <vt:lpwstr/>
  </property>
  <property fmtid="{D5CDD505-2E9C-101B-9397-08002B2CF9AE}" pid="48" name="la4444b61d19467597d63190b69ac227">
    <vt:lpwstr/>
  </property>
  <property fmtid="{D5CDD505-2E9C-101B-9397-08002B2CF9AE}" pid="49" name="_docset_NoMedatataSyncRequired">
    <vt:lpwstr>False</vt:lpwstr>
  </property>
  <property fmtid="{D5CDD505-2E9C-101B-9397-08002B2CF9AE}" pid="50" name="SharedWithUsers">
    <vt:lpwstr>166610;#Ghizlane El Goutbi;#132849;#Hajar Habjaoui;#5652;#Ahmed Howaidy;#148308;#Vyshali Murthy (CSG Services Corporation);#144893;#Brody Langley;#148461;#Sarah Mohattane;#120717;#Julie Morin;#48939;#Mark Speaker;#196459;#James Sartor;#13528;#Isabel Grund</vt:lpwstr>
  </property>
  <property fmtid="{D5CDD505-2E9C-101B-9397-08002B2CF9AE}" pid="51" name="AuthorIds_UIVersion_4608">
    <vt:lpwstr>45</vt:lpwstr>
  </property>
  <property fmtid="{D5CDD505-2E9C-101B-9397-08002B2CF9AE}" pid="52" name="SMSG Items">
    <vt:lpwstr>3091;#documents|e037ed84-7d8e-4cbb-9c8f-61e80301a44f</vt:lpwstr>
  </property>
  <property fmtid="{D5CDD505-2E9C-101B-9397-08002B2CF9AE}" pid="53" name="Solution Areas">
    <vt:lpwstr>3097;#Data and AI|60d86926-9fc6-4873-ad19-e15bf82160d7</vt:lpwstr>
  </property>
  <property fmtid="{D5CDD505-2E9C-101B-9397-08002B2CF9AE}" pid="54" name="MSProfessions">
    <vt:lpwstr>3094;#Sales|72627068-acd7-4c1a-8b95-a0256be5dc9f;#3095;# Technical Sales|831f7989-43a4-4e48-852a-a5355978f47f</vt:lpwstr>
  </property>
</Properties>
</file>